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jpg" ContentType="image/jpeg"/>
  <Default Extension="rels" ContentType="application/vnd.openxmlformats-package.relationships+xml"/>
  <Default Extension="xlsx" ContentType="application/vnd.openxmlformats-officedocument.spreadsheetml.sheet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  <Override PartName="/ppt/charts/style4.xml" ContentType="application/vnd.ms-office.chartstyle+xml"/>
  <Override PartName="/ppt/charts/colors4.xml" ContentType="application/vnd.ms-office.chartcolorstyle+xml"/>
  <Override PartName="/ppt/charts/style5.xml" ContentType="application/vnd.ms-office.chartstyle+xml"/>
  <Override PartName="/ppt/charts/colors5.xml" ContentType="application/vnd.ms-office.chartcolorstyle+xml"/>
  <Override PartName="/ppt/charts/style6.xml" ContentType="application/vnd.ms-office.chartstyle+xml"/>
  <Override PartName="/ppt/charts/colors6.xml" ContentType="application/vnd.ms-office.chartcolorstyle+xml"/>
  <Override PartName="/ppt/charts/style7.xml" ContentType="application/vnd.ms-office.chartstyle+xml"/>
  <Override PartName="/ppt/charts/colors7.xml" ContentType="application/vnd.ms-office.chartcolorstyle+xml"/>
  <Override PartName="/ppt/charts/style8.xml" ContentType="application/vnd.ms-office.chartstyle+xml"/>
  <Override PartName="/ppt/charts/colors8.xml" ContentType="application/vnd.ms-office.chartcolorstyle+xml"/>
  <Override PartName="/ppt/charts/style9.xml" ContentType="application/vnd.ms-office.chartstyle+xml"/>
  <Override PartName="/ppt/charts/colors9.xml" ContentType="application/vnd.ms-office.chartcolorstyle+xml"/>
  <Override PartName="/ppt/charts/style10.xml" ContentType="application/vnd.ms-office.chartstyle+xml"/>
  <Override PartName="/ppt/charts/colors10.xml" ContentType="application/vnd.ms-office.chartcolorstyle+xml"/>
  <Override PartName="/ppt/charts/style11.xml" ContentType="application/vnd.ms-office.chartstyle+xml"/>
  <Override PartName="/ppt/charts/colors11.xml" ContentType="application/vnd.ms-office.chartcolorstyle+xml"/>
  <Override PartName="/ppt/charts/style12.xml" ContentType="application/vnd.ms-office.chartstyle+xml"/>
  <Override PartName="/ppt/charts/colors12.xml" ContentType="application/vnd.ms-office.chartcolorstyle+xml"/>
  <Override PartName="/ppt/charts/style13.xml" ContentType="application/vnd.ms-office.chartstyle+xml"/>
  <Override PartName="/ppt/charts/colors13.xml" ContentType="application/vnd.ms-office.chartcolorstyle+xml"/>
  <Override PartName="/ppt/charts/style14.xml" ContentType="application/vnd.ms-office.chartstyle+xml"/>
  <Override PartName="/ppt/charts/colors14.xml" ContentType="application/vnd.ms-office.chartcolorstyle+xml"/>
  <Override PartName="/ppt/charts/style15.xml" ContentType="application/vnd.ms-office.chartstyle+xml"/>
  <Override PartName="/ppt/charts/colors15.xml" ContentType="application/vnd.ms-office.chartcolorstyle+xml"/>
  <Override PartName="/ppt/charts/style16.xml" ContentType="application/vnd.ms-office.chartstyle+xml"/>
  <Override PartName="/ppt/charts/colors16.xml" ContentType="application/vnd.ms-office.chartcolorstyle+xml"/>
  <Override PartName="/ppt/charts/style17.xml" ContentType="application/vnd.ms-office.chartstyle+xml"/>
  <Override PartName="/ppt/charts/colors17.xml" ContentType="application/vnd.ms-office.chartcolorstyle+xml"/>
  <Override PartName="/ppt/charts/style18.xml" ContentType="application/vnd.ms-office.chartstyle+xml"/>
  <Override PartName="/ppt/charts/colors18.xml" ContentType="application/vnd.ms-office.chartcolorstyle+xml"/>
  <Override PartName="/ppt/charts/style19.xml" ContentType="application/vnd.ms-office.chartstyle+xml"/>
  <Override PartName="/ppt/charts/colors19.xml" ContentType="application/vnd.ms-office.chartcolorstyle+xml"/>
  <Override PartName="/ppt/charts/style20.xml" ContentType="application/vnd.ms-office.chartstyle+xml"/>
  <Override PartName="/ppt/charts/colors20.xml" ContentType="application/vnd.ms-office.chartcolorstyle+xml"/>
  <Override PartName="/ppt/charts/style21.xml" ContentType="application/vnd.ms-office.chartstyle+xml"/>
  <Override PartName="/ppt/charts/colors21.xml" ContentType="application/vnd.ms-office.chartcolorstyle+xml"/>
  <Override PartName="/ppt/charts/style22.xml" ContentType="application/vnd.ms-office.chartstyle+xml"/>
  <Override PartName="/ppt/charts/colors22.xml" ContentType="application/vnd.ms-office.chartcolorstyle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256" r:id="rId2"/>
    <p:sldId id="321" r:id="rId3"/>
    <p:sldId id="322" r:id="rId4"/>
    <p:sldId id="323" r:id="rId5"/>
    <p:sldId id="362" r:id="rId6"/>
    <p:sldId id="325" r:id="rId7"/>
    <p:sldId id="326" r:id="rId8"/>
    <p:sldId id="335" r:id="rId9"/>
    <p:sldId id="328" r:id="rId10"/>
    <p:sldId id="329" r:id="rId11"/>
    <p:sldId id="334" r:id="rId12"/>
    <p:sldId id="327" r:id="rId13"/>
    <p:sldId id="336" r:id="rId14"/>
    <p:sldId id="337" r:id="rId15"/>
    <p:sldId id="350" r:id="rId16"/>
    <p:sldId id="351" r:id="rId17"/>
    <p:sldId id="359" r:id="rId18"/>
    <p:sldId id="360" r:id="rId19"/>
    <p:sldId id="352" r:id="rId20"/>
    <p:sldId id="361" r:id="rId21"/>
    <p:sldId id="353" r:id="rId22"/>
    <p:sldId id="354" r:id="rId23"/>
    <p:sldId id="355" r:id="rId24"/>
    <p:sldId id="356" r:id="rId25"/>
    <p:sldId id="357" r:id="rId26"/>
    <p:sldId id="358" r:id="rId27"/>
    <p:sldId id="330" r:id="rId28"/>
    <p:sldId id="331" r:id="rId29"/>
    <p:sldId id="332" r:id="rId30"/>
    <p:sldId id="333" r:id="rId31"/>
    <p:sldId id="365" r:id="rId32"/>
    <p:sldId id="363" r:id="rId33"/>
    <p:sldId id="340" r:id="rId34"/>
    <p:sldId id="341" r:id="rId35"/>
    <p:sldId id="342" r:id="rId36"/>
    <p:sldId id="324" r:id="rId37"/>
    <p:sldId id="343" r:id="rId38"/>
    <p:sldId id="344" r:id="rId39"/>
    <p:sldId id="364" r:id="rId40"/>
  </p:sldIdLst>
  <p:sldSz cx="12192000" cy="6858000"/>
  <p:notesSz cx="6858000" cy="91440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OI summit Budapest" id="{2A3D706B-52E8-43CA-994A-FF868D2A8BE4}">
          <p14:sldIdLst>
            <p14:sldId id="256"/>
            <p14:sldId id="321"/>
            <p14:sldId id="322"/>
            <p14:sldId id="323"/>
            <p14:sldId id="362"/>
            <p14:sldId id="325"/>
            <p14:sldId id="326"/>
            <p14:sldId id="335"/>
            <p14:sldId id="328"/>
            <p14:sldId id="329"/>
            <p14:sldId id="334"/>
            <p14:sldId id="327"/>
            <p14:sldId id="336"/>
            <p14:sldId id="337"/>
            <p14:sldId id="350"/>
            <p14:sldId id="351"/>
            <p14:sldId id="359"/>
            <p14:sldId id="360"/>
            <p14:sldId id="352"/>
            <p14:sldId id="361"/>
            <p14:sldId id="353"/>
            <p14:sldId id="354"/>
            <p14:sldId id="355"/>
            <p14:sldId id="356"/>
            <p14:sldId id="357"/>
            <p14:sldId id="358"/>
            <p14:sldId id="330"/>
            <p14:sldId id="331"/>
            <p14:sldId id="332"/>
            <p14:sldId id="333"/>
            <p14:sldId id="365"/>
            <p14:sldId id="363"/>
            <p14:sldId id="340"/>
            <p14:sldId id="341"/>
            <p14:sldId id="342"/>
            <p14:sldId id="324"/>
            <p14:sldId id="343"/>
            <p14:sldId id="344"/>
            <p14:sldId id="364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ine Schoe" initials="ES" lastIdx="2" clrIdx="0">
    <p:extLst/>
  </p:cmAuthor>
  <p:cmAuthor id="2" name="Renske van Zundert" initials="RvZ" lastIdx="23" clrIdx="1">
    <p:extLst/>
  </p:cmAuthor>
  <p:cmAuthor id="3" name="Ilse de Groot" initials="IdG" lastIdx="3" clrIdx="2">
    <p:extLst/>
  </p:cmAuthor>
  <p:cmAuthor id="4" name="Kelly Kok" initials="KK" lastIdx="15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600"/>
    <a:srgbClr val="F4C000"/>
    <a:srgbClr val="FFD22F"/>
    <a:srgbClr val="FFE15F"/>
    <a:srgbClr val="EEEEEE"/>
    <a:srgbClr val="FFFFFF"/>
    <a:srgbClr val="F6F6F5"/>
    <a:srgbClr val="FFE300"/>
    <a:srgbClr val="008AD2"/>
    <a:srgbClr val="E017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40" autoAdjust="0"/>
    <p:restoredTop sz="94660"/>
  </p:normalViewPr>
  <p:slideViewPr>
    <p:cSldViewPr snapToGrid="0">
      <p:cViewPr varScale="1">
        <p:scale>
          <a:sx n="90" d="100"/>
          <a:sy n="90" d="100"/>
        </p:scale>
        <p:origin x="-240" y="-11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278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presProps" Target="presProps.xml"/><Relationship Id="rId47" Type="http://schemas.openxmlformats.org/officeDocument/2006/relationships/viewProps" Target="viewProps.xml"/><Relationship Id="rId48" Type="http://schemas.openxmlformats.org/officeDocument/2006/relationships/theme" Target="theme/theme1.xml"/><Relationship Id="rId49" Type="http://schemas.openxmlformats.org/officeDocument/2006/relationships/tableStyles" Target="tableStyle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slide" Target="slides/slide39.xml"/><Relationship Id="rId41" Type="http://schemas.openxmlformats.org/officeDocument/2006/relationships/notesMaster" Target="notesMasters/notesMaster1.xml"/><Relationship Id="rId42" Type="http://schemas.openxmlformats.org/officeDocument/2006/relationships/handoutMaster" Target="handoutMasters/handoutMaster1.xml"/><Relationship Id="rId43" Type="http://schemas.openxmlformats.org/officeDocument/2006/relationships/printerSettings" Target="printerSettings/printerSettings1.bin"/><Relationship Id="rId44" Type="http://schemas.openxmlformats.org/officeDocument/2006/relationships/tags" Target="tags/tag1.xml"/><Relationship Id="rId45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Relationship Id="rId2" Type="http://schemas.microsoft.com/office/2011/relationships/chartStyle" Target="style1.xml"/><Relationship Id="rId3" Type="http://schemas.microsoft.com/office/2011/relationships/chartColorStyle" Target="colors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0.xlsx"/><Relationship Id="rId2" Type="http://schemas.microsoft.com/office/2011/relationships/chartStyle" Target="style8.xml"/><Relationship Id="rId3" Type="http://schemas.microsoft.com/office/2011/relationships/chartColorStyle" Target="colors8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1.xlsx"/><Relationship Id="rId2" Type="http://schemas.microsoft.com/office/2011/relationships/chartStyle" Target="style9.xml"/><Relationship Id="rId3" Type="http://schemas.microsoft.com/office/2011/relationships/chartColorStyle" Target="colors9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2.xlsx"/><Relationship Id="rId2" Type="http://schemas.microsoft.com/office/2011/relationships/chartStyle" Target="style10.xml"/><Relationship Id="rId3" Type="http://schemas.microsoft.com/office/2011/relationships/chartColorStyle" Target="colors10.xm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3.xlsx"/><Relationship Id="rId2" Type="http://schemas.microsoft.com/office/2011/relationships/chartStyle" Target="style11.xml"/><Relationship Id="rId3" Type="http://schemas.microsoft.com/office/2011/relationships/chartColorStyle" Target="colors11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4.xlsx"/><Relationship Id="rId2" Type="http://schemas.microsoft.com/office/2011/relationships/chartStyle" Target="style12.xml"/><Relationship Id="rId3" Type="http://schemas.microsoft.com/office/2011/relationships/chartColorStyle" Target="colors12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5.xlsx"/><Relationship Id="rId2" Type="http://schemas.microsoft.com/office/2011/relationships/chartStyle" Target="style13.xml"/><Relationship Id="rId3" Type="http://schemas.microsoft.com/office/2011/relationships/chartColorStyle" Target="colors13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6.xlsx"/><Relationship Id="rId2" Type="http://schemas.microsoft.com/office/2011/relationships/chartStyle" Target="style14.xml"/><Relationship Id="rId3" Type="http://schemas.microsoft.com/office/2011/relationships/chartColorStyle" Target="colors14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7.xlsx"/><Relationship Id="rId2" Type="http://schemas.microsoft.com/office/2011/relationships/chartStyle" Target="style15.xml"/><Relationship Id="rId3" Type="http://schemas.microsoft.com/office/2011/relationships/chartColorStyle" Target="colors15.xm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8.xlsx"/><Relationship Id="rId2" Type="http://schemas.microsoft.com/office/2011/relationships/chartStyle" Target="style16.xml"/><Relationship Id="rId3" Type="http://schemas.microsoft.com/office/2011/relationships/chartColorStyle" Target="colors16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9.xlsx"/><Relationship Id="rId2" Type="http://schemas.microsoft.com/office/2011/relationships/chartStyle" Target="style17.xml"/><Relationship Id="rId3" Type="http://schemas.microsoft.com/office/2011/relationships/chartColorStyle" Target="colors17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.xlsx"/><Relationship Id="rId2" Type="http://schemas.microsoft.com/office/2011/relationships/chartStyle" Target="style2.xml"/><Relationship Id="rId3" Type="http://schemas.microsoft.com/office/2011/relationships/chartColorStyle" Target="colors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0.xlsx"/><Relationship Id="rId2" Type="http://schemas.microsoft.com/office/2011/relationships/chartStyle" Target="style18.xml"/><Relationship Id="rId3" Type="http://schemas.microsoft.com/office/2011/relationships/chartColorStyle" Target="colors18.xm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1.xlsx"/><Relationship Id="rId2" Type="http://schemas.microsoft.com/office/2011/relationships/chartStyle" Target="style19.xml"/><Relationship Id="rId3" Type="http://schemas.microsoft.com/office/2011/relationships/chartColorStyle" Target="colors19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2.xlsx"/><Relationship Id="rId2" Type="http://schemas.microsoft.com/office/2011/relationships/chartStyle" Target="style20.xml"/><Relationship Id="rId3" Type="http://schemas.microsoft.com/office/2011/relationships/chartColorStyle" Target="colors20.xm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3.xlsx"/><Relationship Id="rId2" Type="http://schemas.microsoft.com/office/2011/relationships/chartStyle" Target="style21.xml"/><Relationship Id="rId3" Type="http://schemas.microsoft.com/office/2011/relationships/chartColorStyle" Target="colors21.xm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4.xlsx"/><Relationship Id="rId2" Type="http://schemas.microsoft.com/office/2011/relationships/chartStyle" Target="style22.xml"/><Relationship Id="rId3" Type="http://schemas.microsoft.com/office/2011/relationships/chartColorStyle" Target="colors2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3.xlsx"/><Relationship Id="rId2" Type="http://schemas.microsoft.com/office/2011/relationships/chartStyle" Target="style3.xml"/><Relationship Id="rId3" Type="http://schemas.microsoft.com/office/2011/relationships/chartColorStyle" Target="colors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4.xlsx"/><Relationship Id="rId2" Type="http://schemas.microsoft.com/office/2011/relationships/chartStyle" Target="style4.xml"/><Relationship Id="rId3" Type="http://schemas.microsoft.com/office/2011/relationships/chartColorStyle" Target="colors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7.xlsx"/><Relationship Id="rId2" Type="http://schemas.microsoft.com/office/2011/relationships/chartStyle" Target="style5.xml"/><Relationship Id="rId3" Type="http://schemas.microsoft.com/office/2011/relationships/chartColorStyle" Target="colors5.xm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8.xlsx"/><Relationship Id="rId2" Type="http://schemas.microsoft.com/office/2011/relationships/chartStyle" Target="style6.xml"/><Relationship Id="rId3" Type="http://schemas.microsoft.com/office/2011/relationships/chartColorStyle" Target="colors6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9.xlsx"/><Relationship Id="rId2" Type="http://schemas.microsoft.com/office/2011/relationships/chartStyle" Target="style7.xml"/><Relationship Id="rId3" Type="http://schemas.microsoft.com/office/2011/relationships/chartColorStyle" Target="colors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6907786526684"/>
          <c:y val="0.0997460787079753"/>
          <c:w val="0.47760384951881"/>
          <c:h val="0.80050784258405"/>
        </c:manualLayout>
      </c:layout>
      <c:pieChart>
        <c:varyColors val="1"/>
        <c:ser>
          <c:idx val="0"/>
          <c:order val="0"/>
          <c:tx>
            <c:strRef>
              <c:f>Blad1!$B$1</c:f>
              <c:strCache>
                <c:ptCount val="1"/>
                <c:pt idx="0">
                  <c:v>Promotions</c:v>
                </c:pt>
              </c:strCache>
            </c:strRef>
          </c:tx>
          <c:spPr>
            <a:solidFill>
              <a:schemeClr val="accent4"/>
            </a:solidFill>
          </c:spPr>
          <c:dPt>
            <c:idx val="0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6BFF-405A-91D3-F6B01B4B79F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BFF-405A-91D3-F6B01B4B79FC}"/>
              </c:ext>
            </c:extLst>
          </c:dPt>
          <c:dLbls>
            <c:dLbl>
              <c:idx val="0"/>
              <c:layout>
                <c:manualLayout>
                  <c:x val="-0.1526"/>
                  <c:y val="0.14305992460373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BFF-405A-91D3-F6B01B4B79FC}"/>
                </c:ext>
              </c:extLst>
            </c:dLbl>
            <c:dLbl>
              <c:idx val="1"/>
              <c:layout>
                <c:manualLayout>
                  <c:x val="0.208724759405074"/>
                  <c:y val="-0.14589534970340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BFF-405A-91D3-F6B01B4B79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Blad1!$A$2:$A$3</c:f>
              <c:strCache>
                <c:ptCount val="2"/>
                <c:pt idx="0">
                  <c:v>Negative</c:v>
                </c:pt>
                <c:pt idx="1">
                  <c:v>Positive</c:v>
                </c:pt>
              </c:strCache>
            </c:strRef>
          </c:cat>
          <c:val>
            <c:numRef>
              <c:f>Blad1!$B$2:$B$3</c:f>
              <c:numCache>
                <c:formatCode>0%</c:formatCode>
                <c:ptCount val="2"/>
                <c:pt idx="0">
                  <c:v>0.33</c:v>
                </c:pt>
                <c:pt idx="1">
                  <c:v>0.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BFF-405A-91D3-F6B01B4B79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0266666666666667"/>
          <c:y val="0.243267625064595"/>
          <c:w val="0.284752405949256"/>
          <c:h val="0.5134641633120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Brands (</a:t>
            </a:r>
            <a:r>
              <a:rPr lang="en-US" dirty="0" err="1"/>
              <a:t>mln</a:t>
            </a:r>
            <a:r>
              <a:rPr lang="en-US" dirty="0"/>
              <a:t>.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4</c:f>
              <c:strCache>
                <c:ptCount val="3"/>
                <c:pt idx="0">
                  <c:v>Customer K</c:v>
                </c:pt>
                <c:pt idx="1">
                  <c:v>Customer L</c:v>
                </c:pt>
                <c:pt idx="2">
                  <c:v>Customer M</c:v>
                </c:pt>
              </c:strCache>
            </c:strRef>
          </c:cat>
          <c:val>
            <c:numRef>
              <c:f>Blad1!$B$2:$B$4</c:f>
              <c:numCache>
                <c:formatCode>General</c:formatCode>
                <c:ptCount val="3"/>
                <c:pt idx="0">
                  <c:v>128.0</c:v>
                </c:pt>
                <c:pt idx="1">
                  <c:v>11.0</c:v>
                </c:pt>
                <c:pt idx="2">
                  <c:v>1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4EE-44B3-B5B6-6FDDA16442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-2129653464"/>
        <c:axId val="-2129656936"/>
      </c:barChart>
      <c:catAx>
        <c:axId val="-2129653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9656936"/>
        <c:crosses val="autoZero"/>
        <c:auto val="1"/>
        <c:lblAlgn val="ctr"/>
        <c:lblOffset val="100"/>
        <c:noMultiLvlLbl val="0"/>
      </c:catAx>
      <c:valAx>
        <c:axId val="-2129656936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9653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Brands (</a:t>
            </a:r>
            <a:r>
              <a:rPr lang="en-US" dirty="0" err="1"/>
              <a:t>mln</a:t>
            </a:r>
            <a:r>
              <a:rPr lang="en-US" dirty="0"/>
              <a:t>.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Customer L</c:v>
                </c:pt>
                <c:pt idx="1">
                  <c:v>Customer M</c:v>
                </c:pt>
                <c:pt idx="2">
                  <c:v>Customer N</c:v>
                </c:pt>
                <c:pt idx="3">
                  <c:v>Customer O</c:v>
                </c:pt>
                <c:pt idx="4">
                  <c:v>Customer P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128.0</c:v>
                </c:pt>
                <c:pt idx="1">
                  <c:v>38.0</c:v>
                </c:pt>
                <c:pt idx="2">
                  <c:v>36.0</c:v>
                </c:pt>
                <c:pt idx="3">
                  <c:v>32.0</c:v>
                </c:pt>
                <c:pt idx="4">
                  <c:v>23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4BA-4C97-B292-F6990D2021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44351672"/>
        <c:axId val="1844345192"/>
      </c:barChart>
      <c:catAx>
        <c:axId val="18443516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4345192"/>
        <c:crosses val="autoZero"/>
        <c:auto val="1"/>
        <c:lblAlgn val="ctr"/>
        <c:lblOffset val="100"/>
        <c:noMultiLvlLbl val="0"/>
      </c:catAx>
      <c:valAx>
        <c:axId val="1844345192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4351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ustomers (</a:t>
            </a:r>
            <a:r>
              <a:rPr lang="en-US" dirty="0" err="1"/>
              <a:t>mln</a:t>
            </a:r>
            <a:r>
              <a:rPr lang="en-US" dirty="0"/>
              <a:t>.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96830908077352"/>
          <c:y val="0.346184629123541"/>
          <c:w val="0.751940525162431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Customer G</c:v>
                </c:pt>
                <c:pt idx="1">
                  <c:v>Customer H</c:v>
                </c:pt>
                <c:pt idx="2">
                  <c:v>Customer I</c:v>
                </c:pt>
                <c:pt idx="3">
                  <c:v>Customer J</c:v>
                </c:pt>
                <c:pt idx="4">
                  <c:v>Customer K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190.0</c:v>
                </c:pt>
                <c:pt idx="1">
                  <c:v>90.0</c:v>
                </c:pt>
                <c:pt idx="2">
                  <c:v>35.0</c:v>
                </c:pt>
                <c:pt idx="3">
                  <c:v>22.0</c:v>
                </c:pt>
                <c:pt idx="4">
                  <c:v>19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A80-43DC-B023-B6DA062F84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-2030092888"/>
        <c:axId val="-2030089160"/>
      </c:barChart>
      <c:catAx>
        <c:axId val="-203009288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30089160"/>
        <c:crosses val="autoZero"/>
        <c:auto val="1"/>
        <c:lblAlgn val="ctr"/>
        <c:lblOffset val="100"/>
        <c:noMultiLvlLbl val="0"/>
      </c:catAx>
      <c:valAx>
        <c:axId val="-2030089160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30092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FLOP Incr. GP </a:t>
            </a:r>
            <a:r>
              <a:rPr lang="en-US" sz="960" b="0" i="0" u="none" strike="noStrike" baseline="0" dirty="0">
                <a:effectLst/>
              </a:rPr>
              <a:t>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6506718895019"/>
          <c:y val="0.346184629123541"/>
          <c:w val="0.505101632003633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rgbClr val="297D27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201612 - 201613 - Customer E - Customer F</c:v>
                </c:pt>
                <c:pt idx="1">
                  <c:v>201639 - 201640 - Customer E - Customer F</c:v>
                </c:pt>
                <c:pt idx="2">
                  <c:v>201650 - Customer A - Customer B</c:v>
                </c:pt>
                <c:pt idx="3">
                  <c:v>201619 - 201620 - Customer E - Customer F</c:v>
                </c:pt>
                <c:pt idx="4">
                  <c:v>201643 - 201644 - Customer E - Customer F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-590.0</c:v>
                </c:pt>
                <c:pt idx="1">
                  <c:v>-480.0</c:v>
                </c:pt>
                <c:pt idx="2">
                  <c:v>-430.0</c:v>
                </c:pt>
                <c:pt idx="3">
                  <c:v>-400.0</c:v>
                </c:pt>
                <c:pt idx="4">
                  <c:v>-32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4BA-4C97-B292-F6990D2021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-2030130184"/>
        <c:axId val="-2030126792"/>
      </c:barChart>
      <c:catAx>
        <c:axId val="-20301301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30126792"/>
        <c:crosses val="autoZero"/>
        <c:auto val="1"/>
        <c:lblAlgn val="ctr"/>
        <c:lblOffset val="100"/>
        <c:noMultiLvlLbl val="0"/>
      </c:catAx>
      <c:valAx>
        <c:axId val="-2030126792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30130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FLOP Incr. NSV </a:t>
            </a:r>
            <a:r>
              <a:rPr lang="en-US" sz="960" b="0" i="0" u="none" strike="noStrike" baseline="0" dirty="0">
                <a:effectLst/>
              </a:rPr>
              <a:t>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60700837059645"/>
          <c:y val="0.346184629123541"/>
          <c:w val="0.509060374399617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rgbClr val="32992F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201612 - 201613 - Customer E - Customer F</c:v>
                </c:pt>
                <c:pt idx="1">
                  <c:v>201615 - 201618 - Customer D - Customer B</c:v>
                </c:pt>
                <c:pt idx="2">
                  <c:v>201630 - 201640 - Customer E - Customer F</c:v>
                </c:pt>
                <c:pt idx="3">
                  <c:v>201619 - 201620 - Customer E - Customer F</c:v>
                </c:pt>
                <c:pt idx="4">
                  <c:v>201643 - 201644 - Customer E - Customer F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-600.0</c:v>
                </c:pt>
                <c:pt idx="1">
                  <c:v>-480.0</c:v>
                </c:pt>
                <c:pt idx="2">
                  <c:v>-430.0</c:v>
                </c:pt>
                <c:pt idx="3">
                  <c:v>-400.0</c:v>
                </c:pt>
                <c:pt idx="4">
                  <c:v>-28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A80-43DC-B023-B6DA062F84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-2030165960"/>
        <c:axId val="-2030162280"/>
      </c:barChart>
      <c:catAx>
        <c:axId val="-20301659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30162280"/>
        <c:crosses val="autoZero"/>
        <c:auto val="1"/>
        <c:lblAlgn val="ctr"/>
        <c:lblOffset val="100"/>
        <c:noMultiLvlLbl val="0"/>
      </c:catAx>
      <c:valAx>
        <c:axId val="-2030162280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30165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P Incr. GP </a:t>
            </a:r>
            <a:r>
              <a:rPr lang="en-US" sz="960" b="0" i="0" u="none" strike="noStrike" baseline="0" dirty="0">
                <a:effectLst/>
              </a:rPr>
              <a:t>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rgbClr val="297D27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201618 - Customer A - Customer C</c:v>
                </c:pt>
                <c:pt idx="1">
                  <c:v>201622 - Customer A + Customer G</c:v>
                </c:pt>
                <c:pt idx="2">
                  <c:v>201610 - Customer A - Customer B</c:v>
                </c:pt>
                <c:pt idx="3">
                  <c:v>201610 - Customer A - Customer B</c:v>
                </c:pt>
                <c:pt idx="4">
                  <c:v>201610 - Customer A - Customer B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1550.0</c:v>
                </c:pt>
                <c:pt idx="1">
                  <c:v>1180.0</c:v>
                </c:pt>
                <c:pt idx="2">
                  <c:v>950.0</c:v>
                </c:pt>
                <c:pt idx="3">
                  <c:v>575.0</c:v>
                </c:pt>
                <c:pt idx="4">
                  <c:v>42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790-4486-B279-2BDBAA4A5C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27980280"/>
        <c:axId val="1827984008"/>
      </c:barChart>
      <c:catAx>
        <c:axId val="182798028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7984008"/>
        <c:crosses val="autoZero"/>
        <c:auto val="1"/>
        <c:lblAlgn val="ctr"/>
        <c:lblOffset val="100"/>
        <c:noMultiLvlLbl val="0"/>
      </c:catAx>
      <c:valAx>
        <c:axId val="1827984008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7980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P Incr. NSV </a:t>
            </a:r>
            <a:r>
              <a:rPr lang="en-US" sz="960" b="0" i="0" u="none" strike="noStrike" baseline="0" dirty="0">
                <a:effectLst/>
              </a:rPr>
              <a:t>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27717102975123"/>
          <c:y val="0.346184629123541"/>
          <c:w val="0.521054459521261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rgbClr val="32992F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201618 - Customer A - Customer C</c:v>
                </c:pt>
                <c:pt idx="1">
                  <c:v>201650 - Customer A - Customer B</c:v>
                </c:pt>
                <c:pt idx="2">
                  <c:v>201622 - Customer A - Customer G</c:v>
                </c:pt>
                <c:pt idx="3">
                  <c:v>201610 - Customer A - Customer B</c:v>
                </c:pt>
                <c:pt idx="4">
                  <c:v>201627 - Customer A - Customer B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3100.0</c:v>
                </c:pt>
                <c:pt idx="1">
                  <c:v>2450.0</c:v>
                </c:pt>
                <c:pt idx="2">
                  <c:v>2300.0</c:v>
                </c:pt>
                <c:pt idx="3">
                  <c:v>1850.0</c:v>
                </c:pt>
                <c:pt idx="4">
                  <c:v>100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792-4CB1-9EE9-5684844CAB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44281496"/>
        <c:axId val="1844276216"/>
      </c:barChart>
      <c:catAx>
        <c:axId val="184428149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4276216"/>
        <c:crosses val="autoZero"/>
        <c:auto val="1"/>
        <c:lblAlgn val="ctr"/>
        <c:lblOffset val="100"/>
        <c:noMultiLvlLbl val="0"/>
      </c:catAx>
      <c:valAx>
        <c:axId val="1844276216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4281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FLOP Incr.</a:t>
            </a:r>
            <a:r>
              <a:rPr lang="en-US" baseline="0" dirty="0"/>
              <a:t> Volume </a:t>
            </a:r>
            <a:r>
              <a:rPr lang="en-US" sz="960" b="0" i="0" u="none" strike="noStrike" baseline="0" dirty="0">
                <a:effectLst/>
              </a:rPr>
              <a:t>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96830908077352"/>
          <c:y val="0.346184629123541"/>
          <c:w val="0.751940525162431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201615  - 201617 - Customer D - Customer B</c:v>
                </c:pt>
                <c:pt idx="1">
                  <c:v>101619 - 201622 - Customer D - Customer B</c:v>
                </c:pt>
                <c:pt idx="2">
                  <c:v>201623 - 201627 - Customer D - Customer B</c:v>
                </c:pt>
                <c:pt idx="3">
                  <c:v>201615 - Customer A - Customer B</c:v>
                </c:pt>
                <c:pt idx="4">
                  <c:v>201605 - 201606 - Customer D - Customer B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-190.0</c:v>
                </c:pt>
                <c:pt idx="1">
                  <c:v>-65.0</c:v>
                </c:pt>
                <c:pt idx="2">
                  <c:v>-22.0</c:v>
                </c:pt>
                <c:pt idx="3">
                  <c:v>-18.0</c:v>
                </c:pt>
                <c:pt idx="4">
                  <c:v>4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4F3-4F79-8533-C087ECA2BB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44249816"/>
        <c:axId val="1827999048"/>
      </c:barChart>
      <c:catAx>
        <c:axId val="18442498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7999048"/>
        <c:crosses val="autoZero"/>
        <c:auto val="1"/>
        <c:lblAlgn val="ctr"/>
        <c:lblOffset val="100"/>
        <c:noMultiLvlLbl val="0"/>
      </c:catAx>
      <c:valAx>
        <c:axId val="1827999048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4249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P Incr.</a:t>
            </a:r>
            <a:r>
              <a:rPr lang="en-US" baseline="0" dirty="0"/>
              <a:t> Volume 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25519817020111"/>
          <c:y val="0.346184629123541"/>
          <c:w val="0.517895600451236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5</c:f>
              <c:strCache>
                <c:ptCount val="4"/>
                <c:pt idx="0">
                  <c:v>201650 - Customer A - Customer B</c:v>
                </c:pt>
                <c:pt idx="1">
                  <c:v>201648 - Customer A - Customer B</c:v>
                </c:pt>
                <c:pt idx="2">
                  <c:v>201610 - Customer A - Customer C</c:v>
                </c:pt>
                <c:pt idx="3">
                  <c:v>201601 - Customer A - Customer B</c:v>
                </c:pt>
              </c:strCache>
            </c:strRef>
          </c:cat>
          <c:val>
            <c:numRef>
              <c:f>Blad1!$B$2:$B$5</c:f>
              <c:numCache>
                <c:formatCode>General</c:formatCode>
                <c:ptCount val="4"/>
                <c:pt idx="0">
                  <c:v>2100.0</c:v>
                </c:pt>
                <c:pt idx="1">
                  <c:v>750.0</c:v>
                </c:pt>
                <c:pt idx="2">
                  <c:v>650.0</c:v>
                </c:pt>
                <c:pt idx="3">
                  <c:v>59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8B1-45F0-8321-2C4BE60DC0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29081208"/>
        <c:axId val="1829071544"/>
      </c:barChart>
      <c:catAx>
        <c:axId val="18290812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9071544"/>
        <c:crosses val="autoZero"/>
        <c:auto val="1"/>
        <c:lblAlgn val="ctr"/>
        <c:lblOffset val="100"/>
        <c:noMultiLvlLbl val="0"/>
      </c:catAx>
      <c:valAx>
        <c:axId val="1829071544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9081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FLOP Incr. GP </a:t>
            </a:r>
            <a:r>
              <a:rPr lang="en-US" sz="960" b="0" i="0" u="none" strike="noStrike" baseline="0" dirty="0">
                <a:effectLst/>
              </a:rPr>
              <a:t>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6506718895019"/>
          <c:y val="0.346184629123541"/>
          <c:w val="0.505101632003633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rgbClr val="297D27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201612 - 201613 - Customer E - Customer F</c:v>
                </c:pt>
                <c:pt idx="1">
                  <c:v>201639 - 201640 - Customer E - Customer F</c:v>
                </c:pt>
                <c:pt idx="2">
                  <c:v>201650 - Customer A - Customer B</c:v>
                </c:pt>
                <c:pt idx="3">
                  <c:v>201619 - 201620 - Customer E - Customer F</c:v>
                </c:pt>
                <c:pt idx="4">
                  <c:v>201643 - 201644 - Customer E - Customer F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-590.0</c:v>
                </c:pt>
                <c:pt idx="1">
                  <c:v>-480.0</c:v>
                </c:pt>
                <c:pt idx="2">
                  <c:v>-430.0</c:v>
                </c:pt>
                <c:pt idx="3">
                  <c:v>-400.0</c:v>
                </c:pt>
                <c:pt idx="4">
                  <c:v>-32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C2E-499C-9CEA-8C272CFB6B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27957256"/>
        <c:axId val="1827960984"/>
      </c:barChart>
      <c:catAx>
        <c:axId val="182795725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7960984"/>
        <c:crosses val="autoZero"/>
        <c:auto val="1"/>
        <c:lblAlgn val="ctr"/>
        <c:lblOffset val="100"/>
        <c:noMultiLvlLbl val="0"/>
      </c:catAx>
      <c:valAx>
        <c:axId val="1827960984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7957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6907786526684"/>
          <c:y val="0.0997460787079753"/>
          <c:w val="0.47760384951881"/>
          <c:h val="0.80050784258405"/>
        </c:manualLayout>
      </c:layout>
      <c:pieChart>
        <c:varyColors val="1"/>
        <c:ser>
          <c:idx val="0"/>
          <c:order val="0"/>
          <c:tx>
            <c:strRef>
              <c:f>Blad1!$B$1</c:f>
              <c:strCache>
                <c:ptCount val="1"/>
                <c:pt idx="0">
                  <c:v>Promotions</c:v>
                </c:pt>
              </c:strCache>
            </c:strRef>
          </c:tx>
          <c:spPr>
            <a:solidFill>
              <a:schemeClr val="accent4"/>
            </a:solidFill>
          </c:spPr>
          <c:dPt>
            <c:idx val="0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6BFF-405A-91D3-F6B01B4B79F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BFF-405A-91D3-F6B01B4B79FC}"/>
              </c:ext>
            </c:extLst>
          </c:dPt>
          <c:dLbls>
            <c:dLbl>
              <c:idx val="0"/>
              <c:layout>
                <c:manualLayout>
                  <c:x val="-0.1526"/>
                  <c:y val="0.14305992460373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BFF-405A-91D3-F6B01B4B79FC}"/>
                </c:ext>
              </c:extLst>
            </c:dLbl>
            <c:dLbl>
              <c:idx val="1"/>
              <c:layout>
                <c:manualLayout>
                  <c:x val="0.208724759405074"/>
                  <c:y val="-0.14589534970340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BFF-405A-91D3-F6B01B4B79F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Blad1!$A$2:$A$3</c:f>
              <c:strCache>
                <c:ptCount val="2"/>
                <c:pt idx="0">
                  <c:v>Negative</c:v>
                </c:pt>
                <c:pt idx="1">
                  <c:v>Positive</c:v>
                </c:pt>
              </c:strCache>
            </c:strRef>
          </c:cat>
          <c:val>
            <c:numRef>
              <c:f>Blad1!$B$2:$B$3</c:f>
              <c:numCache>
                <c:formatCode>0%</c:formatCode>
                <c:ptCount val="2"/>
                <c:pt idx="0">
                  <c:v>0.45</c:v>
                </c:pt>
                <c:pt idx="1">
                  <c:v>0.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BFF-405A-91D3-F6B01B4B79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0.0266666666666667"/>
          <c:y val="0.228369032277743"/>
          <c:w val="0.284752405949256"/>
          <c:h val="0.5432613488857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FLOP Incr. NSV </a:t>
            </a:r>
            <a:r>
              <a:rPr lang="en-US" sz="960" b="0" i="0" u="none" strike="noStrike" baseline="0" dirty="0">
                <a:effectLst/>
              </a:rPr>
              <a:t>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60700837059645"/>
          <c:y val="0.346184629123541"/>
          <c:w val="0.509060374399617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rgbClr val="32992F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201612 - 201613 - Customer E - Customer F</c:v>
                </c:pt>
                <c:pt idx="1">
                  <c:v>201615 - 201618 - Customer D - Customer B</c:v>
                </c:pt>
                <c:pt idx="2">
                  <c:v>201630 - 201640 - Customer E - Customer F</c:v>
                </c:pt>
                <c:pt idx="3">
                  <c:v>201619 - 201620 - Customer E - Customer F</c:v>
                </c:pt>
                <c:pt idx="4">
                  <c:v>201643 - 201644 - Customer E - Customer F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-600.0</c:v>
                </c:pt>
                <c:pt idx="1">
                  <c:v>-480.0</c:v>
                </c:pt>
                <c:pt idx="2">
                  <c:v>-430.0</c:v>
                </c:pt>
                <c:pt idx="3">
                  <c:v>-400.0</c:v>
                </c:pt>
                <c:pt idx="4">
                  <c:v>-28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CC3-4B2D-88BF-B909FCF689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44199176"/>
        <c:axId val="1844196520"/>
      </c:barChart>
      <c:catAx>
        <c:axId val="184419917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4196520"/>
        <c:crosses val="autoZero"/>
        <c:auto val="1"/>
        <c:lblAlgn val="ctr"/>
        <c:lblOffset val="100"/>
        <c:noMultiLvlLbl val="0"/>
      </c:catAx>
      <c:valAx>
        <c:axId val="1844196520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4199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P Incr. GP </a:t>
            </a:r>
            <a:r>
              <a:rPr lang="en-US" sz="960" b="0" i="0" u="none" strike="noStrike" baseline="0" dirty="0">
                <a:effectLst/>
              </a:rPr>
              <a:t>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rgbClr val="297D27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201618 - Customer A - Customer C</c:v>
                </c:pt>
                <c:pt idx="1">
                  <c:v>201622 - Customer A + Customer G</c:v>
                </c:pt>
                <c:pt idx="2">
                  <c:v>201610 - Customer A - Customer B</c:v>
                </c:pt>
                <c:pt idx="3">
                  <c:v>201610 - Customer A - Customer B</c:v>
                </c:pt>
                <c:pt idx="4">
                  <c:v>201610 - Customer A - Customer B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1550.0</c:v>
                </c:pt>
                <c:pt idx="1">
                  <c:v>1180.0</c:v>
                </c:pt>
                <c:pt idx="2">
                  <c:v>950.0</c:v>
                </c:pt>
                <c:pt idx="3">
                  <c:v>575.0</c:v>
                </c:pt>
                <c:pt idx="4">
                  <c:v>42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77B-4F6A-B855-61F5AF4305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44159560"/>
        <c:axId val="1844152104"/>
      </c:barChart>
      <c:catAx>
        <c:axId val="18441595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4152104"/>
        <c:crosses val="autoZero"/>
        <c:auto val="1"/>
        <c:lblAlgn val="ctr"/>
        <c:lblOffset val="100"/>
        <c:noMultiLvlLbl val="0"/>
      </c:catAx>
      <c:valAx>
        <c:axId val="1844152104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4159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P Incr. NSV </a:t>
            </a:r>
            <a:r>
              <a:rPr lang="en-US" sz="960" b="0" i="0" u="none" strike="noStrike" baseline="0" dirty="0">
                <a:effectLst/>
              </a:rPr>
              <a:t>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27717102975123"/>
          <c:y val="0.346184629123541"/>
          <c:w val="0.521054459521261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rgbClr val="32992F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201618 - Customer A - Customer C</c:v>
                </c:pt>
                <c:pt idx="1">
                  <c:v>201650 - Customer A - Customer B</c:v>
                </c:pt>
                <c:pt idx="2">
                  <c:v>201622 - Customer A - Customer G</c:v>
                </c:pt>
                <c:pt idx="3">
                  <c:v>201610 - Customer A - Customer B</c:v>
                </c:pt>
                <c:pt idx="4">
                  <c:v>201627 - Customer A - Customer B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3100.0</c:v>
                </c:pt>
                <c:pt idx="1">
                  <c:v>2450.0</c:v>
                </c:pt>
                <c:pt idx="2">
                  <c:v>2300.0</c:v>
                </c:pt>
                <c:pt idx="3">
                  <c:v>1850.0</c:v>
                </c:pt>
                <c:pt idx="4">
                  <c:v>100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A44-4046-B68E-2D4ED4BB13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44112712"/>
        <c:axId val="1844107576"/>
      </c:barChart>
      <c:catAx>
        <c:axId val="18441127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4107576"/>
        <c:crosses val="autoZero"/>
        <c:auto val="1"/>
        <c:lblAlgn val="ctr"/>
        <c:lblOffset val="100"/>
        <c:noMultiLvlLbl val="0"/>
      </c:catAx>
      <c:valAx>
        <c:axId val="1844107576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4112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FLOP Incr.</a:t>
            </a:r>
            <a:r>
              <a:rPr lang="en-US" baseline="0" dirty="0"/>
              <a:t> Volume </a:t>
            </a:r>
            <a:r>
              <a:rPr lang="en-US" sz="960" b="0" i="0" u="none" strike="noStrike" baseline="0" dirty="0">
                <a:effectLst/>
              </a:rPr>
              <a:t>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96830908077352"/>
          <c:y val="0.346184629123541"/>
          <c:w val="0.751940525162431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201615  - 201617 - Customer D - Customer B</c:v>
                </c:pt>
                <c:pt idx="1">
                  <c:v>101619 - 201622 - Customer D - Customer B</c:v>
                </c:pt>
                <c:pt idx="2">
                  <c:v>201623 - 201627 - Customer D - Customer B</c:v>
                </c:pt>
                <c:pt idx="3">
                  <c:v>201615 - Customer A - Customer B</c:v>
                </c:pt>
                <c:pt idx="4">
                  <c:v>201605 - 201606 - Customer D - Customer B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-190.0</c:v>
                </c:pt>
                <c:pt idx="1">
                  <c:v>-65.0</c:v>
                </c:pt>
                <c:pt idx="2">
                  <c:v>-22.0</c:v>
                </c:pt>
                <c:pt idx="3">
                  <c:v>-18.0</c:v>
                </c:pt>
                <c:pt idx="4">
                  <c:v>4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E26-44A3-8B46-D323667345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29025912"/>
        <c:axId val="1829022888"/>
      </c:barChart>
      <c:catAx>
        <c:axId val="18290259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9022888"/>
        <c:crosses val="autoZero"/>
        <c:auto val="1"/>
        <c:lblAlgn val="ctr"/>
        <c:lblOffset val="100"/>
        <c:noMultiLvlLbl val="0"/>
      </c:catAx>
      <c:valAx>
        <c:axId val="1829022888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9025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TOP Incr.</a:t>
            </a:r>
            <a:r>
              <a:rPr lang="en-US" baseline="0" dirty="0"/>
              <a:t> Volume (K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25519817020111"/>
          <c:y val="0.346184629123541"/>
          <c:w val="0.517895600451236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5</c:f>
              <c:strCache>
                <c:ptCount val="4"/>
                <c:pt idx="0">
                  <c:v>201650 - Customer A - Customer B</c:v>
                </c:pt>
                <c:pt idx="1">
                  <c:v>201648 - Customer A - Customer B</c:v>
                </c:pt>
                <c:pt idx="2">
                  <c:v>201610 - Customer A - Customer C</c:v>
                </c:pt>
                <c:pt idx="3">
                  <c:v>201601 - Customer A - Customer B</c:v>
                </c:pt>
              </c:strCache>
            </c:strRef>
          </c:cat>
          <c:val>
            <c:numRef>
              <c:f>Blad1!$B$2:$B$5</c:f>
              <c:numCache>
                <c:formatCode>General</c:formatCode>
                <c:ptCount val="4"/>
                <c:pt idx="0">
                  <c:v>2100.0</c:v>
                </c:pt>
                <c:pt idx="1">
                  <c:v>750.0</c:v>
                </c:pt>
                <c:pt idx="2">
                  <c:v>650.0</c:v>
                </c:pt>
                <c:pt idx="3">
                  <c:v>59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990-4473-AD2E-A876348767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27973848"/>
        <c:axId val="1827915000"/>
      </c:barChart>
      <c:catAx>
        <c:axId val="182797384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7915000"/>
        <c:crosses val="autoZero"/>
        <c:auto val="1"/>
        <c:lblAlgn val="ctr"/>
        <c:lblOffset val="100"/>
        <c:noMultiLvlLbl val="0"/>
      </c:catAx>
      <c:valAx>
        <c:axId val="1827915000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7973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Promotio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0E3-488A-9AC9-33D4BE544E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3</c:f>
              <c:strCache>
                <c:ptCount val="2"/>
                <c:pt idx="0">
                  <c:v>Positive GP</c:v>
                </c:pt>
                <c:pt idx="1">
                  <c:v>Negative GP</c:v>
                </c:pt>
              </c:strCache>
            </c:strRef>
          </c:cat>
          <c:val>
            <c:numRef>
              <c:f>Blad1!$B$2:$B$3</c:f>
              <c:numCache>
                <c:formatCode>0%</c:formatCode>
                <c:ptCount val="2"/>
                <c:pt idx="0">
                  <c:v>1.0</c:v>
                </c:pt>
                <c:pt idx="1">
                  <c:v>-2.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0E3-488A-9AC9-33D4BE544ED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-2128936056"/>
        <c:axId val="-2128941688"/>
      </c:barChart>
      <c:catAx>
        <c:axId val="-21289360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128941688"/>
        <c:crosses val="autoZero"/>
        <c:auto val="1"/>
        <c:lblAlgn val="ctr"/>
        <c:lblOffset val="100"/>
        <c:noMultiLvlLbl val="0"/>
      </c:catAx>
      <c:valAx>
        <c:axId val="-2128941688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8936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Promotio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0E3-488A-9AC9-33D4BE544ED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lad1!$A$2:$A$3</c:f>
              <c:strCache>
                <c:ptCount val="2"/>
                <c:pt idx="0">
                  <c:v>Positive GP</c:v>
                </c:pt>
                <c:pt idx="1">
                  <c:v>Negative GP</c:v>
                </c:pt>
              </c:strCache>
            </c:strRef>
          </c:cat>
          <c:val>
            <c:numRef>
              <c:f>Blad1!$B$2:$B$3</c:f>
              <c:numCache>
                <c:formatCode>0%</c:formatCode>
                <c:ptCount val="2"/>
                <c:pt idx="0">
                  <c:v>1.0</c:v>
                </c:pt>
                <c:pt idx="1">
                  <c:v>-3.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0E3-488A-9AC9-33D4BE544ED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-2137755208"/>
        <c:axId val="-2137767048"/>
      </c:barChart>
      <c:catAx>
        <c:axId val="-213775520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2137767048"/>
        <c:crosses val="autoZero"/>
        <c:auto val="1"/>
        <c:lblAlgn val="ctr"/>
        <c:lblOffset val="100"/>
        <c:noMultiLvlLbl val="0"/>
      </c:catAx>
      <c:valAx>
        <c:axId val="-2137767048"/>
        <c:scaling>
          <c:orientation val="minMax"/>
        </c:scaling>
        <c:delete val="0"/>
        <c:axPos val="b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37755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.00 Brand erosion worst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 w="9525">
              <a:noFill/>
            </a:ln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0.0%</c:formatCode>
                <c:ptCount val="1"/>
                <c:pt idx="0">
                  <c:v>0.1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340-429A-BB1A-37DB42B41D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rand erosion </c:v>
                </c:pt>
              </c:strCache>
            </c:strRef>
          </c:tx>
          <c:spPr>
            <a:solidFill>
              <a:schemeClr val="accent4"/>
            </a:solidFill>
            <a:ln w="9525">
              <a:noFill/>
            </a:ln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0.0%</c:formatCode>
                <c:ptCount val="1"/>
                <c:pt idx="0">
                  <c:v>0.0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340-429A-BB1A-37DB42B41DD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4.00 Fast Euro</c:v>
                </c:pt>
              </c:strCache>
            </c:strRef>
          </c:tx>
          <c:spPr>
            <a:solidFill>
              <a:schemeClr val="accent5"/>
            </a:solidFill>
            <a:ln w="9525">
              <a:noFill/>
            </a:ln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0.0%</c:formatCode>
                <c:ptCount val="1"/>
                <c:pt idx="0">
                  <c:v>0.1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340-429A-BB1A-37DB42B41DD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3.00 Defended market share</c:v>
                </c:pt>
              </c:strCache>
            </c:strRef>
          </c:tx>
          <c:spPr>
            <a:solidFill>
              <a:srgbClr val="F4C000"/>
            </a:solidFill>
            <a:ln w="9525">
              <a:noFill/>
            </a:ln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1340-429A-BB1A-37DB42B41DDB}"/>
              </c:ext>
            </c:extLst>
          </c:dPt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</c:f>
              <c:numCache>
                <c:formatCode>0.0%</c:formatCode>
                <c:ptCount val="1"/>
                <c:pt idx="0">
                  <c:v>0.1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340-429A-BB1A-37DB42B41DD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.00 Loyalty bonus for regular buyers</c:v>
                </c:pt>
              </c:strCache>
            </c:strRef>
          </c:tx>
          <c:spPr>
            <a:solidFill>
              <a:srgbClr val="F6F600"/>
            </a:solidFill>
            <a:ln w="9525">
              <a:noFill/>
            </a:ln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</c:f>
              <c:numCache>
                <c:formatCode>0.0%</c:formatCode>
                <c:ptCount val="1"/>
                <c:pt idx="0">
                  <c:v>0.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340-429A-BB1A-37DB42B41DD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Brand Investme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</c:f>
              <c:numCache>
                <c:formatCode>0.0%</c:formatCode>
                <c:ptCount val="1"/>
                <c:pt idx="0">
                  <c:v>0.0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1340-429A-BB1A-37DB42B41DDB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Brand Invest Best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H$2</c:f>
              <c:numCache>
                <c:formatCode>0.0%</c:formatCode>
                <c:ptCount val="1"/>
                <c:pt idx="0">
                  <c:v>0.1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1340-429A-BB1A-37DB42B41D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130606392"/>
        <c:axId val="2130605448"/>
      </c:barChart>
      <c:catAx>
        <c:axId val="213060639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2130605448"/>
        <c:crosses val="autoZero"/>
        <c:auto val="1"/>
        <c:lblAlgn val="ctr"/>
        <c:lblOffset val="100"/>
        <c:noMultiLvlLbl val="0"/>
      </c:catAx>
      <c:valAx>
        <c:axId val="213060544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213060639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"/>
          <c:y val="0.0269692356614637"/>
          <c:w val="1.0"/>
          <c:h val="0.97303076433853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Brand erosion other brands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A$7</c:f>
              <c:numCache>
                <c:formatCode>###0.0%</c:formatCode>
                <c:ptCount val="6"/>
                <c:pt idx="0">
                  <c:v>0.125020508613619</c:v>
                </c:pt>
                <c:pt idx="1">
                  <c:v>0.130721099659551</c:v>
                </c:pt>
                <c:pt idx="2">
                  <c:v>0.144137809808402</c:v>
                </c:pt>
                <c:pt idx="3">
                  <c:v>0.137037732307115</c:v>
                </c:pt>
                <c:pt idx="4">
                  <c:v>0.122385503607654</c:v>
                </c:pt>
                <c:pt idx="5">
                  <c:v>0.0767266148770884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Sheet1!#REF!,Sheet1!#REF!,Sheet1!#REF!,Sheet1!#REF!,Sheet1!#REF!,Sheet1!#REF!,Sheet1!#REF!)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0-DA54-440C-9E18-E79C03D1C53F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Brand erosion within brand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:$B$7</c:f>
              <c:numCache>
                <c:formatCode>###0.0%</c:formatCode>
                <c:ptCount val="6"/>
                <c:pt idx="0">
                  <c:v>0.101609572572206</c:v>
                </c:pt>
                <c:pt idx="1">
                  <c:v>0.102038622869293</c:v>
                </c:pt>
                <c:pt idx="2">
                  <c:v>0.00298822288627175</c:v>
                </c:pt>
                <c:pt idx="3">
                  <c:v>0.0594143044865778</c:v>
                </c:pt>
                <c:pt idx="4">
                  <c:v>0.0985517244145329</c:v>
                </c:pt>
                <c:pt idx="5">
                  <c:v>0.17463020112802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Sheet1!#REF!,Sheet1!#REF!,Sheet1!#REF!,Sheet1!#REF!,Sheet1!#REF!,Sheet1!#REF!,Sheet1!#REF!)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1-DA54-440C-9E18-E79C03D1C53F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Fast Eur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2:$C$7</c:f>
              <c:numCache>
                <c:formatCode>###0.0%</c:formatCode>
                <c:ptCount val="6"/>
                <c:pt idx="0">
                  <c:v>0.208932137704735</c:v>
                </c:pt>
                <c:pt idx="1">
                  <c:v>0.226880308611133</c:v>
                </c:pt>
                <c:pt idx="2">
                  <c:v>0.111970469326771</c:v>
                </c:pt>
                <c:pt idx="3">
                  <c:v>0.283930917965084</c:v>
                </c:pt>
                <c:pt idx="4">
                  <c:v>0.199983154922572</c:v>
                </c:pt>
                <c:pt idx="5">
                  <c:v>0.185165478344152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Sheet1!#REF!,Sheet1!#REF!,Sheet1!#REF!,Sheet1!#REF!,Sheet1!#REF!,Sheet1!#REF!,Sheet1!#REF!)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2-DA54-440C-9E18-E79C03D1C53F}"/>
            </c:ext>
          </c:extLst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Defended market share</c:v>
                </c:pt>
              </c:strCache>
            </c:strRef>
          </c:tx>
          <c:spPr>
            <a:solidFill>
              <a:srgbClr val="F4C000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accent5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D$2:$D$7</c:f>
              <c:numCache>
                <c:formatCode>###0.0%</c:formatCode>
                <c:ptCount val="6"/>
                <c:pt idx="0">
                  <c:v>0.144861531498404</c:v>
                </c:pt>
                <c:pt idx="1">
                  <c:v>0.127531575706168</c:v>
                </c:pt>
                <c:pt idx="2">
                  <c:v>0.0954473545438566</c:v>
                </c:pt>
                <c:pt idx="3">
                  <c:v>0.13347099680871</c:v>
                </c:pt>
                <c:pt idx="4">
                  <c:v>0.15489449767578</c:v>
                </c:pt>
                <c:pt idx="5">
                  <c:v>0.182398637863148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Sheet1!#REF!,Sheet1!#REF!,Sheet1!#REF!,Sheet1!#REF!,Sheet1!#REF!,Sheet1!#REF!,Sheet1!#REF!)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3-DA54-440C-9E18-E79C03D1C53F}"/>
            </c:ext>
          </c:extLst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Loyalty bonus for regular buyers</c:v>
                </c:pt>
              </c:strCache>
            </c:strRef>
          </c:tx>
          <c:spPr>
            <a:solidFill>
              <a:srgbClr val="F6F600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accent5">
                        <a:lumMod val="50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E$2:$E$7</c:f>
              <c:numCache>
                <c:formatCode>###0.0%</c:formatCode>
                <c:ptCount val="6"/>
                <c:pt idx="0">
                  <c:v>0.187617889168627</c:v>
                </c:pt>
                <c:pt idx="1">
                  <c:v>0.178895111720483</c:v>
                </c:pt>
                <c:pt idx="2">
                  <c:v>0.211460713657936</c:v>
                </c:pt>
                <c:pt idx="3">
                  <c:v>0.0889806645391403</c:v>
                </c:pt>
                <c:pt idx="4">
                  <c:v>0.198412953062394</c:v>
                </c:pt>
                <c:pt idx="5">
                  <c:v>0.165478344152389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Sheet1!#REF!,Sheet1!#REF!,Sheet1!#REF!,Sheet1!#REF!,Sheet1!#REF!,Sheet1!#REF!,Sheet1!#REF!)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4-DA54-440C-9E18-E79C03D1C53F}"/>
            </c:ext>
          </c:extLst>
        </c:ser>
        <c:ser>
          <c:idx val="5"/>
          <c:order val="5"/>
          <c:tx>
            <c:strRef>
              <c:f>Sheet1!$F$1</c:f>
              <c:strCache>
                <c:ptCount val="1"/>
                <c:pt idx="0">
                  <c:v>Brand investment within bran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F$2:$F$7</c:f>
              <c:numCache>
                <c:formatCode>###0.0%</c:formatCode>
                <c:ptCount val="6"/>
                <c:pt idx="0">
                  <c:v>0.100310599417274</c:v>
                </c:pt>
                <c:pt idx="1">
                  <c:v>0.0916537885037702</c:v>
                </c:pt>
                <c:pt idx="2">
                  <c:v>0.399191422042538</c:v>
                </c:pt>
                <c:pt idx="3">
                  <c:v>0.167918152806458</c:v>
                </c:pt>
                <c:pt idx="4">
                  <c:v>0.0966726961348565</c:v>
                </c:pt>
                <c:pt idx="5">
                  <c:v>0.155262317760988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Sheet1!#REF!,Sheet1!#REF!,Sheet1!#REF!,Sheet1!#REF!,Sheet1!#REF!,Sheet1!#REF!,Sheet1!#REF!)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5-DA54-440C-9E18-E79C03D1C53F}"/>
            </c:ext>
          </c:extLst>
        </c:ser>
        <c:ser>
          <c:idx val="6"/>
          <c:order val="6"/>
          <c:tx>
            <c:strRef>
              <c:f>Sheet1!$G$1</c:f>
              <c:strCache>
                <c:ptCount val="1"/>
                <c:pt idx="0">
                  <c:v>Brand investment other brands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G$2:$G$7</c:f>
              <c:numCache>
                <c:formatCode>###0.0%</c:formatCode>
                <c:ptCount val="6"/>
                <c:pt idx="0">
                  <c:v>0.131647761025149</c:v>
                </c:pt>
                <c:pt idx="1">
                  <c:v>0.142279492929597</c:v>
                </c:pt>
                <c:pt idx="2">
                  <c:v>0.0348040077342239</c:v>
                </c:pt>
                <c:pt idx="3">
                  <c:v>0.129247231086916</c:v>
                </c:pt>
                <c:pt idx="4">
                  <c:v>0.129099470182207</c:v>
                </c:pt>
                <c:pt idx="5">
                  <c:v>0.0603384058742152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Sheet1!#REF!,Sheet1!#REF!,Sheet1!#REF!,Sheet1!#REF!,Sheet1!#REF!,Sheet1!#REF!,Sheet1!#REF!)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6-DA54-440C-9E18-E79C03D1C53F}"/>
            </c:ext>
          </c:extLst>
        </c:ser>
        <c:ser>
          <c:idx val="7"/>
          <c:order val="7"/>
          <c:tx>
            <c:strRef>
              <c:f>Sheet1!$H$1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H$2</c:f>
              <c:numCache>
                <c:formatCode>0%</c:formatCode>
                <c:ptCount val="1"/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filteredCategoryTitle>
                <c15:cat>
                  <c:multiLvlStrRef>
                    <c:extLst>
                      <c:ext uri="{02D57815-91ED-43cb-92C2-25804820EDAC}">
                        <c15:formulaRef>
                          <c15:sqref>(Sheet1!#REF!,Sheet1!#REF!,Sheet1!#REF!,Sheet1!#REF!,Sheet1!#REF!,Sheet1!#REF!,Sheet1!#REF!)</c15:sqref>
                        </c15:formulaRef>
                      </c:ext>
                    </c:extLst>
                  </c:multiLvlStrRef>
                </c15:cat>
              </c15:filteredCategoryTitle>
            </c:ext>
            <c:ext xmlns:c16="http://schemas.microsoft.com/office/drawing/2014/chart" uri="{C3380CC4-5D6E-409C-BE32-E72D297353CC}">
              <c16:uniqueId val="{00000007-DA54-440C-9E18-E79C03D1C5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1829666520"/>
        <c:axId val="1829657192"/>
      </c:barChart>
      <c:catAx>
        <c:axId val="1829666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txPr>
          <a:bodyPr/>
          <a:lstStyle/>
          <a:p>
            <a:pPr>
              <a:defRPr b="1">
                <a:solidFill>
                  <a:schemeClr val="tx1"/>
                </a:solidFill>
              </a:defRPr>
            </a:pPr>
            <a:endParaRPr lang="en-US"/>
          </a:p>
        </c:txPr>
        <c:crossAx val="1829657192"/>
        <c:crosses val="autoZero"/>
        <c:auto val="1"/>
        <c:lblAlgn val="ctr"/>
        <c:lblOffset val="100"/>
        <c:noMultiLvlLbl val="0"/>
      </c:catAx>
      <c:valAx>
        <c:axId val="182965719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182966652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000">
          <a:solidFill>
            <a:srgbClr val="FF0000"/>
          </a:solidFill>
          <a:latin typeface="+mn-lt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ustomers (</a:t>
            </a:r>
            <a:r>
              <a:rPr lang="en-US" dirty="0" err="1"/>
              <a:t>mln</a:t>
            </a:r>
            <a:r>
              <a:rPr lang="en-US" dirty="0"/>
              <a:t>.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15140469416785"/>
          <c:y val="0.346184629123541"/>
          <c:w val="0.733630963822998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Customer A.</c:v>
                </c:pt>
                <c:pt idx="1">
                  <c:v>Customer B</c:v>
                </c:pt>
                <c:pt idx="2">
                  <c:v>Customer C</c:v>
                </c:pt>
                <c:pt idx="3">
                  <c:v>Customer D</c:v>
                </c:pt>
                <c:pt idx="4">
                  <c:v>Customer E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330.0</c:v>
                </c:pt>
                <c:pt idx="1">
                  <c:v>170.0</c:v>
                </c:pt>
                <c:pt idx="2">
                  <c:v>70.0</c:v>
                </c:pt>
                <c:pt idx="3">
                  <c:v>40.0</c:v>
                </c:pt>
                <c:pt idx="4">
                  <c:v>4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FFA-4326-A9BE-B44165B320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-2125129192"/>
        <c:axId val="-2125140328"/>
      </c:barChart>
      <c:catAx>
        <c:axId val="-21251291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5140328"/>
        <c:crosses val="autoZero"/>
        <c:auto val="1"/>
        <c:lblAlgn val="ctr"/>
        <c:lblOffset val="100"/>
        <c:noMultiLvlLbl val="0"/>
      </c:catAx>
      <c:valAx>
        <c:axId val="-2125140328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51291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Brands (</a:t>
            </a:r>
            <a:r>
              <a:rPr lang="en-US" dirty="0" err="1"/>
              <a:t>mln</a:t>
            </a:r>
            <a:r>
              <a:rPr lang="en-US" dirty="0"/>
              <a:t>.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6</c:f>
              <c:strCache>
                <c:ptCount val="5"/>
                <c:pt idx="0">
                  <c:v>Customer F</c:v>
                </c:pt>
                <c:pt idx="1">
                  <c:v>Customer G</c:v>
                </c:pt>
                <c:pt idx="2">
                  <c:v>Customer H</c:v>
                </c:pt>
                <c:pt idx="3">
                  <c:v>Customer I</c:v>
                </c:pt>
                <c:pt idx="4">
                  <c:v>Customer J</c:v>
                </c:pt>
              </c:strCache>
            </c:strRef>
          </c:cat>
          <c:val>
            <c:numRef>
              <c:f>Blad1!$B$2:$B$6</c:f>
              <c:numCache>
                <c:formatCode>General</c:formatCode>
                <c:ptCount val="5"/>
                <c:pt idx="0">
                  <c:v>130.0</c:v>
                </c:pt>
                <c:pt idx="1">
                  <c:v>125.0</c:v>
                </c:pt>
                <c:pt idx="2">
                  <c:v>38.0</c:v>
                </c:pt>
                <c:pt idx="3">
                  <c:v>37.0</c:v>
                </c:pt>
                <c:pt idx="4">
                  <c:v>36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4EE-44B3-B5B6-6FDDA16442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-2125202648"/>
        <c:axId val="-2125209832"/>
      </c:barChart>
      <c:catAx>
        <c:axId val="-212520264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5209832"/>
        <c:crosses val="autoZero"/>
        <c:auto val="1"/>
        <c:lblAlgn val="ctr"/>
        <c:lblOffset val="100"/>
        <c:noMultiLvlLbl val="0"/>
      </c:catAx>
      <c:valAx>
        <c:axId val="-2125209832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252026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ustomers (</a:t>
            </a:r>
            <a:r>
              <a:rPr lang="en-US" dirty="0" err="1"/>
              <a:t>mln</a:t>
            </a:r>
            <a:r>
              <a:rPr lang="en-US" dirty="0"/>
              <a:t>.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215140469416785"/>
          <c:y val="0.346184629123541"/>
          <c:w val="0.733630963822998"/>
          <c:h val="0.5632810368481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Blad1!$B$1</c:f>
              <c:strCache>
                <c:ptCount val="1"/>
                <c:pt idx="0">
                  <c:v>Kolom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Blad1!$A$2:$A$5</c:f>
              <c:strCache>
                <c:ptCount val="4"/>
                <c:pt idx="0">
                  <c:v>Customer G</c:v>
                </c:pt>
                <c:pt idx="1">
                  <c:v>Customer H</c:v>
                </c:pt>
                <c:pt idx="2">
                  <c:v>Customer I</c:v>
                </c:pt>
                <c:pt idx="3">
                  <c:v>Customer J</c:v>
                </c:pt>
              </c:strCache>
            </c:strRef>
          </c:cat>
          <c:val>
            <c:numRef>
              <c:f>Blad1!$B$2:$B$5</c:f>
              <c:numCache>
                <c:formatCode>General</c:formatCode>
                <c:ptCount val="4"/>
                <c:pt idx="0">
                  <c:v>330.0</c:v>
                </c:pt>
                <c:pt idx="1">
                  <c:v>170.0</c:v>
                </c:pt>
                <c:pt idx="2">
                  <c:v>70.0</c:v>
                </c:pt>
                <c:pt idx="3">
                  <c:v>4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FFA-4326-A9BE-B44165B320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829394984"/>
        <c:axId val="1829389944"/>
      </c:barChart>
      <c:catAx>
        <c:axId val="18293949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9389944"/>
        <c:crosses val="autoZero"/>
        <c:auto val="1"/>
        <c:lblAlgn val="ctr"/>
        <c:lblOffset val="100"/>
        <c:noMultiLvlLbl val="0"/>
      </c:catAx>
      <c:valAx>
        <c:axId val="1829389944"/>
        <c:scaling>
          <c:orientation val="minMax"/>
        </c:scaling>
        <c:delete val="0"/>
        <c:axPos val="t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9394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xmlns="" id="{9BEB3B5C-DDCD-4585-A08E-EB4325C8E4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xmlns="" id="{ECDFF8A8-F6B5-4E2D-A9E8-222F13D7B53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1603BA-C884-447D-BBA2-2FA8972D9616}" type="datetimeFigureOut">
              <a:rPr lang="nl-NL" smtClean="0"/>
              <a:t>6/10/18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7AC27F5E-BEB3-4C15-96C2-3DF59BA8990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xmlns="" id="{A639FC16-67BF-4761-869C-FA52C8E74D2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BBC9E9-857D-4518-9542-B58FF3130FE2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14883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42D368-C6FE-4A21-B816-917D2754C4AE}" type="datetimeFigureOut">
              <a:rPr lang="nl-NL" smtClean="0"/>
              <a:t>6/10/18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B8718D-88FD-4BD8-8731-E62EBA5293E7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976218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4.png"/><Relationship Id="rId12" Type="http://schemas.openxmlformats.org/officeDocument/2006/relationships/image" Target="../media/image15.png"/><Relationship Id="rId13" Type="http://schemas.openxmlformats.org/officeDocument/2006/relationships/image" Target="../media/image16.png"/><Relationship Id="rId14" Type="http://schemas.openxmlformats.org/officeDocument/2006/relationships/image" Target="../media/image17.png"/><Relationship Id="rId15" Type="http://schemas.openxmlformats.org/officeDocument/2006/relationships/image" Target="../media/image18.png"/><Relationship Id="rId16" Type="http://schemas.openxmlformats.org/officeDocument/2006/relationships/image" Target="../media/image19.png"/><Relationship Id="rId17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6" Type="http://schemas.openxmlformats.org/officeDocument/2006/relationships/image" Target="../media/image9.png"/><Relationship Id="rId7" Type="http://schemas.openxmlformats.org/officeDocument/2006/relationships/image" Target="../media/image10.png"/><Relationship Id="rId8" Type="http://schemas.openxmlformats.org/officeDocument/2006/relationships/image" Target="../media/image11.png"/><Relationship Id="rId9" Type="http://schemas.openxmlformats.org/officeDocument/2006/relationships/image" Target="../media/image12.png"/><Relationship Id="rId10" Type="http://schemas.openxmlformats.org/officeDocument/2006/relationships/image" Target="../media/image1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4" Type="http://schemas.openxmlformats.org/officeDocument/2006/relationships/image" Target="../media/image32.jpeg"/><Relationship Id="rId5" Type="http://schemas.openxmlformats.org/officeDocument/2006/relationships/image" Target="../media/image33.jpg"/><Relationship Id="rId6" Type="http://schemas.openxmlformats.org/officeDocument/2006/relationships/image" Target="../media/image34.jpeg"/><Relationship Id="rId7" Type="http://schemas.openxmlformats.org/officeDocument/2006/relationships/image" Target="../media/image35.jp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0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25.png"/><Relationship Id="rId5" Type="http://schemas.openxmlformats.org/officeDocument/2006/relationships/image" Target="../media/image26.png"/><Relationship Id="rId6" Type="http://schemas.openxmlformats.org/officeDocument/2006/relationships/image" Target="../media/image2.png"/><Relationship Id="rId7" Type="http://schemas.openxmlformats.org/officeDocument/2006/relationships/image" Target="../media/image3.png"/><Relationship Id="rId8" Type="http://schemas.openxmlformats.org/officeDocument/2006/relationships/image" Target="../media/image27.png"/><Relationship Id="rId9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4.jpeg"/></Relationships>
</file>

<file path=ppt/slideLayouts/_rels/slideLayout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8.png"/><Relationship Id="rId12" Type="http://schemas.openxmlformats.org/officeDocument/2006/relationships/image" Target="../media/image19.png"/><Relationship Id="rId13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Relationship Id="rId3" Type="http://schemas.openxmlformats.org/officeDocument/2006/relationships/image" Target="../media/image6.png"/><Relationship Id="rId4" Type="http://schemas.openxmlformats.org/officeDocument/2006/relationships/image" Target="../media/image8.pn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openxmlformats.org/officeDocument/2006/relationships/image" Target="../media/image21.png"/><Relationship Id="rId8" Type="http://schemas.openxmlformats.org/officeDocument/2006/relationships/image" Target="../media/image17.png"/><Relationship Id="rId9" Type="http://schemas.openxmlformats.org/officeDocument/2006/relationships/image" Target="../media/image10.png"/><Relationship Id="rId10" Type="http://schemas.openxmlformats.org/officeDocument/2006/relationships/image" Target="../media/image2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6.pn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openxmlformats.org/officeDocument/2006/relationships/image" Target="../media/image2.png"/><Relationship Id="rId8" Type="http://schemas.openxmlformats.org/officeDocument/2006/relationships/image" Target="../media/image3.png"/><Relationship Id="rId9" Type="http://schemas.openxmlformats.org/officeDocument/2006/relationships/image" Target="../media/image19.png"/><Relationship Id="rId10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8.png"/><Relationship Id="rId5" Type="http://schemas.openxmlformats.org/officeDocument/2006/relationships/image" Target="../media/image25.png"/><Relationship Id="rId6" Type="http://schemas.openxmlformats.org/officeDocument/2006/relationships/image" Target="../media/image26.png"/><Relationship Id="rId7" Type="http://schemas.openxmlformats.org/officeDocument/2006/relationships/image" Target="../media/image2.png"/><Relationship Id="rId8" Type="http://schemas.openxmlformats.org/officeDocument/2006/relationships/image" Target="../media/image3.png"/><Relationship Id="rId9" Type="http://schemas.openxmlformats.org/officeDocument/2006/relationships/image" Target="../media/image27.png"/><Relationship Id="rId10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4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8.png"/><Relationship Id="rId5" Type="http://schemas.openxmlformats.org/officeDocument/2006/relationships/image" Target="../media/image25.png"/><Relationship Id="rId6" Type="http://schemas.openxmlformats.org/officeDocument/2006/relationships/image" Target="../media/image26.png"/><Relationship Id="rId7" Type="http://schemas.openxmlformats.org/officeDocument/2006/relationships/image" Target="../media/image2.png"/><Relationship Id="rId8" Type="http://schemas.openxmlformats.org/officeDocument/2006/relationships/image" Target="../media/image3.png"/><Relationship Id="rId9" Type="http://schemas.openxmlformats.org/officeDocument/2006/relationships/image" Target="../media/image27.png"/><Relationship Id="rId10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4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8.png"/><Relationship Id="rId5" Type="http://schemas.openxmlformats.org/officeDocument/2006/relationships/image" Target="../media/image25.png"/><Relationship Id="rId6" Type="http://schemas.openxmlformats.org/officeDocument/2006/relationships/image" Target="../media/image26.png"/><Relationship Id="rId7" Type="http://schemas.openxmlformats.org/officeDocument/2006/relationships/image" Target="../media/image2.png"/><Relationship Id="rId8" Type="http://schemas.openxmlformats.org/officeDocument/2006/relationships/image" Target="../media/image3.png"/><Relationship Id="rId9" Type="http://schemas.openxmlformats.org/officeDocument/2006/relationships/image" Target="../media/image27.png"/><Relationship Id="rId10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4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8.png"/><Relationship Id="rId5" Type="http://schemas.openxmlformats.org/officeDocument/2006/relationships/image" Target="../media/image25.png"/><Relationship Id="rId6" Type="http://schemas.openxmlformats.org/officeDocument/2006/relationships/image" Target="../media/image26.png"/><Relationship Id="rId7" Type="http://schemas.openxmlformats.org/officeDocument/2006/relationships/image" Target="../media/image2.png"/><Relationship Id="rId8" Type="http://schemas.openxmlformats.org/officeDocument/2006/relationships/image" Target="../media/image3.png"/><Relationship Id="rId9" Type="http://schemas.openxmlformats.org/officeDocument/2006/relationships/image" Target="../media/image27.png"/><Relationship Id="rId10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9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imatie -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5D440-65CA-4841-9632-A253F49905E9}" type="datetime1">
              <a:rPr lang="en-US" smtClean="0"/>
              <a:t>6/10/18</a:t>
            </a:fld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Ovaal 1a"/>
          <p:cNvSpPr/>
          <p:nvPr userDrawn="1"/>
        </p:nvSpPr>
        <p:spPr>
          <a:xfrm>
            <a:off x="8546431" y="2748414"/>
            <a:ext cx="866275" cy="866275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Ovaal 1b"/>
          <p:cNvSpPr/>
          <p:nvPr userDrawn="1"/>
        </p:nvSpPr>
        <p:spPr>
          <a:xfrm>
            <a:off x="8610600" y="2780498"/>
            <a:ext cx="866275" cy="866275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Ovaal 2a"/>
          <p:cNvSpPr/>
          <p:nvPr userDrawn="1"/>
        </p:nvSpPr>
        <p:spPr>
          <a:xfrm>
            <a:off x="9877124" y="3239161"/>
            <a:ext cx="1187118" cy="1187118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Ovaal 2b"/>
          <p:cNvSpPr/>
          <p:nvPr userDrawn="1"/>
        </p:nvSpPr>
        <p:spPr>
          <a:xfrm>
            <a:off x="9909208" y="3303329"/>
            <a:ext cx="1187118" cy="1187118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Ovaal 3a"/>
          <p:cNvSpPr/>
          <p:nvPr userDrawn="1"/>
        </p:nvSpPr>
        <p:spPr>
          <a:xfrm>
            <a:off x="9721517" y="4924929"/>
            <a:ext cx="1614633" cy="1614633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Ovaal 3b"/>
          <p:cNvSpPr/>
          <p:nvPr userDrawn="1"/>
        </p:nvSpPr>
        <p:spPr>
          <a:xfrm>
            <a:off x="9689433" y="5037224"/>
            <a:ext cx="1614633" cy="1614633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Ovaal 4a"/>
          <p:cNvSpPr/>
          <p:nvPr userDrawn="1"/>
        </p:nvSpPr>
        <p:spPr>
          <a:xfrm>
            <a:off x="7427492" y="-121926"/>
            <a:ext cx="866275" cy="866275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Ovaal 4b"/>
          <p:cNvSpPr/>
          <p:nvPr userDrawn="1"/>
        </p:nvSpPr>
        <p:spPr>
          <a:xfrm>
            <a:off x="7491661" y="-89842"/>
            <a:ext cx="866275" cy="866275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7" name="Ovaal 5a"/>
          <p:cNvSpPr/>
          <p:nvPr userDrawn="1"/>
        </p:nvSpPr>
        <p:spPr>
          <a:xfrm>
            <a:off x="6994355" y="2197767"/>
            <a:ext cx="866275" cy="866275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Ovaal 5b"/>
          <p:cNvSpPr/>
          <p:nvPr userDrawn="1"/>
        </p:nvSpPr>
        <p:spPr>
          <a:xfrm>
            <a:off x="7058524" y="2229851"/>
            <a:ext cx="866275" cy="866275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Ovaal 6a"/>
          <p:cNvSpPr/>
          <p:nvPr userDrawn="1"/>
        </p:nvSpPr>
        <p:spPr>
          <a:xfrm>
            <a:off x="5759111" y="5638631"/>
            <a:ext cx="866275" cy="866275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Ovaal 6b"/>
          <p:cNvSpPr/>
          <p:nvPr userDrawn="1"/>
        </p:nvSpPr>
        <p:spPr>
          <a:xfrm>
            <a:off x="5823280" y="5670715"/>
            <a:ext cx="866275" cy="866275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Ovaal 7"/>
          <p:cNvSpPr/>
          <p:nvPr userDrawn="1"/>
        </p:nvSpPr>
        <p:spPr>
          <a:xfrm>
            <a:off x="9549864" y="1688432"/>
            <a:ext cx="952903" cy="952903"/>
          </a:xfrm>
          <a:prstGeom prst="ellipse">
            <a:avLst/>
          </a:prstGeom>
          <a:solidFill>
            <a:schemeClr val="bg1">
              <a:alpha val="25000"/>
            </a:schemeClr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Ovaal 8"/>
          <p:cNvSpPr/>
          <p:nvPr userDrawn="1"/>
        </p:nvSpPr>
        <p:spPr>
          <a:xfrm>
            <a:off x="10635052" y="2113080"/>
            <a:ext cx="1881404" cy="1881404"/>
          </a:xfrm>
          <a:prstGeom prst="ellipse">
            <a:avLst/>
          </a:prstGeom>
          <a:solidFill>
            <a:schemeClr val="bg1">
              <a:alpha val="20000"/>
            </a:schemeClr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al 9"/>
          <p:cNvSpPr/>
          <p:nvPr userDrawn="1"/>
        </p:nvSpPr>
        <p:spPr>
          <a:xfrm>
            <a:off x="8097251" y="4808615"/>
            <a:ext cx="1387646" cy="1387646"/>
          </a:xfrm>
          <a:prstGeom prst="ellipse">
            <a:avLst/>
          </a:prstGeom>
          <a:solidFill>
            <a:schemeClr val="bg1">
              <a:alpha val="15000"/>
            </a:schemeClr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Ovaal 10"/>
          <p:cNvSpPr/>
          <p:nvPr userDrawn="1"/>
        </p:nvSpPr>
        <p:spPr>
          <a:xfrm>
            <a:off x="10191083" y="-336550"/>
            <a:ext cx="1048815" cy="1048815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Ovaal 8"/>
          <p:cNvSpPr/>
          <p:nvPr userDrawn="1"/>
        </p:nvSpPr>
        <p:spPr>
          <a:xfrm>
            <a:off x="32086" y="5778999"/>
            <a:ext cx="1700465" cy="1700465"/>
          </a:xfrm>
          <a:prstGeom prst="ellipse">
            <a:avLst/>
          </a:prstGeom>
          <a:solidFill>
            <a:schemeClr val="bg1">
              <a:alpha val="15000"/>
            </a:schemeClr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Freeform 6"/>
          <p:cNvSpPr>
            <a:spLocks/>
          </p:cNvSpPr>
          <p:nvPr userDrawn="1"/>
        </p:nvSpPr>
        <p:spPr bwMode="auto">
          <a:xfrm>
            <a:off x="4264158" y="2817376"/>
            <a:ext cx="290149" cy="336619"/>
          </a:xfrm>
          <a:custGeom>
            <a:avLst/>
            <a:gdLst>
              <a:gd name="T0" fmla="*/ 131 w 256"/>
              <a:gd name="T1" fmla="*/ 0 h 297"/>
              <a:gd name="T2" fmla="*/ 163 w 256"/>
              <a:gd name="T3" fmla="*/ 3 h 297"/>
              <a:gd name="T4" fmla="*/ 191 w 256"/>
              <a:gd name="T5" fmla="*/ 14 h 297"/>
              <a:gd name="T6" fmla="*/ 212 w 256"/>
              <a:gd name="T7" fmla="*/ 28 h 297"/>
              <a:gd name="T8" fmla="*/ 231 w 256"/>
              <a:gd name="T9" fmla="*/ 47 h 297"/>
              <a:gd name="T10" fmla="*/ 243 w 256"/>
              <a:gd name="T11" fmla="*/ 70 h 297"/>
              <a:gd name="T12" fmla="*/ 252 w 256"/>
              <a:gd name="T13" fmla="*/ 98 h 297"/>
              <a:gd name="T14" fmla="*/ 254 w 256"/>
              <a:gd name="T15" fmla="*/ 122 h 297"/>
              <a:gd name="T16" fmla="*/ 256 w 256"/>
              <a:gd name="T17" fmla="*/ 156 h 297"/>
              <a:gd name="T18" fmla="*/ 256 w 256"/>
              <a:gd name="T19" fmla="*/ 297 h 297"/>
              <a:gd name="T20" fmla="*/ 173 w 256"/>
              <a:gd name="T21" fmla="*/ 297 h 297"/>
              <a:gd name="T22" fmla="*/ 173 w 256"/>
              <a:gd name="T23" fmla="*/ 140 h 297"/>
              <a:gd name="T24" fmla="*/ 173 w 256"/>
              <a:gd name="T25" fmla="*/ 119 h 297"/>
              <a:gd name="T26" fmla="*/ 170 w 256"/>
              <a:gd name="T27" fmla="*/ 100 h 297"/>
              <a:gd name="T28" fmla="*/ 165 w 256"/>
              <a:gd name="T29" fmla="*/ 84 h 297"/>
              <a:gd name="T30" fmla="*/ 156 w 256"/>
              <a:gd name="T31" fmla="*/ 73 h 297"/>
              <a:gd name="T32" fmla="*/ 142 w 256"/>
              <a:gd name="T33" fmla="*/ 66 h 297"/>
              <a:gd name="T34" fmla="*/ 123 w 256"/>
              <a:gd name="T35" fmla="*/ 63 h 297"/>
              <a:gd name="T36" fmla="*/ 103 w 256"/>
              <a:gd name="T37" fmla="*/ 65 h 297"/>
              <a:gd name="T38" fmla="*/ 82 w 256"/>
              <a:gd name="T39" fmla="*/ 72 h 297"/>
              <a:gd name="T40" fmla="*/ 82 w 256"/>
              <a:gd name="T41" fmla="*/ 297 h 297"/>
              <a:gd name="T42" fmla="*/ 0 w 256"/>
              <a:gd name="T43" fmla="*/ 297 h 297"/>
              <a:gd name="T44" fmla="*/ 0 w 256"/>
              <a:gd name="T45" fmla="*/ 26 h 297"/>
              <a:gd name="T46" fmla="*/ 40 w 256"/>
              <a:gd name="T47" fmla="*/ 14 h 297"/>
              <a:gd name="T48" fmla="*/ 84 w 256"/>
              <a:gd name="T49" fmla="*/ 3 h 297"/>
              <a:gd name="T50" fmla="*/ 131 w 256"/>
              <a:gd name="T51" fmla="*/ 0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56" h="297">
                <a:moveTo>
                  <a:pt x="131" y="0"/>
                </a:moveTo>
                <a:lnTo>
                  <a:pt x="163" y="3"/>
                </a:lnTo>
                <a:lnTo>
                  <a:pt x="191" y="14"/>
                </a:lnTo>
                <a:lnTo>
                  <a:pt x="212" y="28"/>
                </a:lnTo>
                <a:lnTo>
                  <a:pt x="231" y="47"/>
                </a:lnTo>
                <a:lnTo>
                  <a:pt x="243" y="70"/>
                </a:lnTo>
                <a:lnTo>
                  <a:pt x="252" y="98"/>
                </a:lnTo>
                <a:lnTo>
                  <a:pt x="254" y="122"/>
                </a:lnTo>
                <a:lnTo>
                  <a:pt x="256" y="156"/>
                </a:lnTo>
                <a:lnTo>
                  <a:pt x="256" y="297"/>
                </a:lnTo>
                <a:lnTo>
                  <a:pt x="173" y="297"/>
                </a:lnTo>
                <a:lnTo>
                  <a:pt x="173" y="140"/>
                </a:lnTo>
                <a:lnTo>
                  <a:pt x="173" y="119"/>
                </a:lnTo>
                <a:lnTo>
                  <a:pt x="170" y="100"/>
                </a:lnTo>
                <a:lnTo>
                  <a:pt x="165" y="84"/>
                </a:lnTo>
                <a:lnTo>
                  <a:pt x="156" y="73"/>
                </a:lnTo>
                <a:lnTo>
                  <a:pt x="142" y="66"/>
                </a:lnTo>
                <a:lnTo>
                  <a:pt x="123" y="63"/>
                </a:lnTo>
                <a:lnTo>
                  <a:pt x="103" y="65"/>
                </a:lnTo>
                <a:lnTo>
                  <a:pt x="82" y="72"/>
                </a:lnTo>
                <a:lnTo>
                  <a:pt x="82" y="297"/>
                </a:lnTo>
                <a:lnTo>
                  <a:pt x="0" y="297"/>
                </a:lnTo>
                <a:lnTo>
                  <a:pt x="0" y="26"/>
                </a:lnTo>
                <a:lnTo>
                  <a:pt x="40" y="14"/>
                </a:lnTo>
                <a:lnTo>
                  <a:pt x="84" y="3"/>
                </a:lnTo>
                <a:lnTo>
                  <a:pt x="131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Freeform 7"/>
          <p:cNvSpPr>
            <a:spLocks/>
          </p:cNvSpPr>
          <p:nvPr userDrawn="1"/>
        </p:nvSpPr>
        <p:spPr bwMode="auto">
          <a:xfrm>
            <a:off x="6572888" y="2817376"/>
            <a:ext cx="290149" cy="336619"/>
          </a:xfrm>
          <a:custGeom>
            <a:avLst/>
            <a:gdLst>
              <a:gd name="T0" fmla="*/ 130 w 256"/>
              <a:gd name="T1" fmla="*/ 0 h 297"/>
              <a:gd name="T2" fmla="*/ 163 w 256"/>
              <a:gd name="T3" fmla="*/ 3 h 297"/>
              <a:gd name="T4" fmla="*/ 189 w 256"/>
              <a:gd name="T5" fmla="*/ 14 h 297"/>
              <a:gd name="T6" fmla="*/ 212 w 256"/>
              <a:gd name="T7" fmla="*/ 28 h 297"/>
              <a:gd name="T8" fmla="*/ 229 w 256"/>
              <a:gd name="T9" fmla="*/ 47 h 297"/>
              <a:gd name="T10" fmla="*/ 243 w 256"/>
              <a:gd name="T11" fmla="*/ 70 h 297"/>
              <a:gd name="T12" fmla="*/ 250 w 256"/>
              <a:gd name="T13" fmla="*/ 98 h 297"/>
              <a:gd name="T14" fmla="*/ 254 w 256"/>
              <a:gd name="T15" fmla="*/ 122 h 297"/>
              <a:gd name="T16" fmla="*/ 256 w 256"/>
              <a:gd name="T17" fmla="*/ 156 h 297"/>
              <a:gd name="T18" fmla="*/ 256 w 256"/>
              <a:gd name="T19" fmla="*/ 297 h 297"/>
              <a:gd name="T20" fmla="*/ 172 w 256"/>
              <a:gd name="T21" fmla="*/ 297 h 297"/>
              <a:gd name="T22" fmla="*/ 173 w 256"/>
              <a:gd name="T23" fmla="*/ 140 h 297"/>
              <a:gd name="T24" fmla="*/ 172 w 256"/>
              <a:gd name="T25" fmla="*/ 119 h 297"/>
              <a:gd name="T26" fmla="*/ 170 w 256"/>
              <a:gd name="T27" fmla="*/ 100 h 297"/>
              <a:gd name="T28" fmla="*/ 165 w 256"/>
              <a:gd name="T29" fmla="*/ 84 h 297"/>
              <a:gd name="T30" fmla="*/ 156 w 256"/>
              <a:gd name="T31" fmla="*/ 73 h 297"/>
              <a:gd name="T32" fmla="*/ 142 w 256"/>
              <a:gd name="T33" fmla="*/ 66 h 297"/>
              <a:gd name="T34" fmla="*/ 123 w 256"/>
              <a:gd name="T35" fmla="*/ 63 h 297"/>
              <a:gd name="T36" fmla="*/ 103 w 256"/>
              <a:gd name="T37" fmla="*/ 65 h 297"/>
              <a:gd name="T38" fmla="*/ 82 w 256"/>
              <a:gd name="T39" fmla="*/ 72 h 297"/>
              <a:gd name="T40" fmla="*/ 82 w 256"/>
              <a:gd name="T41" fmla="*/ 297 h 297"/>
              <a:gd name="T42" fmla="*/ 0 w 256"/>
              <a:gd name="T43" fmla="*/ 297 h 297"/>
              <a:gd name="T44" fmla="*/ 0 w 256"/>
              <a:gd name="T45" fmla="*/ 26 h 297"/>
              <a:gd name="T46" fmla="*/ 40 w 256"/>
              <a:gd name="T47" fmla="*/ 14 h 297"/>
              <a:gd name="T48" fmla="*/ 84 w 256"/>
              <a:gd name="T49" fmla="*/ 3 h 297"/>
              <a:gd name="T50" fmla="*/ 130 w 256"/>
              <a:gd name="T51" fmla="*/ 0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56" h="297">
                <a:moveTo>
                  <a:pt x="130" y="0"/>
                </a:moveTo>
                <a:lnTo>
                  <a:pt x="163" y="3"/>
                </a:lnTo>
                <a:lnTo>
                  <a:pt x="189" y="14"/>
                </a:lnTo>
                <a:lnTo>
                  <a:pt x="212" y="28"/>
                </a:lnTo>
                <a:lnTo>
                  <a:pt x="229" y="47"/>
                </a:lnTo>
                <a:lnTo>
                  <a:pt x="243" y="70"/>
                </a:lnTo>
                <a:lnTo>
                  <a:pt x="250" y="98"/>
                </a:lnTo>
                <a:lnTo>
                  <a:pt x="254" y="122"/>
                </a:lnTo>
                <a:lnTo>
                  <a:pt x="256" y="156"/>
                </a:lnTo>
                <a:lnTo>
                  <a:pt x="256" y="297"/>
                </a:lnTo>
                <a:lnTo>
                  <a:pt x="172" y="297"/>
                </a:lnTo>
                <a:lnTo>
                  <a:pt x="173" y="140"/>
                </a:lnTo>
                <a:lnTo>
                  <a:pt x="172" y="119"/>
                </a:lnTo>
                <a:lnTo>
                  <a:pt x="170" y="100"/>
                </a:lnTo>
                <a:lnTo>
                  <a:pt x="165" y="84"/>
                </a:lnTo>
                <a:lnTo>
                  <a:pt x="156" y="73"/>
                </a:lnTo>
                <a:lnTo>
                  <a:pt x="142" y="66"/>
                </a:lnTo>
                <a:lnTo>
                  <a:pt x="123" y="63"/>
                </a:lnTo>
                <a:lnTo>
                  <a:pt x="103" y="65"/>
                </a:lnTo>
                <a:lnTo>
                  <a:pt x="82" y="72"/>
                </a:lnTo>
                <a:lnTo>
                  <a:pt x="82" y="297"/>
                </a:lnTo>
                <a:lnTo>
                  <a:pt x="0" y="297"/>
                </a:lnTo>
                <a:lnTo>
                  <a:pt x="0" y="26"/>
                </a:lnTo>
                <a:lnTo>
                  <a:pt x="40" y="14"/>
                </a:lnTo>
                <a:lnTo>
                  <a:pt x="84" y="3"/>
                </a:lnTo>
                <a:lnTo>
                  <a:pt x="130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8"/>
          <p:cNvSpPr>
            <a:spLocks noEditPoints="1"/>
          </p:cNvSpPr>
          <p:nvPr userDrawn="1"/>
        </p:nvSpPr>
        <p:spPr bwMode="auto">
          <a:xfrm>
            <a:off x="3924138" y="2819643"/>
            <a:ext cx="286750" cy="338886"/>
          </a:xfrm>
          <a:custGeom>
            <a:avLst/>
            <a:gdLst>
              <a:gd name="T0" fmla="*/ 148 w 253"/>
              <a:gd name="T1" fmla="*/ 61 h 299"/>
              <a:gd name="T2" fmla="*/ 131 w 253"/>
              <a:gd name="T3" fmla="*/ 64 h 299"/>
              <a:gd name="T4" fmla="*/ 113 w 253"/>
              <a:gd name="T5" fmla="*/ 75 h 299"/>
              <a:gd name="T6" fmla="*/ 99 w 253"/>
              <a:gd name="T7" fmla="*/ 92 h 299"/>
              <a:gd name="T8" fmla="*/ 89 w 253"/>
              <a:gd name="T9" fmla="*/ 115 h 299"/>
              <a:gd name="T10" fmla="*/ 85 w 253"/>
              <a:gd name="T11" fmla="*/ 143 h 299"/>
              <a:gd name="T12" fmla="*/ 87 w 253"/>
              <a:gd name="T13" fmla="*/ 178 h 299"/>
              <a:gd name="T14" fmla="*/ 92 w 253"/>
              <a:gd name="T15" fmla="*/ 201 h 299"/>
              <a:gd name="T16" fmla="*/ 103 w 253"/>
              <a:gd name="T17" fmla="*/ 217 h 299"/>
              <a:gd name="T18" fmla="*/ 113 w 253"/>
              <a:gd name="T19" fmla="*/ 229 h 299"/>
              <a:gd name="T20" fmla="*/ 125 w 253"/>
              <a:gd name="T21" fmla="*/ 234 h 299"/>
              <a:gd name="T22" fmla="*/ 136 w 253"/>
              <a:gd name="T23" fmla="*/ 236 h 299"/>
              <a:gd name="T24" fmla="*/ 153 w 253"/>
              <a:gd name="T25" fmla="*/ 232 h 299"/>
              <a:gd name="T26" fmla="*/ 169 w 253"/>
              <a:gd name="T27" fmla="*/ 224 h 299"/>
              <a:gd name="T28" fmla="*/ 169 w 253"/>
              <a:gd name="T29" fmla="*/ 61 h 299"/>
              <a:gd name="T30" fmla="*/ 162 w 253"/>
              <a:gd name="T31" fmla="*/ 61 h 299"/>
              <a:gd name="T32" fmla="*/ 155 w 253"/>
              <a:gd name="T33" fmla="*/ 61 h 299"/>
              <a:gd name="T34" fmla="*/ 148 w 253"/>
              <a:gd name="T35" fmla="*/ 61 h 299"/>
              <a:gd name="T36" fmla="*/ 155 w 253"/>
              <a:gd name="T37" fmla="*/ 0 h 299"/>
              <a:gd name="T38" fmla="*/ 181 w 253"/>
              <a:gd name="T39" fmla="*/ 1 h 299"/>
              <a:gd name="T40" fmla="*/ 208 w 253"/>
              <a:gd name="T41" fmla="*/ 5 h 299"/>
              <a:gd name="T42" fmla="*/ 232 w 253"/>
              <a:gd name="T43" fmla="*/ 8 h 299"/>
              <a:gd name="T44" fmla="*/ 251 w 253"/>
              <a:gd name="T45" fmla="*/ 14 h 299"/>
              <a:gd name="T46" fmla="*/ 253 w 253"/>
              <a:gd name="T47" fmla="*/ 295 h 299"/>
              <a:gd name="T48" fmla="*/ 190 w 253"/>
              <a:gd name="T49" fmla="*/ 295 h 299"/>
              <a:gd name="T50" fmla="*/ 188 w 253"/>
              <a:gd name="T51" fmla="*/ 295 h 299"/>
              <a:gd name="T52" fmla="*/ 188 w 253"/>
              <a:gd name="T53" fmla="*/ 292 h 299"/>
              <a:gd name="T54" fmla="*/ 185 w 253"/>
              <a:gd name="T55" fmla="*/ 288 h 299"/>
              <a:gd name="T56" fmla="*/ 183 w 253"/>
              <a:gd name="T57" fmla="*/ 281 h 299"/>
              <a:gd name="T58" fmla="*/ 181 w 253"/>
              <a:gd name="T59" fmla="*/ 276 h 299"/>
              <a:gd name="T60" fmla="*/ 176 w 253"/>
              <a:gd name="T61" fmla="*/ 280 h 299"/>
              <a:gd name="T62" fmla="*/ 167 w 253"/>
              <a:gd name="T63" fmla="*/ 287 h 299"/>
              <a:gd name="T64" fmla="*/ 155 w 253"/>
              <a:gd name="T65" fmla="*/ 292 h 299"/>
              <a:gd name="T66" fmla="*/ 139 w 253"/>
              <a:gd name="T67" fmla="*/ 297 h 299"/>
              <a:gd name="T68" fmla="*/ 118 w 253"/>
              <a:gd name="T69" fmla="*/ 299 h 299"/>
              <a:gd name="T70" fmla="*/ 87 w 253"/>
              <a:gd name="T71" fmla="*/ 294 h 299"/>
              <a:gd name="T72" fmla="*/ 59 w 253"/>
              <a:gd name="T73" fmla="*/ 278 h 299"/>
              <a:gd name="T74" fmla="*/ 34 w 253"/>
              <a:gd name="T75" fmla="*/ 253 h 299"/>
              <a:gd name="T76" fmla="*/ 15 w 253"/>
              <a:gd name="T77" fmla="*/ 222 h 299"/>
              <a:gd name="T78" fmla="*/ 5 w 253"/>
              <a:gd name="T79" fmla="*/ 185 h 299"/>
              <a:gd name="T80" fmla="*/ 0 w 253"/>
              <a:gd name="T81" fmla="*/ 147 h 299"/>
              <a:gd name="T82" fmla="*/ 3 w 253"/>
              <a:gd name="T83" fmla="*/ 112 h 299"/>
              <a:gd name="T84" fmla="*/ 14 w 253"/>
              <a:gd name="T85" fmla="*/ 82 h 299"/>
              <a:gd name="T86" fmla="*/ 27 w 253"/>
              <a:gd name="T87" fmla="*/ 57 h 299"/>
              <a:gd name="T88" fmla="*/ 48 w 253"/>
              <a:gd name="T89" fmla="*/ 36 h 299"/>
              <a:gd name="T90" fmla="*/ 71 w 253"/>
              <a:gd name="T91" fmla="*/ 21 h 299"/>
              <a:gd name="T92" fmla="*/ 97 w 253"/>
              <a:gd name="T93" fmla="*/ 8 h 299"/>
              <a:gd name="T94" fmla="*/ 125 w 253"/>
              <a:gd name="T95" fmla="*/ 1 h 299"/>
              <a:gd name="T96" fmla="*/ 155 w 253"/>
              <a:gd name="T97" fmla="*/ 0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53" h="299">
                <a:moveTo>
                  <a:pt x="148" y="61"/>
                </a:moveTo>
                <a:lnTo>
                  <a:pt x="131" y="64"/>
                </a:lnTo>
                <a:lnTo>
                  <a:pt x="113" y="75"/>
                </a:lnTo>
                <a:lnTo>
                  <a:pt x="99" y="92"/>
                </a:lnTo>
                <a:lnTo>
                  <a:pt x="89" y="115"/>
                </a:lnTo>
                <a:lnTo>
                  <a:pt x="85" y="143"/>
                </a:lnTo>
                <a:lnTo>
                  <a:pt x="87" y="178"/>
                </a:lnTo>
                <a:lnTo>
                  <a:pt x="92" y="201"/>
                </a:lnTo>
                <a:lnTo>
                  <a:pt x="103" y="217"/>
                </a:lnTo>
                <a:lnTo>
                  <a:pt x="113" y="229"/>
                </a:lnTo>
                <a:lnTo>
                  <a:pt x="125" y="234"/>
                </a:lnTo>
                <a:lnTo>
                  <a:pt x="136" y="236"/>
                </a:lnTo>
                <a:lnTo>
                  <a:pt x="153" y="232"/>
                </a:lnTo>
                <a:lnTo>
                  <a:pt x="169" y="224"/>
                </a:lnTo>
                <a:lnTo>
                  <a:pt x="169" y="61"/>
                </a:lnTo>
                <a:lnTo>
                  <a:pt x="162" y="61"/>
                </a:lnTo>
                <a:lnTo>
                  <a:pt x="155" y="61"/>
                </a:lnTo>
                <a:lnTo>
                  <a:pt x="148" y="61"/>
                </a:lnTo>
                <a:close/>
                <a:moveTo>
                  <a:pt x="155" y="0"/>
                </a:moveTo>
                <a:lnTo>
                  <a:pt x="181" y="1"/>
                </a:lnTo>
                <a:lnTo>
                  <a:pt x="208" y="5"/>
                </a:lnTo>
                <a:lnTo>
                  <a:pt x="232" y="8"/>
                </a:lnTo>
                <a:lnTo>
                  <a:pt x="251" y="14"/>
                </a:lnTo>
                <a:lnTo>
                  <a:pt x="253" y="295"/>
                </a:lnTo>
                <a:lnTo>
                  <a:pt x="190" y="295"/>
                </a:lnTo>
                <a:lnTo>
                  <a:pt x="188" y="295"/>
                </a:lnTo>
                <a:lnTo>
                  <a:pt x="188" y="292"/>
                </a:lnTo>
                <a:lnTo>
                  <a:pt x="185" y="288"/>
                </a:lnTo>
                <a:lnTo>
                  <a:pt x="183" y="281"/>
                </a:lnTo>
                <a:lnTo>
                  <a:pt x="181" y="276"/>
                </a:lnTo>
                <a:lnTo>
                  <a:pt x="176" y="280"/>
                </a:lnTo>
                <a:lnTo>
                  <a:pt x="167" y="287"/>
                </a:lnTo>
                <a:lnTo>
                  <a:pt x="155" y="292"/>
                </a:lnTo>
                <a:lnTo>
                  <a:pt x="139" y="297"/>
                </a:lnTo>
                <a:lnTo>
                  <a:pt x="118" y="299"/>
                </a:lnTo>
                <a:lnTo>
                  <a:pt x="87" y="294"/>
                </a:lnTo>
                <a:lnTo>
                  <a:pt x="59" y="278"/>
                </a:lnTo>
                <a:lnTo>
                  <a:pt x="34" y="253"/>
                </a:lnTo>
                <a:lnTo>
                  <a:pt x="15" y="222"/>
                </a:lnTo>
                <a:lnTo>
                  <a:pt x="5" y="185"/>
                </a:lnTo>
                <a:lnTo>
                  <a:pt x="0" y="147"/>
                </a:lnTo>
                <a:lnTo>
                  <a:pt x="3" y="112"/>
                </a:lnTo>
                <a:lnTo>
                  <a:pt x="14" y="82"/>
                </a:lnTo>
                <a:lnTo>
                  <a:pt x="27" y="57"/>
                </a:lnTo>
                <a:lnTo>
                  <a:pt x="48" y="36"/>
                </a:lnTo>
                <a:lnTo>
                  <a:pt x="71" y="21"/>
                </a:lnTo>
                <a:lnTo>
                  <a:pt x="97" y="8"/>
                </a:lnTo>
                <a:lnTo>
                  <a:pt x="125" y="1"/>
                </a:lnTo>
                <a:lnTo>
                  <a:pt x="15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9"/>
          <p:cNvSpPr>
            <a:spLocks noEditPoints="1"/>
          </p:cNvSpPr>
          <p:nvPr userDrawn="1"/>
        </p:nvSpPr>
        <p:spPr bwMode="auto">
          <a:xfrm>
            <a:off x="5232079" y="2819643"/>
            <a:ext cx="286750" cy="338886"/>
          </a:xfrm>
          <a:custGeom>
            <a:avLst/>
            <a:gdLst>
              <a:gd name="T0" fmla="*/ 148 w 253"/>
              <a:gd name="T1" fmla="*/ 61 h 299"/>
              <a:gd name="T2" fmla="*/ 131 w 253"/>
              <a:gd name="T3" fmla="*/ 64 h 299"/>
              <a:gd name="T4" fmla="*/ 113 w 253"/>
              <a:gd name="T5" fmla="*/ 75 h 299"/>
              <a:gd name="T6" fmla="*/ 99 w 253"/>
              <a:gd name="T7" fmla="*/ 92 h 299"/>
              <a:gd name="T8" fmla="*/ 89 w 253"/>
              <a:gd name="T9" fmla="*/ 115 h 299"/>
              <a:gd name="T10" fmla="*/ 85 w 253"/>
              <a:gd name="T11" fmla="*/ 143 h 299"/>
              <a:gd name="T12" fmla="*/ 87 w 253"/>
              <a:gd name="T13" fmla="*/ 178 h 299"/>
              <a:gd name="T14" fmla="*/ 94 w 253"/>
              <a:gd name="T15" fmla="*/ 201 h 299"/>
              <a:gd name="T16" fmla="*/ 103 w 253"/>
              <a:gd name="T17" fmla="*/ 217 h 299"/>
              <a:gd name="T18" fmla="*/ 113 w 253"/>
              <a:gd name="T19" fmla="*/ 229 h 299"/>
              <a:gd name="T20" fmla="*/ 125 w 253"/>
              <a:gd name="T21" fmla="*/ 234 h 299"/>
              <a:gd name="T22" fmla="*/ 136 w 253"/>
              <a:gd name="T23" fmla="*/ 236 h 299"/>
              <a:gd name="T24" fmla="*/ 153 w 253"/>
              <a:gd name="T25" fmla="*/ 232 h 299"/>
              <a:gd name="T26" fmla="*/ 169 w 253"/>
              <a:gd name="T27" fmla="*/ 224 h 299"/>
              <a:gd name="T28" fmla="*/ 169 w 253"/>
              <a:gd name="T29" fmla="*/ 61 h 299"/>
              <a:gd name="T30" fmla="*/ 162 w 253"/>
              <a:gd name="T31" fmla="*/ 61 h 299"/>
              <a:gd name="T32" fmla="*/ 155 w 253"/>
              <a:gd name="T33" fmla="*/ 61 h 299"/>
              <a:gd name="T34" fmla="*/ 148 w 253"/>
              <a:gd name="T35" fmla="*/ 61 h 299"/>
              <a:gd name="T36" fmla="*/ 155 w 253"/>
              <a:gd name="T37" fmla="*/ 0 h 299"/>
              <a:gd name="T38" fmla="*/ 181 w 253"/>
              <a:gd name="T39" fmla="*/ 1 h 299"/>
              <a:gd name="T40" fmla="*/ 209 w 253"/>
              <a:gd name="T41" fmla="*/ 5 h 299"/>
              <a:gd name="T42" fmla="*/ 234 w 253"/>
              <a:gd name="T43" fmla="*/ 10 h 299"/>
              <a:gd name="T44" fmla="*/ 253 w 253"/>
              <a:gd name="T45" fmla="*/ 15 h 299"/>
              <a:gd name="T46" fmla="*/ 253 w 253"/>
              <a:gd name="T47" fmla="*/ 295 h 299"/>
              <a:gd name="T48" fmla="*/ 190 w 253"/>
              <a:gd name="T49" fmla="*/ 295 h 299"/>
              <a:gd name="T50" fmla="*/ 190 w 253"/>
              <a:gd name="T51" fmla="*/ 295 h 299"/>
              <a:gd name="T52" fmla="*/ 188 w 253"/>
              <a:gd name="T53" fmla="*/ 292 h 299"/>
              <a:gd name="T54" fmla="*/ 187 w 253"/>
              <a:gd name="T55" fmla="*/ 288 h 299"/>
              <a:gd name="T56" fmla="*/ 183 w 253"/>
              <a:gd name="T57" fmla="*/ 281 h 299"/>
              <a:gd name="T58" fmla="*/ 181 w 253"/>
              <a:gd name="T59" fmla="*/ 276 h 299"/>
              <a:gd name="T60" fmla="*/ 174 w 253"/>
              <a:gd name="T61" fmla="*/ 281 h 299"/>
              <a:gd name="T62" fmla="*/ 162 w 253"/>
              <a:gd name="T63" fmla="*/ 290 h 299"/>
              <a:gd name="T64" fmla="*/ 145 w 253"/>
              <a:gd name="T65" fmla="*/ 297 h 299"/>
              <a:gd name="T66" fmla="*/ 118 w 253"/>
              <a:gd name="T67" fmla="*/ 299 h 299"/>
              <a:gd name="T68" fmla="*/ 89 w 253"/>
              <a:gd name="T69" fmla="*/ 294 h 299"/>
              <a:gd name="T70" fmla="*/ 61 w 253"/>
              <a:gd name="T71" fmla="*/ 278 h 299"/>
              <a:gd name="T72" fmla="*/ 36 w 253"/>
              <a:gd name="T73" fmla="*/ 253 h 299"/>
              <a:gd name="T74" fmla="*/ 17 w 253"/>
              <a:gd name="T75" fmla="*/ 222 h 299"/>
              <a:gd name="T76" fmla="*/ 5 w 253"/>
              <a:gd name="T77" fmla="*/ 185 h 299"/>
              <a:gd name="T78" fmla="*/ 0 w 253"/>
              <a:gd name="T79" fmla="*/ 147 h 299"/>
              <a:gd name="T80" fmla="*/ 3 w 253"/>
              <a:gd name="T81" fmla="*/ 112 h 299"/>
              <a:gd name="T82" fmla="*/ 14 w 253"/>
              <a:gd name="T83" fmla="*/ 82 h 299"/>
              <a:gd name="T84" fmla="*/ 29 w 253"/>
              <a:gd name="T85" fmla="*/ 57 h 299"/>
              <a:gd name="T86" fmla="*/ 48 w 253"/>
              <a:gd name="T87" fmla="*/ 36 h 299"/>
              <a:gd name="T88" fmla="*/ 73 w 253"/>
              <a:gd name="T89" fmla="*/ 21 h 299"/>
              <a:gd name="T90" fmla="*/ 99 w 253"/>
              <a:gd name="T91" fmla="*/ 8 h 299"/>
              <a:gd name="T92" fmla="*/ 127 w 253"/>
              <a:gd name="T93" fmla="*/ 1 h 299"/>
              <a:gd name="T94" fmla="*/ 155 w 253"/>
              <a:gd name="T95" fmla="*/ 0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53" h="299">
                <a:moveTo>
                  <a:pt x="148" y="61"/>
                </a:moveTo>
                <a:lnTo>
                  <a:pt x="131" y="64"/>
                </a:lnTo>
                <a:lnTo>
                  <a:pt x="113" y="75"/>
                </a:lnTo>
                <a:lnTo>
                  <a:pt x="99" y="92"/>
                </a:lnTo>
                <a:lnTo>
                  <a:pt x="89" y="115"/>
                </a:lnTo>
                <a:lnTo>
                  <a:pt x="85" y="143"/>
                </a:lnTo>
                <a:lnTo>
                  <a:pt x="87" y="178"/>
                </a:lnTo>
                <a:lnTo>
                  <a:pt x="94" y="201"/>
                </a:lnTo>
                <a:lnTo>
                  <a:pt x="103" y="217"/>
                </a:lnTo>
                <a:lnTo>
                  <a:pt x="113" y="229"/>
                </a:lnTo>
                <a:lnTo>
                  <a:pt x="125" y="234"/>
                </a:lnTo>
                <a:lnTo>
                  <a:pt x="136" y="236"/>
                </a:lnTo>
                <a:lnTo>
                  <a:pt x="153" y="232"/>
                </a:lnTo>
                <a:lnTo>
                  <a:pt x="169" y="224"/>
                </a:lnTo>
                <a:lnTo>
                  <a:pt x="169" y="61"/>
                </a:lnTo>
                <a:lnTo>
                  <a:pt x="162" y="61"/>
                </a:lnTo>
                <a:lnTo>
                  <a:pt x="155" y="61"/>
                </a:lnTo>
                <a:lnTo>
                  <a:pt x="148" y="61"/>
                </a:lnTo>
                <a:close/>
                <a:moveTo>
                  <a:pt x="155" y="0"/>
                </a:moveTo>
                <a:lnTo>
                  <a:pt x="181" y="1"/>
                </a:lnTo>
                <a:lnTo>
                  <a:pt x="209" y="5"/>
                </a:lnTo>
                <a:lnTo>
                  <a:pt x="234" y="10"/>
                </a:lnTo>
                <a:lnTo>
                  <a:pt x="253" y="15"/>
                </a:lnTo>
                <a:lnTo>
                  <a:pt x="253" y="295"/>
                </a:lnTo>
                <a:lnTo>
                  <a:pt x="190" y="295"/>
                </a:lnTo>
                <a:lnTo>
                  <a:pt x="190" y="295"/>
                </a:lnTo>
                <a:lnTo>
                  <a:pt x="188" y="292"/>
                </a:lnTo>
                <a:lnTo>
                  <a:pt x="187" y="288"/>
                </a:lnTo>
                <a:lnTo>
                  <a:pt x="183" y="281"/>
                </a:lnTo>
                <a:lnTo>
                  <a:pt x="181" y="276"/>
                </a:lnTo>
                <a:lnTo>
                  <a:pt x="174" y="281"/>
                </a:lnTo>
                <a:lnTo>
                  <a:pt x="162" y="290"/>
                </a:lnTo>
                <a:lnTo>
                  <a:pt x="145" y="297"/>
                </a:lnTo>
                <a:lnTo>
                  <a:pt x="118" y="299"/>
                </a:lnTo>
                <a:lnTo>
                  <a:pt x="89" y="294"/>
                </a:lnTo>
                <a:lnTo>
                  <a:pt x="61" y="278"/>
                </a:lnTo>
                <a:lnTo>
                  <a:pt x="36" y="253"/>
                </a:lnTo>
                <a:lnTo>
                  <a:pt x="17" y="222"/>
                </a:lnTo>
                <a:lnTo>
                  <a:pt x="5" y="185"/>
                </a:lnTo>
                <a:lnTo>
                  <a:pt x="0" y="147"/>
                </a:lnTo>
                <a:lnTo>
                  <a:pt x="3" y="112"/>
                </a:lnTo>
                <a:lnTo>
                  <a:pt x="14" y="82"/>
                </a:lnTo>
                <a:lnTo>
                  <a:pt x="29" y="57"/>
                </a:lnTo>
                <a:lnTo>
                  <a:pt x="48" y="36"/>
                </a:lnTo>
                <a:lnTo>
                  <a:pt x="73" y="21"/>
                </a:lnTo>
                <a:lnTo>
                  <a:pt x="99" y="8"/>
                </a:lnTo>
                <a:lnTo>
                  <a:pt x="127" y="1"/>
                </a:lnTo>
                <a:lnTo>
                  <a:pt x="15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Freeform 10"/>
          <p:cNvSpPr>
            <a:spLocks noEditPoints="1"/>
          </p:cNvSpPr>
          <p:nvPr userDrawn="1"/>
        </p:nvSpPr>
        <p:spPr bwMode="auto">
          <a:xfrm>
            <a:off x="6900439" y="2819643"/>
            <a:ext cx="286750" cy="338886"/>
          </a:xfrm>
          <a:custGeom>
            <a:avLst/>
            <a:gdLst>
              <a:gd name="T0" fmla="*/ 148 w 253"/>
              <a:gd name="T1" fmla="*/ 61 h 299"/>
              <a:gd name="T2" fmla="*/ 131 w 253"/>
              <a:gd name="T3" fmla="*/ 64 h 299"/>
              <a:gd name="T4" fmla="*/ 113 w 253"/>
              <a:gd name="T5" fmla="*/ 75 h 299"/>
              <a:gd name="T6" fmla="*/ 99 w 253"/>
              <a:gd name="T7" fmla="*/ 92 h 299"/>
              <a:gd name="T8" fmla="*/ 89 w 253"/>
              <a:gd name="T9" fmla="*/ 115 h 299"/>
              <a:gd name="T10" fmla="*/ 85 w 253"/>
              <a:gd name="T11" fmla="*/ 143 h 299"/>
              <a:gd name="T12" fmla="*/ 87 w 253"/>
              <a:gd name="T13" fmla="*/ 178 h 299"/>
              <a:gd name="T14" fmla="*/ 94 w 253"/>
              <a:gd name="T15" fmla="*/ 201 h 299"/>
              <a:gd name="T16" fmla="*/ 103 w 253"/>
              <a:gd name="T17" fmla="*/ 217 h 299"/>
              <a:gd name="T18" fmla="*/ 113 w 253"/>
              <a:gd name="T19" fmla="*/ 229 h 299"/>
              <a:gd name="T20" fmla="*/ 126 w 253"/>
              <a:gd name="T21" fmla="*/ 234 h 299"/>
              <a:gd name="T22" fmla="*/ 136 w 253"/>
              <a:gd name="T23" fmla="*/ 236 h 299"/>
              <a:gd name="T24" fmla="*/ 154 w 253"/>
              <a:gd name="T25" fmla="*/ 232 h 299"/>
              <a:gd name="T26" fmla="*/ 169 w 253"/>
              <a:gd name="T27" fmla="*/ 224 h 299"/>
              <a:gd name="T28" fmla="*/ 169 w 253"/>
              <a:gd name="T29" fmla="*/ 61 h 299"/>
              <a:gd name="T30" fmla="*/ 162 w 253"/>
              <a:gd name="T31" fmla="*/ 61 h 299"/>
              <a:gd name="T32" fmla="*/ 155 w 253"/>
              <a:gd name="T33" fmla="*/ 61 h 299"/>
              <a:gd name="T34" fmla="*/ 148 w 253"/>
              <a:gd name="T35" fmla="*/ 61 h 299"/>
              <a:gd name="T36" fmla="*/ 155 w 253"/>
              <a:gd name="T37" fmla="*/ 0 h 299"/>
              <a:gd name="T38" fmla="*/ 182 w 253"/>
              <a:gd name="T39" fmla="*/ 1 h 299"/>
              <a:gd name="T40" fmla="*/ 208 w 253"/>
              <a:gd name="T41" fmla="*/ 5 h 299"/>
              <a:gd name="T42" fmla="*/ 232 w 253"/>
              <a:gd name="T43" fmla="*/ 8 h 299"/>
              <a:gd name="T44" fmla="*/ 253 w 253"/>
              <a:gd name="T45" fmla="*/ 14 h 299"/>
              <a:gd name="T46" fmla="*/ 253 w 253"/>
              <a:gd name="T47" fmla="*/ 295 h 299"/>
              <a:gd name="T48" fmla="*/ 190 w 253"/>
              <a:gd name="T49" fmla="*/ 295 h 299"/>
              <a:gd name="T50" fmla="*/ 189 w 253"/>
              <a:gd name="T51" fmla="*/ 295 h 299"/>
              <a:gd name="T52" fmla="*/ 189 w 253"/>
              <a:gd name="T53" fmla="*/ 292 h 299"/>
              <a:gd name="T54" fmla="*/ 185 w 253"/>
              <a:gd name="T55" fmla="*/ 288 h 299"/>
              <a:gd name="T56" fmla="*/ 183 w 253"/>
              <a:gd name="T57" fmla="*/ 281 h 299"/>
              <a:gd name="T58" fmla="*/ 182 w 253"/>
              <a:gd name="T59" fmla="*/ 276 h 299"/>
              <a:gd name="T60" fmla="*/ 176 w 253"/>
              <a:gd name="T61" fmla="*/ 280 h 299"/>
              <a:gd name="T62" fmla="*/ 168 w 253"/>
              <a:gd name="T63" fmla="*/ 287 h 299"/>
              <a:gd name="T64" fmla="*/ 155 w 253"/>
              <a:gd name="T65" fmla="*/ 292 h 299"/>
              <a:gd name="T66" fmla="*/ 140 w 253"/>
              <a:gd name="T67" fmla="*/ 297 h 299"/>
              <a:gd name="T68" fmla="*/ 119 w 253"/>
              <a:gd name="T69" fmla="*/ 299 h 299"/>
              <a:gd name="T70" fmla="*/ 89 w 253"/>
              <a:gd name="T71" fmla="*/ 294 h 299"/>
              <a:gd name="T72" fmla="*/ 59 w 253"/>
              <a:gd name="T73" fmla="*/ 278 h 299"/>
              <a:gd name="T74" fmla="*/ 35 w 253"/>
              <a:gd name="T75" fmla="*/ 253 h 299"/>
              <a:gd name="T76" fmla="*/ 17 w 253"/>
              <a:gd name="T77" fmla="*/ 222 h 299"/>
              <a:gd name="T78" fmla="*/ 5 w 253"/>
              <a:gd name="T79" fmla="*/ 185 h 299"/>
              <a:gd name="T80" fmla="*/ 0 w 253"/>
              <a:gd name="T81" fmla="*/ 147 h 299"/>
              <a:gd name="T82" fmla="*/ 3 w 253"/>
              <a:gd name="T83" fmla="*/ 112 h 299"/>
              <a:gd name="T84" fmla="*/ 14 w 253"/>
              <a:gd name="T85" fmla="*/ 82 h 299"/>
              <a:gd name="T86" fmla="*/ 28 w 253"/>
              <a:gd name="T87" fmla="*/ 57 h 299"/>
              <a:gd name="T88" fmla="*/ 49 w 253"/>
              <a:gd name="T89" fmla="*/ 36 h 299"/>
              <a:gd name="T90" fmla="*/ 71 w 253"/>
              <a:gd name="T91" fmla="*/ 21 h 299"/>
              <a:gd name="T92" fmla="*/ 98 w 253"/>
              <a:gd name="T93" fmla="*/ 8 h 299"/>
              <a:gd name="T94" fmla="*/ 126 w 253"/>
              <a:gd name="T95" fmla="*/ 1 h 299"/>
              <a:gd name="T96" fmla="*/ 155 w 253"/>
              <a:gd name="T97" fmla="*/ 0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53" h="299">
                <a:moveTo>
                  <a:pt x="148" y="61"/>
                </a:moveTo>
                <a:lnTo>
                  <a:pt x="131" y="64"/>
                </a:lnTo>
                <a:lnTo>
                  <a:pt x="113" y="75"/>
                </a:lnTo>
                <a:lnTo>
                  <a:pt x="99" y="92"/>
                </a:lnTo>
                <a:lnTo>
                  <a:pt x="89" y="115"/>
                </a:lnTo>
                <a:lnTo>
                  <a:pt x="85" y="143"/>
                </a:lnTo>
                <a:lnTo>
                  <a:pt x="87" y="178"/>
                </a:lnTo>
                <a:lnTo>
                  <a:pt x="94" y="201"/>
                </a:lnTo>
                <a:lnTo>
                  <a:pt x="103" y="217"/>
                </a:lnTo>
                <a:lnTo>
                  <a:pt x="113" y="229"/>
                </a:lnTo>
                <a:lnTo>
                  <a:pt x="126" y="234"/>
                </a:lnTo>
                <a:lnTo>
                  <a:pt x="136" y="236"/>
                </a:lnTo>
                <a:lnTo>
                  <a:pt x="154" y="232"/>
                </a:lnTo>
                <a:lnTo>
                  <a:pt x="169" y="224"/>
                </a:lnTo>
                <a:lnTo>
                  <a:pt x="169" y="61"/>
                </a:lnTo>
                <a:lnTo>
                  <a:pt x="162" y="61"/>
                </a:lnTo>
                <a:lnTo>
                  <a:pt x="155" y="61"/>
                </a:lnTo>
                <a:lnTo>
                  <a:pt x="148" y="61"/>
                </a:lnTo>
                <a:close/>
                <a:moveTo>
                  <a:pt x="155" y="0"/>
                </a:moveTo>
                <a:lnTo>
                  <a:pt x="182" y="1"/>
                </a:lnTo>
                <a:lnTo>
                  <a:pt x="208" y="5"/>
                </a:lnTo>
                <a:lnTo>
                  <a:pt x="232" y="8"/>
                </a:lnTo>
                <a:lnTo>
                  <a:pt x="253" y="14"/>
                </a:lnTo>
                <a:lnTo>
                  <a:pt x="253" y="295"/>
                </a:lnTo>
                <a:lnTo>
                  <a:pt x="190" y="295"/>
                </a:lnTo>
                <a:lnTo>
                  <a:pt x="189" y="295"/>
                </a:lnTo>
                <a:lnTo>
                  <a:pt x="189" y="292"/>
                </a:lnTo>
                <a:lnTo>
                  <a:pt x="185" y="288"/>
                </a:lnTo>
                <a:lnTo>
                  <a:pt x="183" y="281"/>
                </a:lnTo>
                <a:lnTo>
                  <a:pt x="182" y="276"/>
                </a:lnTo>
                <a:lnTo>
                  <a:pt x="176" y="280"/>
                </a:lnTo>
                <a:lnTo>
                  <a:pt x="168" y="287"/>
                </a:lnTo>
                <a:lnTo>
                  <a:pt x="155" y="292"/>
                </a:lnTo>
                <a:lnTo>
                  <a:pt x="140" y="297"/>
                </a:lnTo>
                <a:lnTo>
                  <a:pt x="119" y="299"/>
                </a:lnTo>
                <a:lnTo>
                  <a:pt x="89" y="294"/>
                </a:lnTo>
                <a:lnTo>
                  <a:pt x="59" y="278"/>
                </a:lnTo>
                <a:lnTo>
                  <a:pt x="35" y="253"/>
                </a:lnTo>
                <a:lnTo>
                  <a:pt x="17" y="222"/>
                </a:lnTo>
                <a:lnTo>
                  <a:pt x="5" y="185"/>
                </a:lnTo>
                <a:lnTo>
                  <a:pt x="0" y="147"/>
                </a:lnTo>
                <a:lnTo>
                  <a:pt x="3" y="112"/>
                </a:lnTo>
                <a:lnTo>
                  <a:pt x="14" y="82"/>
                </a:lnTo>
                <a:lnTo>
                  <a:pt x="28" y="57"/>
                </a:lnTo>
                <a:lnTo>
                  <a:pt x="49" y="36"/>
                </a:lnTo>
                <a:lnTo>
                  <a:pt x="71" y="21"/>
                </a:lnTo>
                <a:lnTo>
                  <a:pt x="98" y="8"/>
                </a:lnTo>
                <a:lnTo>
                  <a:pt x="126" y="1"/>
                </a:lnTo>
                <a:lnTo>
                  <a:pt x="15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1"/>
          <p:cNvSpPr>
            <a:spLocks/>
          </p:cNvSpPr>
          <p:nvPr userDrawn="1"/>
        </p:nvSpPr>
        <p:spPr bwMode="auto">
          <a:xfrm>
            <a:off x="5572098" y="2817376"/>
            <a:ext cx="486228" cy="336619"/>
          </a:xfrm>
          <a:custGeom>
            <a:avLst/>
            <a:gdLst>
              <a:gd name="T0" fmla="*/ 131 w 429"/>
              <a:gd name="T1" fmla="*/ 0 h 297"/>
              <a:gd name="T2" fmla="*/ 161 w 429"/>
              <a:gd name="T3" fmla="*/ 3 h 297"/>
              <a:gd name="T4" fmla="*/ 186 w 429"/>
              <a:gd name="T5" fmla="*/ 10 h 297"/>
              <a:gd name="T6" fmla="*/ 207 w 429"/>
              <a:gd name="T7" fmla="*/ 23 h 297"/>
              <a:gd name="T8" fmla="*/ 235 w 429"/>
              <a:gd name="T9" fmla="*/ 12 h 297"/>
              <a:gd name="T10" fmla="*/ 268 w 429"/>
              <a:gd name="T11" fmla="*/ 3 h 297"/>
              <a:gd name="T12" fmla="*/ 304 w 429"/>
              <a:gd name="T13" fmla="*/ 0 h 297"/>
              <a:gd name="T14" fmla="*/ 336 w 429"/>
              <a:gd name="T15" fmla="*/ 3 h 297"/>
              <a:gd name="T16" fmla="*/ 364 w 429"/>
              <a:gd name="T17" fmla="*/ 14 h 297"/>
              <a:gd name="T18" fmla="*/ 385 w 429"/>
              <a:gd name="T19" fmla="*/ 28 h 297"/>
              <a:gd name="T20" fmla="*/ 404 w 429"/>
              <a:gd name="T21" fmla="*/ 47 h 297"/>
              <a:gd name="T22" fmla="*/ 416 w 429"/>
              <a:gd name="T23" fmla="*/ 70 h 297"/>
              <a:gd name="T24" fmla="*/ 425 w 429"/>
              <a:gd name="T25" fmla="*/ 98 h 297"/>
              <a:gd name="T26" fmla="*/ 427 w 429"/>
              <a:gd name="T27" fmla="*/ 122 h 297"/>
              <a:gd name="T28" fmla="*/ 429 w 429"/>
              <a:gd name="T29" fmla="*/ 156 h 297"/>
              <a:gd name="T30" fmla="*/ 429 w 429"/>
              <a:gd name="T31" fmla="*/ 297 h 297"/>
              <a:gd name="T32" fmla="*/ 346 w 429"/>
              <a:gd name="T33" fmla="*/ 297 h 297"/>
              <a:gd name="T34" fmla="*/ 346 w 429"/>
              <a:gd name="T35" fmla="*/ 140 h 297"/>
              <a:gd name="T36" fmla="*/ 346 w 429"/>
              <a:gd name="T37" fmla="*/ 119 h 297"/>
              <a:gd name="T38" fmla="*/ 345 w 429"/>
              <a:gd name="T39" fmla="*/ 100 h 297"/>
              <a:gd name="T40" fmla="*/ 339 w 429"/>
              <a:gd name="T41" fmla="*/ 84 h 297"/>
              <a:gd name="T42" fmla="*/ 329 w 429"/>
              <a:gd name="T43" fmla="*/ 73 h 297"/>
              <a:gd name="T44" fmla="*/ 315 w 429"/>
              <a:gd name="T45" fmla="*/ 66 h 297"/>
              <a:gd name="T46" fmla="*/ 296 w 429"/>
              <a:gd name="T47" fmla="*/ 63 h 297"/>
              <a:gd name="T48" fmla="*/ 280 w 429"/>
              <a:gd name="T49" fmla="*/ 65 h 297"/>
              <a:gd name="T50" fmla="*/ 263 w 429"/>
              <a:gd name="T51" fmla="*/ 68 h 297"/>
              <a:gd name="T52" fmla="*/ 247 w 429"/>
              <a:gd name="T53" fmla="*/ 75 h 297"/>
              <a:gd name="T54" fmla="*/ 249 w 429"/>
              <a:gd name="T55" fmla="*/ 80 h 297"/>
              <a:gd name="T56" fmla="*/ 252 w 429"/>
              <a:gd name="T57" fmla="*/ 94 h 297"/>
              <a:gd name="T58" fmla="*/ 256 w 429"/>
              <a:gd name="T59" fmla="*/ 114 h 297"/>
              <a:gd name="T60" fmla="*/ 257 w 429"/>
              <a:gd name="T61" fmla="*/ 138 h 297"/>
              <a:gd name="T62" fmla="*/ 257 w 429"/>
              <a:gd name="T63" fmla="*/ 297 h 297"/>
              <a:gd name="T64" fmla="*/ 173 w 429"/>
              <a:gd name="T65" fmla="*/ 297 h 297"/>
              <a:gd name="T66" fmla="*/ 173 w 429"/>
              <a:gd name="T67" fmla="*/ 140 h 297"/>
              <a:gd name="T68" fmla="*/ 173 w 429"/>
              <a:gd name="T69" fmla="*/ 117 h 297"/>
              <a:gd name="T70" fmla="*/ 170 w 429"/>
              <a:gd name="T71" fmla="*/ 98 h 297"/>
              <a:gd name="T72" fmla="*/ 165 w 429"/>
              <a:gd name="T73" fmla="*/ 84 h 297"/>
              <a:gd name="T74" fmla="*/ 156 w 429"/>
              <a:gd name="T75" fmla="*/ 72 h 297"/>
              <a:gd name="T76" fmla="*/ 142 w 429"/>
              <a:gd name="T77" fmla="*/ 66 h 297"/>
              <a:gd name="T78" fmla="*/ 123 w 429"/>
              <a:gd name="T79" fmla="*/ 63 h 297"/>
              <a:gd name="T80" fmla="*/ 103 w 429"/>
              <a:gd name="T81" fmla="*/ 65 h 297"/>
              <a:gd name="T82" fmla="*/ 84 w 429"/>
              <a:gd name="T83" fmla="*/ 70 h 297"/>
              <a:gd name="T84" fmla="*/ 84 w 429"/>
              <a:gd name="T85" fmla="*/ 297 h 297"/>
              <a:gd name="T86" fmla="*/ 0 w 429"/>
              <a:gd name="T87" fmla="*/ 297 h 297"/>
              <a:gd name="T88" fmla="*/ 0 w 429"/>
              <a:gd name="T89" fmla="*/ 26 h 297"/>
              <a:gd name="T90" fmla="*/ 39 w 429"/>
              <a:gd name="T91" fmla="*/ 14 h 297"/>
              <a:gd name="T92" fmla="*/ 84 w 429"/>
              <a:gd name="T93" fmla="*/ 5 h 297"/>
              <a:gd name="T94" fmla="*/ 131 w 429"/>
              <a:gd name="T95" fmla="*/ 0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29" h="297">
                <a:moveTo>
                  <a:pt x="131" y="0"/>
                </a:moveTo>
                <a:lnTo>
                  <a:pt x="161" y="3"/>
                </a:lnTo>
                <a:lnTo>
                  <a:pt x="186" y="10"/>
                </a:lnTo>
                <a:lnTo>
                  <a:pt x="207" y="23"/>
                </a:lnTo>
                <a:lnTo>
                  <a:pt x="235" y="12"/>
                </a:lnTo>
                <a:lnTo>
                  <a:pt x="268" y="3"/>
                </a:lnTo>
                <a:lnTo>
                  <a:pt x="304" y="0"/>
                </a:lnTo>
                <a:lnTo>
                  <a:pt x="336" y="3"/>
                </a:lnTo>
                <a:lnTo>
                  <a:pt x="364" y="14"/>
                </a:lnTo>
                <a:lnTo>
                  <a:pt x="385" y="28"/>
                </a:lnTo>
                <a:lnTo>
                  <a:pt x="404" y="47"/>
                </a:lnTo>
                <a:lnTo>
                  <a:pt x="416" y="70"/>
                </a:lnTo>
                <a:lnTo>
                  <a:pt x="425" y="98"/>
                </a:lnTo>
                <a:lnTo>
                  <a:pt x="427" y="122"/>
                </a:lnTo>
                <a:lnTo>
                  <a:pt x="429" y="156"/>
                </a:lnTo>
                <a:lnTo>
                  <a:pt x="429" y="297"/>
                </a:lnTo>
                <a:lnTo>
                  <a:pt x="346" y="297"/>
                </a:lnTo>
                <a:lnTo>
                  <a:pt x="346" y="140"/>
                </a:lnTo>
                <a:lnTo>
                  <a:pt x="346" y="119"/>
                </a:lnTo>
                <a:lnTo>
                  <a:pt x="345" y="100"/>
                </a:lnTo>
                <a:lnTo>
                  <a:pt x="339" y="84"/>
                </a:lnTo>
                <a:lnTo>
                  <a:pt x="329" y="73"/>
                </a:lnTo>
                <a:lnTo>
                  <a:pt x="315" y="66"/>
                </a:lnTo>
                <a:lnTo>
                  <a:pt x="296" y="63"/>
                </a:lnTo>
                <a:lnTo>
                  <a:pt x="280" y="65"/>
                </a:lnTo>
                <a:lnTo>
                  <a:pt x="263" y="68"/>
                </a:lnTo>
                <a:lnTo>
                  <a:pt x="247" y="75"/>
                </a:lnTo>
                <a:lnTo>
                  <a:pt x="249" y="80"/>
                </a:lnTo>
                <a:lnTo>
                  <a:pt x="252" y="94"/>
                </a:lnTo>
                <a:lnTo>
                  <a:pt x="256" y="114"/>
                </a:lnTo>
                <a:lnTo>
                  <a:pt x="257" y="138"/>
                </a:lnTo>
                <a:lnTo>
                  <a:pt x="257" y="297"/>
                </a:lnTo>
                <a:lnTo>
                  <a:pt x="173" y="297"/>
                </a:lnTo>
                <a:lnTo>
                  <a:pt x="173" y="140"/>
                </a:lnTo>
                <a:lnTo>
                  <a:pt x="173" y="117"/>
                </a:lnTo>
                <a:lnTo>
                  <a:pt x="170" y="98"/>
                </a:lnTo>
                <a:lnTo>
                  <a:pt x="165" y="84"/>
                </a:lnTo>
                <a:lnTo>
                  <a:pt x="156" y="72"/>
                </a:lnTo>
                <a:lnTo>
                  <a:pt x="142" y="66"/>
                </a:lnTo>
                <a:lnTo>
                  <a:pt x="123" y="63"/>
                </a:lnTo>
                <a:lnTo>
                  <a:pt x="103" y="65"/>
                </a:lnTo>
                <a:lnTo>
                  <a:pt x="84" y="70"/>
                </a:lnTo>
                <a:lnTo>
                  <a:pt x="84" y="297"/>
                </a:lnTo>
                <a:lnTo>
                  <a:pt x="0" y="297"/>
                </a:lnTo>
                <a:lnTo>
                  <a:pt x="0" y="26"/>
                </a:lnTo>
                <a:lnTo>
                  <a:pt x="39" y="14"/>
                </a:lnTo>
                <a:lnTo>
                  <a:pt x="84" y="5"/>
                </a:lnTo>
                <a:lnTo>
                  <a:pt x="131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12"/>
          <p:cNvSpPr>
            <a:spLocks noEditPoints="1"/>
          </p:cNvSpPr>
          <p:nvPr userDrawn="1"/>
        </p:nvSpPr>
        <p:spPr bwMode="auto">
          <a:xfrm>
            <a:off x="6103661" y="2819643"/>
            <a:ext cx="283349" cy="489627"/>
          </a:xfrm>
          <a:custGeom>
            <a:avLst/>
            <a:gdLst>
              <a:gd name="T0" fmla="*/ 105 w 250"/>
              <a:gd name="T1" fmla="*/ 61 h 432"/>
              <a:gd name="T2" fmla="*/ 96 w 250"/>
              <a:gd name="T3" fmla="*/ 61 h 432"/>
              <a:gd name="T4" fmla="*/ 89 w 250"/>
              <a:gd name="T5" fmla="*/ 61 h 432"/>
              <a:gd name="T6" fmla="*/ 82 w 250"/>
              <a:gd name="T7" fmla="*/ 61 h 432"/>
              <a:gd name="T8" fmla="*/ 82 w 250"/>
              <a:gd name="T9" fmla="*/ 234 h 432"/>
              <a:gd name="T10" fmla="*/ 87 w 250"/>
              <a:gd name="T11" fmla="*/ 238 h 432"/>
              <a:gd name="T12" fmla="*/ 96 w 250"/>
              <a:gd name="T13" fmla="*/ 239 h 432"/>
              <a:gd name="T14" fmla="*/ 108 w 250"/>
              <a:gd name="T15" fmla="*/ 239 h 432"/>
              <a:gd name="T16" fmla="*/ 122 w 250"/>
              <a:gd name="T17" fmla="*/ 238 h 432"/>
              <a:gd name="T18" fmla="*/ 136 w 250"/>
              <a:gd name="T19" fmla="*/ 232 h 432"/>
              <a:gd name="T20" fmla="*/ 148 w 250"/>
              <a:gd name="T21" fmla="*/ 222 h 432"/>
              <a:gd name="T22" fmla="*/ 159 w 250"/>
              <a:gd name="T23" fmla="*/ 203 h 432"/>
              <a:gd name="T24" fmla="*/ 166 w 250"/>
              <a:gd name="T25" fmla="*/ 178 h 432"/>
              <a:gd name="T26" fmla="*/ 168 w 250"/>
              <a:gd name="T27" fmla="*/ 143 h 432"/>
              <a:gd name="T28" fmla="*/ 162 w 250"/>
              <a:gd name="T29" fmla="*/ 115 h 432"/>
              <a:gd name="T30" fmla="*/ 152 w 250"/>
              <a:gd name="T31" fmla="*/ 92 h 432"/>
              <a:gd name="T32" fmla="*/ 138 w 250"/>
              <a:gd name="T33" fmla="*/ 75 h 432"/>
              <a:gd name="T34" fmla="*/ 122 w 250"/>
              <a:gd name="T35" fmla="*/ 64 h 432"/>
              <a:gd name="T36" fmla="*/ 105 w 250"/>
              <a:gd name="T37" fmla="*/ 61 h 432"/>
              <a:gd name="T38" fmla="*/ 98 w 250"/>
              <a:gd name="T39" fmla="*/ 0 h 432"/>
              <a:gd name="T40" fmla="*/ 122 w 250"/>
              <a:gd name="T41" fmla="*/ 1 h 432"/>
              <a:gd name="T42" fmla="*/ 147 w 250"/>
              <a:gd name="T43" fmla="*/ 7 h 432"/>
              <a:gd name="T44" fmla="*/ 171 w 250"/>
              <a:gd name="T45" fmla="*/ 15 h 432"/>
              <a:gd name="T46" fmla="*/ 194 w 250"/>
              <a:gd name="T47" fmla="*/ 28 h 432"/>
              <a:gd name="T48" fmla="*/ 213 w 250"/>
              <a:gd name="T49" fmla="*/ 45 h 432"/>
              <a:gd name="T50" fmla="*/ 229 w 250"/>
              <a:gd name="T51" fmla="*/ 66 h 432"/>
              <a:gd name="T52" fmla="*/ 241 w 250"/>
              <a:gd name="T53" fmla="*/ 91 h 432"/>
              <a:gd name="T54" fmla="*/ 248 w 250"/>
              <a:gd name="T55" fmla="*/ 120 h 432"/>
              <a:gd name="T56" fmla="*/ 250 w 250"/>
              <a:gd name="T57" fmla="*/ 155 h 432"/>
              <a:gd name="T58" fmla="*/ 246 w 250"/>
              <a:gd name="T59" fmla="*/ 194 h 432"/>
              <a:gd name="T60" fmla="*/ 238 w 250"/>
              <a:gd name="T61" fmla="*/ 222 h 432"/>
              <a:gd name="T62" fmla="*/ 224 w 250"/>
              <a:gd name="T63" fmla="*/ 248 h 432"/>
              <a:gd name="T64" fmla="*/ 206 w 250"/>
              <a:gd name="T65" fmla="*/ 269 h 432"/>
              <a:gd name="T66" fmla="*/ 185 w 250"/>
              <a:gd name="T67" fmla="*/ 285 h 432"/>
              <a:gd name="T68" fmla="*/ 159 w 250"/>
              <a:gd name="T69" fmla="*/ 295 h 432"/>
              <a:gd name="T70" fmla="*/ 129 w 250"/>
              <a:gd name="T71" fmla="*/ 299 h 432"/>
              <a:gd name="T72" fmla="*/ 112 w 250"/>
              <a:gd name="T73" fmla="*/ 297 h 432"/>
              <a:gd name="T74" fmla="*/ 94 w 250"/>
              <a:gd name="T75" fmla="*/ 294 h 432"/>
              <a:gd name="T76" fmla="*/ 82 w 250"/>
              <a:gd name="T77" fmla="*/ 290 h 432"/>
              <a:gd name="T78" fmla="*/ 82 w 250"/>
              <a:gd name="T79" fmla="*/ 432 h 432"/>
              <a:gd name="T80" fmla="*/ 0 w 250"/>
              <a:gd name="T81" fmla="*/ 432 h 432"/>
              <a:gd name="T82" fmla="*/ 0 w 250"/>
              <a:gd name="T83" fmla="*/ 12 h 432"/>
              <a:gd name="T84" fmla="*/ 28 w 250"/>
              <a:gd name="T85" fmla="*/ 5 h 432"/>
              <a:gd name="T86" fmla="*/ 61 w 250"/>
              <a:gd name="T87" fmla="*/ 1 h 432"/>
              <a:gd name="T88" fmla="*/ 98 w 250"/>
              <a:gd name="T89" fmla="*/ 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0" h="432">
                <a:moveTo>
                  <a:pt x="105" y="61"/>
                </a:moveTo>
                <a:lnTo>
                  <a:pt x="96" y="61"/>
                </a:lnTo>
                <a:lnTo>
                  <a:pt x="89" y="61"/>
                </a:lnTo>
                <a:lnTo>
                  <a:pt x="82" y="61"/>
                </a:lnTo>
                <a:lnTo>
                  <a:pt x="82" y="234"/>
                </a:lnTo>
                <a:lnTo>
                  <a:pt x="87" y="238"/>
                </a:lnTo>
                <a:lnTo>
                  <a:pt x="96" y="239"/>
                </a:lnTo>
                <a:lnTo>
                  <a:pt x="108" y="239"/>
                </a:lnTo>
                <a:lnTo>
                  <a:pt x="122" y="238"/>
                </a:lnTo>
                <a:lnTo>
                  <a:pt x="136" y="232"/>
                </a:lnTo>
                <a:lnTo>
                  <a:pt x="148" y="222"/>
                </a:lnTo>
                <a:lnTo>
                  <a:pt x="159" y="203"/>
                </a:lnTo>
                <a:lnTo>
                  <a:pt x="166" y="178"/>
                </a:lnTo>
                <a:lnTo>
                  <a:pt x="168" y="143"/>
                </a:lnTo>
                <a:lnTo>
                  <a:pt x="162" y="115"/>
                </a:lnTo>
                <a:lnTo>
                  <a:pt x="152" y="92"/>
                </a:lnTo>
                <a:lnTo>
                  <a:pt x="138" y="75"/>
                </a:lnTo>
                <a:lnTo>
                  <a:pt x="122" y="64"/>
                </a:lnTo>
                <a:lnTo>
                  <a:pt x="105" y="61"/>
                </a:lnTo>
                <a:close/>
                <a:moveTo>
                  <a:pt x="98" y="0"/>
                </a:moveTo>
                <a:lnTo>
                  <a:pt x="122" y="1"/>
                </a:lnTo>
                <a:lnTo>
                  <a:pt x="147" y="7"/>
                </a:lnTo>
                <a:lnTo>
                  <a:pt x="171" y="15"/>
                </a:lnTo>
                <a:lnTo>
                  <a:pt x="194" y="28"/>
                </a:lnTo>
                <a:lnTo>
                  <a:pt x="213" y="45"/>
                </a:lnTo>
                <a:lnTo>
                  <a:pt x="229" y="66"/>
                </a:lnTo>
                <a:lnTo>
                  <a:pt x="241" y="91"/>
                </a:lnTo>
                <a:lnTo>
                  <a:pt x="248" y="120"/>
                </a:lnTo>
                <a:lnTo>
                  <a:pt x="250" y="155"/>
                </a:lnTo>
                <a:lnTo>
                  <a:pt x="246" y="194"/>
                </a:lnTo>
                <a:lnTo>
                  <a:pt x="238" y="222"/>
                </a:lnTo>
                <a:lnTo>
                  <a:pt x="224" y="248"/>
                </a:lnTo>
                <a:lnTo>
                  <a:pt x="206" y="269"/>
                </a:lnTo>
                <a:lnTo>
                  <a:pt x="185" y="285"/>
                </a:lnTo>
                <a:lnTo>
                  <a:pt x="159" y="295"/>
                </a:lnTo>
                <a:lnTo>
                  <a:pt x="129" y="299"/>
                </a:lnTo>
                <a:lnTo>
                  <a:pt x="112" y="297"/>
                </a:lnTo>
                <a:lnTo>
                  <a:pt x="94" y="294"/>
                </a:lnTo>
                <a:lnTo>
                  <a:pt x="82" y="290"/>
                </a:lnTo>
                <a:lnTo>
                  <a:pt x="82" y="432"/>
                </a:lnTo>
                <a:lnTo>
                  <a:pt x="0" y="432"/>
                </a:lnTo>
                <a:lnTo>
                  <a:pt x="0" y="12"/>
                </a:lnTo>
                <a:lnTo>
                  <a:pt x="28" y="5"/>
                </a:lnTo>
                <a:lnTo>
                  <a:pt x="61" y="1"/>
                </a:lnTo>
                <a:lnTo>
                  <a:pt x="98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13"/>
          <p:cNvSpPr>
            <a:spLocks/>
          </p:cNvSpPr>
          <p:nvPr userDrawn="1"/>
        </p:nvSpPr>
        <p:spPr bwMode="auto">
          <a:xfrm>
            <a:off x="3522917" y="2817376"/>
            <a:ext cx="222146" cy="346819"/>
          </a:xfrm>
          <a:custGeom>
            <a:avLst/>
            <a:gdLst>
              <a:gd name="T0" fmla="*/ 91 w 196"/>
              <a:gd name="T1" fmla="*/ 0 h 306"/>
              <a:gd name="T2" fmla="*/ 110 w 196"/>
              <a:gd name="T3" fmla="*/ 2 h 306"/>
              <a:gd name="T4" fmla="*/ 128 w 196"/>
              <a:gd name="T5" fmla="*/ 3 h 306"/>
              <a:gd name="T6" fmla="*/ 145 w 196"/>
              <a:gd name="T7" fmla="*/ 9 h 306"/>
              <a:gd name="T8" fmla="*/ 168 w 196"/>
              <a:gd name="T9" fmla="*/ 17 h 306"/>
              <a:gd name="T10" fmla="*/ 168 w 196"/>
              <a:gd name="T11" fmla="*/ 79 h 306"/>
              <a:gd name="T12" fmla="*/ 149 w 196"/>
              <a:gd name="T13" fmla="*/ 68 h 306"/>
              <a:gd name="T14" fmla="*/ 131 w 196"/>
              <a:gd name="T15" fmla="*/ 61 h 306"/>
              <a:gd name="T16" fmla="*/ 117 w 196"/>
              <a:gd name="T17" fmla="*/ 58 h 306"/>
              <a:gd name="T18" fmla="*/ 102 w 196"/>
              <a:gd name="T19" fmla="*/ 56 h 306"/>
              <a:gd name="T20" fmla="*/ 89 w 196"/>
              <a:gd name="T21" fmla="*/ 59 h 306"/>
              <a:gd name="T22" fmla="*/ 81 w 196"/>
              <a:gd name="T23" fmla="*/ 65 h 306"/>
              <a:gd name="T24" fmla="*/ 76 w 196"/>
              <a:gd name="T25" fmla="*/ 72 h 306"/>
              <a:gd name="T26" fmla="*/ 74 w 196"/>
              <a:gd name="T27" fmla="*/ 80 h 306"/>
              <a:gd name="T28" fmla="*/ 74 w 196"/>
              <a:gd name="T29" fmla="*/ 87 h 306"/>
              <a:gd name="T30" fmla="*/ 83 w 196"/>
              <a:gd name="T31" fmla="*/ 100 h 306"/>
              <a:gd name="T32" fmla="*/ 100 w 196"/>
              <a:gd name="T33" fmla="*/ 112 h 306"/>
              <a:gd name="T34" fmla="*/ 128 w 196"/>
              <a:gd name="T35" fmla="*/ 128 h 306"/>
              <a:gd name="T36" fmla="*/ 151 w 196"/>
              <a:gd name="T37" fmla="*/ 142 h 306"/>
              <a:gd name="T38" fmla="*/ 170 w 196"/>
              <a:gd name="T39" fmla="*/ 157 h 306"/>
              <a:gd name="T40" fmla="*/ 184 w 196"/>
              <a:gd name="T41" fmla="*/ 178 h 306"/>
              <a:gd name="T42" fmla="*/ 194 w 196"/>
              <a:gd name="T43" fmla="*/ 205 h 306"/>
              <a:gd name="T44" fmla="*/ 196 w 196"/>
              <a:gd name="T45" fmla="*/ 233 h 306"/>
              <a:gd name="T46" fmla="*/ 191 w 196"/>
              <a:gd name="T47" fmla="*/ 255 h 306"/>
              <a:gd name="T48" fmla="*/ 179 w 196"/>
              <a:gd name="T49" fmla="*/ 275 h 306"/>
              <a:gd name="T50" fmla="*/ 161 w 196"/>
              <a:gd name="T51" fmla="*/ 289 h 306"/>
              <a:gd name="T52" fmla="*/ 138 w 196"/>
              <a:gd name="T53" fmla="*/ 299 h 306"/>
              <a:gd name="T54" fmla="*/ 112 w 196"/>
              <a:gd name="T55" fmla="*/ 304 h 306"/>
              <a:gd name="T56" fmla="*/ 83 w 196"/>
              <a:gd name="T57" fmla="*/ 306 h 306"/>
              <a:gd name="T58" fmla="*/ 55 w 196"/>
              <a:gd name="T59" fmla="*/ 304 h 306"/>
              <a:gd name="T60" fmla="*/ 30 w 196"/>
              <a:gd name="T61" fmla="*/ 299 h 306"/>
              <a:gd name="T62" fmla="*/ 7 w 196"/>
              <a:gd name="T63" fmla="*/ 292 h 306"/>
              <a:gd name="T64" fmla="*/ 7 w 196"/>
              <a:gd name="T65" fmla="*/ 229 h 306"/>
              <a:gd name="T66" fmla="*/ 30 w 196"/>
              <a:gd name="T67" fmla="*/ 240 h 306"/>
              <a:gd name="T68" fmla="*/ 51 w 196"/>
              <a:gd name="T69" fmla="*/ 248 h 306"/>
              <a:gd name="T70" fmla="*/ 74 w 196"/>
              <a:gd name="T71" fmla="*/ 254 h 306"/>
              <a:gd name="T72" fmla="*/ 93 w 196"/>
              <a:gd name="T73" fmla="*/ 250 h 306"/>
              <a:gd name="T74" fmla="*/ 107 w 196"/>
              <a:gd name="T75" fmla="*/ 245 h 306"/>
              <a:gd name="T76" fmla="*/ 114 w 196"/>
              <a:gd name="T77" fmla="*/ 236 h 306"/>
              <a:gd name="T78" fmla="*/ 117 w 196"/>
              <a:gd name="T79" fmla="*/ 226 h 306"/>
              <a:gd name="T80" fmla="*/ 117 w 196"/>
              <a:gd name="T81" fmla="*/ 215 h 306"/>
              <a:gd name="T82" fmla="*/ 109 w 196"/>
              <a:gd name="T83" fmla="*/ 201 h 306"/>
              <a:gd name="T84" fmla="*/ 95 w 196"/>
              <a:gd name="T85" fmla="*/ 187 h 306"/>
              <a:gd name="T86" fmla="*/ 76 w 196"/>
              <a:gd name="T87" fmla="*/ 175 h 306"/>
              <a:gd name="T88" fmla="*/ 55 w 196"/>
              <a:gd name="T89" fmla="*/ 161 h 306"/>
              <a:gd name="T90" fmla="*/ 37 w 196"/>
              <a:gd name="T91" fmla="*/ 149 h 306"/>
              <a:gd name="T92" fmla="*/ 21 w 196"/>
              <a:gd name="T93" fmla="*/ 133 h 306"/>
              <a:gd name="T94" fmla="*/ 9 w 196"/>
              <a:gd name="T95" fmla="*/ 115 h 306"/>
              <a:gd name="T96" fmla="*/ 2 w 196"/>
              <a:gd name="T97" fmla="*/ 93 h 306"/>
              <a:gd name="T98" fmla="*/ 0 w 196"/>
              <a:gd name="T99" fmla="*/ 68 h 306"/>
              <a:gd name="T100" fmla="*/ 6 w 196"/>
              <a:gd name="T101" fmla="*/ 47 h 306"/>
              <a:gd name="T102" fmla="*/ 14 w 196"/>
              <a:gd name="T103" fmla="*/ 30 h 306"/>
              <a:gd name="T104" fmla="*/ 30 w 196"/>
              <a:gd name="T105" fmla="*/ 17 h 306"/>
              <a:gd name="T106" fmla="*/ 48 w 196"/>
              <a:gd name="T107" fmla="*/ 9 h 306"/>
              <a:gd name="T108" fmla="*/ 69 w 196"/>
              <a:gd name="T109" fmla="*/ 2 h 306"/>
              <a:gd name="T110" fmla="*/ 91 w 196"/>
              <a:gd name="T111" fmla="*/ 0 h 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96" h="306">
                <a:moveTo>
                  <a:pt x="91" y="0"/>
                </a:moveTo>
                <a:lnTo>
                  <a:pt x="110" y="2"/>
                </a:lnTo>
                <a:lnTo>
                  <a:pt x="128" y="3"/>
                </a:lnTo>
                <a:lnTo>
                  <a:pt x="145" y="9"/>
                </a:lnTo>
                <a:lnTo>
                  <a:pt x="168" y="17"/>
                </a:lnTo>
                <a:lnTo>
                  <a:pt x="168" y="79"/>
                </a:lnTo>
                <a:lnTo>
                  <a:pt x="149" y="68"/>
                </a:lnTo>
                <a:lnTo>
                  <a:pt x="131" y="61"/>
                </a:lnTo>
                <a:lnTo>
                  <a:pt x="117" y="58"/>
                </a:lnTo>
                <a:lnTo>
                  <a:pt x="102" y="56"/>
                </a:lnTo>
                <a:lnTo>
                  <a:pt x="89" y="59"/>
                </a:lnTo>
                <a:lnTo>
                  <a:pt x="81" y="65"/>
                </a:lnTo>
                <a:lnTo>
                  <a:pt x="76" y="72"/>
                </a:lnTo>
                <a:lnTo>
                  <a:pt x="74" y="80"/>
                </a:lnTo>
                <a:lnTo>
                  <a:pt x="74" y="87"/>
                </a:lnTo>
                <a:lnTo>
                  <a:pt x="83" y="100"/>
                </a:lnTo>
                <a:lnTo>
                  <a:pt x="100" y="112"/>
                </a:lnTo>
                <a:lnTo>
                  <a:pt x="128" y="128"/>
                </a:lnTo>
                <a:lnTo>
                  <a:pt x="151" y="142"/>
                </a:lnTo>
                <a:lnTo>
                  <a:pt x="170" y="157"/>
                </a:lnTo>
                <a:lnTo>
                  <a:pt x="184" y="178"/>
                </a:lnTo>
                <a:lnTo>
                  <a:pt x="194" y="205"/>
                </a:lnTo>
                <a:lnTo>
                  <a:pt x="196" y="233"/>
                </a:lnTo>
                <a:lnTo>
                  <a:pt x="191" y="255"/>
                </a:lnTo>
                <a:lnTo>
                  <a:pt x="179" y="275"/>
                </a:lnTo>
                <a:lnTo>
                  <a:pt x="161" y="289"/>
                </a:lnTo>
                <a:lnTo>
                  <a:pt x="138" y="299"/>
                </a:lnTo>
                <a:lnTo>
                  <a:pt x="112" y="304"/>
                </a:lnTo>
                <a:lnTo>
                  <a:pt x="83" y="306"/>
                </a:lnTo>
                <a:lnTo>
                  <a:pt x="55" y="304"/>
                </a:lnTo>
                <a:lnTo>
                  <a:pt x="30" y="299"/>
                </a:lnTo>
                <a:lnTo>
                  <a:pt x="7" y="292"/>
                </a:lnTo>
                <a:lnTo>
                  <a:pt x="7" y="229"/>
                </a:lnTo>
                <a:lnTo>
                  <a:pt x="30" y="240"/>
                </a:lnTo>
                <a:lnTo>
                  <a:pt x="51" y="248"/>
                </a:lnTo>
                <a:lnTo>
                  <a:pt x="74" y="254"/>
                </a:lnTo>
                <a:lnTo>
                  <a:pt x="93" y="250"/>
                </a:lnTo>
                <a:lnTo>
                  <a:pt x="107" y="245"/>
                </a:lnTo>
                <a:lnTo>
                  <a:pt x="114" y="236"/>
                </a:lnTo>
                <a:lnTo>
                  <a:pt x="117" y="226"/>
                </a:lnTo>
                <a:lnTo>
                  <a:pt x="117" y="215"/>
                </a:lnTo>
                <a:lnTo>
                  <a:pt x="109" y="201"/>
                </a:lnTo>
                <a:lnTo>
                  <a:pt x="95" y="187"/>
                </a:lnTo>
                <a:lnTo>
                  <a:pt x="76" y="175"/>
                </a:lnTo>
                <a:lnTo>
                  <a:pt x="55" y="161"/>
                </a:lnTo>
                <a:lnTo>
                  <a:pt x="37" y="149"/>
                </a:lnTo>
                <a:lnTo>
                  <a:pt x="21" y="133"/>
                </a:lnTo>
                <a:lnTo>
                  <a:pt x="9" y="115"/>
                </a:lnTo>
                <a:lnTo>
                  <a:pt x="2" y="93"/>
                </a:lnTo>
                <a:lnTo>
                  <a:pt x="0" y="68"/>
                </a:lnTo>
                <a:lnTo>
                  <a:pt x="6" y="47"/>
                </a:lnTo>
                <a:lnTo>
                  <a:pt x="14" y="30"/>
                </a:lnTo>
                <a:lnTo>
                  <a:pt x="30" y="17"/>
                </a:lnTo>
                <a:lnTo>
                  <a:pt x="48" y="9"/>
                </a:lnTo>
                <a:lnTo>
                  <a:pt x="69" y="2"/>
                </a:lnTo>
                <a:lnTo>
                  <a:pt x="91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Freeform 14"/>
          <p:cNvSpPr>
            <a:spLocks/>
          </p:cNvSpPr>
          <p:nvPr userDrawn="1"/>
        </p:nvSpPr>
        <p:spPr bwMode="auto">
          <a:xfrm>
            <a:off x="2900681" y="2823044"/>
            <a:ext cx="164343" cy="330951"/>
          </a:xfrm>
          <a:custGeom>
            <a:avLst/>
            <a:gdLst>
              <a:gd name="T0" fmla="*/ 140 w 145"/>
              <a:gd name="T1" fmla="*/ 0 h 292"/>
              <a:gd name="T2" fmla="*/ 145 w 145"/>
              <a:gd name="T3" fmla="*/ 0 h 292"/>
              <a:gd name="T4" fmla="*/ 145 w 145"/>
              <a:gd name="T5" fmla="*/ 61 h 292"/>
              <a:gd name="T6" fmla="*/ 138 w 145"/>
              <a:gd name="T7" fmla="*/ 61 h 292"/>
              <a:gd name="T8" fmla="*/ 133 w 145"/>
              <a:gd name="T9" fmla="*/ 61 h 292"/>
              <a:gd name="T10" fmla="*/ 117 w 145"/>
              <a:gd name="T11" fmla="*/ 61 h 292"/>
              <a:gd name="T12" fmla="*/ 98 w 145"/>
              <a:gd name="T13" fmla="*/ 63 h 292"/>
              <a:gd name="T14" fmla="*/ 82 w 145"/>
              <a:gd name="T15" fmla="*/ 68 h 292"/>
              <a:gd name="T16" fmla="*/ 84 w 145"/>
              <a:gd name="T17" fmla="*/ 292 h 292"/>
              <a:gd name="T18" fmla="*/ 0 w 145"/>
              <a:gd name="T19" fmla="*/ 292 h 292"/>
              <a:gd name="T20" fmla="*/ 0 w 145"/>
              <a:gd name="T21" fmla="*/ 25 h 292"/>
              <a:gd name="T22" fmla="*/ 21 w 145"/>
              <a:gd name="T23" fmla="*/ 18 h 292"/>
              <a:gd name="T24" fmla="*/ 44 w 145"/>
              <a:gd name="T25" fmla="*/ 11 h 292"/>
              <a:gd name="T26" fmla="*/ 72 w 145"/>
              <a:gd name="T27" fmla="*/ 5 h 292"/>
              <a:gd name="T28" fmla="*/ 103 w 145"/>
              <a:gd name="T29" fmla="*/ 2 h 292"/>
              <a:gd name="T30" fmla="*/ 140 w 145"/>
              <a:gd name="T31" fmla="*/ 0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5" h="292">
                <a:moveTo>
                  <a:pt x="140" y="0"/>
                </a:moveTo>
                <a:lnTo>
                  <a:pt x="145" y="0"/>
                </a:lnTo>
                <a:lnTo>
                  <a:pt x="145" y="61"/>
                </a:lnTo>
                <a:lnTo>
                  <a:pt x="138" y="61"/>
                </a:lnTo>
                <a:lnTo>
                  <a:pt x="133" y="61"/>
                </a:lnTo>
                <a:lnTo>
                  <a:pt x="117" y="61"/>
                </a:lnTo>
                <a:lnTo>
                  <a:pt x="98" y="63"/>
                </a:lnTo>
                <a:lnTo>
                  <a:pt x="82" y="68"/>
                </a:lnTo>
                <a:lnTo>
                  <a:pt x="84" y="292"/>
                </a:lnTo>
                <a:lnTo>
                  <a:pt x="0" y="292"/>
                </a:lnTo>
                <a:lnTo>
                  <a:pt x="0" y="25"/>
                </a:lnTo>
                <a:lnTo>
                  <a:pt x="21" y="18"/>
                </a:lnTo>
                <a:lnTo>
                  <a:pt x="44" y="11"/>
                </a:lnTo>
                <a:lnTo>
                  <a:pt x="72" y="5"/>
                </a:lnTo>
                <a:lnTo>
                  <a:pt x="103" y="2"/>
                </a:lnTo>
                <a:lnTo>
                  <a:pt x="140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15"/>
          <p:cNvSpPr>
            <a:spLocks/>
          </p:cNvSpPr>
          <p:nvPr userDrawn="1"/>
        </p:nvSpPr>
        <p:spPr bwMode="auto">
          <a:xfrm>
            <a:off x="3103559" y="2819643"/>
            <a:ext cx="90672" cy="334353"/>
          </a:xfrm>
          <a:custGeom>
            <a:avLst/>
            <a:gdLst>
              <a:gd name="T0" fmla="*/ 40 w 80"/>
              <a:gd name="T1" fmla="*/ 0 h 295"/>
              <a:gd name="T2" fmla="*/ 61 w 80"/>
              <a:gd name="T3" fmla="*/ 1 h 295"/>
              <a:gd name="T4" fmla="*/ 73 w 80"/>
              <a:gd name="T5" fmla="*/ 1 h 295"/>
              <a:gd name="T6" fmla="*/ 78 w 80"/>
              <a:gd name="T7" fmla="*/ 3 h 295"/>
              <a:gd name="T8" fmla="*/ 80 w 80"/>
              <a:gd name="T9" fmla="*/ 3 h 295"/>
              <a:gd name="T10" fmla="*/ 80 w 80"/>
              <a:gd name="T11" fmla="*/ 295 h 295"/>
              <a:gd name="T12" fmla="*/ 0 w 80"/>
              <a:gd name="T13" fmla="*/ 295 h 295"/>
              <a:gd name="T14" fmla="*/ 0 w 80"/>
              <a:gd name="T15" fmla="*/ 3 h 295"/>
              <a:gd name="T16" fmla="*/ 1 w 80"/>
              <a:gd name="T17" fmla="*/ 3 h 295"/>
              <a:gd name="T18" fmla="*/ 8 w 80"/>
              <a:gd name="T19" fmla="*/ 1 h 295"/>
              <a:gd name="T20" fmla="*/ 21 w 80"/>
              <a:gd name="T21" fmla="*/ 1 h 295"/>
              <a:gd name="T22" fmla="*/ 40 w 80"/>
              <a:gd name="T23" fmla="*/ 0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0" h="295">
                <a:moveTo>
                  <a:pt x="40" y="0"/>
                </a:moveTo>
                <a:lnTo>
                  <a:pt x="61" y="1"/>
                </a:lnTo>
                <a:lnTo>
                  <a:pt x="73" y="1"/>
                </a:lnTo>
                <a:lnTo>
                  <a:pt x="78" y="3"/>
                </a:lnTo>
                <a:lnTo>
                  <a:pt x="80" y="3"/>
                </a:lnTo>
                <a:lnTo>
                  <a:pt x="80" y="295"/>
                </a:lnTo>
                <a:lnTo>
                  <a:pt x="0" y="295"/>
                </a:lnTo>
                <a:lnTo>
                  <a:pt x="0" y="3"/>
                </a:lnTo>
                <a:lnTo>
                  <a:pt x="1" y="3"/>
                </a:lnTo>
                <a:lnTo>
                  <a:pt x="8" y="1"/>
                </a:lnTo>
                <a:lnTo>
                  <a:pt x="21" y="1"/>
                </a:lnTo>
                <a:lnTo>
                  <a:pt x="40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16"/>
          <p:cNvSpPr>
            <a:spLocks/>
          </p:cNvSpPr>
          <p:nvPr userDrawn="1"/>
        </p:nvSpPr>
        <p:spPr bwMode="auto">
          <a:xfrm>
            <a:off x="3774531" y="2714237"/>
            <a:ext cx="155276" cy="449958"/>
          </a:xfrm>
          <a:custGeom>
            <a:avLst/>
            <a:gdLst>
              <a:gd name="T0" fmla="*/ 42 w 137"/>
              <a:gd name="T1" fmla="*/ 0 h 397"/>
              <a:gd name="T2" fmla="*/ 63 w 137"/>
              <a:gd name="T3" fmla="*/ 0 h 397"/>
              <a:gd name="T4" fmla="*/ 76 w 137"/>
              <a:gd name="T5" fmla="*/ 2 h 397"/>
              <a:gd name="T6" fmla="*/ 83 w 137"/>
              <a:gd name="T7" fmla="*/ 3 h 397"/>
              <a:gd name="T8" fmla="*/ 84 w 137"/>
              <a:gd name="T9" fmla="*/ 3 h 397"/>
              <a:gd name="T10" fmla="*/ 84 w 137"/>
              <a:gd name="T11" fmla="*/ 289 h 397"/>
              <a:gd name="T12" fmla="*/ 86 w 137"/>
              <a:gd name="T13" fmla="*/ 306 h 397"/>
              <a:gd name="T14" fmla="*/ 90 w 137"/>
              <a:gd name="T15" fmla="*/ 317 h 397"/>
              <a:gd name="T16" fmla="*/ 98 w 137"/>
              <a:gd name="T17" fmla="*/ 324 h 397"/>
              <a:gd name="T18" fmla="*/ 109 w 137"/>
              <a:gd name="T19" fmla="*/ 325 h 397"/>
              <a:gd name="T20" fmla="*/ 114 w 137"/>
              <a:gd name="T21" fmla="*/ 325 h 397"/>
              <a:gd name="T22" fmla="*/ 119 w 137"/>
              <a:gd name="T23" fmla="*/ 324 h 397"/>
              <a:gd name="T24" fmla="*/ 137 w 137"/>
              <a:gd name="T25" fmla="*/ 390 h 397"/>
              <a:gd name="T26" fmla="*/ 116 w 137"/>
              <a:gd name="T27" fmla="*/ 395 h 397"/>
              <a:gd name="T28" fmla="*/ 88 w 137"/>
              <a:gd name="T29" fmla="*/ 397 h 397"/>
              <a:gd name="T30" fmla="*/ 74 w 137"/>
              <a:gd name="T31" fmla="*/ 397 h 397"/>
              <a:gd name="T32" fmla="*/ 60 w 137"/>
              <a:gd name="T33" fmla="*/ 394 h 397"/>
              <a:gd name="T34" fmla="*/ 46 w 137"/>
              <a:gd name="T35" fmla="*/ 388 h 397"/>
              <a:gd name="T36" fmla="*/ 32 w 137"/>
              <a:gd name="T37" fmla="*/ 380 h 397"/>
              <a:gd name="T38" fmla="*/ 20 w 137"/>
              <a:gd name="T39" fmla="*/ 366 h 397"/>
              <a:gd name="T40" fmla="*/ 9 w 137"/>
              <a:gd name="T41" fmla="*/ 348 h 397"/>
              <a:gd name="T42" fmla="*/ 4 w 137"/>
              <a:gd name="T43" fmla="*/ 324 h 397"/>
              <a:gd name="T44" fmla="*/ 0 w 137"/>
              <a:gd name="T45" fmla="*/ 292 h 397"/>
              <a:gd name="T46" fmla="*/ 0 w 137"/>
              <a:gd name="T47" fmla="*/ 3 h 397"/>
              <a:gd name="T48" fmla="*/ 2 w 137"/>
              <a:gd name="T49" fmla="*/ 3 h 397"/>
              <a:gd name="T50" fmla="*/ 4 w 137"/>
              <a:gd name="T51" fmla="*/ 3 h 397"/>
              <a:gd name="T52" fmla="*/ 11 w 137"/>
              <a:gd name="T53" fmla="*/ 2 h 397"/>
              <a:gd name="T54" fmla="*/ 23 w 137"/>
              <a:gd name="T55" fmla="*/ 0 h 397"/>
              <a:gd name="T56" fmla="*/ 42 w 137"/>
              <a:gd name="T57" fmla="*/ 0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37" h="397">
                <a:moveTo>
                  <a:pt x="42" y="0"/>
                </a:moveTo>
                <a:lnTo>
                  <a:pt x="63" y="0"/>
                </a:lnTo>
                <a:lnTo>
                  <a:pt x="76" y="2"/>
                </a:lnTo>
                <a:lnTo>
                  <a:pt x="83" y="3"/>
                </a:lnTo>
                <a:lnTo>
                  <a:pt x="84" y="3"/>
                </a:lnTo>
                <a:lnTo>
                  <a:pt x="84" y="289"/>
                </a:lnTo>
                <a:lnTo>
                  <a:pt x="86" y="306"/>
                </a:lnTo>
                <a:lnTo>
                  <a:pt x="90" y="317"/>
                </a:lnTo>
                <a:lnTo>
                  <a:pt x="98" y="324"/>
                </a:lnTo>
                <a:lnTo>
                  <a:pt x="109" y="325"/>
                </a:lnTo>
                <a:lnTo>
                  <a:pt x="114" y="325"/>
                </a:lnTo>
                <a:lnTo>
                  <a:pt x="119" y="324"/>
                </a:lnTo>
                <a:lnTo>
                  <a:pt x="137" y="390"/>
                </a:lnTo>
                <a:lnTo>
                  <a:pt x="116" y="395"/>
                </a:lnTo>
                <a:lnTo>
                  <a:pt x="88" y="397"/>
                </a:lnTo>
                <a:lnTo>
                  <a:pt x="74" y="397"/>
                </a:lnTo>
                <a:lnTo>
                  <a:pt x="60" y="394"/>
                </a:lnTo>
                <a:lnTo>
                  <a:pt x="46" y="388"/>
                </a:lnTo>
                <a:lnTo>
                  <a:pt x="32" y="380"/>
                </a:lnTo>
                <a:lnTo>
                  <a:pt x="20" y="366"/>
                </a:lnTo>
                <a:lnTo>
                  <a:pt x="9" y="348"/>
                </a:lnTo>
                <a:lnTo>
                  <a:pt x="4" y="324"/>
                </a:lnTo>
                <a:lnTo>
                  <a:pt x="0" y="292"/>
                </a:lnTo>
                <a:lnTo>
                  <a:pt x="0" y="3"/>
                </a:lnTo>
                <a:lnTo>
                  <a:pt x="2" y="3"/>
                </a:lnTo>
                <a:lnTo>
                  <a:pt x="4" y="3"/>
                </a:lnTo>
                <a:lnTo>
                  <a:pt x="11" y="2"/>
                </a:lnTo>
                <a:lnTo>
                  <a:pt x="23" y="0"/>
                </a:lnTo>
                <a:lnTo>
                  <a:pt x="42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17"/>
          <p:cNvSpPr>
            <a:spLocks/>
          </p:cNvSpPr>
          <p:nvPr userDrawn="1"/>
        </p:nvSpPr>
        <p:spPr bwMode="auto">
          <a:xfrm>
            <a:off x="6424413" y="2823044"/>
            <a:ext cx="92939" cy="330951"/>
          </a:xfrm>
          <a:custGeom>
            <a:avLst/>
            <a:gdLst>
              <a:gd name="T0" fmla="*/ 42 w 82"/>
              <a:gd name="T1" fmla="*/ 0 h 292"/>
              <a:gd name="T2" fmla="*/ 63 w 82"/>
              <a:gd name="T3" fmla="*/ 0 h 292"/>
              <a:gd name="T4" fmla="*/ 75 w 82"/>
              <a:gd name="T5" fmla="*/ 2 h 292"/>
              <a:gd name="T6" fmla="*/ 81 w 82"/>
              <a:gd name="T7" fmla="*/ 5 h 292"/>
              <a:gd name="T8" fmla="*/ 82 w 82"/>
              <a:gd name="T9" fmla="*/ 5 h 292"/>
              <a:gd name="T10" fmla="*/ 82 w 82"/>
              <a:gd name="T11" fmla="*/ 292 h 292"/>
              <a:gd name="T12" fmla="*/ 0 w 82"/>
              <a:gd name="T13" fmla="*/ 292 h 292"/>
              <a:gd name="T14" fmla="*/ 2 w 82"/>
              <a:gd name="T15" fmla="*/ 5 h 292"/>
              <a:gd name="T16" fmla="*/ 4 w 82"/>
              <a:gd name="T17" fmla="*/ 5 h 292"/>
              <a:gd name="T18" fmla="*/ 11 w 82"/>
              <a:gd name="T19" fmla="*/ 2 h 292"/>
              <a:gd name="T20" fmla="*/ 23 w 82"/>
              <a:gd name="T21" fmla="*/ 0 h 292"/>
              <a:gd name="T22" fmla="*/ 42 w 82"/>
              <a:gd name="T23" fmla="*/ 0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2" h="292">
                <a:moveTo>
                  <a:pt x="42" y="0"/>
                </a:moveTo>
                <a:lnTo>
                  <a:pt x="63" y="0"/>
                </a:lnTo>
                <a:lnTo>
                  <a:pt x="75" y="2"/>
                </a:lnTo>
                <a:lnTo>
                  <a:pt x="81" y="5"/>
                </a:lnTo>
                <a:lnTo>
                  <a:pt x="82" y="5"/>
                </a:lnTo>
                <a:lnTo>
                  <a:pt x="82" y="292"/>
                </a:lnTo>
                <a:lnTo>
                  <a:pt x="0" y="292"/>
                </a:lnTo>
                <a:lnTo>
                  <a:pt x="2" y="5"/>
                </a:lnTo>
                <a:lnTo>
                  <a:pt x="4" y="5"/>
                </a:lnTo>
                <a:lnTo>
                  <a:pt x="11" y="2"/>
                </a:lnTo>
                <a:lnTo>
                  <a:pt x="23" y="0"/>
                </a:lnTo>
                <a:lnTo>
                  <a:pt x="42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Freeform 18"/>
          <p:cNvSpPr>
            <a:spLocks/>
          </p:cNvSpPr>
          <p:nvPr userDrawn="1"/>
        </p:nvSpPr>
        <p:spPr bwMode="auto">
          <a:xfrm>
            <a:off x="4946463" y="2714237"/>
            <a:ext cx="301484" cy="454492"/>
          </a:xfrm>
          <a:custGeom>
            <a:avLst/>
            <a:gdLst>
              <a:gd name="T0" fmla="*/ 166 w 266"/>
              <a:gd name="T1" fmla="*/ 0 h 401"/>
              <a:gd name="T2" fmla="*/ 199 w 266"/>
              <a:gd name="T3" fmla="*/ 3 h 401"/>
              <a:gd name="T4" fmla="*/ 225 w 266"/>
              <a:gd name="T5" fmla="*/ 10 h 401"/>
              <a:gd name="T6" fmla="*/ 248 w 266"/>
              <a:gd name="T7" fmla="*/ 21 h 401"/>
              <a:gd name="T8" fmla="*/ 266 w 266"/>
              <a:gd name="T9" fmla="*/ 35 h 401"/>
              <a:gd name="T10" fmla="*/ 224 w 266"/>
              <a:gd name="T11" fmla="*/ 91 h 401"/>
              <a:gd name="T12" fmla="*/ 204 w 266"/>
              <a:gd name="T13" fmla="*/ 77 h 401"/>
              <a:gd name="T14" fmla="*/ 183 w 266"/>
              <a:gd name="T15" fmla="*/ 72 h 401"/>
              <a:gd name="T16" fmla="*/ 166 w 266"/>
              <a:gd name="T17" fmla="*/ 70 h 401"/>
              <a:gd name="T18" fmla="*/ 143 w 266"/>
              <a:gd name="T19" fmla="*/ 73 h 401"/>
              <a:gd name="T20" fmla="*/ 124 w 266"/>
              <a:gd name="T21" fmla="*/ 84 h 401"/>
              <a:gd name="T22" fmla="*/ 110 w 266"/>
              <a:gd name="T23" fmla="*/ 100 h 401"/>
              <a:gd name="T24" fmla="*/ 101 w 266"/>
              <a:gd name="T25" fmla="*/ 121 h 401"/>
              <a:gd name="T26" fmla="*/ 94 w 266"/>
              <a:gd name="T27" fmla="*/ 145 h 401"/>
              <a:gd name="T28" fmla="*/ 91 w 266"/>
              <a:gd name="T29" fmla="*/ 171 h 401"/>
              <a:gd name="T30" fmla="*/ 89 w 266"/>
              <a:gd name="T31" fmla="*/ 199 h 401"/>
              <a:gd name="T32" fmla="*/ 91 w 266"/>
              <a:gd name="T33" fmla="*/ 229 h 401"/>
              <a:gd name="T34" fmla="*/ 94 w 266"/>
              <a:gd name="T35" fmla="*/ 257 h 401"/>
              <a:gd name="T36" fmla="*/ 103 w 266"/>
              <a:gd name="T37" fmla="*/ 282 h 401"/>
              <a:gd name="T38" fmla="*/ 113 w 266"/>
              <a:gd name="T39" fmla="*/ 301 h 401"/>
              <a:gd name="T40" fmla="*/ 127 w 266"/>
              <a:gd name="T41" fmla="*/ 317 h 401"/>
              <a:gd name="T42" fmla="*/ 147 w 266"/>
              <a:gd name="T43" fmla="*/ 327 h 401"/>
              <a:gd name="T44" fmla="*/ 168 w 266"/>
              <a:gd name="T45" fmla="*/ 329 h 401"/>
              <a:gd name="T46" fmla="*/ 199 w 266"/>
              <a:gd name="T47" fmla="*/ 325 h 401"/>
              <a:gd name="T48" fmla="*/ 227 w 266"/>
              <a:gd name="T49" fmla="*/ 318 h 401"/>
              <a:gd name="T50" fmla="*/ 260 w 266"/>
              <a:gd name="T51" fmla="*/ 383 h 401"/>
              <a:gd name="T52" fmla="*/ 239 w 266"/>
              <a:gd name="T53" fmla="*/ 388 h 401"/>
              <a:gd name="T54" fmla="*/ 215 w 266"/>
              <a:gd name="T55" fmla="*/ 394 h 401"/>
              <a:gd name="T56" fmla="*/ 190 w 266"/>
              <a:gd name="T57" fmla="*/ 399 h 401"/>
              <a:gd name="T58" fmla="*/ 166 w 266"/>
              <a:gd name="T59" fmla="*/ 401 h 401"/>
              <a:gd name="T60" fmla="*/ 134 w 266"/>
              <a:gd name="T61" fmla="*/ 397 h 401"/>
              <a:gd name="T62" fmla="*/ 105 w 266"/>
              <a:gd name="T63" fmla="*/ 392 h 401"/>
              <a:gd name="T64" fmla="*/ 78 w 266"/>
              <a:gd name="T65" fmla="*/ 380 h 401"/>
              <a:gd name="T66" fmla="*/ 56 w 266"/>
              <a:gd name="T67" fmla="*/ 364 h 401"/>
              <a:gd name="T68" fmla="*/ 36 w 266"/>
              <a:gd name="T69" fmla="*/ 343 h 401"/>
              <a:gd name="T70" fmla="*/ 21 w 266"/>
              <a:gd name="T71" fmla="*/ 315 h 401"/>
              <a:gd name="T72" fmla="*/ 8 w 266"/>
              <a:gd name="T73" fmla="*/ 283 h 401"/>
              <a:gd name="T74" fmla="*/ 1 w 266"/>
              <a:gd name="T75" fmla="*/ 245 h 401"/>
              <a:gd name="T76" fmla="*/ 0 w 266"/>
              <a:gd name="T77" fmla="*/ 199 h 401"/>
              <a:gd name="T78" fmla="*/ 1 w 266"/>
              <a:gd name="T79" fmla="*/ 156 h 401"/>
              <a:gd name="T80" fmla="*/ 10 w 266"/>
              <a:gd name="T81" fmla="*/ 119 h 401"/>
              <a:gd name="T82" fmla="*/ 22 w 266"/>
              <a:gd name="T83" fmla="*/ 86 h 401"/>
              <a:gd name="T84" fmla="*/ 38 w 266"/>
              <a:gd name="T85" fmla="*/ 59 h 401"/>
              <a:gd name="T86" fmla="*/ 59 w 266"/>
              <a:gd name="T87" fmla="*/ 38 h 401"/>
              <a:gd name="T88" fmla="*/ 82 w 266"/>
              <a:gd name="T89" fmla="*/ 21 h 401"/>
              <a:gd name="T90" fmla="*/ 108 w 266"/>
              <a:gd name="T91" fmla="*/ 9 h 401"/>
              <a:gd name="T92" fmla="*/ 136 w 266"/>
              <a:gd name="T93" fmla="*/ 3 h 401"/>
              <a:gd name="T94" fmla="*/ 166 w 266"/>
              <a:gd name="T95" fmla="*/ 0 h 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66" h="401">
                <a:moveTo>
                  <a:pt x="166" y="0"/>
                </a:moveTo>
                <a:lnTo>
                  <a:pt x="199" y="3"/>
                </a:lnTo>
                <a:lnTo>
                  <a:pt x="225" y="10"/>
                </a:lnTo>
                <a:lnTo>
                  <a:pt x="248" y="21"/>
                </a:lnTo>
                <a:lnTo>
                  <a:pt x="266" y="35"/>
                </a:lnTo>
                <a:lnTo>
                  <a:pt x="224" y="91"/>
                </a:lnTo>
                <a:lnTo>
                  <a:pt x="204" y="77"/>
                </a:lnTo>
                <a:lnTo>
                  <a:pt x="183" y="72"/>
                </a:lnTo>
                <a:lnTo>
                  <a:pt x="166" y="70"/>
                </a:lnTo>
                <a:lnTo>
                  <a:pt x="143" y="73"/>
                </a:lnTo>
                <a:lnTo>
                  <a:pt x="124" y="84"/>
                </a:lnTo>
                <a:lnTo>
                  <a:pt x="110" y="100"/>
                </a:lnTo>
                <a:lnTo>
                  <a:pt x="101" y="121"/>
                </a:lnTo>
                <a:lnTo>
                  <a:pt x="94" y="145"/>
                </a:lnTo>
                <a:lnTo>
                  <a:pt x="91" y="171"/>
                </a:lnTo>
                <a:lnTo>
                  <a:pt x="89" y="199"/>
                </a:lnTo>
                <a:lnTo>
                  <a:pt x="91" y="229"/>
                </a:lnTo>
                <a:lnTo>
                  <a:pt x="94" y="257"/>
                </a:lnTo>
                <a:lnTo>
                  <a:pt x="103" y="282"/>
                </a:lnTo>
                <a:lnTo>
                  <a:pt x="113" y="301"/>
                </a:lnTo>
                <a:lnTo>
                  <a:pt x="127" y="317"/>
                </a:lnTo>
                <a:lnTo>
                  <a:pt x="147" y="327"/>
                </a:lnTo>
                <a:lnTo>
                  <a:pt x="168" y="329"/>
                </a:lnTo>
                <a:lnTo>
                  <a:pt x="199" y="325"/>
                </a:lnTo>
                <a:lnTo>
                  <a:pt x="227" y="318"/>
                </a:lnTo>
                <a:lnTo>
                  <a:pt x="260" y="383"/>
                </a:lnTo>
                <a:lnTo>
                  <a:pt x="239" y="388"/>
                </a:lnTo>
                <a:lnTo>
                  <a:pt x="215" y="394"/>
                </a:lnTo>
                <a:lnTo>
                  <a:pt x="190" y="399"/>
                </a:lnTo>
                <a:lnTo>
                  <a:pt x="166" y="401"/>
                </a:lnTo>
                <a:lnTo>
                  <a:pt x="134" y="397"/>
                </a:lnTo>
                <a:lnTo>
                  <a:pt x="105" y="392"/>
                </a:lnTo>
                <a:lnTo>
                  <a:pt x="78" y="380"/>
                </a:lnTo>
                <a:lnTo>
                  <a:pt x="56" y="364"/>
                </a:lnTo>
                <a:lnTo>
                  <a:pt x="36" y="343"/>
                </a:lnTo>
                <a:lnTo>
                  <a:pt x="21" y="315"/>
                </a:lnTo>
                <a:lnTo>
                  <a:pt x="8" y="283"/>
                </a:lnTo>
                <a:lnTo>
                  <a:pt x="1" y="245"/>
                </a:lnTo>
                <a:lnTo>
                  <a:pt x="0" y="199"/>
                </a:lnTo>
                <a:lnTo>
                  <a:pt x="1" y="156"/>
                </a:lnTo>
                <a:lnTo>
                  <a:pt x="10" y="119"/>
                </a:lnTo>
                <a:lnTo>
                  <a:pt x="22" y="86"/>
                </a:lnTo>
                <a:lnTo>
                  <a:pt x="38" y="59"/>
                </a:lnTo>
                <a:lnTo>
                  <a:pt x="59" y="38"/>
                </a:lnTo>
                <a:lnTo>
                  <a:pt x="82" y="21"/>
                </a:lnTo>
                <a:lnTo>
                  <a:pt x="108" y="9"/>
                </a:lnTo>
                <a:lnTo>
                  <a:pt x="136" y="3"/>
                </a:lnTo>
                <a:lnTo>
                  <a:pt x="166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Freeform 19"/>
          <p:cNvSpPr>
            <a:spLocks noEditPoints="1"/>
          </p:cNvSpPr>
          <p:nvPr userDrawn="1"/>
        </p:nvSpPr>
        <p:spPr bwMode="auto">
          <a:xfrm>
            <a:off x="4595110" y="2714237"/>
            <a:ext cx="290149" cy="449958"/>
          </a:xfrm>
          <a:custGeom>
            <a:avLst/>
            <a:gdLst>
              <a:gd name="T0" fmla="*/ 156 w 256"/>
              <a:gd name="T1" fmla="*/ 152 h 397"/>
              <a:gd name="T2" fmla="*/ 137 w 256"/>
              <a:gd name="T3" fmla="*/ 152 h 397"/>
              <a:gd name="T4" fmla="*/ 117 w 256"/>
              <a:gd name="T5" fmla="*/ 159 h 397"/>
              <a:gd name="T6" fmla="*/ 103 w 256"/>
              <a:gd name="T7" fmla="*/ 175 h 397"/>
              <a:gd name="T8" fmla="*/ 93 w 256"/>
              <a:gd name="T9" fmla="*/ 196 h 397"/>
              <a:gd name="T10" fmla="*/ 86 w 256"/>
              <a:gd name="T11" fmla="*/ 220 h 397"/>
              <a:gd name="T12" fmla="*/ 84 w 256"/>
              <a:gd name="T13" fmla="*/ 247 h 397"/>
              <a:gd name="T14" fmla="*/ 86 w 256"/>
              <a:gd name="T15" fmla="*/ 273 h 397"/>
              <a:gd name="T16" fmla="*/ 93 w 256"/>
              <a:gd name="T17" fmla="*/ 297 h 397"/>
              <a:gd name="T18" fmla="*/ 102 w 256"/>
              <a:gd name="T19" fmla="*/ 313 h 397"/>
              <a:gd name="T20" fmla="*/ 112 w 256"/>
              <a:gd name="T21" fmla="*/ 324 h 397"/>
              <a:gd name="T22" fmla="*/ 124 w 256"/>
              <a:gd name="T23" fmla="*/ 331 h 397"/>
              <a:gd name="T24" fmla="*/ 135 w 256"/>
              <a:gd name="T25" fmla="*/ 332 h 397"/>
              <a:gd name="T26" fmla="*/ 154 w 256"/>
              <a:gd name="T27" fmla="*/ 329 h 397"/>
              <a:gd name="T28" fmla="*/ 172 w 256"/>
              <a:gd name="T29" fmla="*/ 317 h 397"/>
              <a:gd name="T30" fmla="*/ 172 w 256"/>
              <a:gd name="T31" fmla="*/ 156 h 397"/>
              <a:gd name="T32" fmla="*/ 156 w 256"/>
              <a:gd name="T33" fmla="*/ 152 h 397"/>
              <a:gd name="T34" fmla="*/ 214 w 256"/>
              <a:gd name="T35" fmla="*/ 0 h 397"/>
              <a:gd name="T36" fmla="*/ 235 w 256"/>
              <a:gd name="T37" fmla="*/ 0 h 397"/>
              <a:gd name="T38" fmla="*/ 247 w 256"/>
              <a:gd name="T39" fmla="*/ 2 h 397"/>
              <a:gd name="T40" fmla="*/ 254 w 256"/>
              <a:gd name="T41" fmla="*/ 3 h 397"/>
              <a:gd name="T42" fmla="*/ 256 w 256"/>
              <a:gd name="T43" fmla="*/ 3 h 397"/>
              <a:gd name="T44" fmla="*/ 256 w 256"/>
              <a:gd name="T45" fmla="*/ 388 h 397"/>
              <a:gd name="T46" fmla="*/ 193 w 256"/>
              <a:gd name="T47" fmla="*/ 388 h 397"/>
              <a:gd name="T48" fmla="*/ 184 w 256"/>
              <a:gd name="T49" fmla="*/ 373 h 397"/>
              <a:gd name="T50" fmla="*/ 165 w 256"/>
              <a:gd name="T51" fmla="*/ 385 h 397"/>
              <a:gd name="T52" fmla="*/ 145 w 256"/>
              <a:gd name="T53" fmla="*/ 394 h 397"/>
              <a:gd name="T54" fmla="*/ 124 w 256"/>
              <a:gd name="T55" fmla="*/ 397 h 397"/>
              <a:gd name="T56" fmla="*/ 91 w 256"/>
              <a:gd name="T57" fmla="*/ 390 h 397"/>
              <a:gd name="T58" fmla="*/ 61 w 256"/>
              <a:gd name="T59" fmla="*/ 374 h 397"/>
              <a:gd name="T60" fmla="*/ 35 w 256"/>
              <a:gd name="T61" fmla="*/ 352 h 397"/>
              <a:gd name="T62" fmla="*/ 16 w 256"/>
              <a:gd name="T63" fmla="*/ 318 h 397"/>
              <a:gd name="T64" fmla="*/ 4 w 256"/>
              <a:gd name="T65" fmla="*/ 282 h 397"/>
              <a:gd name="T66" fmla="*/ 0 w 256"/>
              <a:gd name="T67" fmla="*/ 243 h 397"/>
              <a:gd name="T68" fmla="*/ 0 w 256"/>
              <a:gd name="T69" fmla="*/ 210 h 397"/>
              <a:gd name="T70" fmla="*/ 7 w 256"/>
              <a:gd name="T71" fmla="*/ 180 h 397"/>
              <a:gd name="T72" fmla="*/ 19 w 256"/>
              <a:gd name="T73" fmla="*/ 156 h 397"/>
              <a:gd name="T74" fmla="*/ 35 w 256"/>
              <a:gd name="T75" fmla="*/ 136 h 397"/>
              <a:gd name="T76" fmla="*/ 54 w 256"/>
              <a:gd name="T77" fmla="*/ 119 h 397"/>
              <a:gd name="T78" fmla="*/ 75 w 256"/>
              <a:gd name="T79" fmla="*/ 107 h 397"/>
              <a:gd name="T80" fmla="*/ 100 w 256"/>
              <a:gd name="T81" fmla="*/ 98 h 397"/>
              <a:gd name="T82" fmla="*/ 124 w 256"/>
              <a:gd name="T83" fmla="*/ 93 h 397"/>
              <a:gd name="T84" fmla="*/ 149 w 256"/>
              <a:gd name="T85" fmla="*/ 91 h 397"/>
              <a:gd name="T86" fmla="*/ 158 w 256"/>
              <a:gd name="T87" fmla="*/ 93 h 397"/>
              <a:gd name="T88" fmla="*/ 165 w 256"/>
              <a:gd name="T89" fmla="*/ 93 h 397"/>
              <a:gd name="T90" fmla="*/ 172 w 256"/>
              <a:gd name="T91" fmla="*/ 94 h 397"/>
              <a:gd name="T92" fmla="*/ 172 w 256"/>
              <a:gd name="T93" fmla="*/ 3 h 397"/>
              <a:gd name="T94" fmla="*/ 173 w 256"/>
              <a:gd name="T95" fmla="*/ 3 h 397"/>
              <a:gd name="T96" fmla="*/ 180 w 256"/>
              <a:gd name="T97" fmla="*/ 2 h 397"/>
              <a:gd name="T98" fmla="*/ 194 w 256"/>
              <a:gd name="T99" fmla="*/ 0 h 397"/>
              <a:gd name="T100" fmla="*/ 214 w 256"/>
              <a:gd name="T101" fmla="*/ 0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56" h="397">
                <a:moveTo>
                  <a:pt x="156" y="152"/>
                </a:moveTo>
                <a:lnTo>
                  <a:pt x="137" y="152"/>
                </a:lnTo>
                <a:lnTo>
                  <a:pt x="117" y="159"/>
                </a:lnTo>
                <a:lnTo>
                  <a:pt x="103" y="175"/>
                </a:lnTo>
                <a:lnTo>
                  <a:pt x="93" y="196"/>
                </a:lnTo>
                <a:lnTo>
                  <a:pt x="86" y="220"/>
                </a:lnTo>
                <a:lnTo>
                  <a:pt x="84" y="247"/>
                </a:lnTo>
                <a:lnTo>
                  <a:pt x="86" y="273"/>
                </a:lnTo>
                <a:lnTo>
                  <a:pt x="93" y="297"/>
                </a:lnTo>
                <a:lnTo>
                  <a:pt x="102" y="313"/>
                </a:lnTo>
                <a:lnTo>
                  <a:pt x="112" y="324"/>
                </a:lnTo>
                <a:lnTo>
                  <a:pt x="124" y="331"/>
                </a:lnTo>
                <a:lnTo>
                  <a:pt x="135" y="332"/>
                </a:lnTo>
                <a:lnTo>
                  <a:pt x="154" y="329"/>
                </a:lnTo>
                <a:lnTo>
                  <a:pt x="172" y="317"/>
                </a:lnTo>
                <a:lnTo>
                  <a:pt x="172" y="156"/>
                </a:lnTo>
                <a:lnTo>
                  <a:pt x="156" y="152"/>
                </a:lnTo>
                <a:close/>
                <a:moveTo>
                  <a:pt x="214" y="0"/>
                </a:moveTo>
                <a:lnTo>
                  <a:pt x="235" y="0"/>
                </a:lnTo>
                <a:lnTo>
                  <a:pt x="247" y="2"/>
                </a:lnTo>
                <a:lnTo>
                  <a:pt x="254" y="3"/>
                </a:lnTo>
                <a:lnTo>
                  <a:pt x="256" y="3"/>
                </a:lnTo>
                <a:lnTo>
                  <a:pt x="256" y="388"/>
                </a:lnTo>
                <a:lnTo>
                  <a:pt x="193" y="388"/>
                </a:lnTo>
                <a:lnTo>
                  <a:pt x="184" y="373"/>
                </a:lnTo>
                <a:lnTo>
                  <a:pt x="165" y="385"/>
                </a:lnTo>
                <a:lnTo>
                  <a:pt x="145" y="394"/>
                </a:lnTo>
                <a:lnTo>
                  <a:pt x="124" y="397"/>
                </a:lnTo>
                <a:lnTo>
                  <a:pt x="91" y="390"/>
                </a:lnTo>
                <a:lnTo>
                  <a:pt x="61" y="374"/>
                </a:lnTo>
                <a:lnTo>
                  <a:pt x="35" y="352"/>
                </a:lnTo>
                <a:lnTo>
                  <a:pt x="16" y="318"/>
                </a:lnTo>
                <a:lnTo>
                  <a:pt x="4" y="282"/>
                </a:lnTo>
                <a:lnTo>
                  <a:pt x="0" y="243"/>
                </a:lnTo>
                <a:lnTo>
                  <a:pt x="0" y="210"/>
                </a:lnTo>
                <a:lnTo>
                  <a:pt x="7" y="180"/>
                </a:lnTo>
                <a:lnTo>
                  <a:pt x="19" y="156"/>
                </a:lnTo>
                <a:lnTo>
                  <a:pt x="35" y="136"/>
                </a:lnTo>
                <a:lnTo>
                  <a:pt x="54" y="119"/>
                </a:lnTo>
                <a:lnTo>
                  <a:pt x="75" y="107"/>
                </a:lnTo>
                <a:lnTo>
                  <a:pt x="100" y="98"/>
                </a:lnTo>
                <a:lnTo>
                  <a:pt x="124" y="93"/>
                </a:lnTo>
                <a:lnTo>
                  <a:pt x="149" y="91"/>
                </a:lnTo>
                <a:lnTo>
                  <a:pt x="158" y="93"/>
                </a:lnTo>
                <a:lnTo>
                  <a:pt x="165" y="93"/>
                </a:lnTo>
                <a:lnTo>
                  <a:pt x="172" y="94"/>
                </a:lnTo>
                <a:lnTo>
                  <a:pt x="172" y="3"/>
                </a:lnTo>
                <a:lnTo>
                  <a:pt x="173" y="3"/>
                </a:lnTo>
                <a:lnTo>
                  <a:pt x="180" y="2"/>
                </a:lnTo>
                <a:lnTo>
                  <a:pt x="194" y="0"/>
                </a:lnTo>
                <a:lnTo>
                  <a:pt x="214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Freeform 20"/>
          <p:cNvSpPr>
            <a:spLocks noEditPoints="1"/>
          </p:cNvSpPr>
          <p:nvPr userDrawn="1"/>
        </p:nvSpPr>
        <p:spPr bwMode="auto">
          <a:xfrm>
            <a:off x="3230499" y="2817376"/>
            <a:ext cx="265214" cy="349086"/>
          </a:xfrm>
          <a:custGeom>
            <a:avLst/>
            <a:gdLst>
              <a:gd name="T0" fmla="*/ 111 w 234"/>
              <a:gd name="T1" fmla="*/ 61 h 308"/>
              <a:gd name="T2" fmla="*/ 90 w 234"/>
              <a:gd name="T3" fmla="*/ 84 h 308"/>
              <a:gd name="T4" fmla="*/ 82 w 234"/>
              <a:gd name="T5" fmla="*/ 112 h 308"/>
              <a:gd name="T6" fmla="*/ 80 w 234"/>
              <a:gd name="T7" fmla="*/ 131 h 308"/>
              <a:gd name="T8" fmla="*/ 171 w 234"/>
              <a:gd name="T9" fmla="*/ 135 h 308"/>
              <a:gd name="T10" fmla="*/ 167 w 234"/>
              <a:gd name="T11" fmla="*/ 93 h 308"/>
              <a:gd name="T12" fmla="*/ 146 w 234"/>
              <a:gd name="T13" fmla="*/ 61 h 308"/>
              <a:gd name="T14" fmla="*/ 131 w 234"/>
              <a:gd name="T15" fmla="*/ 58 h 308"/>
              <a:gd name="T16" fmla="*/ 127 w 234"/>
              <a:gd name="T17" fmla="*/ 0 h 308"/>
              <a:gd name="T18" fmla="*/ 167 w 234"/>
              <a:gd name="T19" fmla="*/ 7 h 308"/>
              <a:gd name="T20" fmla="*/ 202 w 234"/>
              <a:gd name="T21" fmla="*/ 28 h 308"/>
              <a:gd name="T22" fmla="*/ 225 w 234"/>
              <a:gd name="T23" fmla="*/ 66 h 308"/>
              <a:gd name="T24" fmla="*/ 234 w 234"/>
              <a:gd name="T25" fmla="*/ 128 h 308"/>
              <a:gd name="T26" fmla="*/ 232 w 234"/>
              <a:gd name="T27" fmla="*/ 166 h 308"/>
              <a:gd name="T28" fmla="*/ 229 w 234"/>
              <a:gd name="T29" fmla="*/ 182 h 308"/>
              <a:gd name="T30" fmla="*/ 185 w 234"/>
              <a:gd name="T31" fmla="*/ 184 h 308"/>
              <a:gd name="T32" fmla="*/ 80 w 234"/>
              <a:gd name="T33" fmla="*/ 184 h 308"/>
              <a:gd name="T34" fmla="*/ 80 w 234"/>
              <a:gd name="T35" fmla="*/ 194 h 308"/>
              <a:gd name="T36" fmla="*/ 83 w 234"/>
              <a:gd name="T37" fmla="*/ 213 h 308"/>
              <a:gd name="T38" fmla="*/ 101 w 234"/>
              <a:gd name="T39" fmla="*/ 234 h 308"/>
              <a:gd name="T40" fmla="*/ 138 w 234"/>
              <a:gd name="T41" fmla="*/ 247 h 308"/>
              <a:gd name="T42" fmla="*/ 180 w 234"/>
              <a:gd name="T43" fmla="*/ 241 h 308"/>
              <a:gd name="T44" fmla="*/ 222 w 234"/>
              <a:gd name="T45" fmla="*/ 226 h 308"/>
              <a:gd name="T46" fmla="*/ 187 w 234"/>
              <a:gd name="T47" fmla="*/ 299 h 308"/>
              <a:gd name="T48" fmla="*/ 131 w 234"/>
              <a:gd name="T49" fmla="*/ 308 h 308"/>
              <a:gd name="T50" fmla="*/ 131 w 234"/>
              <a:gd name="T51" fmla="*/ 308 h 308"/>
              <a:gd name="T52" fmla="*/ 76 w 234"/>
              <a:gd name="T53" fmla="*/ 297 h 308"/>
              <a:gd name="T54" fmla="*/ 36 w 234"/>
              <a:gd name="T55" fmla="*/ 271 h 308"/>
              <a:gd name="T56" fmla="*/ 10 w 234"/>
              <a:gd name="T57" fmla="*/ 224 h 308"/>
              <a:gd name="T58" fmla="*/ 0 w 234"/>
              <a:gd name="T59" fmla="*/ 154 h 308"/>
              <a:gd name="T60" fmla="*/ 3 w 234"/>
              <a:gd name="T61" fmla="*/ 115 h 308"/>
              <a:gd name="T62" fmla="*/ 21 w 234"/>
              <a:gd name="T63" fmla="*/ 58 h 308"/>
              <a:gd name="T64" fmla="*/ 54 w 234"/>
              <a:gd name="T65" fmla="*/ 21 h 308"/>
              <a:gd name="T66" fmla="*/ 99 w 234"/>
              <a:gd name="T67" fmla="*/ 3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4" h="308">
                <a:moveTo>
                  <a:pt x="131" y="58"/>
                </a:moveTo>
                <a:lnTo>
                  <a:pt x="111" y="61"/>
                </a:lnTo>
                <a:lnTo>
                  <a:pt x="99" y="70"/>
                </a:lnTo>
                <a:lnTo>
                  <a:pt x="90" y="84"/>
                </a:lnTo>
                <a:lnTo>
                  <a:pt x="85" y="98"/>
                </a:lnTo>
                <a:lnTo>
                  <a:pt x="82" y="112"/>
                </a:lnTo>
                <a:lnTo>
                  <a:pt x="80" y="122"/>
                </a:lnTo>
                <a:lnTo>
                  <a:pt x="80" y="131"/>
                </a:lnTo>
                <a:lnTo>
                  <a:pt x="82" y="135"/>
                </a:lnTo>
                <a:lnTo>
                  <a:pt x="171" y="135"/>
                </a:lnTo>
                <a:lnTo>
                  <a:pt x="171" y="117"/>
                </a:lnTo>
                <a:lnTo>
                  <a:pt x="167" y="93"/>
                </a:lnTo>
                <a:lnTo>
                  <a:pt x="159" y="73"/>
                </a:lnTo>
                <a:lnTo>
                  <a:pt x="146" y="61"/>
                </a:lnTo>
                <a:lnTo>
                  <a:pt x="131" y="58"/>
                </a:lnTo>
                <a:lnTo>
                  <a:pt x="131" y="58"/>
                </a:lnTo>
                <a:close/>
                <a:moveTo>
                  <a:pt x="125" y="0"/>
                </a:moveTo>
                <a:lnTo>
                  <a:pt x="127" y="0"/>
                </a:lnTo>
                <a:lnTo>
                  <a:pt x="148" y="2"/>
                </a:lnTo>
                <a:lnTo>
                  <a:pt x="167" y="7"/>
                </a:lnTo>
                <a:lnTo>
                  <a:pt x="187" y="16"/>
                </a:lnTo>
                <a:lnTo>
                  <a:pt x="202" y="28"/>
                </a:lnTo>
                <a:lnTo>
                  <a:pt x="215" y="45"/>
                </a:lnTo>
                <a:lnTo>
                  <a:pt x="225" y="66"/>
                </a:lnTo>
                <a:lnTo>
                  <a:pt x="232" y="94"/>
                </a:lnTo>
                <a:lnTo>
                  <a:pt x="234" y="128"/>
                </a:lnTo>
                <a:lnTo>
                  <a:pt x="234" y="149"/>
                </a:lnTo>
                <a:lnTo>
                  <a:pt x="232" y="166"/>
                </a:lnTo>
                <a:lnTo>
                  <a:pt x="230" y="177"/>
                </a:lnTo>
                <a:lnTo>
                  <a:pt x="229" y="182"/>
                </a:lnTo>
                <a:lnTo>
                  <a:pt x="211" y="184"/>
                </a:lnTo>
                <a:lnTo>
                  <a:pt x="185" y="184"/>
                </a:lnTo>
                <a:lnTo>
                  <a:pt x="157" y="184"/>
                </a:lnTo>
                <a:lnTo>
                  <a:pt x="80" y="184"/>
                </a:lnTo>
                <a:lnTo>
                  <a:pt x="80" y="187"/>
                </a:lnTo>
                <a:lnTo>
                  <a:pt x="80" y="194"/>
                </a:lnTo>
                <a:lnTo>
                  <a:pt x="80" y="203"/>
                </a:lnTo>
                <a:lnTo>
                  <a:pt x="83" y="213"/>
                </a:lnTo>
                <a:lnTo>
                  <a:pt x="90" y="226"/>
                </a:lnTo>
                <a:lnTo>
                  <a:pt x="101" y="234"/>
                </a:lnTo>
                <a:lnTo>
                  <a:pt x="117" y="243"/>
                </a:lnTo>
                <a:lnTo>
                  <a:pt x="138" y="247"/>
                </a:lnTo>
                <a:lnTo>
                  <a:pt x="160" y="247"/>
                </a:lnTo>
                <a:lnTo>
                  <a:pt x="180" y="241"/>
                </a:lnTo>
                <a:lnTo>
                  <a:pt x="199" y="234"/>
                </a:lnTo>
                <a:lnTo>
                  <a:pt x="222" y="226"/>
                </a:lnTo>
                <a:lnTo>
                  <a:pt x="222" y="287"/>
                </a:lnTo>
                <a:lnTo>
                  <a:pt x="187" y="299"/>
                </a:lnTo>
                <a:lnTo>
                  <a:pt x="155" y="306"/>
                </a:lnTo>
                <a:lnTo>
                  <a:pt x="131" y="308"/>
                </a:lnTo>
                <a:lnTo>
                  <a:pt x="131" y="308"/>
                </a:lnTo>
                <a:lnTo>
                  <a:pt x="131" y="308"/>
                </a:lnTo>
                <a:lnTo>
                  <a:pt x="103" y="304"/>
                </a:lnTo>
                <a:lnTo>
                  <a:pt x="76" y="297"/>
                </a:lnTo>
                <a:lnTo>
                  <a:pt x="55" y="287"/>
                </a:lnTo>
                <a:lnTo>
                  <a:pt x="36" y="271"/>
                </a:lnTo>
                <a:lnTo>
                  <a:pt x="22" y="250"/>
                </a:lnTo>
                <a:lnTo>
                  <a:pt x="10" y="224"/>
                </a:lnTo>
                <a:lnTo>
                  <a:pt x="3" y="192"/>
                </a:lnTo>
                <a:lnTo>
                  <a:pt x="0" y="154"/>
                </a:lnTo>
                <a:lnTo>
                  <a:pt x="0" y="152"/>
                </a:lnTo>
                <a:lnTo>
                  <a:pt x="3" y="115"/>
                </a:lnTo>
                <a:lnTo>
                  <a:pt x="10" y="84"/>
                </a:lnTo>
                <a:lnTo>
                  <a:pt x="21" y="58"/>
                </a:lnTo>
                <a:lnTo>
                  <a:pt x="35" y="37"/>
                </a:lnTo>
                <a:lnTo>
                  <a:pt x="54" y="21"/>
                </a:lnTo>
                <a:lnTo>
                  <a:pt x="75" y="10"/>
                </a:lnTo>
                <a:lnTo>
                  <a:pt x="99" y="3"/>
                </a:lnTo>
                <a:lnTo>
                  <a:pt x="12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4" name="Freeform 21"/>
          <p:cNvSpPr>
            <a:spLocks/>
          </p:cNvSpPr>
          <p:nvPr userDrawn="1"/>
        </p:nvSpPr>
        <p:spPr bwMode="auto">
          <a:xfrm>
            <a:off x="2624132" y="2704036"/>
            <a:ext cx="296951" cy="452225"/>
          </a:xfrm>
          <a:custGeom>
            <a:avLst/>
            <a:gdLst>
              <a:gd name="T0" fmla="*/ 162 w 262"/>
              <a:gd name="T1" fmla="*/ 0 h 399"/>
              <a:gd name="T2" fmla="*/ 197 w 262"/>
              <a:gd name="T3" fmla="*/ 2 h 399"/>
              <a:gd name="T4" fmla="*/ 225 w 262"/>
              <a:gd name="T5" fmla="*/ 5 h 399"/>
              <a:gd name="T6" fmla="*/ 244 w 262"/>
              <a:gd name="T7" fmla="*/ 11 h 399"/>
              <a:gd name="T8" fmla="*/ 257 w 262"/>
              <a:gd name="T9" fmla="*/ 16 h 399"/>
              <a:gd name="T10" fmla="*/ 262 w 262"/>
              <a:gd name="T11" fmla="*/ 18 h 399"/>
              <a:gd name="T12" fmla="*/ 243 w 262"/>
              <a:gd name="T13" fmla="*/ 79 h 399"/>
              <a:gd name="T14" fmla="*/ 239 w 262"/>
              <a:gd name="T15" fmla="*/ 79 h 399"/>
              <a:gd name="T16" fmla="*/ 230 w 262"/>
              <a:gd name="T17" fmla="*/ 75 h 399"/>
              <a:gd name="T18" fmla="*/ 213 w 262"/>
              <a:gd name="T19" fmla="*/ 70 h 399"/>
              <a:gd name="T20" fmla="*/ 188 w 262"/>
              <a:gd name="T21" fmla="*/ 67 h 399"/>
              <a:gd name="T22" fmla="*/ 157 w 262"/>
              <a:gd name="T23" fmla="*/ 67 h 399"/>
              <a:gd name="T24" fmla="*/ 136 w 262"/>
              <a:gd name="T25" fmla="*/ 67 h 399"/>
              <a:gd name="T26" fmla="*/ 117 w 262"/>
              <a:gd name="T27" fmla="*/ 68 h 399"/>
              <a:gd name="T28" fmla="*/ 99 w 262"/>
              <a:gd name="T29" fmla="*/ 74 h 399"/>
              <a:gd name="T30" fmla="*/ 89 w 262"/>
              <a:gd name="T31" fmla="*/ 81 h 399"/>
              <a:gd name="T32" fmla="*/ 89 w 262"/>
              <a:gd name="T33" fmla="*/ 168 h 399"/>
              <a:gd name="T34" fmla="*/ 215 w 262"/>
              <a:gd name="T35" fmla="*/ 168 h 399"/>
              <a:gd name="T36" fmla="*/ 215 w 262"/>
              <a:gd name="T37" fmla="*/ 236 h 399"/>
              <a:gd name="T38" fmla="*/ 89 w 262"/>
              <a:gd name="T39" fmla="*/ 236 h 399"/>
              <a:gd name="T40" fmla="*/ 87 w 262"/>
              <a:gd name="T41" fmla="*/ 399 h 399"/>
              <a:gd name="T42" fmla="*/ 0 w 262"/>
              <a:gd name="T43" fmla="*/ 399 h 399"/>
              <a:gd name="T44" fmla="*/ 0 w 262"/>
              <a:gd name="T45" fmla="*/ 33 h 399"/>
              <a:gd name="T46" fmla="*/ 3 w 262"/>
              <a:gd name="T47" fmla="*/ 32 h 399"/>
              <a:gd name="T48" fmla="*/ 10 w 262"/>
              <a:gd name="T49" fmla="*/ 26 h 399"/>
              <a:gd name="T50" fmla="*/ 26 w 262"/>
              <a:gd name="T51" fmla="*/ 19 h 399"/>
              <a:gd name="T52" fmla="*/ 47 w 262"/>
              <a:gd name="T53" fmla="*/ 12 h 399"/>
              <a:gd name="T54" fmla="*/ 78 w 262"/>
              <a:gd name="T55" fmla="*/ 5 h 399"/>
              <a:gd name="T56" fmla="*/ 118 w 262"/>
              <a:gd name="T57" fmla="*/ 2 h 399"/>
              <a:gd name="T58" fmla="*/ 162 w 262"/>
              <a:gd name="T59" fmla="*/ 0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62" h="399">
                <a:moveTo>
                  <a:pt x="162" y="0"/>
                </a:moveTo>
                <a:lnTo>
                  <a:pt x="197" y="2"/>
                </a:lnTo>
                <a:lnTo>
                  <a:pt x="225" y="5"/>
                </a:lnTo>
                <a:lnTo>
                  <a:pt x="244" y="11"/>
                </a:lnTo>
                <a:lnTo>
                  <a:pt x="257" y="16"/>
                </a:lnTo>
                <a:lnTo>
                  <a:pt x="262" y="18"/>
                </a:lnTo>
                <a:lnTo>
                  <a:pt x="243" y="79"/>
                </a:lnTo>
                <a:lnTo>
                  <a:pt x="239" y="79"/>
                </a:lnTo>
                <a:lnTo>
                  <a:pt x="230" y="75"/>
                </a:lnTo>
                <a:lnTo>
                  <a:pt x="213" y="70"/>
                </a:lnTo>
                <a:lnTo>
                  <a:pt x="188" y="67"/>
                </a:lnTo>
                <a:lnTo>
                  <a:pt x="157" y="67"/>
                </a:lnTo>
                <a:lnTo>
                  <a:pt x="136" y="67"/>
                </a:lnTo>
                <a:lnTo>
                  <a:pt x="117" y="68"/>
                </a:lnTo>
                <a:lnTo>
                  <a:pt x="99" y="74"/>
                </a:lnTo>
                <a:lnTo>
                  <a:pt x="89" y="81"/>
                </a:lnTo>
                <a:lnTo>
                  <a:pt x="89" y="168"/>
                </a:lnTo>
                <a:lnTo>
                  <a:pt x="215" y="168"/>
                </a:lnTo>
                <a:lnTo>
                  <a:pt x="215" y="236"/>
                </a:lnTo>
                <a:lnTo>
                  <a:pt x="89" y="236"/>
                </a:lnTo>
                <a:lnTo>
                  <a:pt x="87" y="399"/>
                </a:lnTo>
                <a:lnTo>
                  <a:pt x="0" y="399"/>
                </a:lnTo>
                <a:lnTo>
                  <a:pt x="0" y="33"/>
                </a:lnTo>
                <a:lnTo>
                  <a:pt x="3" y="32"/>
                </a:lnTo>
                <a:lnTo>
                  <a:pt x="10" y="26"/>
                </a:lnTo>
                <a:lnTo>
                  <a:pt x="26" y="19"/>
                </a:lnTo>
                <a:lnTo>
                  <a:pt x="47" y="12"/>
                </a:lnTo>
                <a:lnTo>
                  <a:pt x="78" y="5"/>
                </a:lnTo>
                <a:lnTo>
                  <a:pt x="118" y="2"/>
                </a:lnTo>
                <a:lnTo>
                  <a:pt x="162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Freeform 22"/>
          <p:cNvSpPr>
            <a:spLocks/>
          </p:cNvSpPr>
          <p:nvPr userDrawn="1"/>
        </p:nvSpPr>
        <p:spPr bwMode="auto">
          <a:xfrm>
            <a:off x="7536274" y="2709704"/>
            <a:ext cx="97472" cy="97472"/>
          </a:xfrm>
          <a:custGeom>
            <a:avLst/>
            <a:gdLst>
              <a:gd name="T0" fmla="*/ 42 w 86"/>
              <a:gd name="T1" fmla="*/ 0 h 86"/>
              <a:gd name="T2" fmla="*/ 59 w 86"/>
              <a:gd name="T3" fmla="*/ 4 h 86"/>
              <a:gd name="T4" fmla="*/ 73 w 86"/>
              <a:gd name="T5" fmla="*/ 13 h 86"/>
              <a:gd name="T6" fmla="*/ 82 w 86"/>
              <a:gd name="T7" fmla="*/ 27 h 86"/>
              <a:gd name="T8" fmla="*/ 86 w 86"/>
              <a:gd name="T9" fmla="*/ 44 h 86"/>
              <a:gd name="T10" fmla="*/ 82 w 86"/>
              <a:gd name="T11" fmla="*/ 60 h 86"/>
              <a:gd name="T12" fmla="*/ 73 w 86"/>
              <a:gd name="T13" fmla="*/ 74 h 86"/>
              <a:gd name="T14" fmla="*/ 59 w 86"/>
              <a:gd name="T15" fmla="*/ 83 h 86"/>
              <a:gd name="T16" fmla="*/ 42 w 86"/>
              <a:gd name="T17" fmla="*/ 86 h 86"/>
              <a:gd name="T18" fmla="*/ 26 w 86"/>
              <a:gd name="T19" fmla="*/ 83 h 86"/>
              <a:gd name="T20" fmla="*/ 12 w 86"/>
              <a:gd name="T21" fmla="*/ 74 h 86"/>
              <a:gd name="T22" fmla="*/ 4 w 86"/>
              <a:gd name="T23" fmla="*/ 60 h 86"/>
              <a:gd name="T24" fmla="*/ 0 w 86"/>
              <a:gd name="T25" fmla="*/ 44 h 86"/>
              <a:gd name="T26" fmla="*/ 4 w 86"/>
              <a:gd name="T27" fmla="*/ 27 h 86"/>
              <a:gd name="T28" fmla="*/ 12 w 86"/>
              <a:gd name="T29" fmla="*/ 13 h 86"/>
              <a:gd name="T30" fmla="*/ 26 w 86"/>
              <a:gd name="T31" fmla="*/ 4 h 86"/>
              <a:gd name="T32" fmla="*/ 42 w 86"/>
              <a:gd name="T33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86" h="86">
                <a:moveTo>
                  <a:pt x="42" y="0"/>
                </a:moveTo>
                <a:lnTo>
                  <a:pt x="59" y="4"/>
                </a:lnTo>
                <a:lnTo>
                  <a:pt x="73" y="13"/>
                </a:lnTo>
                <a:lnTo>
                  <a:pt x="82" y="27"/>
                </a:lnTo>
                <a:lnTo>
                  <a:pt x="86" y="44"/>
                </a:lnTo>
                <a:lnTo>
                  <a:pt x="82" y="60"/>
                </a:lnTo>
                <a:lnTo>
                  <a:pt x="73" y="74"/>
                </a:lnTo>
                <a:lnTo>
                  <a:pt x="59" y="83"/>
                </a:lnTo>
                <a:lnTo>
                  <a:pt x="42" y="86"/>
                </a:lnTo>
                <a:lnTo>
                  <a:pt x="26" y="83"/>
                </a:lnTo>
                <a:lnTo>
                  <a:pt x="12" y="74"/>
                </a:lnTo>
                <a:lnTo>
                  <a:pt x="4" y="60"/>
                </a:lnTo>
                <a:lnTo>
                  <a:pt x="0" y="44"/>
                </a:lnTo>
                <a:lnTo>
                  <a:pt x="4" y="27"/>
                </a:lnTo>
                <a:lnTo>
                  <a:pt x="12" y="13"/>
                </a:lnTo>
                <a:lnTo>
                  <a:pt x="26" y="4"/>
                </a:lnTo>
                <a:lnTo>
                  <a:pt x="42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23"/>
          <p:cNvSpPr>
            <a:spLocks/>
          </p:cNvSpPr>
          <p:nvPr userDrawn="1"/>
        </p:nvSpPr>
        <p:spPr bwMode="auto">
          <a:xfrm>
            <a:off x="7660948" y="2819643"/>
            <a:ext cx="202879" cy="241414"/>
          </a:xfrm>
          <a:custGeom>
            <a:avLst/>
            <a:gdLst>
              <a:gd name="T0" fmla="*/ 100 w 179"/>
              <a:gd name="T1" fmla="*/ 0 h 213"/>
              <a:gd name="T2" fmla="*/ 119 w 179"/>
              <a:gd name="T3" fmla="*/ 1 h 213"/>
              <a:gd name="T4" fmla="*/ 137 w 179"/>
              <a:gd name="T5" fmla="*/ 5 h 213"/>
              <a:gd name="T6" fmla="*/ 152 w 179"/>
              <a:gd name="T7" fmla="*/ 12 h 213"/>
              <a:gd name="T8" fmla="*/ 166 w 179"/>
              <a:gd name="T9" fmla="*/ 26 h 213"/>
              <a:gd name="T10" fmla="*/ 175 w 179"/>
              <a:gd name="T11" fmla="*/ 43 h 213"/>
              <a:gd name="T12" fmla="*/ 179 w 179"/>
              <a:gd name="T13" fmla="*/ 68 h 213"/>
              <a:gd name="T14" fmla="*/ 177 w 179"/>
              <a:gd name="T15" fmla="*/ 85 h 213"/>
              <a:gd name="T16" fmla="*/ 173 w 179"/>
              <a:gd name="T17" fmla="*/ 105 h 213"/>
              <a:gd name="T18" fmla="*/ 170 w 179"/>
              <a:gd name="T19" fmla="*/ 119 h 213"/>
              <a:gd name="T20" fmla="*/ 165 w 179"/>
              <a:gd name="T21" fmla="*/ 136 h 213"/>
              <a:gd name="T22" fmla="*/ 158 w 179"/>
              <a:gd name="T23" fmla="*/ 157 h 213"/>
              <a:gd name="T24" fmla="*/ 149 w 179"/>
              <a:gd name="T25" fmla="*/ 178 h 213"/>
              <a:gd name="T26" fmla="*/ 144 w 179"/>
              <a:gd name="T27" fmla="*/ 196 h 213"/>
              <a:gd name="T28" fmla="*/ 138 w 179"/>
              <a:gd name="T29" fmla="*/ 208 h 213"/>
              <a:gd name="T30" fmla="*/ 137 w 179"/>
              <a:gd name="T31" fmla="*/ 213 h 213"/>
              <a:gd name="T32" fmla="*/ 93 w 179"/>
              <a:gd name="T33" fmla="*/ 213 h 213"/>
              <a:gd name="T34" fmla="*/ 93 w 179"/>
              <a:gd name="T35" fmla="*/ 150 h 213"/>
              <a:gd name="T36" fmla="*/ 100 w 179"/>
              <a:gd name="T37" fmla="*/ 127 h 213"/>
              <a:gd name="T38" fmla="*/ 109 w 179"/>
              <a:gd name="T39" fmla="*/ 103 h 213"/>
              <a:gd name="T40" fmla="*/ 110 w 179"/>
              <a:gd name="T41" fmla="*/ 92 h 213"/>
              <a:gd name="T42" fmla="*/ 112 w 179"/>
              <a:gd name="T43" fmla="*/ 84 h 213"/>
              <a:gd name="T44" fmla="*/ 114 w 179"/>
              <a:gd name="T45" fmla="*/ 78 h 213"/>
              <a:gd name="T46" fmla="*/ 112 w 179"/>
              <a:gd name="T47" fmla="*/ 73 h 213"/>
              <a:gd name="T48" fmla="*/ 112 w 179"/>
              <a:gd name="T49" fmla="*/ 70 h 213"/>
              <a:gd name="T50" fmla="*/ 110 w 179"/>
              <a:gd name="T51" fmla="*/ 68 h 213"/>
              <a:gd name="T52" fmla="*/ 109 w 179"/>
              <a:gd name="T53" fmla="*/ 66 h 213"/>
              <a:gd name="T54" fmla="*/ 107 w 179"/>
              <a:gd name="T55" fmla="*/ 64 h 213"/>
              <a:gd name="T56" fmla="*/ 100 w 179"/>
              <a:gd name="T57" fmla="*/ 63 h 213"/>
              <a:gd name="T58" fmla="*/ 93 w 179"/>
              <a:gd name="T59" fmla="*/ 63 h 213"/>
              <a:gd name="T60" fmla="*/ 81 w 179"/>
              <a:gd name="T61" fmla="*/ 63 h 213"/>
              <a:gd name="T62" fmla="*/ 63 w 179"/>
              <a:gd name="T63" fmla="*/ 66 h 213"/>
              <a:gd name="T64" fmla="*/ 63 w 179"/>
              <a:gd name="T65" fmla="*/ 213 h 213"/>
              <a:gd name="T66" fmla="*/ 0 w 179"/>
              <a:gd name="T67" fmla="*/ 213 h 213"/>
              <a:gd name="T68" fmla="*/ 0 w 179"/>
              <a:gd name="T69" fmla="*/ 17 h 213"/>
              <a:gd name="T70" fmla="*/ 19 w 179"/>
              <a:gd name="T71" fmla="*/ 12 h 213"/>
              <a:gd name="T72" fmla="*/ 47 w 179"/>
              <a:gd name="T73" fmla="*/ 5 h 213"/>
              <a:gd name="T74" fmla="*/ 81 w 179"/>
              <a:gd name="T75" fmla="*/ 1 h 213"/>
              <a:gd name="T76" fmla="*/ 89 w 179"/>
              <a:gd name="T77" fmla="*/ 0 h 213"/>
              <a:gd name="T78" fmla="*/ 100 w 179"/>
              <a:gd name="T79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9" h="213">
                <a:moveTo>
                  <a:pt x="100" y="0"/>
                </a:moveTo>
                <a:lnTo>
                  <a:pt x="119" y="1"/>
                </a:lnTo>
                <a:lnTo>
                  <a:pt x="137" y="5"/>
                </a:lnTo>
                <a:lnTo>
                  <a:pt x="152" y="12"/>
                </a:lnTo>
                <a:lnTo>
                  <a:pt x="166" y="26"/>
                </a:lnTo>
                <a:lnTo>
                  <a:pt x="175" y="43"/>
                </a:lnTo>
                <a:lnTo>
                  <a:pt x="179" y="68"/>
                </a:lnTo>
                <a:lnTo>
                  <a:pt x="177" y="85"/>
                </a:lnTo>
                <a:lnTo>
                  <a:pt x="173" y="105"/>
                </a:lnTo>
                <a:lnTo>
                  <a:pt x="170" y="119"/>
                </a:lnTo>
                <a:lnTo>
                  <a:pt x="165" y="136"/>
                </a:lnTo>
                <a:lnTo>
                  <a:pt x="158" y="157"/>
                </a:lnTo>
                <a:lnTo>
                  <a:pt x="149" y="178"/>
                </a:lnTo>
                <a:lnTo>
                  <a:pt x="144" y="196"/>
                </a:lnTo>
                <a:lnTo>
                  <a:pt x="138" y="208"/>
                </a:lnTo>
                <a:lnTo>
                  <a:pt x="137" y="213"/>
                </a:lnTo>
                <a:lnTo>
                  <a:pt x="93" y="213"/>
                </a:lnTo>
                <a:lnTo>
                  <a:pt x="93" y="150"/>
                </a:lnTo>
                <a:lnTo>
                  <a:pt x="100" y="127"/>
                </a:lnTo>
                <a:lnTo>
                  <a:pt x="109" y="103"/>
                </a:lnTo>
                <a:lnTo>
                  <a:pt x="110" y="92"/>
                </a:lnTo>
                <a:lnTo>
                  <a:pt x="112" y="84"/>
                </a:lnTo>
                <a:lnTo>
                  <a:pt x="114" y="78"/>
                </a:lnTo>
                <a:lnTo>
                  <a:pt x="112" y="73"/>
                </a:lnTo>
                <a:lnTo>
                  <a:pt x="112" y="70"/>
                </a:lnTo>
                <a:lnTo>
                  <a:pt x="110" y="68"/>
                </a:lnTo>
                <a:lnTo>
                  <a:pt x="109" y="66"/>
                </a:lnTo>
                <a:lnTo>
                  <a:pt x="107" y="64"/>
                </a:lnTo>
                <a:lnTo>
                  <a:pt x="100" y="63"/>
                </a:lnTo>
                <a:lnTo>
                  <a:pt x="93" y="63"/>
                </a:lnTo>
                <a:lnTo>
                  <a:pt x="81" y="63"/>
                </a:lnTo>
                <a:lnTo>
                  <a:pt x="63" y="66"/>
                </a:lnTo>
                <a:lnTo>
                  <a:pt x="63" y="213"/>
                </a:lnTo>
                <a:lnTo>
                  <a:pt x="0" y="213"/>
                </a:lnTo>
                <a:lnTo>
                  <a:pt x="0" y="17"/>
                </a:lnTo>
                <a:lnTo>
                  <a:pt x="19" y="12"/>
                </a:lnTo>
                <a:lnTo>
                  <a:pt x="47" y="5"/>
                </a:lnTo>
                <a:lnTo>
                  <a:pt x="81" y="1"/>
                </a:lnTo>
                <a:lnTo>
                  <a:pt x="89" y="0"/>
                </a:lnTo>
                <a:lnTo>
                  <a:pt x="100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Rectangle 24"/>
          <p:cNvSpPr>
            <a:spLocks noChangeArrowheads="1"/>
          </p:cNvSpPr>
          <p:nvPr userDrawn="1"/>
        </p:nvSpPr>
        <p:spPr bwMode="auto">
          <a:xfrm>
            <a:off x="7367399" y="3090525"/>
            <a:ext cx="434092" cy="63470"/>
          </a:xfrm>
          <a:prstGeom prst="rect">
            <a:avLst/>
          </a:prstGeom>
          <a:solidFill>
            <a:schemeClr val="accent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Freeform 25"/>
          <p:cNvSpPr>
            <a:spLocks/>
          </p:cNvSpPr>
          <p:nvPr userDrawn="1"/>
        </p:nvSpPr>
        <p:spPr bwMode="auto">
          <a:xfrm>
            <a:off x="7544209" y="2838911"/>
            <a:ext cx="79338" cy="222146"/>
          </a:xfrm>
          <a:custGeom>
            <a:avLst/>
            <a:gdLst>
              <a:gd name="T0" fmla="*/ 35 w 70"/>
              <a:gd name="T1" fmla="*/ 0 h 196"/>
              <a:gd name="T2" fmla="*/ 56 w 70"/>
              <a:gd name="T3" fmla="*/ 0 h 196"/>
              <a:gd name="T4" fmla="*/ 66 w 70"/>
              <a:gd name="T5" fmla="*/ 2 h 196"/>
              <a:gd name="T6" fmla="*/ 70 w 70"/>
              <a:gd name="T7" fmla="*/ 2 h 196"/>
              <a:gd name="T8" fmla="*/ 70 w 70"/>
              <a:gd name="T9" fmla="*/ 196 h 196"/>
              <a:gd name="T10" fmla="*/ 0 w 70"/>
              <a:gd name="T11" fmla="*/ 196 h 196"/>
              <a:gd name="T12" fmla="*/ 0 w 70"/>
              <a:gd name="T13" fmla="*/ 2 h 196"/>
              <a:gd name="T14" fmla="*/ 5 w 70"/>
              <a:gd name="T15" fmla="*/ 2 h 196"/>
              <a:gd name="T16" fmla="*/ 17 w 70"/>
              <a:gd name="T17" fmla="*/ 0 h 196"/>
              <a:gd name="T18" fmla="*/ 35 w 70"/>
              <a:gd name="T19" fmla="*/ 0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0" h="196">
                <a:moveTo>
                  <a:pt x="35" y="0"/>
                </a:moveTo>
                <a:lnTo>
                  <a:pt x="56" y="0"/>
                </a:lnTo>
                <a:lnTo>
                  <a:pt x="66" y="2"/>
                </a:lnTo>
                <a:lnTo>
                  <a:pt x="70" y="2"/>
                </a:lnTo>
                <a:lnTo>
                  <a:pt x="70" y="196"/>
                </a:lnTo>
                <a:lnTo>
                  <a:pt x="0" y="196"/>
                </a:lnTo>
                <a:lnTo>
                  <a:pt x="0" y="2"/>
                </a:lnTo>
                <a:lnTo>
                  <a:pt x="5" y="2"/>
                </a:lnTo>
                <a:lnTo>
                  <a:pt x="17" y="0"/>
                </a:lnTo>
                <a:lnTo>
                  <a:pt x="3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Freeform 26"/>
          <p:cNvSpPr>
            <a:spLocks/>
          </p:cNvSpPr>
          <p:nvPr userDrawn="1"/>
        </p:nvSpPr>
        <p:spPr bwMode="auto">
          <a:xfrm>
            <a:off x="7306195" y="2819643"/>
            <a:ext cx="202879" cy="241414"/>
          </a:xfrm>
          <a:custGeom>
            <a:avLst/>
            <a:gdLst>
              <a:gd name="T0" fmla="*/ 77 w 179"/>
              <a:gd name="T1" fmla="*/ 0 h 213"/>
              <a:gd name="T2" fmla="*/ 88 w 179"/>
              <a:gd name="T3" fmla="*/ 0 h 213"/>
              <a:gd name="T4" fmla="*/ 98 w 179"/>
              <a:gd name="T5" fmla="*/ 1 h 213"/>
              <a:gd name="T6" fmla="*/ 131 w 179"/>
              <a:gd name="T7" fmla="*/ 5 h 213"/>
              <a:gd name="T8" fmla="*/ 159 w 179"/>
              <a:gd name="T9" fmla="*/ 12 h 213"/>
              <a:gd name="T10" fmla="*/ 179 w 179"/>
              <a:gd name="T11" fmla="*/ 17 h 213"/>
              <a:gd name="T12" fmla="*/ 179 w 179"/>
              <a:gd name="T13" fmla="*/ 213 h 213"/>
              <a:gd name="T14" fmla="*/ 114 w 179"/>
              <a:gd name="T15" fmla="*/ 213 h 213"/>
              <a:gd name="T16" fmla="*/ 114 w 179"/>
              <a:gd name="T17" fmla="*/ 66 h 213"/>
              <a:gd name="T18" fmla="*/ 98 w 179"/>
              <a:gd name="T19" fmla="*/ 63 h 213"/>
              <a:gd name="T20" fmla="*/ 86 w 179"/>
              <a:gd name="T21" fmla="*/ 63 h 213"/>
              <a:gd name="T22" fmla="*/ 77 w 179"/>
              <a:gd name="T23" fmla="*/ 63 h 213"/>
              <a:gd name="T24" fmla="*/ 72 w 179"/>
              <a:gd name="T25" fmla="*/ 64 h 213"/>
              <a:gd name="T26" fmla="*/ 68 w 179"/>
              <a:gd name="T27" fmla="*/ 66 h 213"/>
              <a:gd name="T28" fmla="*/ 67 w 179"/>
              <a:gd name="T29" fmla="*/ 68 h 213"/>
              <a:gd name="T30" fmla="*/ 67 w 179"/>
              <a:gd name="T31" fmla="*/ 70 h 213"/>
              <a:gd name="T32" fmla="*/ 65 w 179"/>
              <a:gd name="T33" fmla="*/ 73 h 213"/>
              <a:gd name="T34" fmla="*/ 65 w 179"/>
              <a:gd name="T35" fmla="*/ 78 h 213"/>
              <a:gd name="T36" fmla="*/ 65 w 179"/>
              <a:gd name="T37" fmla="*/ 84 h 213"/>
              <a:gd name="T38" fmla="*/ 67 w 179"/>
              <a:gd name="T39" fmla="*/ 92 h 213"/>
              <a:gd name="T40" fmla="*/ 70 w 179"/>
              <a:gd name="T41" fmla="*/ 103 h 213"/>
              <a:gd name="T42" fmla="*/ 77 w 179"/>
              <a:gd name="T43" fmla="*/ 127 h 213"/>
              <a:gd name="T44" fmla="*/ 86 w 179"/>
              <a:gd name="T45" fmla="*/ 150 h 213"/>
              <a:gd name="T46" fmla="*/ 86 w 179"/>
              <a:gd name="T47" fmla="*/ 213 h 213"/>
              <a:gd name="T48" fmla="*/ 42 w 179"/>
              <a:gd name="T49" fmla="*/ 213 h 213"/>
              <a:gd name="T50" fmla="*/ 40 w 179"/>
              <a:gd name="T51" fmla="*/ 208 h 213"/>
              <a:gd name="T52" fmla="*/ 35 w 179"/>
              <a:gd name="T53" fmla="*/ 196 h 213"/>
              <a:gd name="T54" fmla="*/ 28 w 179"/>
              <a:gd name="T55" fmla="*/ 178 h 213"/>
              <a:gd name="T56" fmla="*/ 21 w 179"/>
              <a:gd name="T57" fmla="*/ 157 h 213"/>
              <a:gd name="T58" fmla="*/ 14 w 179"/>
              <a:gd name="T59" fmla="*/ 136 h 213"/>
              <a:gd name="T60" fmla="*/ 7 w 179"/>
              <a:gd name="T61" fmla="*/ 119 h 213"/>
              <a:gd name="T62" fmla="*/ 4 w 179"/>
              <a:gd name="T63" fmla="*/ 105 h 213"/>
              <a:gd name="T64" fmla="*/ 0 w 179"/>
              <a:gd name="T65" fmla="*/ 85 h 213"/>
              <a:gd name="T66" fmla="*/ 0 w 179"/>
              <a:gd name="T67" fmla="*/ 68 h 213"/>
              <a:gd name="T68" fmla="*/ 2 w 179"/>
              <a:gd name="T69" fmla="*/ 43 h 213"/>
              <a:gd name="T70" fmla="*/ 12 w 179"/>
              <a:gd name="T71" fmla="*/ 26 h 213"/>
              <a:gd name="T72" fmla="*/ 25 w 179"/>
              <a:gd name="T73" fmla="*/ 12 h 213"/>
              <a:gd name="T74" fmla="*/ 42 w 179"/>
              <a:gd name="T75" fmla="*/ 5 h 213"/>
              <a:gd name="T76" fmla="*/ 60 w 179"/>
              <a:gd name="T77" fmla="*/ 1 h 213"/>
              <a:gd name="T78" fmla="*/ 77 w 179"/>
              <a:gd name="T79" fmla="*/ 0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9" h="213">
                <a:moveTo>
                  <a:pt x="77" y="0"/>
                </a:moveTo>
                <a:lnTo>
                  <a:pt x="88" y="0"/>
                </a:lnTo>
                <a:lnTo>
                  <a:pt x="98" y="1"/>
                </a:lnTo>
                <a:lnTo>
                  <a:pt x="131" y="5"/>
                </a:lnTo>
                <a:lnTo>
                  <a:pt x="159" y="12"/>
                </a:lnTo>
                <a:lnTo>
                  <a:pt x="179" y="17"/>
                </a:lnTo>
                <a:lnTo>
                  <a:pt x="179" y="213"/>
                </a:lnTo>
                <a:lnTo>
                  <a:pt x="114" y="213"/>
                </a:lnTo>
                <a:lnTo>
                  <a:pt x="114" y="66"/>
                </a:lnTo>
                <a:lnTo>
                  <a:pt x="98" y="63"/>
                </a:lnTo>
                <a:lnTo>
                  <a:pt x="86" y="63"/>
                </a:lnTo>
                <a:lnTo>
                  <a:pt x="77" y="63"/>
                </a:lnTo>
                <a:lnTo>
                  <a:pt x="72" y="64"/>
                </a:lnTo>
                <a:lnTo>
                  <a:pt x="68" y="66"/>
                </a:lnTo>
                <a:lnTo>
                  <a:pt x="67" y="68"/>
                </a:lnTo>
                <a:lnTo>
                  <a:pt x="67" y="70"/>
                </a:lnTo>
                <a:lnTo>
                  <a:pt x="65" y="73"/>
                </a:lnTo>
                <a:lnTo>
                  <a:pt x="65" y="78"/>
                </a:lnTo>
                <a:lnTo>
                  <a:pt x="65" y="84"/>
                </a:lnTo>
                <a:lnTo>
                  <a:pt x="67" y="92"/>
                </a:lnTo>
                <a:lnTo>
                  <a:pt x="70" y="103"/>
                </a:lnTo>
                <a:lnTo>
                  <a:pt x="77" y="127"/>
                </a:lnTo>
                <a:lnTo>
                  <a:pt x="86" y="150"/>
                </a:lnTo>
                <a:lnTo>
                  <a:pt x="86" y="213"/>
                </a:lnTo>
                <a:lnTo>
                  <a:pt x="42" y="213"/>
                </a:lnTo>
                <a:lnTo>
                  <a:pt x="40" y="208"/>
                </a:lnTo>
                <a:lnTo>
                  <a:pt x="35" y="196"/>
                </a:lnTo>
                <a:lnTo>
                  <a:pt x="28" y="178"/>
                </a:lnTo>
                <a:lnTo>
                  <a:pt x="21" y="157"/>
                </a:lnTo>
                <a:lnTo>
                  <a:pt x="14" y="136"/>
                </a:lnTo>
                <a:lnTo>
                  <a:pt x="7" y="119"/>
                </a:lnTo>
                <a:lnTo>
                  <a:pt x="4" y="105"/>
                </a:lnTo>
                <a:lnTo>
                  <a:pt x="0" y="85"/>
                </a:lnTo>
                <a:lnTo>
                  <a:pt x="0" y="68"/>
                </a:lnTo>
                <a:lnTo>
                  <a:pt x="2" y="43"/>
                </a:lnTo>
                <a:lnTo>
                  <a:pt x="12" y="26"/>
                </a:lnTo>
                <a:lnTo>
                  <a:pt x="25" y="12"/>
                </a:lnTo>
                <a:lnTo>
                  <a:pt x="42" y="5"/>
                </a:lnTo>
                <a:lnTo>
                  <a:pt x="60" y="1"/>
                </a:lnTo>
                <a:lnTo>
                  <a:pt x="77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8" name="Groep 87"/>
          <p:cNvGrpSpPr/>
          <p:nvPr userDrawn="1"/>
        </p:nvGrpSpPr>
        <p:grpSpPr>
          <a:xfrm>
            <a:off x="2736339" y="569851"/>
            <a:ext cx="1250138" cy="864781"/>
            <a:chOff x="2231601" y="564602"/>
            <a:chExt cx="1136489" cy="786165"/>
          </a:xfrm>
        </p:grpSpPr>
        <p:sp>
          <p:nvSpPr>
            <p:cNvPr id="50" name="Freeform 27"/>
            <p:cNvSpPr>
              <a:spLocks/>
            </p:cNvSpPr>
            <p:nvPr userDrawn="1"/>
          </p:nvSpPr>
          <p:spPr bwMode="auto">
            <a:xfrm>
              <a:off x="2231601" y="582118"/>
              <a:ext cx="1099395" cy="768649"/>
            </a:xfrm>
            <a:custGeom>
              <a:avLst/>
              <a:gdLst>
                <a:gd name="T0" fmla="*/ 152 w 1067"/>
                <a:gd name="T1" fmla="*/ 0 h 746"/>
                <a:gd name="T2" fmla="*/ 152 w 1067"/>
                <a:gd name="T3" fmla="*/ 2 h 746"/>
                <a:gd name="T4" fmla="*/ 151 w 1067"/>
                <a:gd name="T5" fmla="*/ 6 h 746"/>
                <a:gd name="T6" fmla="*/ 151 w 1067"/>
                <a:gd name="T7" fmla="*/ 9 h 746"/>
                <a:gd name="T8" fmla="*/ 149 w 1067"/>
                <a:gd name="T9" fmla="*/ 13 h 746"/>
                <a:gd name="T10" fmla="*/ 149 w 1067"/>
                <a:gd name="T11" fmla="*/ 13 h 746"/>
                <a:gd name="T12" fmla="*/ 131 w 1067"/>
                <a:gd name="T13" fmla="*/ 62 h 746"/>
                <a:gd name="T14" fmla="*/ 117 w 1067"/>
                <a:gd name="T15" fmla="*/ 109 h 746"/>
                <a:gd name="T16" fmla="*/ 98 w 1067"/>
                <a:gd name="T17" fmla="*/ 179 h 746"/>
                <a:gd name="T18" fmla="*/ 82 w 1067"/>
                <a:gd name="T19" fmla="*/ 252 h 746"/>
                <a:gd name="T20" fmla="*/ 72 w 1067"/>
                <a:gd name="T21" fmla="*/ 326 h 746"/>
                <a:gd name="T22" fmla="*/ 68 w 1067"/>
                <a:gd name="T23" fmla="*/ 401 h 746"/>
                <a:gd name="T24" fmla="*/ 72 w 1067"/>
                <a:gd name="T25" fmla="*/ 459 h 746"/>
                <a:gd name="T26" fmla="*/ 84 w 1067"/>
                <a:gd name="T27" fmla="*/ 517 h 746"/>
                <a:gd name="T28" fmla="*/ 100 w 1067"/>
                <a:gd name="T29" fmla="*/ 553 h 746"/>
                <a:gd name="T30" fmla="*/ 121 w 1067"/>
                <a:gd name="T31" fmla="*/ 587 h 746"/>
                <a:gd name="T32" fmla="*/ 149 w 1067"/>
                <a:gd name="T33" fmla="*/ 620 h 746"/>
                <a:gd name="T34" fmla="*/ 184 w 1067"/>
                <a:gd name="T35" fmla="*/ 646 h 746"/>
                <a:gd name="T36" fmla="*/ 224 w 1067"/>
                <a:gd name="T37" fmla="*/ 664 h 746"/>
                <a:gd name="T38" fmla="*/ 264 w 1067"/>
                <a:gd name="T39" fmla="*/ 678 h 746"/>
                <a:gd name="T40" fmla="*/ 310 w 1067"/>
                <a:gd name="T41" fmla="*/ 686 h 746"/>
                <a:gd name="T42" fmla="*/ 373 w 1067"/>
                <a:gd name="T43" fmla="*/ 695 h 746"/>
                <a:gd name="T44" fmla="*/ 441 w 1067"/>
                <a:gd name="T45" fmla="*/ 699 h 746"/>
                <a:gd name="T46" fmla="*/ 512 w 1067"/>
                <a:gd name="T47" fmla="*/ 699 h 746"/>
                <a:gd name="T48" fmla="*/ 619 w 1067"/>
                <a:gd name="T49" fmla="*/ 695 h 746"/>
                <a:gd name="T50" fmla="*/ 731 w 1067"/>
                <a:gd name="T51" fmla="*/ 686 h 746"/>
                <a:gd name="T52" fmla="*/ 845 w 1067"/>
                <a:gd name="T53" fmla="*/ 676 h 746"/>
                <a:gd name="T54" fmla="*/ 957 w 1067"/>
                <a:gd name="T55" fmla="*/ 662 h 746"/>
                <a:gd name="T56" fmla="*/ 1067 w 1067"/>
                <a:gd name="T57" fmla="*/ 648 h 746"/>
                <a:gd name="T58" fmla="*/ 1016 w 1067"/>
                <a:gd name="T59" fmla="*/ 657 h 746"/>
                <a:gd name="T60" fmla="*/ 958 w 1067"/>
                <a:gd name="T61" fmla="*/ 665 h 746"/>
                <a:gd name="T62" fmla="*/ 892 w 1067"/>
                <a:gd name="T63" fmla="*/ 676 h 746"/>
                <a:gd name="T64" fmla="*/ 824 w 1067"/>
                <a:gd name="T65" fmla="*/ 686 h 746"/>
                <a:gd name="T66" fmla="*/ 756 w 1067"/>
                <a:gd name="T67" fmla="*/ 697 h 746"/>
                <a:gd name="T68" fmla="*/ 689 w 1067"/>
                <a:gd name="T69" fmla="*/ 706 h 746"/>
                <a:gd name="T70" fmla="*/ 628 w 1067"/>
                <a:gd name="T71" fmla="*/ 714 h 746"/>
                <a:gd name="T72" fmla="*/ 577 w 1067"/>
                <a:gd name="T73" fmla="*/ 721 h 746"/>
                <a:gd name="T74" fmla="*/ 490 w 1067"/>
                <a:gd name="T75" fmla="*/ 732 h 746"/>
                <a:gd name="T76" fmla="*/ 406 w 1067"/>
                <a:gd name="T77" fmla="*/ 739 h 746"/>
                <a:gd name="T78" fmla="*/ 325 w 1067"/>
                <a:gd name="T79" fmla="*/ 744 h 746"/>
                <a:gd name="T80" fmla="*/ 252 w 1067"/>
                <a:gd name="T81" fmla="*/ 746 h 746"/>
                <a:gd name="T82" fmla="*/ 186 w 1067"/>
                <a:gd name="T83" fmla="*/ 744 h 746"/>
                <a:gd name="T84" fmla="*/ 126 w 1067"/>
                <a:gd name="T85" fmla="*/ 735 h 746"/>
                <a:gd name="T86" fmla="*/ 105 w 1067"/>
                <a:gd name="T87" fmla="*/ 730 h 746"/>
                <a:gd name="T88" fmla="*/ 82 w 1067"/>
                <a:gd name="T89" fmla="*/ 721 h 746"/>
                <a:gd name="T90" fmla="*/ 61 w 1067"/>
                <a:gd name="T91" fmla="*/ 711 h 746"/>
                <a:gd name="T92" fmla="*/ 42 w 1067"/>
                <a:gd name="T93" fmla="*/ 695 h 746"/>
                <a:gd name="T94" fmla="*/ 26 w 1067"/>
                <a:gd name="T95" fmla="*/ 676 h 746"/>
                <a:gd name="T96" fmla="*/ 12 w 1067"/>
                <a:gd name="T97" fmla="*/ 650 h 746"/>
                <a:gd name="T98" fmla="*/ 4 w 1067"/>
                <a:gd name="T99" fmla="*/ 618 h 746"/>
                <a:gd name="T100" fmla="*/ 0 w 1067"/>
                <a:gd name="T101" fmla="*/ 581 h 746"/>
                <a:gd name="T102" fmla="*/ 0 w 1067"/>
                <a:gd name="T103" fmla="*/ 550 h 746"/>
                <a:gd name="T104" fmla="*/ 2 w 1067"/>
                <a:gd name="T105" fmla="*/ 517 h 746"/>
                <a:gd name="T106" fmla="*/ 7 w 1067"/>
                <a:gd name="T107" fmla="*/ 478 h 746"/>
                <a:gd name="T108" fmla="*/ 16 w 1067"/>
                <a:gd name="T109" fmla="*/ 436 h 746"/>
                <a:gd name="T110" fmla="*/ 26 w 1067"/>
                <a:gd name="T111" fmla="*/ 392 h 746"/>
                <a:gd name="T112" fmla="*/ 39 w 1067"/>
                <a:gd name="T113" fmla="*/ 347 h 746"/>
                <a:gd name="T114" fmla="*/ 54 w 1067"/>
                <a:gd name="T115" fmla="*/ 294 h 746"/>
                <a:gd name="T116" fmla="*/ 72 w 1067"/>
                <a:gd name="T117" fmla="*/ 235 h 746"/>
                <a:gd name="T118" fmla="*/ 93 w 1067"/>
                <a:gd name="T119" fmla="*/ 170 h 746"/>
                <a:gd name="T120" fmla="*/ 119 w 1067"/>
                <a:gd name="T121" fmla="*/ 95 h 746"/>
                <a:gd name="T122" fmla="*/ 149 w 1067"/>
                <a:gd name="T123" fmla="*/ 13 h 746"/>
                <a:gd name="T124" fmla="*/ 152 w 1067"/>
                <a:gd name="T125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746">
                  <a:moveTo>
                    <a:pt x="152" y="0"/>
                  </a:moveTo>
                  <a:lnTo>
                    <a:pt x="152" y="2"/>
                  </a:lnTo>
                  <a:lnTo>
                    <a:pt x="151" y="6"/>
                  </a:lnTo>
                  <a:lnTo>
                    <a:pt x="151" y="9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31" y="62"/>
                  </a:lnTo>
                  <a:lnTo>
                    <a:pt x="117" y="109"/>
                  </a:lnTo>
                  <a:lnTo>
                    <a:pt x="98" y="179"/>
                  </a:lnTo>
                  <a:lnTo>
                    <a:pt x="82" y="252"/>
                  </a:lnTo>
                  <a:lnTo>
                    <a:pt x="72" y="326"/>
                  </a:lnTo>
                  <a:lnTo>
                    <a:pt x="68" y="401"/>
                  </a:lnTo>
                  <a:lnTo>
                    <a:pt x="72" y="459"/>
                  </a:lnTo>
                  <a:lnTo>
                    <a:pt x="84" y="517"/>
                  </a:lnTo>
                  <a:lnTo>
                    <a:pt x="100" y="553"/>
                  </a:lnTo>
                  <a:lnTo>
                    <a:pt x="121" y="587"/>
                  </a:lnTo>
                  <a:lnTo>
                    <a:pt x="149" y="620"/>
                  </a:lnTo>
                  <a:lnTo>
                    <a:pt x="184" y="646"/>
                  </a:lnTo>
                  <a:lnTo>
                    <a:pt x="224" y="664"/>
                  </a:lnTo>
                  <a:lnTo>
                    <a:pt x="264" y="678"/>
                  </a:lnTo>
                  <a:lnTo>
                    <a:pt x="310" y="686"/>
                  </a:lnTo>
                  <a:lnTo>
                    <a:pt x="373" y="695"/>
                  </a:lnTo>
                  <a:lnTo>
                    <a:pt x="441" y="699"/>
                  </a:lnTo>
                  <a:lnTo>
                    <a:pt x="512" y="699"/>
                  </a:lnTo>
                  <a:lnTo>
                    <a:pt x="619" y="695"/>
                  </a:lnTo>
                  <a:lnTo>
                    <a:pt x="731" y="686"/>
                  </a:lnTo>
                  <a:lnTo>
                    <a:pt x="845" y="676"/>
                  </a:lnTo>
                  <a:lnTo>
                    <a:pt x="957" y="662"/>
                  </a:lnTo>
                  <a:lnTo>
                    <a:pt x="1067" y="648"/>
                  </a:lnTo>
                  <a:lnTo>
                    <a:pt x="1016" y="657"/>
                  </a:lnTo>
                  <a:lnTo>
                    <a:pt x="958" y="665"/>
                  </a:lnTo>
                  <a:lnTo>
                    <a:pt x="892" y="676"/>
                  </a:lnTo>
                  <a:lnTo>
                    <a:pt x="824" y="686"/>
                  </a:lnTo>
                  <a:lnTo>
                    <a:pt x="756" y="697"/>
                  </a:lnTo>
                  <a:lnTo>
                    <a:pt x="689" y="706"/>
                  </a:lnTo>
                  <a:lnTo>
                    <a:pt x="628" y="714"/>
                  </a:lnTo>
                  <a:lnTo>
                    <a:pt x="577" y="721"/>
                  </a:lnTo>
                  <a:lnTo>
                    <a:pt x="490" y="732"/>
                  </a:lnTo>
                  <a:lnTo>
                    <a:pt x="406" y="739"/>
                  </a:lnTo>
                  <a:lnTo>
                    <a:pt x="325" y="744"/>
                  </a:lnTo>
                  <a:lnTo>
                    <a:pt x="252" y="746"/>
                  </a:lnTo>
                  <a:lnTo>
                    <a:pt x="186" y="744"/>
                  </a:lnTo>
                  <a:lnTo>
                    <a:pt x="126" y="735"/>
                  </a:lnTo>
                  <a:lnTo>
                    <a:pt x="105" y="730"/>
                  </a:lnTo>
                  <a:lnTo>
                    <a:pt x="82" y="721"/>
                  </a:lnTo>
                  <a:lnTo>
                    <a:pt x="61" y="711"/>
                  </a:lnTo>
                  <a:lnTo>
                    <a:pt x="42" y="695"/>
                  </a:lnTo>
                  <a:lnTo>
                    <a:pt x="26" y="676"/>
                  </a:lnTo>
                  <a:lnTo>
                    <a:pt x="12" y="650"/>
                  </a:lnTo>
                  <a:lnTo>
                    <a:pt x="4" y="618"/>
                  </a:lnTo>
                  <a:lnTo>
                    <a:pt x="0" y="581"/>
                  </a:lnTo>
                  <a:lnTo>
                    <a:pt x="0" y="550"/>
                  </a:lnTo>
                  <a:lnTo>
                    <a:pt x="2" y="517"/>
                  </a:lnTo>
                  <a:lnTo>
                    <a:pt x="7" y="478"/>
                  </a:lnTo>
                  <a:lnTo>
                    <a:pt x="16" y="436"/>
                  </a:lnTo>
                  <a:lnTo>
                    <a:pt x="26" y="392"/>
                  </a:lnTo>
                  <a:lnTo>
                    <a:pt x="39" y="347"/>
                  </a:lnTo>
                  <a:lnTo>
                    <a:pt x="54" y="294"/>
                  </a:lnTo>
                  <a:lnTo>
                    <a:pt x="72" y="235"/>
                  </a:lnTo>
                  <a:lnTo>
                    <a:pt x="93" y="170"/>
                  </a:lnTo>
                  <a:lnTo>
                    <a:pt x="119" y="95"/>
                  </a:lnTo>
                  <a:lnTo>
                    <a:pt x="149" y="1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AED4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8"/>
            <p:cNvSpPr>
              <a:spLocks/>
            </p:cNvSpPr>
            <p:nvPr userDrawn="1"/>
          </p:nvSpPr>
          <p:spPr bwMode="auto">
            <a:xfrm>
              <a:off x="2301666" y="564602"/>
              <a:ext cx="1066424" cy="737738"/>
            </a:xfrm>
            <a:custGeom>
              <a:avLst/>
              <a:gdLst>
                <a:gd name="T0" fmla="*/ 91 w 1035"/>
                <a:gd name="T1" fmla="*/ 0 h 716"/>
                <a:gd name="T2" fmla="*/ 133 w 1035"/>
                <a:gd name="T3" fmla="*/ 17 h 716"/>
                <a:gd name="T4" fmla="*/ 172 w 1035"/>
                <a:gd name="T5" fmla="*/ 38 h 716"/>
                <a:gd name="T6" fmla="*/ 205 w 1035"/>
                <a:gd name="T7" fmla="*/ 61 h 716"/>
                <a:gd name="T8" fmla="*/ 193 w 1035"/>
                <a:gd name="T9" fmla="*/ 105 h 716"/>
                <a:gd name="T10" fmla="*/ 180 w 1035"/>
                <a:gd name="T11" fmla="*/ 152 h 716"/>
                <a:gd name="T12" fmla="*/ 170 w 1035"/>
                <a:gd name="T13" fmla="*/ 199 h 716"/>
                <a:gd name="T14" fmla="*/ 159 w 1035"/>
                <a:gd name="T15" fmla="*/ 247 h 716"/>
                <a:gd name="T16" fmla="*/ 152 w 1035"/>
                <a:gd name="T17" fmla="*/ 292 h 716"/>
                <a:gd name="T18" fmla="*/ 149 w 1035"/>
                <a:gd name="T19" fmla="*/ 338 h 716"/>
                <a:gd name="T20" fmla="*/ 145 w 1035"/>
                <a:gd name="T21" fmla="*/ 378 h 716"/>
                <a:gd name="T22" fmla="*/ 147 w 1035"/>
                <a:gd name="T23" fmla="*/ 416 h 716"/>
                <a:gd name="T24" fmla="*/ 154 w 1035"/>
                <a:gd name="T25" fmla="*/ 450 h 716"/>
                <a:gd name="T26" fmla="*/ 163 w 1035"/>
                <a:gd name="T27" fmla="*/ 478 h 716"/>
                <a:gd name="T28" fmla="*/ 179 w 1035"/>
                <a:gd name="T29" fmla="*/ 499 h 716"/>
                <a:gd name="T30" fmla="*/ 203 w 1035"/>
                <a:gd name="T31" fmla="*/ 518 h 716"/>
                <a:gd name="T32" fmla="*/ 235 w 1035"/>
                <a:gd name="T33" fmla="*/ 532 h 716"/>
                <a:gd name="T34" fmla="*/ 271 w 1035"/>
                <a:gd name="T35" fmla="*/ 542 h 716"/>
                <a:gd name="T36" fmla="*/ 317 w 1035"/>
                <a:gd name="T37" fmla="*/ 549 h 716"/>
                <a:gd name="T38" fmla="*/ 366 w 1035"/>
                <a:gd name="T39" fmla="*/ 553 h 716"/>
                <a:gd name="T40" fmla="*/ 420 w 1035"/>
                <a:gd name="T41" fmla="*/ 555 h 716"/>
                <a:gd name="T42" fmla="*/ 478 w 1035"/>
                <a:gd name="T43" fmla="*/ 553 h 716"/>
                <a:gd name="T44" fmla="*/ 539 w 1035"/>
                <a:gd name="T45" fmla="*/ 548 h 716"/>
                <a:gd name="T46" fmla="*/ 602 w 1035"/>
                <a:gd name="T47" fmla="*/ 542 h 716"/>
                <a:gd name="T48" fmla="*/ 668 w 1035"/>
                <a:gd name="T49" fmla="*/ 534 h 716"/>
                <a:gd name="T50" fmla="*/ 820 w 1035"/>
                <a:gd name="T51" fmla="*/ 514 h 716"/>
                <a:gd name="T52" fmla="*/ 969 w 1035"/>
                <a:gd name="T53" fmla="*/ 495 h 716"/>
                <a:gd name="T54" fmla="*/ 990 w 1035"/>
                <a:gd name="T55" fmla="*/ 534 h 716"/>
                <a:gd name="T56" fmla="*/ 1009 w 1035"/>
                <a:gd name="T57" fmla="*/ 576 h 716"/>
                <a:gd name="T58" fmla="*/ 1025 w 1035"/>
                <a:gd name="T59" fmla="*/ 621 h 716"/>
                <a:gd name="T60" fmla="*/ 1035 w 1035"/>
                <a:gd name="T61" fmla="*/ 660 h 716"/>
                <a:gd name="T62" fmla="*/ 999 w 1035"/>
                <a:gd name="T63" fmla="*/ 665 h 716"/>
                <a:gd name="T64" fmla="*/ 889 w 1035"/>
                <a:gd name="T65" fmla="*/ 679 h 716"/>
                <a:gd name="T66" fmla="*/ 777 w 1035"/>
                <a:gd name="T67" fmla="*/ 693 h 716"/>
                <a:gd name="T68" fmla="*/ 663 w 1035"/>
                <a:gd name="T69" fmla="*/ 703 h 716"/>
                <a:gd name="T70" fmla="*/ 551 w 1035"/>
                <a:gd name="T71" fmla="*/ 712 h 716"/>
                <a:gd name="T72" fmla="*/ 444 w 1035"/>
                <a:gd name="T73" fmla="*/ 716 h 716"/>
                <a:gd name="T74" fmla="*/ 373 w 1035"/>
                <a:gd name="T75" fmla="*/ 716 h 716"/>
                <a:gd name="T76" fmla="*/ 305 w 1035"/>
                <a:gd name="T77" fmla="*/ 712 h 716"/>
                <a:gd name="T78" fmla="*/ 242 w 1035"/>
                <a:gd name="T79" fmla="*/ 703 h 716"/>
                <a:gd name="T80" fmla="*/ 196 w 1035"/>
                <a:gd name="T81" fmla="*/ 695 h 716"/>
                <a:gd name="T82" fmla="*/ 156 w 1035"/>
                <a:gd name="T83" fmla="*/ 681 h 716"/>
                <a:gd name="T84" fmla="*/ 116 w 1035"/>
                <a:gd name="T85" fmla="*/ 663 h 716"/>
                <a:gd name="T86" fmla="*/ 81 w 1035"/>
                <a:gd name="T87" fmla="*/ 637 h 716"/>
                <a:gd name="T88" fmla="*/ 53 w 1035"/>
                <a:gd name="T89" fmla="*/ 605 h 716"/>
                <a:gd name="T90" fmla="*/ 32 w 1035"/>
                <a:gd name="T91" fmla="*/ 570 h 716"/>
                <a:gd name="T92" fmla="*/ 16 w 1035"/>
                <a:gd name="T93" fmla="*/ 534 h 716"/>
                <a:gd name="T94" fmla="*/ 4 w 1035"/>
                <a:gd name="T95" fmla="*/ 476 h 716"/>
                <a:gd name="T96" fmla="*/ 0 w 1035"/>
                <a:gd name="T97" fmla="*/ 418 h 716"/>
                <a:gd name="T98" fmla="*/ 4 w 1035"/>
                <a:gd name="T99" fmla="*/ 343 h 716"/>
                <a:gd name="T100" fmla="*/ 14 w 1035"/>
                <a:gd name="T101" fmla="*/ 269 h 716"/>
                <a:gd name="T102" fmla="*/ 30 w 1035"/>
                <a:gd name="T103" fmla="*/ 196 h 716"/>
                <a:gd name="T104" fmla="*/ 49 w 1035"/>
                <a:gd name="T105" fmla="*/ 126 h 716"/>
                <a:gd name="T106" fmla="*/ 69 w 1035"/>
                <a:gd name="T107" fmla="*/ 65 h 716"/>
                <a:gd name="T108" fmla="*/ 88 w 1035"/>
                <a:gd name="T109" fmla="*/ 10 h 716"/>
                <a:gd name="T110" fmla="*/ 91 w 1035"/>
                <a:gd name="T111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5" h="716">
                  <a:moveTo>
                    <a:pt x="91" y="0"/>
                  </a:moveTo>
                  <a:lnTo>
                    <a:pt x="133" y="17"/>
                  </a:lnTo>
                  <a:lnTo>
                    <a:pt x="172" y="38"/>
                  </a:lnTo>
                  <a:lnTo>
                    <a:pt x="205" y="61"/>
                  </a:lnTo>
                  <a:lnTo>
                    <a:pt x="193" y="105"/>
                  </a:lnTo>
                  <a:lnTo>
                    <a:pt x="180" y="152"/>
                  </a:lnTo>
                  <a:lnTo>
                    <a:pt x="170" y="199"/>
                  </a:lnTo>
                  <a:lnTo>
                    <a:pt x="159" y="247"/>
                  </a:lnTo>
                  <a:lnTo>
                    <a:pt x="152" y="292"/>
                  </a:lnTo>
                  <a:lnTo>
                    <a:pt x="149" y="338"/>
                  </a:lnTo>
                  <a:lnTo>
                    <a:pt x="145" y="378"/>
                  </a:lnTo>
                  <a:lnTo>
                    <a:pt x="147" y="416"/>
                  </a:lnTo>
                  <a:lnTo>
                    <a:pt x="154" y="450"/>
                  </a:lnTo>
                  <a:lnTo>
                    <a:pt x="163" y="478"/>
                  </a:lnTo>
                  <a:lnTo>
                    <a:pt x="179" y="499"/>
                  </a:lnTo>
                  <a:lnTo>
                    <a:pt x="203" y="518"/>
                  </a:lnTo>
                  <a:lnTo>
                    <a:pt x="235" y="532"/>
                  </a:lnTo>
                  <a:lnTo>
                    <a:pt x="271" y="542"/>
                  </a:lnTo>
                  <a:lnTo>
                    <a:pt x="317" y="549"/>
                  </a:lnTo>
                  <a:lnTo>
                    <a:pt x="366" y="553"/>
                  </a:lnTo>
                  <a:lnTo>
                    <a:pt x="420" y="555"/>
                  </a:lnTo>
                  <a:lnTo>
                    <a:pt x="478" y="553"/>
                  </a:lnTo>
                  <a:lnTo>
                    <a:pt x="539" y="548"/>
                  </a:lnTo>
                  <a:lnTo>
                    <a:pt x="602" y="542"/>
                  </a:lnTo>
                  <a:lnTo>
                    <a:pt x="668" y="534"/>
                  </a:lnTo>
                  <a:lnTo>
                    <a:pt x="820" y="514"/>
                  </a:lnTo>
                  <a:lnTo>
                    <a:pt x="969" y="495"/>
                  </a:lnTo>
                  <a:lnTo>
                    <a:pt x="990" y="534"/>
                  </a:lnTo>
                  <a:lnTo>
                    <a:pt x="1009" y="576"/>
                  </a:lnTo>
                  <a:lnTo>
                    <a:pt x="1025" y="621"/>
                  </a:lnTo>
                  <a:lnTo>
                    <a:pt x="1035" y="660"/>
                  </a:lnTo>
                  <a:lnTo>
                    <a:pt x="999" y="665"/>
                  </a:lnTo>
                  <a:lnTo>
                    <a:pt x="889" y="679"/>
                  </a:lnTo>
                  <a:lnTo>
                    <a:pt x="777" y="693"/>
                  </a:lnTo>
                  <a:lnTo>
                    <a:pt x="663" y="703"/>
                  </a:lnTo>
                  <a:lnTo>
                    <a:pt x="551" y="712"/>
                  </a:lnTo>
                  <a:lnTo>
                    <a:pt x="444" y="716"/>
                  </a:lnTo>
                  <a:lnTo>
                    <a:pt x="373" y="716"/>
                  </a:lnTo>
                  <a:lnTo>
                    <a:pt x="305" y="712"/>
                  </a:lnTo>
                  <a:lnTo>
                    <a:pt x="242" y="703"/>
                  </a:lnTo>
                  <a:lnTo>
                    <a:pt x="196" y="695"/>
                  </a:lnTo>
                  <a:lnTo>
                    <a:pt x="156" y="681"/>
                  </a:lnTo>
                  <a:lnTo>
                    <a:pt x="116" y="663"/>
                  </a:lnTo>
                  <a:lnTo>
                    <a:pt x="81" y="637"/>
                  </a:lnTo>
                  <a:lnTo>
                    <a:pt x="53" y="605"/>
                  </a:lnTo>
                  <a:lnTo>
                    <a:pt x="32" y="570"/>
                  </a:lnTo>
                  <a:lnTo>
                    <a:pt x="16" y="534"/>
                  </a:lnTo>
                  <a:lnTo>
                    <a:pt x="4" y="476"/>
                  </a:lnTo>
                  <a:lnTo>
                    <a:pt x="0" y="418"/>
                  </a:lnTo>
                  <a:lnTo>
                    <a:pt x="4" y="343"/>
                  </a:lnTo>
                  <a:lnTo>
                    <a:pt x="14" y="269"/>
                  </a:lnTo>
                  <a:lnTo>
                    <a:pt x="30" y="196"/>
                  </a:lnTo>
                  <a:lnTo>
                    <a:pt x="49" y="126"/>
                  </a:lnTo>
                  <a:lnTo>
                    <a:pt x="69" y="65"/>
                  </a:lnTo>
                  <a:lnTo>
                    <a:pt x="88" y="1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" name="Groep 89"/>
          <p:cNvGrpSpPr/>
          <p:nvPr userDrawn="1"/>
        </p:nvGrpSpPr>
        <p:grpSpPr>
          <a:xfrm>
            <a:off x="1973563" y="1825654"/>
            <a:ext cx="1207068" cy="1033658"/>
            <a:chOff x="1538168" y="1706241"/>
            <a:chExt cx="1097335" cy="939689"/>
          </a:xfrm>
        </p:grpSpPr>
        <p:sp>
          <p:nvSpPr>
            <p:cNvPr id="52" name="Freeform 29"/>
            <p:cNvSpPr>
              <a:spLocks noEditPoints="1"/>
            </p:cNvSpPr>
            <p:nvPr userDrawn="1"/>
          </p:nvSpPr>
          <p:spPr bwMode="auto">
            <a:xfrm>
              <a:off x="1538168" y="1706241"/>
              <a:ext cx="1097335" cy="918052"/>
            </a:xfrm>
            <a:custGeom>
              <a:avLst/>
              <a:gdLst>
                <a:gd name="T0" fmla="*/ 0 w 1065"/>
                <a:gd name="T1" fmla="*/ 891 h 891"/>
                <a:gd name="T2" fmla="*/ 0 w 1065"/>
                <a:gd name="T3" fmla="*/ 891 h 891"/>
                <a:gd name="T4" fmla="*/ 546 w 1065"/>
                <a:gd name="T5" fmla="*/ 1 h 891"/>
                <a:gd name="T6" fmla="*/ 603 w 1065"/>
                <a:gd name="T7" fmla="*/ 21 h 891"/>
                <a:gd name="T8" fmla="*/ 678 w 1065"/>
                <a:gd name="T9" fmla="*/ 70 h 891"/>
                <a:gd name="T10" fmla="*/ 775 w 1065"/>
                <a:gd name="T11" fmla="*/ 159 h 891"/>
                <a:gd name="T12" fmla="*/ 843 w 1065"/>
                <a:gd name="T13" fmla="*/ 234 h 891"/>
                <a:gd name="T14" fmla="*/ 892 w 1065"/>
                <a:gd name="T15" fmla="*/ 292 h 891"/>
                <a:gd name="T16" fmla="*/ 942 w 1065"/>
                <a:gd name="T17" fmla="*/ 355 h 891"/>
                <a:gd name="T18" fmla="*/ 990 w 1065"/>
                <a:gd name="T19" fmla="*/ 415 h 891"/>
                <a:gd name="T20" fmla="*/ 1028 w 1065"/>
                <a:gd name="T21" fmla="*/ 467 h 891"/>
                <a:gd name="T22" fmla="*/ 1056 w 1065"/>
                <a:gd name="T23" fmla="*/ 504 h 891"/>
                <a:gd name="T24" fmla="*/ 1065 w 1065"/>
                <a:gd name="T25" fmla="*/ 518 h 891"/>
                <a:gd name="T26" fmla="*/ 1063 w 1065"/>
                <a:gd name="T27" fmla="*/ 514 h 891"/>
                <a:gd name="T28" fmla="*/ 1044 w 1065"/>
                <a:gd name="T29" fmla="*/ 490 h 891"/>
                <a:gd name="T30" fmla="*/ 1011 w 1065"/>
                <a:gd name="T31" fmla="*/ 448 h 891"/>
                <a:gd name="T32" fmla="*/ 967 w 1065"/>
                <a:gd name="T33" fmla="*/ 395 h 891"/>
                <a:gd name="T34" fmla="*/ 920 w 1065"/>
                <a:gd name="T35" fmla="*/ 339 h 891"/>
                <a:gd name="T36" fmla="*/ 873 w 1065"/>
                <a:gd name="T37" fmla="*/ 287 h 891"/>
                <a:gd name="T38" fmla="*/ 832 w 1065"/>
                <a:gd name="T39" fmla="*/ 246 h 891"/>
                <a:gd name="T40" fmla="*/ 747 w 1065"/>
                <a:gd name="T41" fmla="*/ 180 h 891"/>
                <a:gd name="T42" fmla="*/ 668 w 1065"/>
                <a:gd name="T43" fmla="*/ 134 h 891"/>
                <a:gd name="T44" fmla="*/ 596 w 1065"/>
                <a:gd name="T45" fmla="*/ 112 h 891"/>
                <a:gd name="T46" fmla="*/ 526 w 1065"/>
                <a:gd name="T47" fmla="*/ 112 h 891"/>
                <a:gd name="T48" fmla="*/ 463 w 1065"/>
                <a:gd name="T49" fmla="*/ 131 h 891"/>
                <a:gd name="T50" fmla="*/ 409 w 1065"/>
                <a:gd name="T51" fmla="*/ 166 h 891"/>
                <a:gd name="T52" fmla="*/ 323 w 1065"/>
                <a:gd name="T53" fmla="*/ 257 h 891"/>
                <a:gd name="T54" fmla="*/ 241 w 1065"/>
                <a:gd name="T55" fmla="*/ 379 h 891"/>
                <a:gd name="T56" fmla="*/ 159 w 1065"/>
                <a:gd name="T57" fmla="*/ 528 h 891"/>
                <a:gd name="T58" fmla="*/ 87 w 1065"/>
                <a:gd name="T59" fmla="*/ 682 h 891"/>
                <a:gd name="T60" fmla="*/ 24 w 1065"/>
                <a:gd name="T61" fmla="*/ 828 h 891"/>
                <a:gd name="T62" fmla="*/ 21 w 1065"/>
                <a:gd name="T63" fmla="*/ 833 h 891"/>
                <a:gd name="T64" fmla="*/ 75 w 1065"/>
                <a:gd name="T65" fmla="*/ 696 h 891"/>
                <a:gd name="T66" fmla="*/ 138 w 1065"/>
                <a:gd name="T67" fmla="*/ 542 h 891"/>
                <a:gd name="T68" fmla="*/ 208 w 1065"/>
                <a:gd name="T69" fmla="*/ 388 h 891"/>
                <a:gd name="T70" fmla="*/ 278 w 1065"/>
                <a:gd name="T71" fmla="*/ 245 h 891"/>
                <a:gd name="T72" fmla="*/ 332 w 1065"/>
                <a:gd name="T73" fmla="*/ 145 h 891"/>
                <a:gd name="T74" fmla="*/ 388 w 1065"/>
                <a:gd name="T75" fmla="*/ 64 h 891"/>
                <a:gd name="T76" fmla="*/ 423 w 1065"/>
                <a:gd name="T77" fmla="*/ 29 h 891"/>
                <a:gd name="T78" fmla="*/ 476 w 1065"/>
                <a:gd name="T79" fmla="*/ 3 h 891"/>
                <a:gd name="T80" fmla="*/ 512 w 1065"/>
                <a:gd name="T81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65" h="891">
                  <a:moveTo>
                    <a:pt x="0" y="891"/>
                  </a:moveTo>
                  <a:lnTo>
                    <a:pt x="0" y="891"/>
                  </a:lnTo>
                  <a:lnTo>
                    <a:pt x="0" y="891"/>
                  </a:lnTo>
                  <a:lnTo>
                    <a:pt x="0" y="891"/>
                  </a:lnTo>
                  <a:close/>
                  <a:moveTo>
                    <a:pt x="512" y="0"/>
                  </a:moveTo>
                  <a:lnTo>
                    <a:pt x="546" y="1"/>
                  </a:lnTo>
                  <a:lnTo>
                    <a:pt x="575" y="10"/>
                  </a:lnTo>
                  <a:lnTo>
                    <a:pt x="603" y="21"/>
                  </a:lnTo>
                  <a:lnTo>
                    <a:pt x="642" y="43"/>
                  </a:lnTo>
                  <a:lnTo>
                    <a:pt x="678" y="70"/>
                  </a:lnTo>
                  <a:lnTo>
                    <a:pt x="727" y="112"/>
                  </a:lnTo>
                  <a:lnTo>
                    <a:pt x="775" y="159"/>
                  </a:lnTo>
                  <a:lnTo>
                    <a:pt x="822" y="210"/>
                  </a:lnTo>
                  <a:lnTo>
                    <a:pt x="843" y="234"/>
                  </a:lnTo>
                  <a:lnTo>
                    <a:pt x="867" y="262"/>
                  </a:lnTo>
                  <a:lnTo>
                    <a:pt x="892" y="292"/>
                  </a:lnTo>
                  <a:lnTo>
                    <a:pt x="916" y="323"/>
                  </a:lnTo>
                  <a:lnTo>
                    <a:pt x="942" y="355"/>
                  </a:lnTo>
                  <a:lnTo>
                    <a:pt x="967" y="385"/>
                  </a:lnTo>
                  <a:lnTo>
                    <a:pt x="990" y="415"/>
                  </a:lnTo>
                  <a:lnTo>
                    <a:pt x="1011" y="443"/>
                  </a:lnTo>
                  <a:lnTo>
                    <a:pt x="1028" y="467"/>
                  </a:lnTo>
                  <a:lnTo>
                    <a:pt x="1044" y="488"/>
                  </a:lnTo>
                  <a:lnTo>
                    <a:pt x="1056" y="504"/>
                  </a:lnTo>
                  <a:lnTo>
                    <a:pt x="1063" y="514"/>
                  </a:lnTo>
                  <a:lnTo>
                    <a:pt x="1065" y="518"/>
                  </a:lnTo>
                  <a:lnTo>
                    <a:pt x="1065" y="518"/>
                  </a:lnTo>
                  <a:lnTo>
                    <a:pt x="1063" y="514"/>
                  </a:lnTo>
                  <a:lnTo>
                    <a:pt x="1054" y="504"/>
                  </a:lnTo>
                  <a:lnTo>
                    <a:pt x="1044" y="490"/>
                  </a:lnTo>
                  <a:lnTo>
                    <a:pt x="1028" y="471"/>
                  </a:lnTo>
                  <a:lnTo>
                    <a:pt x="1011" y="448"/>
                  </a:lnTo>
                  <a:lnTo>
                    <a:pt x="990" y="422"/>
                  </a:lnTo>
                  <a:lnTo>
                    <a:pt x="967" y="395"/>
                  </a:lnTo>
                  <a:lnTo>
                    <a:pt x="944" y="367"/>
                  </a:lnTo>
                  <a:lnTo>
                    <a:pt x="920" y="339"/>
                  </a:lnTo>
                  <a:lnTo>
                    <a:pt x="897" y="313"/>
                  </a:lnTo>
                  <a:lnTo>
                    <a:pt x="873" y="287"/>
                  </a:lnTo>
                  <a:lnTo>
                    <a:pt x="852" y="266"/>
                  </a:lnTo>
                  <a:lnTo>
                    <a:pt x="832" y="246"/>
                  </a:lnTo>
                  <a:lnTo>
                    <a:pt x="790" y="211"/>
                  </a:lnTo>
                  <a:lnTo>
                    <a:pt x="747" y="180"/>
                  </a:lnTo>
                  <a:lnTo>
                    <a:pt x="701" y="152"/>
                  </a:lnTo>
                  <a:lnTo>
                    <a:pt x="668" y="134"/>
                  </a:lnTo>
                  <a:lnTo>
                    <a:pt x="633" y="120"/>
                  </a:lnTo>
                  <a:lnTo>
                    <a:pt x="596" y="112"/>
                  </a:lnTo>
                  <a:lnTo>
                    <a:pt x="556" y="110"/>
                  </a:lnTo>
                  <a:lnTo>
                    <a:pt x="526" y="112"/>
                  </a:lnTo>
                  <a:lnTo>
                    <a:pt x="497" y="117"/>
                  </a:lnTo>
                  <a:lnTo>
                    <a:pt x="463" y="131"/>
                  </a:lnTo>
                  <a:lnTo>
                    <a:pt x="435" y="147"/>
                  </a:lnTo>
                  <a:lnTo>
                    <a:pt x="409" y="166"/>
                  </a:lnTo>
                  <a:lnTo>
                    <a:pt x="365" y="208"/>
                  </a:lnTo>
                  <a:lnTo>
                    <a:pt x="323" y="257"/>
                  </a:lnTo>
                  <a:lnTo>
                    <a:pt x="283" y="315"/>
                  </a:lnTo>
                  <a:lnTo>
                    <a:pt x="241" y="379"/>
                  </a:lnTo>
                  <a:lnTo>
                    <a:pt x="199" y="451"/>
                  </a:lnTo>
                  <a:lnTo>
                    <a:pt x="159" y="528"/>
                  </a:lnTo>
                  <a:lnTo>
                    <a:pt x="122" y="605"/>
                  </a:lnTo>
                  <a:lnTo>
                    <a:pt x="87" y="682"/>
                  </a:lnTo>
                  <a:lnTo>
                    <a:pt x="54" y="758"/>
                  </a:lnTo>
                  <a:lnTo>
                    <a:pt x="24" y="828"/>
                  </a:lnTo>
                  <a:lnTo>
                    <a:pt x="0" y="891"/>
                  </a:lnTo>
                  <a:lnTo>
                    <a:pt x="21" y="833"/>
                  </a:lnTo>
                  <a:lnTo>
                    <a:pt x="47" y="766"/>
                  </a:lnTo>
                  <a:lnTo>
                    <a:pt x="75" y="696"/>
                  </a:lnTo>
                  <a:lnTo>
                    <a:pt x="107" y="621"/>
                  </a:lnTo>
                  <a:lnTo>
                    <a:pt x="138" y="542"/>
                  </a:lnTo>
                  <a:lnTo>
                    <a:pt x="173" y="465"/>
                  </a:lnTo>
                  <a:lnTo>
                    <a:pt x="208" y="388"/>
                  </a:lnTo>
                  <a:lnTo>
                    <a:pt x="243" y="315"/>
                  </a:lnTo>
                  <a:lnTo>
                    <a:pt x="278" y="245"/>
                  </a:lnTo>
                  <a:lnTo>
                    <a:pt x="304" y="194"/>
                  </a:lnTo>
                  <a:lnTo>
                    <a:pt x="332" y="145"/>
                  </a:lnTo>
                  <a:lnTo>
                    <a:pt x="360" y="101"/>
                  </a:lnTo>
                  <a:lnTo>
                    <a:pt x="388" y="64"/>
                  </a:lnTo>
                  <a:lnTo>
                    <a:pt x="406" y="47"/>
                  </a:lnTo>
                  <a:lnTo>
                    <a:pt x="423" y="29"/>
                  </a:lnTo>
                  <a:lnTo>
                    <a:pt x="448" y="15"/>
                  </a:lnTo>
                  <a:lnTo>
                    <a:pt x="476" y="3"/>
                  </a:lnTo>
                  <a:lnTo>
                    <a:pt x="495" y="0"/>
                  </a:lnTo>
                  <a:lnTo>
                    <a:pt x="512" y="0"/>
                  </a:lnTo>
                  <a:close/>
                </a:path>
              </a:pathLst>
            </a:custGeom>
            <a:solidFill>
              <a:srgbClr val="F29FC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0"/>
            <p:cNvSpPr>
              <a:spLocks/>
            </p:cNvSpPr>
            <p:nvPr userDrawn="1"/>
          </p:nvSpPr>
          <p:spPr bwMode="auto">
            <a:xfrm>
              <a:off x="1538168" y="1819581"/>
              <a:ext cx="1097335" cy="826349"/>
            </a:xfrm>
            <a:custGeom>
              <a:avLst/>
              <a:gdLst>
                <a:gd name="T0" fmla="*/ 596 w 1065"/>
                <a:gd name="T1" fmla="*/ 2 h 802"/>
                <a:gd name="T2" fmla="*/ 668 w 1065"/>
                <a:gd name="T3" fmla="*/ 24 h 802"/>
                <a:gd name="T4" fmla="*/ 747 w 1065"/>
                <a:gd name="T5" fmla="*/ 70 h 802"/>
                <a:gd name="T6" fmla="*/ 832 w 1065"/>
                <a:gd name="T7" fmla="*/ 136 h 802"/>
                <a:gd name="T8" fmla="*/ 873 w 1065"/>
                <a:gd name="T9" fmla="*/ 177 h 802"/>
                <a:gd name="T10" fmla="*/ 920 w 1065"/>
                <a:gd name="T11" fmla="*/ 229 h 802"/>
                <a:gd name="T12" fmla="*/ 967 w 1065"/>
                <a:gd name="T13" fmla="*/ 285 h 802"/>
                <a:gd name="T14" fmla="*/ 1011 w 1065"/>
                <a:gd name="T15" fmla="*/ 338 h 802"/>
                <a:gd name="T16" fmla="*/ 1044 w 1065"/>
                <a:gd name="T17" fmla="*/ 380 h 802"/>
                <a:gd name="T18" fmla="*/ 1063 w 1065"/>
                <a:gd name="T19" fmla="*/ 404 h 802"/>
                <a:gd name="T20" fmla="*/ 1030 w 1065"/>
                <a:gd name="T21" fmla="*/ 420 h 802"/>
                <a:gd name="T22" fmla="*/ 956 w 1065"/>
                <a:gd name="T23" fmla="*/ 438 h 802"/>
                <a:gd name="T24" fmla="*/ 911 w 1065"/>
                <a:gd name="T25" fmla="*/ 425 h 802"/>
                <a:gd name="T26" fmla="*/ 876 w 1065"/>
                <a:gd name="T27" fmla="*/ 378 h 802"/>
                <a:gd name="T28" fmla="*/ 825 w 1065"/>
                <a:gd name="T29" fmla="*/ 319 h 802"/>
                <a:gd name="T30" fmla="*/ 764 w 1065"/>
                <a:gd name="T31" fmla="*/ 255 h 802"/>
                <a:gd name="T32" fmla="*/ 699 w 1065"/>
                <a:gd name="T33" fmla="*/ 199 h 802"/>
                <a:gd name="T34" fmla="*/ 635 w 1065"/>
                <a:gd name="T35" fmla="*/ 163 h 802"/>
                <a:gd name="T36" fmla="*/ 574 w 1065"/>
                <a:gd name="T37" fmla="*/ 154 h 802"/>
                <a:gd name="T38" fmla="*/ 521 w 1065"/>
                <a:gd name="T39" fmla="*/ 180 h 802"/>
                <a:gd name="T40" fmla="*/ 467 w 1065"/>
                <a:gd name="T41" fmla="*/ 236 h 802"/>
                <a:gd name="T42" fmla="*/ 409 w 1065"/>
                <a:gd name="T43" fmla="*/ 315 h 802"/>
                <a:gd name="T44" fmla="*/ 355 w 1065"/>
                <a:gd name="T45" fmla="*/ 408 h 802"/>
                <a:gd name="T46" fmla="*/ 304 w 1065"/>
                <a:gd name="T47" fmla="*/ 508 h 802"/>
                <a:gd name="T48" fmla="*/ 257 w 1065"/>
                <a:gd name="T49" fmla="*/ 604 h 802"/>
                <a:gd name="T50" fmla="*/ 220 w 1065"/>
                <a:gd name="T51" fmla="*/ 690 h 802"/>
                <a:gd name="T52" fmla="*/ 192 w 1065"/>
                <a:gd name="T53" fmla="*/ 756 h 802"/>
                <a:gd name="T54" fmla="*/ 177 w 1065"/>
                <a:gd name="T55" fmla="*/ 795 h 802"/>
                <a:gd name="T56" fmla="*/ 119 w 1065"/>
                <a:gd name="T57" fmla="*/ 802 h 802"/>
                <a:gd name="T58" fmla="*/ 30 w 1065"/>
                <a:gd name="T59" fmla="*/ 789 h 802"/>
                <a:gd name="T60" fmla="*/ 24 w 1065"/>
                <a:gd name="T61" fmla="*/ 718 h 802"/>
                <a:gd name="T62" fmla="*/ 87 w 1065"/>
                <a:gd name="T63" fmla="*/ 572 h 802"/>
                <a:gd name="T64" fmla="*/ 159 w 1065"/>
                <a:gd name="T65" fmla="*/ 418 h 802"/>
                <a:gd name="T66" fmla="*/ 241 w 1065"/>
                <a:gd name="T67" fmla="*/ 269 h 802"/>
                <a:gd name="T68" fmla="*/ 323 w 1065"/>
                <a:gd name="T69" fmla="*/ 147 h 802"/>
                <a:gd name="T70" fmla="*/ 409 w 1065"/>
                <a:gd name="T71" fmla="*/ 56 h 802"/>
                <a:gd name="T72" fmla="*/ 463 w 1065"/>
                <a:gd name="T73" fmla="*/ 21 h 802"/>
                <a:gd name="T74" fmla="*/ 526 w 1065"/>
                <a:gd name="T75" fmla="*/ 2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65" h="802">
                  <a:moveTo>
                    <a:pt x="556" y="0"/>
                  </a:moveTo>
                  <a:lnTo>
                    <a:pt x="596" y="2"/>
                  </a:lnTo>
                  <a:lnTo>
                    <a:pt x="633" y="10"/>
                  </a:lnTo>
                  <a:lnTo>
                    <a:pt x="668" y="24"/>
                  </a:lnTo>
                  <a:lnTo>
                    <a:pt x="701" y="42"/>
                  </a:lnTo>
                  <a:lnTo>
                    <a:pt x="747" y="70"/>
                  </a:lnTo>
                  <a:lnTo>
                    <a:pt x="790" y="101"/>
                  </a:lnTo>
                  <a:lnTo>
                    <a:pt x="832" y="136"/>
                  </a:lnTo>
                  <a:lnTo>
                    <a:pt x="852" y="156"/>
                  </a:lnTo>
                  <a:lnTo>
                    <a:pt x="873" y="177"/>
                  </a:lnTo>
                  <a:lnTo>
                    <a:pt x="897" y="203"/>
                  </a:lnTo>
                  <a:lnTo>
                    <a:pt x="920" y="229"/>
                  </a:lnTo>
                  <a:lnTo>
                    <a:pt x="944" y="257"/>
                  </a:lnTo>
                  <a:lnTo>
                    <a:pt x="967" y="285"/>
                  </a:lnTo>
                  <a:lnTo>
                    <a:pt x="990" y="312"/>
                  </a:lnTo>
                  <a:lnTo>
                    <a:pt x="1011" y="338"/>
                  </a:lnTo>
                  <a:lnTo>
                    <a:pt x="1028" y="361"/>
                  </a:lnTo>
                  <a:lnTo>
                    <a:pt x="1044" y="380"/>
                  </a:lnTo>
                  <a:lnTo>
                    <a:pt x="1054" y="394"/>
                  </a:lnTo>
                  <a:lnTo>
                    <a:pt x="1063" y="404"/>
                  </a:lnTo>
                  <a:lnTo>
                    <a:pt x="1065" y="408"/>
                  </a:lnTo>
                  <a:lnTo>
                    <a:pt x="1030" y="420"/>
                  </a:lnTo>
                  <a:lnTo>
                    <a:pt x="991" y="431"/>
                  </a:lnTo>
                  <a:lnTo>
                    <a:pt x="956" y="438"/>
                  </a:lnTo>
                  <a:lnTo>
                    <a:pt x="923" y="439"/>
                  </a:lnTo>
                  <a:lnTo>
                    <a:pt x="911" y="425"/>
                  </a:lnTo>
                  <a:lnTo>
                    <a:pt x="895" y="404"/>
                  </a:lnTo>
                  <a:lnTo>
                    <a:pt x="876" y="378"/>
                  </a:lnTo>
                  <a:lnTo>
                    <a:pt x="852" y="350"/>
                  </a:lnTo>
                  <a:lnTo>
                    <a:pt x="825" y="319"/>
                  </a:lnTo>
                  <a:lnTo>
                    <a:pt x="796" y="285"/>
                  </a:lnTo>
                  <a:lnTo>
                    <a:pt x="764" y="255"/>
                  </a:lnTo>
                  <a:lnTo>
                    <a:pt x="733" y="226"/>
                  </a:lnTo>
                  <a:lnTo>
                    <a:pt x="699" y="199"/>
                  </a:lnTo>
                  <a:lnTo>
                    <a:pt x="666" y="178"/>
                  </a:lnTo>
                  <a:lnTo>
                    <a:pt x="635" y="163"/>
                  </a:lnTo>
                  <a:lnTo>
                    <a:pt x="603" y="154"/>
                  </a:lnTo>
                  <a:lnTo>
                    <a:pt x="574" y="154"/>
                  </a:lnTo>
                  <a:lnTo>
                    <a:pt x="547" y="163"/>
                  </a:lnTo>
                  <a:lnTo>
                    <a:pt x="521" y="180"/>
                  </a:lnTo>
                  <a:lnTo>
                    <a:pt x="493" y="205"/>
                  </a:lnTo>
                  <a:lnTo>
                    <a:pt x="467" y="236"/>
                  </a:lnTo>
                  <a:lnTo>
                    <a:pt x="437" y="273"/>
                  </a:lnTo>
                  <a:lnTo>
                    <a:pt x="409" y="315"/>
                  </a:lnTo>
                  <a:lnTo>
                    <a:pt x="383" y="361"/>
                  </a:lnTo>
                  <a:lnTo>
                    <a:pt x="355" y="408"/>
                  </a:lnTo>
                  <a:lnTo>
                    <a:pt x="329" y="457"/>
                  </a:lnTo>
                  <a:lnTo>
                    <a:pt x="304" y="508"/>
                  </a:lnTo>
                  <a:lnTo>
                    <a:pt x="280" y="557"/>
                  </a:lnTo>
                  <a:lnTo>
                    <a:pt x="257" y="604"/>
                  </a:lnTo>
                  <a:lnTo>
                    <a:pt x="238" y="648"/>
                  </a:lnTo>
                  <a:lnTo>
                    <a:pt x="220" y="690"/>
                  </a:lnTo>
                  <a:lnTo>
                    <a:pt x="205" y="725"/>
                  </a:lnTo>
                  <a:lnTo>
                    <a:pt x="192" y="756"/>
                  </a:lnTo>
                  <a:lnTo>
                    <a:pt x="182" y="779"/>
                  </a:lnTo>
                  <a:lnTo>
                    <a:pt x="177" y="795"/>
                  </a:lnTo>
                  <a:lnTo>
                    <a:pt x="173" y="802"/>
                  </a:lnTo>
                  <a:lnTo>
                    <a:pt x="119" y="802"/>
                  </a:lnTo>
                  <a:lnTo>
                    <a:pt x="72" y="796"/>
                  </a:lnTo>
                  <a:lnTo>
                    <a:pt x="30" y="789"/>
                  </a:lnTo>
                  <a:lnTo>
                    <a:pt x="0" y="781"/>
                  </a:lnTo>
                  <a:lnTo>
                    <a:pt x="24" y="718"/>
                  </a:lnTo>
                  <a:lnTo>
                    <a:pt x="54" y="648"/>
                  </a:lnTo>
                  <a:lnTo>
                    <a:pt x="87" y="572"/>
                  </a:lnTo>
                  <a:lnTo>
                    <a:pt x="122" y="495"/>
                  </a:lnTo>
                  <a:lnTo>
                    <a:pt x="159" y="418"/>
                  </a:lnTo>
                  <a:lnTo>
                    <a:pt x="199" y="341"/>
                  </a:lnTo>
                  <a:lnTo>
                    <a:pt x="241" y="269"/>
                  </a:lnTo>
                  <a:lnTo>
                    <a:pt x="283" y="205"/>
                  </a:lnTo>
                  <a:lnTo>
                    <a:pt x="323" y="147"/>
                  </a:lnTo>
                  <a:lnTo>
                    <a:pt x="365" y="98"/>
                  </a:lnTo>
                  <a:lnTo>
                    <a:pt x="409" y="56"/>
                  </a:lnTo>
                  <a:lnTo>
                    <a:pt x="435" y="37"/>
                  </a:lnTo>
                  <a:lnTo>
                    <a:pt x="463" y="21"/>
                  </a:lnTo>
                  <a:lnTo>
                    <a:pt x="497" y="7"/>
                  </a:lnTo>
                  <a:lnTo>
                    <a:pt x="526" y="2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9" name="Groep 88"/>
          <p:cNvGrpSpPr/>
          <p:nvPr userDrawn="1"/>
        </p:nvGrpSpPr>
        <p:grpSpPr>
          <a:xfrm>
            <a:off x="2807742" y="1357561"/>
            <a:ext cx="1193468" cy="1034791"/>
            <a:chOff x="2296513" y="1280702"/>
            <a:chExt cx="1084971" cy="940719"/>
          </a:xfrm>
        </p:grpSpPr>
        <p:sp>
          <p:nvSpPr>
            <p:cNvPr id="54" name="Freeform 31"/>
            <p:cNvSpPr>
              <a:spLocks/>
            </p:cNvSpPr>
            <p:nvPr userDrawn="1"/>
          </p:nvSpPr>
          <p:spPr bwMode="auto">
            <a:xfrm>
              <a:off x="2296513" y="1280702"/>
              <a:ext cx="1077758" cy="937628"/>
            </a:xfrm>
            <a:custGeom>
              <a:avLst/>
              <a:gdLst>
                <a:gd name="T0" fmla="*/ 1019 w 1046"/>
                <a:gd name="T1" fmla="*/ 5 h 910"/>
                <a:gd name="T2" fmla="*/ 941 w 1046"/>
                <a:gd name="T3" fmla="*/ 17 h 910"/>
                <a:gd name="T4" fmla="*/ 827 w 1046"/>
                <a:gd name="T5" fmla="*/ 36 h 910"/>
                <a:gd name="T6" fmla="*/ 687 w 1046"/>
                <a:gd name="T7" fmla="*/ 64 h 910"/>
                <a:gd name="T8" fmla="*/ 523 w 1046"/>
                <a:gd name="T9" fmla="*/ 103 h 910"/>
                <a:gd name="T10" fmla="*/ 425 w 1046"/>
                <a:gd name="T11" fmla="*/ 131 h 910"/>
                <a:gd name="T12" fmla="*/ 336 w 1046"/>
                <a:gd name="T13" fmla="*/ 166 h 910"/>
                <a:gd name="T14" fmla="*/ 255 w 1046"/>
                <a:gd name="T15" fmla="*/ 210 h 910"/>
                <a:gd name="T16" fmla="*/ 192 w 1046"/>
                <a:gd name="T17" fmla="*/ 264 h 910"/>
                <a:gd name="T18" fmla="*/ 147 w 1046"/>
                <a:gd name="T19" fmla="*/ 330 h 910"/>
                <a:gd name="T20" fmla="*/ 126 w 1046"/>
                <a:gd name="T21" fmla="*/ 409 h 910"/>
                <a:gd name="T22" fmla="*/ 131 w 1046"/>
                <a:gd name="T23" fmla="*/ 502 h 910"/>
                <a:gd name="T24" fmla="*/ 170 w 1046"/>
                <a:gd name="T25" fmla="*/ 612 h 910"/>
                <a:gd name="T26" fmla="*/ 201 w 1046"/>
                <a:gd name="T27" fmla="*/ 672 h 910"/>
                <a:gd name="T28" fmla="*/ 240 w 1046"/>
                <a:gd name="T29" fmla="*/ 738 h 910"/>
                <a:gd name="T30" fmla="*/ 283 w 1046"/>
                <a:gd name="T31" fmla="*/ 803 h 910"/>
                <a:gd name="T32" fmla="*/ 322 w 1046"/>
                <a:gd name="T33" fmla="*/ 859 h 910"/>
                <a:gd name="T34" fmla="*/ 352 w 1046"/>
                <a:gd name="T35" fmla="*/ 898 h 910"/>
                <a:gd name="T36" fmla="*/ 350 w 1046"/>
                <a:gd name="T37" fmla="*/ 898 h 910"/>
                <a:gd name="T38" fmla="*/ 317 w 1046"/>
                <a:gd name="T39" fmla="*/ 859 h 910"/>
                <a:gd name="T40" fmla="*/ 269 w 1046"/>
                <a:gd name="T41" fmla="*/ 799 h 910"/>
                <a:gd name="T42" fmla="*/ 212 w 1046"/>
                <a:gd name="T43" fmla="*/ 726 h 910"/>
                <a:gd name="T44" fmla="*/ 154 w 1046"/>
                <a:gd name="T45" fmla="*/ 645 h 910"/>
                <a:gd name="T46" fmla="*/ 96 w 1046"/>
                <a:gd name="T47" fmla="*/ 561 h 910"/>
                <a:gd name="T48" fmla="*/ 49 w 1046"/>
                <a:gd name="T49" fmla="*/ 479 h 910"/>
                <a:gd name="T50" fmla="*/ 16 w 1046"/>
                <a:gd name="T51" fmla="*/ 407 h 910"/>
                <a:gd name="T52" fmla="*/ 0 w 1046"/>
                <a:gd name="T53" fmla="*/ 327 h 910"/>
                <a:gd name="T54" fmla="*/ 18 w 1046"/>
                <a:gd name="T55" fmla="*/ 264 h 910"/>
                <a:gd name="T56" fmla="*/ 63 w 1046"/>
                <a:gd name="T57" fmla="*/ 213 h 910"/>
                <a:gd name="T58" fmla="*/ 140 w 1046"/>
                <a:gd name="T59" fmla="*/ 175 h 910"/>
                <a:gd name="T60" fmla="*/ 243 w 1046"/>
                <a:gd name="T61" fmla="*/ 141 h 910"/>
                <a:gd name="T62" fmla="*/ 371 w 1046"/>
                <a:gd name="T63" fmla="*/ 113 h 910"/>
                <a:gd name="T64" fmla="*/ 525 w 1046"/>
                <a:gd name="T65" fmla="*/ 84 h 910"/>
                <a:gd name="T66" fmla="*/ 677 w 1046"/>
                <a:gd name="T67" fmla="*/ 57 h 910"/>
                <a:gd name="T68" fmla="*/ 815 w 1046"/>
                <a:gd name="T69" fmla="*/ 35 h 910"/>
                <a:gd name="T70" fmla="*/ 932 w 1046"/>
                <a:gd name="T71" fmla="*/ 17 h 910"/>
                <a:gd name="T72" fmla="*/ 1018 w 1046"/>
                <a:gd name="T73" fmla="*/ 5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6" h="910">
                  <a:moveTo>
                    <a:pt x="1046" y="0"/>
                  </a:moveTo>
                  <a:lnTo>
                    <a:pt x="1019" y="5"/>
                  </a:lnTo>
                  <a:lnTo>
                    <a:pt x="985" y="10"/>
                  </a:lnTo>
                  <a:lnTo>
                    <a:pt x="941" y="17"/>
                  </a:lnTo>
                  <a:lnTo>
                    <a:pt x="888" y="26"/>
                  </a:lnTo>
                  <a:lnTo>
                    <a:pt x="827" y="36"/>
                  </a:lnTo>
                  <a:lnTo>
                    <a:pt x="761" y="49"/>
                  </a:lnTo>
                  <a:lnTo>
                    <a:pt x="687" y="64"/>
                  </a:lnTo>
                  <a:lnTo>
                    <a:pt x="607" y="82"/>
                  </a:lnTo>
                  <a:lnTo>
                    <a:pt x="523" y="103"/>
                  </a:lnTo>
                  <a:lnTo>
                    <a:pt x="474" y="115"/>
                  </a:lnTo>
                  <a:lnTo>
                    <a:pt x="425" y="131"/>
                  </a:lnTo>
                  <a:lnTo>
                    <a:pt x="380" y="147"/>
                  </a:lnTo>
                  <a:lnTo>
                    <a:pt x="336" y="166"/>
                  </a:lnTo>
                  <a:lnTo>
                    <a:pt x="294" y="187"/>
                  </a:lnTo>
                  <a:lnTo>
                    <a:pt x="255" y="210"/>
                  </a:lnTo>
                  <a:lnTo>
                    <a:pt x="222" y="236"/>
                  </a:lnTo>
                  <a:lnTo>
                    <a:pt x="192" y="264"/>
                  </a:lnTo>
                  <a:lnTo>
                    <a:pt x="166" y="295"/>
                  </a:lnTo>
                  <a:lnTo>
                    <a:pt x="147" y="330"/>
                  </a:lnTo>
                  <a:lnTo>
                    <a:pt x="133" y="367"/>
                  </a:lnTo>
                  <a:lnTo>
                    <a:pt x="126" y="409"/>
                  </a:lnTo>
                  <a:lnTo>
                    <a:pt x="124" y="453"/>
                  </a:lnTo>
                  <a:lnTo>
                    <a:pt x="131" y="502"/>
                  </a:lnTo>
                  <a:lnTo>
                    <a:pt x="147" y="554"/>
                  </a:lnTo>
                  <a:lnTo>
                    <a:pt x="170" y="612"/>
                  </a:lnTo>
                  <a:lnTo>
                    <a:pt x="184" y="640"/>
                  </a:lnTo>
                  <a:lnTo>
                    <a:pt x="201" y="672"/>
                  </a:lnTo>
                  <a:lnTo>
                    <a:pt x="219" y="705"/>
                  </a:lnTo>
                  <a:lnTo>
                    <a:pt x="240" y="738"/>
                  </a:lnTo>
                  <a:lnTo>
                    <a:pt x="262" y="771"/>
                  </a:lnTo>
                  <a:lnTo>
                    <a:pt x="283" y="803"/>
                  </a:lnTo>
                  <a:lnTo>
                    <a:pt x="303" y="833"/>
                  </a:lnTo>
                  <a:lnTo>
                    <a:pt x="322" y="859"/>
                  </a:lnTo>
                  <a:lnTo>
                    <a:pt x="338" y="880"/>
                  </a:lnTo>
                  <a:lnTo>
                    <a:pt x="352" y="898"/>
                  </a:lnTo>
                  <a:lnTo>
                    <a:pt x="360" y="910"/>
                  </a:lnTo>
                  <a:lnTo>
                    <a:pt x="350" y="898"/>
                  </a:lnTo>
                  <a:lnTo>
                    <a:pt x="336" y="882"/>
                  </a:lnTo>
                  <a:lnTo>
                    <a:pt x="317" y="859"/>
                  </a:lnTo>
                  <a:lnTo>
                    <a:pt x="294" y="831"/>
                  </a:lnTo>
                  <a:lnTo>
                    <a:pt x="269" y="799"/>
                  </a:lnTo>
                  <a:lnTo>
                    <a:pt x="241" y="764"/>
                  </a:lnTo>
                  <a:lnTo>
                    <a:pt x="212" y="726"/>
                  </a:lnTo>
                  <a:lnTo>
                    <a:pt x="184" y="686"/>
                  </a:lnTo>
                  <a:lnTo>
                    <a:pt x="154" y="645"/>
                  </a:lnTo>
                  <a:lnTo>
                    <a:pt x="124" y="603"/>
                  </a:lnTo>
                  <a:lnTo>
                    <a:pt x="96" y="561"/>
                  </a:lnTo>
                  <a:lnTo>
                    <a:pt x="72" y="519"/>
                  </a:lnTo>
                  <a:lnTo>
                    <a:pt x="49" y="479"/>
                  </a:lnTo>
                  <a:lnTo>
                    <a:pt x="30" y="442"/>
                  </a:lnTo>
                  <a:lnTo>
                    <a:pt x="16" y="407"/>
                  </a:lnTo>
                  <a:lnTo>
                    <a:pt x="4" y="364"/>
                  </a:lnTo>
                  <a:lnTo>
                    <a:pt x="0" y="327"/>
                  </a:lnTo>
                  <a:lnTo>
                    <a:pt x="5" y="294"/>
                  </a:lnTo>
                  <a:lnTo>
                    <a:pt x="18" y="264"/>
                  </a:lnTo>
                  <a:lnTo>
                    <a:pt x="37" y="238"/>
                  </a:lnTo>
                  <a:lnTo>
                    <a:pt x="63" y="213"/>
                  </a:lnTo>
                  <a:lnTo>
                    <a:pt x="98" y="192"/>
                  </a:lnTo>
                  <a:lnTo>
                    <a:pt x="140" y="175"/>
                  </a:lnTo>
                  <a:lnTo>
                    <a:pt x="187" y="157"/>
                  </a:lnTo>
                  <a:lnTo>
                    <a:pt x="243" y="141"/>
                  </a:lnTo>
                  <a:lnTo>
                    <a:pt x="304" y="127"/>
                  </a:lnTo>
                  <a:lnTo>
                    <a:pt x="371" y="113"/>
                  </a:lnTo>
                  <a:lnTo>
                    <a:pt x="448" y="98"/>
                  </a:lnTo>
                  <a:lnTo>
                    <a:pt x="525" y="84"/>
                  </a:lnTo>
                  <a:lnTo>
                    <a:pt x="602" y="70"/>
                  </a:lnTo>
                  <a:lnTo>
                    <a:pt x="677" y="57"/>
                  </a:lnTo>
                  <a:lnTo>
                    <a:pt x="748" y="45"/>
                  </a:lnTo>
                  <a:lnTo>
                    <a:pt x="815" y="35"/>
                  </a:lnTo>
                  <a:lnTo>
                    <a:pt x="878" y="24"/>
                  </a:lnTo>
                  <a:lnTo>
                    <a:pt x="932" y="17"/>
                  </a:lnTo>
                  <a:lnTo>
                    <a:pt x="979" y="10"/>
                  </a:lnTo>
                  <a:lnTo>
                    <a:pt x="1018" y="5"/>
                  </a:lnTo>
                  <a:lnTo>
                    <a:pt x="1046" y="0"/>
                  </a:lnTo>
                  <a:close/>
                </a:path>
              </a:pathLst>
            </a:custGeom>
            <a:solidFill>
              <a:srgbClr val="86C2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2"/>
            <p:cNvSpPr>
              <a:spLocks/>
            </p:cNvSpPr>
            <p:nvPr userDrawn="1"/>
          </p:nvSpPr>
          <p:spPr bwMode="auto">
            <a:xfrm>
              <a:off x="2424278" y="1280702"/>
              <a:ext cx="957206" cy="940719"/>
            </a:xfrm>
            <a:custGeom>
              <a:avLst/>
              <a:gdLst>
                <a:gd name="T0" fmla="*/ 927 w 929"/>
                <a:gd name="T1" fmla="*/ 29 h 913"/>
                <a:gd name="T2" fmla="*/ 929 w 929"/>
                <a:gd name="T3" fmla="*/ 84 h 913"/>
                <a:gd name="T4" fmla="*/ 923 w 929"/>
                <a:gd name="T5" fmla="*/ 124 h 913"/>
                <a:gd name="T6" fmla="*/ 922 w 929"/>
                <a:gd name="T7" fmla="*/ 138 h 913"/>
                <a:gd name="T8" fmla="*/ 840 w 929"/>
                <a:gd name="T9" fmla="*/ 152 h 913"/>
                <a:gd name="T10" fmla="*/ 735 w 929"/>
                <a:gd name="T11" fmla="*/ 173 h 913"/>
                <a:gd name="T12" fmla="*/ 616 w 929"/>
                <a:gd name="T13" fmla="*/ 199 h 913"/>
                <a:gd name="T14" fmla="*/ 493 w 929"/>
                <a:gd name="T15" fmla="*/ 231 h 913"/>
                <a:gd name="T16" fmla="*/ 380 w 929"/>
                <a:gd name="T17" fmla="*/ 267 h 913"/>
                <a:gd name="T18" fmla="*/ 282 w 929"/>
                <a:gd name="T19" fmla="*/ 309 h 913"/>
                <a:gd name="T20" fmla="*/ 214 w 929"/>
                <a:gd name="T21" fmla="*/ 353 h 913"/>
                <a:gd name="T22" fmla="*/ 182 w 929"/>
                <a:gd name="T23" fmla="*/ 402 h 913"/>
                <a:gd name="T24" fmla="*/ 186 w 929"/>
                <a:gd name="T25" fmla="*/ 456 h 913"/>
                <a:gd name="T26" fmla="*/ 207 w 929"/>
                <a:gd name="T27" fmla="*/ 523 h 913"/>
                <a:gd name="T28" fmla="*/ 238 w 929"/>
                <a:gd name="T29" fmla="*/ 593 h 913"/>
                <a:gd name="T30" fmla="*/ 277 w 929"/>
                <a:gd name="T31" fmla="*/ 659 h 913"/>
                <a:gd name="T32" fmla="*/ 313 w 929"/>
                <a:gd name="T33" fmla="*/ 719 h 913"/>
                <a:gd name="T34" fmla="*/ 345 w 929"/>
                <a:gd name="T35" fmla="*/ 763 h 913"/>
                <a:gd name="T36" fmla="*/ 360 w 929"/>
                <a:gd name="T37" fmla="*/ 787 h 913"/>
                <a:gd name="T38" fmla="*/ 360 w 929"/>
                <a:gd name="T39" fmla="*/ 794 h 913"/>
                <a:gd name="T40" fmla="*/ 322 w 929"/>
                <a:gd name="T41" fmla="*/ 843 h 913"/>
                <a:gd name="T42" fmla="*/ 284 w 929"/>
                <a:gd name="T43" fmla="*/ 882 h 913"/>
                <a:gd name="T44" fmla="*/ 252 w 929"/>
                <a:gd name="T45" fmla="*/ 906 h 913"/>
                <a:gd name="T46" fmla="*/ 240 w 929"/>
                <a:gd name="T47" fmla="*/ 913 h 913"/>
                <a:gd name="T48" fmla="*/ 238 w 929"/>
                <a:gd name="T49" fmla="*/ 912 h 913"/>
                <a:gd name="T50" fmla="*/ 228 w 929"/>
                <a:gd name="T51" fmla="*/ 898 h 913"/>
                <a:gd name="T52" fmla="*/ 198 w 929"/>
                <a:gd name="T53" fmla="*/ 859 h 913"/>
                <a:gd name="T54" fmla="*/ 159 w 929"/>
                <a:gd name="T55" fmla="*/ 803 h 913"/>
                <a:gd name="T56" fmla="*/ 116 w 929"/>
                <a:gd name="T57" fmla="*/ 738 h 913"/>
                <a:gd name="T58" fmla="*/ 77 w 929"/>
                <a:gd name="T59" fmla="*/ 672 h 913"/>
                <a:gd name="T60" fmla="*/ 46 w 929"/>
                <a:gd name="T61" fmla="*/ 612 h 913"/>
                <a:gd name="T62" fmla="*/ 7 w 929"/>
                <a:gd name="T63" fmla="*/ 502 h 913"/>
                <a:gd name="T64" fmla="*/ 2 w 929"/>
                <a:gd name="T65" fmla="*/ 409 h 913"/>
                <a:gd name="T66" fmla="*/ 23 w 929"/>
                <a:gd name="T67" fmla="*/ 330 h 913"/>
                <a:gd name="T68" fmla="*/ 68 w 929"/>
                <a:gd name="T69" fmla="*/ 264 h 913"/>
                <a:gd name="T70" fmla="*/ 131 w 929"/>
                <a:gd name="T71" fmla="*/ 210 h 913"/>
                <a:gd name="T72" fmla="*/ 212 w 929"/>
                <a:gd name="T73" fmla="*/ 166 h 913"/>
                <a:gd name="T74" fmla="*/ 301 w 929"/>
                <a:gd name="T75" fmla="*/ 131 h 913"/>
                <a:gd name="T76" fmla="*/ 399 w 929"/>
                <a:gd name="T77" fmla="*/ 103 h 913"/>
                <a:gd name="T78" fmla="*/ 563 w 929"/>
                <a:gd name="T79" fmla="*/ 64 h 913"/>
                <a:gd name="T80" fmla="*/ 703 w 929"/>
                <a:gd name="T81" fmla="*/ 36 h 913"/>
                <a:gd name="T82" fmla="*/ 817 w 929"/>
                <a:gd name="T83" fmla="*/ 17 h 913"/>
                <a:gd name="T84" fmla="*/ 895 w 929"/>
                <a:gd name="T85" fmla="*/ 5 h 913"/>
                <a:gd name="T86" fmla="*/ 922 w 929"/>
                <a:gd name="T87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29" h="913">
                  <a:moveTo>
                    <a:pt x="922" y="0"/>
                  </a:moveTo>
                  <a:lnTo>
                    <a:pt x="927" y="29"/>
                  </a:lnTo>
                  <a:lnTo>
                    <a:pt x="929" y="57"/>
                  </a:lnTo>
                  <a:lnTo>
                    <a:pt x="929" y="84"/>
                  </a:lnTo>
                  <a:lnTo>
                    <a:pt x="927" y="106"/>
                  </a:lnTo>
                  <a:lnTo>
                    <a:pt x="923" y="124"/>
                  </a:lnTo>
                  <a:lnTo>
                    <a:pt x="922" y="134"/>
                  </a:lnTo>
                  <a:lnTo>
                    <a:pt x="922" y="138"/>
                  </a:lnTo>
                  <a:lnTo>
                    <a:pt x="885" y="145"/>
                  </a:lnTo>
                  <a:lnTo>
                    <a:pt x="840" y="152"/>
                  </a:lnTo>
                  <a:lnTo>
                    <a:pt x="789" y="162"/>
                  </a:lnTo>
                  <a:lnTo>
                    <a:pt x="735" y="173"/>
                  </a:lnTo>
                  <a:lnTo>
                    <a:pt x="677" y="185"/>
                  </a:lnTo>
                  <a:lnTo>
                    <a:pt x="616" y="199"/>
                  </a:lnTo>
                  <a:lnTo>
                    <a:pt x="555" y="215"/>
                  </a:lnTo>
                  <a:lnTo>
                    <a:pt x="493" y="231"/>
                  </a:lnTo>
                  <a:lnTo>
                    <a:pt x="436" y="248"/>
                  </a:lnTo>
                  <a:lnTo>
                    <a:pt x="380" y="267"/>
                  </a:lnTo>
                  <a:lnTo>
                    <a:pt x="327" y="288"/>
                  </a:lnTo>
                  <a:lnTo>
                    <a:pt x="282" y="309"/>
                  </a:lnTo>
                  <a:lnTo>
                    <a:pt x="243" y="330"/>
                  </a:lnTo>
                  <a:lnTo>
                    <a:pt x="214" y="353"/>
                  </a:lnTo>
                  <a:lnTo>
                    <a:pt x="193" y="378"/>
                  </a:lnTo>
                  <a:lnTo>
                    <a:pt x="182" y="402"/>
                  </a:lnTo>
                  <a:lnTo>
                    <a:pt x="180" y="428"/>
                  </a:lnTo>
                  <a:lnTo>
                    <a:pt x="186" y="456"/>
                  </a:lnTo>
                  <a:lnTo>
                    <a:pt x="193" y="490"/>
                  </a:lnTo>
                  <a:lnTo>
                    <a:pt x="207" y="523"/>
                  </a:lnTo>
                  <a:lnTo>
                    <a:pt x="221" y="558"/>
                  </a:lnTo>
                  <a:lnTo>
                    <a:pt x="238" y="593"/>
                  </a:lnTo>
                  <a:lnTo>
                    <a:pt x="257" y="626"/>
                  </a:lnTo>
                  <a:lnTo>
                    <a:pt x="277" y="659"/>
                  </a:lnTo>
                  <a:lnTo>
                    <a:pt x="296" y="691"/>
                  </a:lnTo>
                  <a:lnTo>
                    <a:pt x="313" y="719"/>
                  </a:lnTo>
                  <a:lnTo>
                    <a:pt x="331" y="743"/>
                  </a:lnTo>
                  <a:lnTo>
                    <a:pt x="345" y="763"/>
                  </a:lnTo>
                  <a:lnTo>
                    <a:pt x="355" y="778"/>
                  </a:lnTo>
                  <a:lnTo>
                    <a:pt x="360" y="787"/>
                  </a:lnTo>
                  <a:lnTo>
                    <a:pt x="362" y="789"/>
                  </a:lnTo>
                  <a:lnTo>
                    <a:pt x="360" y="794"/>
                  </a:lnTo>
                  <a:lnTo>
                    <a:pt x="341" y="821"/>
                  </a:lnTo>
                  <a:lnTo>
                    <a:pt x="322" y="843"/>
                  </a:lnTo>
                  <a:lnTo>
                    <a:pt x="303" y="864"/>
                  </a:lnTo>
                  <a:lnTo>
                    <a:pt x="284" y="882"/>
                  </a:lnTo>
                  <a:lnTo>
                    <a:pt x="266" y="896"/>
                  </a:lnTo>
                  <a:lnTo>
                    <a:pt x="252" y="906"/>
                  </a:lnTo>
                  <a:lnTo>
                    <a:pt x="243" y="912"/>
                  </a:lnTo>
                  <a:lnTo>
                    <a:pt x="240" y="913"/>
                  </a:lnTo>
                  <a:lnTo>
                    <a:pt x="238" y="913"/>
                  </a:lnTo>
                  <a:lnTo>
                    <a:pt x="238" y="912"/>
                  </a:lnTo>
                  <a:lnTo>
                    <a:pt x="236" y="910"/>
                  </a:lnTo>
                  <a:lnTo>
                    <a:pt x="228" y="898"/>
                  </a:lnTo>
                  <a:lnTo>
                    <a:pt x="214" y="880"/>
                  </a:lnTo>
                  <a:lnTo>
                    <a:pt x="198" y="859"/>
                  </a:lnTo>
                  <a:lnTo>
                    <a:pt x="179" y="833"/>
                  </a:lnTo>
                  <a:lnTo>
                    <a:pt x="159" y="803"/>
                  </a:lnTo>
                  <a:lnTo>
                    <a:pt x="138" y="771"/>
                  </a:lnTo>
                  <a:lnTo>
                    <a:pt x="116" y="738"/>
                  </a:lnTo>
                  <a:lnTo>
                    <a:pt x="95" y="705"/>
                  </a:lnTo>
                  <a:lnTo>
                    <a:pt x="77" y="672"/>
                  </a:lnTo>
                  <a:lnTo>
                    <a:pt x="60" y="640"/>
                  </a:lnTo>
                  <a:lnTo>
                    <a:pt x="46" y="612"/>
                  </a:lnTo>
                  <a:lnTo>
                    <a:pt x="23" y="554"/>
                  </a:lnTo>
                  <a:lnTo>
                    <a:pt x="7" y="502"/>
                  </a:lnTo>
                  <a:lnTo>
                    <a:pt x="0" y="453"/>
                  </a:lnTo>
                  <a:lnTo>
                    <a:pt x="2" y="409"/>
                  </a:lnTo>
                  <a:lnTo>
                    <a:pt x="9" y="367"/>
                  </a:lnTo>
                  <a:lnTo>
                    <a:pt x="23" y="330"/>
                  </a:lnTo>
                  <a:lnTo>
                    <a:pt x="42" y="295"/>
                  </a:lnTo>
                  <a:lnTo>
                    <a:pt x="68" y="264"/>
                  </a:lnTo>
                  <a:lnTo>
                    <a:pt x="98" y="236"/>
                  </a:lnTo>
                  <a:lnTo>
                    <a:pt x="131" y="210"/>
                  </a:lnTo>
                  <a:lnTo>
                    <a:pt x="170" y="187"/>
                  </a:lnTo>
                  <a:lnTo>
                    <a:pt x="212" y="166"/>
                  </a:lnTo>
                  <a:lnTo>
                    <a:pt x="256" y="147"/>
                  </a:lnTo>
                  <a:lnTo>
                    <a:pt x="301" y="131"/>
                  </a:lnTo>
                  <a:lnTo>
                    <a:pt x="350" y="115"/>
                  </a:lnTo>
                  <a:lnTo>
                    <a:pt x="399" y="103"/>
                  </a:lnTo>
                  <a:lnTo>
                    <a:pt x="483" y="82"/>
                  </a:lnTo>
                  <a:lnTo>
                    <a:pt x="563" y="64"/>
                  </a:lnTo>
                  <a:lnTo>
                    <a:pt x="637" y="49"/>
                  </a:lnTo>
                  <a:lnTo>
                    <a:pt x="703" y="36"/>
                  </a:lnTo>
                  <a:lnTo>
                    <a:pt x="764" y="26"/>
                  </a:lnTo>
                  <a:lnTo>
                    <a:pt x="817" y="17"/>
                  </a:lnTo>
                  <a:lnTo>
                    <a:pt x="861" y="10"/>
                  </a:lnTo>
                  <a:lnTo>
                    <a:pt x="895" y="5"/>
                  </a:lnTo>
                  <a:lnTo>
                    <a:pt x="922" y="0"/>
                  </a:lnTo>
                  <a:lnTo>
                    <a:pt x="92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7" name="Groep 86"/>
          <p:cNvGrpSpPr/>
          <p:nvPr userDrawn="1"/>
        </p:nvGrpSpPr>
        <p:grpSpPr>
          <a:xfrm>
            <a:off x="1729882" y="546049"/>
            <a:ext cx="1149265" cy="733307"/>
            <a:chOff x="1316640" y="542964"/>
            <a:chExt cx="1044786" cy="666643"/>
          </a:xfrm>
        </p:grpSpPr>
        <p:sp>
          <p:nvSpPr>
            <p:cNvPr id="56" name="Freeform 33"/>
            <p:cNvSpPr>
              <a:spLocks/>
            </p:cNvSpPr>
            <p:nvPr userDrawn="1"/>
          </p:nvSpPr>
          <p:spPr bwMode="auto">
            <a:xfrm>
              <a:off x="1348581" y="576966"/>
              <a:ext cx="1003572" cy="632641"/>
            </a:xfrm>
            <a:custGeom>
              <a:avLst/>
              <a:gdLst>
                <a:gd name="T0" fmla="*/ 974 w 974"/>
                <a:gd name="T1" fmla="*/ 0 h 614"/>
                <a:gd name="T2" fmla="*/ 948 w 974"/>
                <a:gd name="T3" fmla="*/ 79 h 614"/>
                <a:gd name="T4" fmla="*/ 920 w 974"/>
                <a:gd name="T5" fmla="*/ 159 h 614"/>
                <a:gd name="T6" fmla="*/ 894 w 974"/>
                <a:gd name="T7" fmla="*/ 231 h 614"/>
                <a:gd name="T8" fmla="*/ 866 w 974"/>
                <a:gd name="T9" fmla="*/ 301 h 614"/>
                <a:gd name="T10" fmla="*/ 838 w 974"/>
                <a:gd name="T11" fmla="*/ 368 h 614"/>
                <a:gd name="T12" fmla="*/ 806 w 974"/>
                <a:gd name="T13" fmla="*/ 431 h 614"/>
                <a:gd name="T14" fmla="*/ 785 w 974"/>
                <a:gd name="T15" fmla="*/ 469 h 614"/>
                <a:gd name="T16" fmla="*/ 761 w 974"/>
                <a:gd name="T17" fmla="*/ 506 h 614"/>
                <a:gd name="T18" fmla="*/ 733 w 974"/>
                <a:gd name="T19" fmla="*/ 539 h 614"/>
                <a:gd name="T20" fmla="*/ 703 w 974"/>
                <a:gd name="T21" fmla="*/ 569 h 614"/>
                <a:gd name="T22" fmla="*/ 668 w 974"/>
                <a:gd name="T23" fmla="*/ 593 h 614"/>
                <a:gd name="T24" fmla="*/ 633 w 974"/>
                <a:gd name="T25" fmla="*/ 607 h 614"/>
                <a:gd name="T26" fmla="*/ 598 w 974"/>
                <a:gd name="T27" fmla="*/ 614 h 614"/>
                <a:gd name="T28" fmla="*/ 562 w 974"/>
                <a:gd name="T29" fmla="*/ 613 h 614"/>
                <a:gd name="T30" fmla="*/ 527 w 974"/>
                <a:gd name="T31" fmla="*/ 604 h 614"/>
                <a:gd name="T32" fmla="*/ 490 w 974"/>
                <a:gd name="T33" fmla="*/ 588 h 614"/>
                <a:gd name="T34" fmla="*/ 445 w 974"/>
                <a:gd name="T35" fmla="*/ 560 h 614"/>
                <a:gd name="T36" fmla="*/ 403 w 974"/>
                <a:gd name="T37" fmla="*/ 529 h 614"/>
                <a:gd name="T38" fmla="*/ 345 w 974"/>
                <a:gd name="T39" fmla="*/ 478 h 614"/>
                <a:gd name="T40" fmla="*/ 285 w 974"/>
                <a:gd name="T41" fmla="*/ 418 h 614"/>
                <a:gd name="T42" fmla="*/ 226 w 974"/>
                <a:gd name="T43" fmla="*/ 354 h 614"/>
                <a:gd name="T44" fmla="*/ 177 w 974"/>
                <a:gd name="T45" fmla="*/ 299 h 614"/>
                <a:gd name="T46" fmla="*/ 133 w 974"/>
                <a:gd name="T47" fmla="*/ 249 h 614"/>
                <a:gd name="T48" fmla="*/ 95 w 974"/>
                <a:gd name="T49" fmla="*/ 201 h 614"/>
                <a:gd name="T50" fmla="*/ 60 w 974"/>
                <a:gd name="T51" fmla="*/ 159 h 614"/>
                <a:gd name="T52" fmla="*/ 28 w 974"/>
                <a:gd name="T53" fmla="*/ 123 h 614"/>
                <a:gd name="T54" fmla="*/ 4 w 974"/>
                <a:gd name="T55" fmla="*/ 91 h 614"/>
                <a:gd name="T56" fmla="*/ 2 w 974"/>
                <a:gd name="T57" fmla="*/ 89 h 614"/>
                <a:gd name="T58" fmla="*/ 0 w 974"/>
                <a:gd name="T59" fmla="*/ 88 h 614"/>
                <a:gd name="T60" fmla="*/ 0 w 974"/>
                <a:gd name="T61" fmla="*/ 86 h 614"/>
                <a:gd name="T62" fmla="*/ 2 w 974"/>
                <a:gd name="T63" fmla="*/ 88 h 614"/>
                <a:gd name="T64" fmla="*/ 4 w 974"/>
                <a:gd name="T65" fmla="*/ 91 h 614"/>
                <a:gd name="T66" fmla="*/ 63 w 974"/>
                <a:gd name="T67" fmla="*/ 161 h 614"/>
                <a:gd name="T68" fmla="*/ 126 w 974"/>
                <a:gd name="T69" fmla="*/ 231 h 614"/>
                <a:gd name="T70" fmla="*/ 188 w 974"/>
                <a:gd name="T71" fmla="*/ 296 h 614"/>
                <a:gd name="T72" fmla="*/ 242 w 974"/>
                <a:gd name="T73" fmla="*/ 347 h 614"/>
                <a:gd name="T74" fmla="*/ 296 w 974"/>
                <a:gd name="T75" fmla="*/ 394 h 614"/>
                <a:gd name="T76" fmla="*/ 350 w 974"/>
                <a:gd name="T77" fmla="*/ 434 h 614"/>
                <a:gd name="T78" fmla="*/ 394 w 974"/>
                <a:gd name="T79" fmla="*/ 459 h 614"/>
                <a:gd name="T80" fmla="*/ 436 w 974"/>
                <a:gd name="T81" fmla="*/ 480 h 614"/>
                <a:gd name="T82" fmla="*/ 481 w 974"/>
                <a:gd name="T83" fmla="*/ 494 h 614"/>
                <a:gd name="T84" fmla="*/ 530 w 974"/>
                <a:gd name="T85" fmla="*/ 499 h 614"/>
                <a:gd name="T86" fmla="*/ 549 w 974"/>
                <a:gd name="T87" fmla="*/ 497 h 614"/>
                <a:gd name="T88" fmla="*/ 602 w 974"/>
                <a:gd name="T89" fmla="*/ 488 h 614"/>
                <a:gd name="T90" fmla="*/ 651 w 974"/>
                <a:gd name="T91" fmla="*/ 469 h 614"/>
                <a:gd name="T92" fmla="*/ 695 w 974"/>
                <a:gd name="T93" fmla="*/ 445 h 614"/>
                <a:gd name="T94" fmla="*/ 733 w 974"/>
                <a:gd name="T95" fmla="*/ 415 h 614"/>
                <a:gd name="T96" fmla="*/ 775 w 974"/>
                <a:gd name="T97" fmla="*/ 375 h 614"/>
                <a:gd name="T98" fmla="*/ 812 w 974"/>
                <a:gd name="T99" fmla="*/ 329 h 614"/>
                <a:gd name="T100" fmla="*/ 843 w 974"/>
                <a:gd name="T101" fmla="*/ 280 h 614"/>
                <a:gd name="T102" fmla="*/ 873 w 974"/>
                <a:gd name="T103" fmla="*/ 229 h 614"/>
                <a:gd name="T104" fmla="*/ 899 w 974"/>
                <a:gd name="T105" fmla="*/ 177 h 614"/>
                <a:gd name="T106" fmla="*/ 939 w 974"/>
                <a:gd name="T107" fmla="*/ 88 h 614"/>
                <a:gd name="T108" fmla="*/ 974 w 974"/>
                <a:gd name="T109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4" h="614">
                  <a:moveTo>
                    <a:pt x="974" y="0"/>
                  </a:moveTo>
                  <a:lnTo>
                    <a:pt x="948" y="79"/>
                  </a:lnTo>
                  <a:lnTo>
                    <a:pt x="920" y="159"/>
                  </a:lnTo>
                  <a:lnTo>
                    <a:pt x="894" y="231"/>
                  </a:lnTo>
                  <a:lnTo>
                    <a:pt x="866" y="301"/>
                  </a:lnTo>
                  <a:lnTo>
                    <a:pt x="838" y="368"/>
                  </a:lnTo>
                  <a:lnTo>
                    <a:pt x="806" y="431"/>
                  </a:lnTo>
                  <a:lnTo>
                    <a:pt x="785" y="469"/>
                  </a:lnTo>
                  <a:lnTo>
                    <a:pt x="761" y="506"/>
                  </a:lnTo>
                  <a:lnTo>
                    <a:pt x="733" y="539"/>
                  </a:lnTo>
                  <a:lnTo>
                    <a:pt x="703" y="569"/>
                  </a:lnTo>
                  <a:lnTo>
                    <a:pt x="668" y="593"/>
                  </a:lnTo>
                  <a:lnTo>
                    <a:pt x="633" y="607"/>
                  </a:lnTo>
                  <a:lnTo>
                    <a:pt x="598" y="614"/>
                  </a:lnTo>
                  <a:lnTo>
                    <a:pt x="562" y="613"/>
                  </a:lnTo>
                  <a:lnTo>
                    <a:pt x="527" y="604"/>
                  </a:lnTo>
                  <a:lnTo>
                    <a:pt x="490" y="588"/>
                  </a:lnTo>
                  <a:lnTo>
                    <a:pt x="445" y="560"/>
                  </a:lnTo>
                  <a:lnTo>
                    <a:pt x="403" y="529"/>
                  </a:lnTo>
                  <a:lnTo>
                    <a:pt x="345" y="478"/>
                  </a:lnTo>
                  <a:lnTo>
                    <a:pt x="285" y="418"/>
                  </a:lnTo>
                  <a:lnTo>
                    <a:pt x="226" y="354"/>
                  </a:lnTo>
                  <a:lnTo>
                    <a:pt x="177" y="299"/>
                  </a:lnTo>
                  <a:lnTo>
                    <a:pt x="133" y="249"/>
                  </a:lnTo>
                  <a:lnTo>
                    <a:pt x="95" y="201"/>
                  </a:lnTo>
                  <a:lnTo>
                    <a:pt x="60" y="159"/>
                  </a:lnTo>
                  <a:lnTo>
                    <a:pt x="28" y="123"/>
                  </a:lnTo>
                  <a:lnTo>
                    <a:pt x="4" y="91"/>
                  </a:lnTo>
                  <a:lnTo>
                    <a:pt x="2" y="89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4" y="91"/>
                  </a:lnTo>
                  <a:lnTo>
                    <a:pt x="63" y="161"/>
                  </a:lnTo>
                  <a:lnTo>
                    <a:pt x="126" y="231"/>
                  </a:lnTo>
                  <a:lnTo>
                    <a:pt x="188" y="296"/>
                  </a:lnTo>
                  <a:lnTo>
                    <a:pt x="242" y="347"/>
                  </a:lnTo>
                  <a:lnTo>
                    <a:pt x="296" y="394"/>
                  </a:lnTo>
                  <a:lnTo>
                    <a:pt x="350" y="434"/>
                  </a:lnTo>
                  <a:lnTo>
                    <a:pt x="394" y="459"/>
                  </a:lnTo>
                  <a:lnTo>
                    <a:pt x="436" y="480"/>
                  </a:lnTo>
                  <a:lnTo>
                    <a:pt x="481" y="494"/>
                  </a:lnTo>
                  <a:lnTo>
                    <a:pt x="530" y="499"/>
                  </a:lnTo>
                  <a:lnTo>
                    <a:pt x="549" y="497"/>
                  </a:lnTo>
                  <a:lnTo>
                    <a:pt x="602" y="488"/>
                  </a:lnTo>
                  <a:lnTo>
                    <a:pt x="651" y="469"/>
                  </a:lnTo>
                  <a:lnTo>
                    <a:pt x="695" y="445"/>
                  </a:lnTo>
                  <a:lnTo>
                    <a:pt x="733" y="415"/>
                  </a:lnTo>
                  <a:lnTo>
                    <a:pt x="775" y="375"/>
                  </a:lnTo>
                  <a:lnTo>
                    <a:pt x="812" y="329"/>
                  </a:lnTo>
                  <a:lnTo>
                    <a:pt x="843" y="280"/>
                  </a:lnTo>
                  <a:lnTo>
                    <a:pt x="873" y="229"/>
                  </a:lnTo>
                  <a:lnTo>
                    <a:pt x="899" y="177"/>
                  </a:lnTo>
                  <a:lnTo>
                    <a:pt x="939" y="88"/>
                  </a:lnTo>
                  <a:lnTo>
                    <a:pt x="974" y="0"/>
                  </a:lnTo>
                  <a:close/>
                </a:path>
              </a:pathLst>
            </a:custGeom>
            <a:solidFill>
              <a:srgbClr val="EEED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4"/>
            <p:cNvSpPr>
              <a:spLocks/>
            </p:cNvSpPr>
            <p:nvPr userDrawn="1"/>
          </p:nvSpPr>
          <p:spPr bwMode="auto">
            <a:xfrm>
              <a:off x="1316640" y="542964"/>
              <a:ext cx="1044786" cy="548152"/>
            </a:xfrm>
            <a:custGeom>
              <a:avLst/>
              <a:gdLst>
                <a:gd name="T0" fmla="*/ 885 w 1014"/>
                <a:gd name="T1" fmla="*/ 0 h 532"/>
                <a:gd name="T2" fmla="*/ 941 w 1014"/>
                <a:gd name="T3" fmla="*/ 0 h 532"/>
                <a:gd name="T4" fmla="*/ 1002 w 1014"/>
                <a:gd name="T5" fmla="*/ 9 h 532"/>
                <a:gd name="T6" fmla="*/ 1014 w 1014"/>
                <a:gd name="T7" fmla="*/ 10 h 532"/>
                <a:gd name="T8" fmla="*/ 1012 w 1014"/>
                <a:gd name="T9" fmla="*/ 16 h 532"/>
                <a:gd name="T10" fmla="*/ 1011 w 1014"/>
                <a:gd name="T11" fmla="*/ 21 h 532"/>
                <a:gd name="T12" fmla="*/ 1009 w 1014"/>
                <a:gd name="T13" fmla="*/ 24 h 532"/>
                <a:gd name="T14" fmla="*/ 1007 w 1014"/>
                <a:gd name="T15" fmla="*/ 28 h 532"/>
                <a:gd name="T16" fmla="*/ 1005 w 1014"/>
                <a:gd name="T17" fmla="*/ 33 h 532"/>
                <a:gd name="T18" fmla="*/ 970 w 1014"/>
                <a:gd name="T19" fmla="*/ 121 h 532"/>
                <a:gd name="T20" fmla="*/ 930 w 1014"/>
                <a:gd name="T21" fmla="*/ 210 h 532"/>
                <a:gd name="T22" fmla="*/ 904 w 1014"/>
                <a:gd name="T23" fmla="*/ 262 h 532"/>
                <a:gd name="T24" fmla="*/ 874 w 1014"/>
                <a:gd name="T25" fmla="*/ 313 h 532"/>
                <a:gd name="T26" fmla="*/ 843 w 1014"/>
                <a:gd name="T27" fmla="*/ 362 h 532"/>
                <a:gd name="T28" fmla="*/ 806 w 1014"/>
                <a:gd name="T29" fmla="*/ 408 h 532"/>
                <a:gd name="T30" fmla="*/ 764 w 1014"/>
                <a:gd name="T31" fmla="*/ 448 h 532"/>
                <a:gd name="T32" fmla="*/ 726 w 1014"/>
                <a:gd name="T33" fmla="*/ 478 h 532"/>
                <a:gd name="T34" fmla="*/ 682 w 1014"/>
                <a:gd name="T35" fmla="*/ 502 h 532"/>
                <a:gd name="T36" fmla="*/ 633 w 1014"/>
                <a:gd name="T37" fmla="*/ 521 h 532"/>
                <a:gd name="T38" fmla="*/ 580 w 1014"/>
                <a:gd name="T39" fmla="*/ 530 h 532"/>
                <a:gd name="T40" fmla="*/ 561 w 1014"/>
                <a:gd name="T41" fmla="*/ 532 h 532"/>
                <a:gd name="T42" fmla="*/ 512 w 1014"/>
                <a:gd name="T43" fmla="*/ 527 h 532"/>
                <a:gd name="T44" fmla="*/ 467 w 1014"/>
                <a:gd name="T45" fmla="*/ 513 h 532"/>
                <a:gd name="T46" fmla="*/ 425 w 1014"/>
                <a:gd name="T47" fmla="*/ 492 h 532"/>
                <a:gd name="T48" fmla="*/ 381 w 1014"/>
                <a:gd name="T49" fmla="*/ 467 h 532"/>
                <a:gd name="T50" fmla="*/ 327 w 1014"/>
                <a:gd name="T51" fmla="*/ 427 h 532"/>
                <a:gd name="T52" fmla="*/ 273 w 1014"/>
                <a:gd name="T53" fmla="*/ 380 h 532"/>
                <a:gd name="T54" fmla="*/ 219 w 1014"/>
                <a:gd name="T55" fmla="*/ 329 h 532"/>
                <a:gd name="T56" fmla="*/ 145 w 1014"/>
                <a:gd name="T57" fmla="*/ 252 h 532"/>
                <a:gd name="T58" fmla="*/ 73 w 1014"/>
                <a:gd name="T59" fmla="*/ 170 h 532"/>
                <a:gd name="T60" fmla="*/ 3 w 1014"/>
                <a:gd name="T61" fmla="*/ 86 h 532"/>
                <a:gd name="T62" fmla="*/ 2 w 1014"/>
                <a:gd name="T63" fmla="*/ 84 h 532"/>
                <a:gd name="T64" fmla="*/ 2 w 1014"/>
                <a:gd name="T65" fmla="*/ 82 h 532"/>
                <a:gd name="T66" fmla="*/ 0 w 1014"/>
                <a:gd name="T67" fmla="*/ 82 h 532"/>
                <a:gd name="T68" fmla="*/ 0 w 1014"/>
                <a:gd name="T69" fmla="*/ 80 h 532"/>
                <a:gd name="T70" fmla="*/ 28 w 1014"/>
                <a:gd name="T71" fmla="*/ 63 h 532"/>
                <a:gd name="T72" fmla="*/ 59 w 1014"/>
                <a:gd name="T73" fmla="*/ 47 h 532"/>
                <a:gd name="T74" fmla="*/ 94 w 1014"/>
                <a:gd name="T75" fmla="*/ 33 h 532"/>
                <a:gd name="T76" fmla="*/ 126 w 1014"/>
                <a:gd name="T77" fmla="*/ 23 h 532"/>
                <a:gd name="T78" fmla="*/ 170 w 1014"/>
                <a:gd name="T79" fmla="*/ 75 h 532"/>
                <a:gd name="T80" fmla="*/ 212 w 1014"/>
                <a:gd name="T81" fmla="*/ 124 h 532"/>
                <a:gd name="T82" fmla="*/ 253 w 1014"/>
                <a:gd name="T83" fmla="*/ 171 h 532"/>
                <a:gd name="T84" fmla="*/ 295 w 1014"/>
                <a:gd name="T85" fmla="*/ 217 h 532"/>
                <a:gd name="T86" fmla="*/ 337 w 1014"/>
                <a:gd name="T87" fmla="*/ 259 h 532"/>
                <a:gd name="T88" fmla="*/ 378 w 1014"/>
                <a:gd name="T89" fmla="*/ 296 h 532"/>
                <a:gd name="T90" fmla="*/ 418 w 1014"/>
                <a:gd name="T91" fmla="*/ 327 h 532"/>
                <a:gd name="T92" fmla="*/ 455 w 1014"/>
                <a:gd name="T93" fmla="*/ 352 h 532"/>
                <a:gd name="T94" fmla="*/ 493 w 1014"/>
                <a:gd name="T95" fmla="*/ 369 h 532"/>
                <a:gd name="T96" fmla="*/ 528 w 1014"/>
                <a:gd name="T97" fmla="*/ 378 h 532"/>
                <a:gd name="T98" fmla="*/ 561 w 1014"/>
                <a:gd name="T99" fmla="*/ 378 h 532"/>
                <a:gd name="T100" fmla="*/ 594 w 1014"/>
                <a:gd name="T101" fmla="*/ 367 h 532"/>
                <a:gd name="T102" fmla="*/ 628 w 1014"/>
                <a:gd name="T103" fmla="*/ 348 h 532"/>
                <a:gd name="T104" fmla="*/ 657 w 1014"/>
                <a:gd name="T105" fmla="*/ 322 h 532"/>
                <a:gd name="T106" fmla="*/ 687 w 1014"/>
                <a:gd name="T107" fmla="*/ 290 h 532"/>
                <a:gd name="T108" fmla="*/ 713 w 1014"/>
                <a:gd name="T109" fmla="*/ 254 h 532"/>
                <a:gd name="T110" fmla="*/ 738 w 1014"/>
                <a:gd name="T111" fmla="*/ 213 h 532"/>
                <a:gd name="T112" fmla="*/ 761 w 1014"/>
                <a:gd name="T113" fmla="*/ 173 h 532"/>
                <a:gd name="T114" fmla="*/ 780 w 1014"/>
                <a:gd name="T115" fmla="*/ 133 h 532"/>
                <a:gd name="T116" fmla="*/ 797 w 1014"/>
                <a:gd name="T117" fmla="*/ 94 h 532"/>
                <a:gd name="T118" fmla="*/ 811 w 1014"/>
                <a:gd name="T119" fmla="*/ 59 h 532"/>
                <a:gd name="T120" fmla="*/ 823 w 1014"/>
                <a:gd name="T121" fmla="*/ 30 h 532"/>
                <a:gd name="T122" fmla="*/ 832 w 1014"/>
                <a:gd name="T123" fmla="*/ 7 h 532"/>
                <a:gd name="T124" fmla="*/ 885 w 1014"/>
                <a:gd name="T125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14" h="532">
                  <a:moveTo>
                    <a:pt x="885" y="0"/>
                  </a:moveTo>
                  <a:lnTo>
                    <a:pt x="941" y="0"/>
                  </a:lnTo>
                  <a:lnTo>
                    <a:pt x="1002" y="9"/>
                  </a:lnTo>
                  <a:lnTo>
                    <a:pt x="1014" y="10"/>
                  </a:lnTo>
                  <a:lnTo>
                    <a:pt x="1012" y="16"/>
                  </a:lnTo>
                  <a:lnTo>
                    <a:pt x="1011" y="21"/>
                  </a:lnTo>
                  <a:lnTo>
                    <a:pt x="1009" y="24"/>
                  </a:lnTo>
                  <a:lnTo>
                    <a:pt x="1007" y="28"/>
                  </a:lnTo>
                  <a:lnTo>
                    <a:pt x="1005" y="33"/>
                  </a:lnTo>
                  <a:lnTo>
                    <a:pt x="970" y="121"/>
                  </a:lnTo>
                  <a:lnTo>
                    <a:pt x="930" y="210"/>
                  </a:lnTo>
                  <a:lnTo>
                    <a:pt x="904" y="262"/>
                  </a:lnTo>
                  <a:lnTo>
                    <a:pt x="874" y="313"/>
                  </a:lnTo>
                  <a:lnTo>
                    <a:pt x="843" y="362"/>
                  </a:lnTo>
                  <a:lnTo>
                    <a:pt x="806" y="408"/>
                  </a:lnTo>
                  <a:lnTo>
                    <a:pt x="764" y="448"/>
                  </a:lnTo>
                  <a:lnTo>
                    <a:pt x="726" y="478"/>
                  </a:lnTo>
                  <a:lnTo>
                    <a:pt x="682" y="502"/>
                  </a:lnTo>
                  <a:lnTo>
                    <a:pt x="633" y="521"/>
                  </a:lnTo>
                  <a:lnTo>
                    <a:pt x="580" y="530"/>
                  </a:lnTo>
                  <a:lnTo>
                    <a:pt x="561" y="532"/>
                  </a:lnTo>
                  <a:lnTo>
                    <a:pt x="512" y="527"/>
                  </a:lnTo>
                  <a:lnTo>
                    <a:pt x="467" y="513"/>
                  </a:lnTo>
                  <a:lnTo>
                    <a:pt x="425" y="492"/>
                  </a:lnTo>
                  <a:lnTo>
                    <a:pt x="381" y="467"/>
                  </a:lnTo>
                  <a:lnTo>
                    <a:pt x="327" y="427"/>
                  </a:lnTo>
                  <a:lnTo>
                    <a:pt x="273" y="380"/>
                  </a:lnTo>
                  <a:lnTo>
                    <a:pt x="219" y="329"/>
                  </a:lnTo>
                  <a:lnTo>
                    <a:pt x="145" y="252"/>
                  </a:lnTo>
                  <a:lnTo>
                    <a:pt x="73" y="170"/>
                  </a:lnTo>
                  <a:lnTo>
                    <a:pt x="3" y="86"/>
                  </a:lnTo>
                  <a:lnTo>
                    <a:pt x="2" y="84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28" y="63"/>
                  </a:lnTo>
                  <a:lnTo>
                    <a:pt x="59" y="47"/>
                  </a:lnTo>
                  <a:lnTo>
                    <a:pt x="94" y="33"/>
                  </a:lnTo>
                  <a:lnTo>
                    <a:pt x="126" y="23"/>
                  </a:lnTo>
                  <a:lnTo>
                    <a:pt x="170" y="75"/>
                  </a:lnTo>
                  <a:lnTo>
                    <a:pt x="212" y="124"/>
                  </a:lnTo>
                  <a:lnTo>
                    <a:pt x="253" y="171"/>
                  </a:lnTo>
                  <a:lnTo>
                    <a:pt x="295" y="217"/>
                  </a:lnTo>
                  <a:lnTo>
                    <a:pt x="337" y="259"/>
                  </a:lnTo>
                  <a:lnTo>
                    <a:pt x="378" y="296"/>
                  </a:lnTo>
                  <a:lnTo>
                    <a:pt x="418" y="327"/>
                  </a:lnTo>
                  <a:lnTo>
                    <a:pt x="455" y="352"/>
                  </a:lnTo>
                  <a:lnTo>
                    <a:pt x="493" y="369"/>
                  </a:lnTo>
                  <a:lnTo>
                    <a:pt x="528" y="378"/>
                  </a:lnTo>
                  <a:lnTo>
                    <a:pt x="561" y="378"/>
                  </a:lnTo>
                  <a:lnTo>
                    <a:pt x="594" y="367"/>
                  </a:lnTo>
                  <a:lnTo>
                    <a:pt x="628" y="348"/>
                  </a:lnTo>
                  <a:lnTo>
                    <a:pt x="657" y="322"/>
                  </a:lnTo>
                  <a:lnTo>
                    <a:pt x="687" y="290"/>
                  </a:lnTo>
                  <a:lnTo>
                    <a:pt x="713" y="254"/>
                  </a:lnTo>
                  <a:lnTo>
                    <a:pt x="738" y="213"/>
                  </a:lnTo>
                  <a:lnTo>
                    <a:pt x="761" y="173"/>
                  </a:lnTo>
                  <a:lnTo>
                    <a:pt x="780" y="133"/>
                  </a:lnTo>
                  <a:lnTo>
                    <a:pt x="797" y="94"/>
                  </a:lnTo>
                  <a:lnTo>
                    <a:pt x="811" y="59"/>
                  </a:lnTo>
                  <a:lnTo>
                    <a:pt x="823" y="30"/>
                  </a:lnTo>
                  <a:lnTo>
                    <a:pt x="832" y="7"/>
                  </a:lnTo>
                  <a:lnTo>
                    <a:pt x="885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6" name="Groep 85"/>
          <p:cNvGrpSpPr/>
          <p:nvPr userDrawn="1"/>
        </p:nvGrpSpPr>
        <p:grpSpPr>
          <a:xfrm>
            <a:off x="1327526" y="662789"/>
            <a:ext cx="884050" cy="1037058"/>
            <a:chOff x="950862" y="649091"/>
            <a:chExt cx="803682" cy="942780"/>
          </a:xfrm>
        </p:grpSpPr>
        <p:sp>
          <p:nvSpPr>
            <p:cNvPr id="58" name="Freeform 35"/>
            <p:cNvSpPr>
              <a:spLocks/>
            </p:cNvSpPr>
            <p:nvPr userDrawn="1"/>
          </p:nvSpPr>
          <p:spPr bwMode="auto">
            <a:xfrm>
              <a:off x="953953" y="651152"/>
              <a:ext cx="800591" cy="940719"/>
            </a:xfrm>
            <a:custGeom>
              <a:avLst/>
              <a:gdLst>
                <a:gd name="T0" fmla="*/ 320 w 777"/>
                <a:gd name="T1" fmla="*/ 0 h 913"/>
                <a:gd name="T2" fmla="*/ 320 w 777"/>
                <a:gd name="T3" fmla="*/ 0 h 913"/>
                <a:gd name="T4" fmla="*/ 373 w 777"/>
                <a:gd name="T5" fmla="*/ 58 h 913"/>
                <a:gd name="T6" fmla="*/ 481 w 777"/>
                <a:gd name="T7" fmla="*/ 182 h 913"/>
                <a:gd name="T8" fmla="*/ 584 w 777"/>
                <a:gd name="T9" fmla="*/ 311 h 913"/>
                <a:gd name="T10" fmla="*/ 632 w 777"/>
                <a:gd name="T11" fmla="*/ 373 h 913"/>
                <a:gd name="T12" fmla="*/ 675 w 777"/>
                <a:gd name="T13" fmla="*/ 436 h 913"/>
                <a:gd name="T14" fmla="*/ 705 w 777"/>
                <a:gd name="T15" fmla="*/ 483 h 913"/>
                <a:gd name="T16" fmla="*/ 733 w 777"/>
                <a:gd name="T17" fmla="*/ 530 h 913"/>
                <a:gd name="T18" fmla="*/ 758 w 777"/>
                <a:gd name="T19" fmla="*/ 579 h 913"/>
                <a:gd name="T20" fmla="*/ 768 w 777"/>
                <a:gd name="T21" fmla="*/ 609 h 913"/>
                <a:gd name="T22" fmla="*/ 775 w 777"/>
                <a:gd name="T23" fmla="*/ 640 h 913"/>
                <a:gd name="T24" fmla="*/ 777 w 777"/>
                <a:gd name="T25" fmla="*/ 674 h 913"/>
                <a:gd name="T26" fmla="*/ 768 w 777"/>
                <a:gd name="T27" fmla="*/ 707 h 913"/>
                <a:gd name="T28" fmla="*/ 751 w 777"/>
                <a:gd name="T29" fmla="*/ 735 h 913"/>
                <a:gd name="T30" fmla="*/ 726 w 777"/>
                <a:gd name="T31" fmla="*/ 759 h 913"/>
                <a:gd name="T32" fmla="*/ 695 w 777"/>
                <a:gd name="T33" fmla="*/ 782 h 913"/>
                <a:gd name="T34" fmla="*/ 660 w 777"/>
                <a:gd name="T35" fmla="*/ 800 h 913"/>
                <a:gd name="T36" fmla="*/ 621 w 777"/>
                <a:gd name="T37" fmla="*/ 812 h 913"/>
                <a:gd name="T38" fmla="*/ 583 w 777"/>
                <a:gd name="T39" fmla="*/ 822 h 913"/>
                <a:gd name="T40" fmla="*/ 544 w 777"/>
                <a:gd name="T41" fmla="*/ 833 h 913"/>
                <a:gd name="T42" fmla="*/ 432 w 777"/>
                <a:gd name="T43" fmla="*/ 856 h 913"/>
                <a:gd name="T44" fmla="*/ 319 w 777"/>
                <a:gd name="T45" fmla="*/ 873 h 913"/>
                <a:gd name="T46" fmla="*/ 160 w 777"/>
                <a:gd name="T47" fmla="*/ 894 h 913"/>
                <a:gd name="T48" fmla="*/ 0 w 777"/>
                <a:gd name="T49" fmla="*/ 913 h 913"/>
                <a:gd name="T50" fmla="*/ 69 w 777"/>
                <a:gd name="T51" fmla="*/ 903 h 913"/>
                <a:gd name="T52" fmla="*/ 137 w 777"/>
                <a:gd name="T53" fmla="*/ 892 h 913"/>
                <a:gd name="T54" fmla="*/ 203 w 777"/>
                <a:gd name="T55" fmla="*/ 880 h 913"/>
                <a:gd name="T56" fmla="*/ 270 w 777"/>
                <a:gd name="T57" fmla="*/ 868 h 913"/>
                <a:gd name="T58" fmla="*/ 333 w 777"/>
                <a:gd name="T59" fmla="*/ 854 h 913"/>
                <a:gd name="T60" fmla="*/ 394 w 777"/>
                <a:gd name="T61" fmla="*/ 836 h 913"/>
                <a:gd name="T62" fmla="*/ 450 w 777"/>
                <a:gd name="T63" fmla="*/ 817 h 913"/>
                <a:gd name="T64" fmla="*/ 501 w 777"/>
                <a:gd name="T65" fmla="*/ 794 h 913"/>
                <a:gd name="T66" fmla="*/ 548 w 777"/>
                <a:gd name="T67" fmla="*/ 768 h 913"/>
                <a:gd name="T68" fmla="*/ 586 w 777"/>
                <a:gd name="T69" fmla="*/ 738 h 913"/>
                <a:gd name="T70" fmla="*/ 614 w 777"/>
                <a:gd name="T71" fmla="*/ 709 h 913"/>
                <a:gd name="T72" fmla="*/ 633 w 777"/>
                <a:gd name="T73" fmla="*/ 677 h 913"/>
                <a:gd name="T74" fmla="*/ 646 w 777"/>
                <a:gd name="T75" fmla="*/ 646 h 913"/>
                <a:gd name="T76" fmla="*/ 653 w 777"/>
                <a:gd name="T77" fmla="*/ 612 h 913"/>
                <a:gd name="T78" fmla="*/ 654 w 777"/>
                <a:gd name="T79" fmla="*/ 579 h 913"/>
                <a:gd name="T80" fmla="*/ 651 w 777"/>
                <a:gd name="T81" fmla="*/ 546 h 913"/>
                <a:gd name="T82" fmla="*/ 646 w 777"/>
                <a:gd name="T83" fmla="*/ 516 h 913"/>
                <a:gd name="T84" fmla="*/ 637 w 777"/>
                <a:gd name="T85" fmla="*/ 486 h 913"/>
                <a:gd name="T86" fmla="*/ 628 w 777"/>
                <a:gd name="T87" fmla="*/ 462 h 913"/>
                <a:gd name="T88" fmla="*/ 619 w 777"/>
                <a:gd name="T89" fmla="*/ 439 h 913"/>
                <a:gd name="T90" fmla="*/ 612 w 777"/>
                <a:gd name="T91" fmla="*/ 422 h 913"/>
                <a:gd name="T92" fmla="*/ 571 w 777"/>
                <a:gd name="T93" fmla="*/ 341 h 913"/>
                <a:gd name="T94" fmla="*/ 529 w 777"/>
                <a:gd name="T95" fmla="*/ 268 h 913"/>
                <a:gd name="T96" fmla="*/ 483 w 777"/>
                <a:gd name="T97" fmla="*/ 201 h 913"/>
                <a:gd name="T98" fmla="*/ 438 w 777"/>
                <a:gd name="T99" fmla="*/ 140 h 913"/>
                <a:gd name="T100" fmla="*/ 396 w 777"/>
                <a:gd name="T101" fmla="*/ 86 h 913"/>
                <a:gd name="T102" fmla="*/ 355 w 777"/>
                <a:gd name="T103" fmla="*/ 38 h 913"/>
                <a:gd name="T104" fmla="*/ 320 w 777"/>
                <a:gd name="T105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7" h="913">
                  <a:moveTo>
                    <a:pt x="320" y="0"/>
                  </a:moveTo>
                  <a:lnTo>
                    <a:pt x="320" y="0"/>
                  </a:lnTo>
                  <a:lnTo>
                    <a:pt x="373" y="58"/>
                  </a:lnTo>
                  <a:lnTo>
                    <a:pt x="481" y="182"/>
                  </a:lnTo>
                  <a:lnTo>
                    <a:pt x="584" y="311"/>
                  </a:lnTo>
                  <a:lnTo>
                    <a:pt x="632" y="373"/>
                  </a:lnTo>
                  <a:lnTo>
                    <a:pt x="675" y="436"/>
                  </a:lnTo>
                  <a:lnTo>
                    <a:pt x="705" y="483"/>
                  </a:lnTo>
                  <a:lnTo>
                    <a:pt x="733" y="530"/>
                  </a:lnTo>
                  <a:lnTo>
                    <a:pt x="758" y="579"/>
                  </a:lnTo>
                  <a:lnTo>
                    <a:pt x="768" y="609"/>
                  </a:lnTo>
                  <a:lnTo>
                    <a:pt x="775" y="640"/>
                  </a:lnTo>
                  <a:lnTo>
                    <a:pt x="777" y="674"/>
                  </a:lnTo>
                  <a:lnTo>
                    <a:pt x="768" y="707"/>
                  </a:lnTo>
                  <a:lnTo>
                    <a:pt x="751" y="735"/>
                  </a:lnTo>
                  <a:lnTo>
                    <a:pt x="726" y="759"/>
                  </a:lnTo>
                  <a:lnTo>
                    <a:pt x="695" y="782"/>
                  </a:lnTo>
                  <a:lnTo>
                    <a:pt x="660" y="800"/>
                  </a:lnTo>
                  <a:lnTo>
                    <a:pt x="621" y="812"/>
                  </a:lnTo>
                  <a:lnTo>
                    <a:pt x="583" y="822"/>
                  </a:lnTo>
                  <a:lnTo>
                    <a:pt x="544" y="833"/>
                  </a:lnTo>
                  <a:lnTo>
                    <a:pt x="432" y="856"/>
                  </a:lnTo>
                  <a:lnTo>
                    <a:pt x="319" y="873"/>
                  </a:lnTo>
                  <a:lnTo>
                    <a:pt x="160" y="894"/>
                  </a:lnTo>
                  <a:lnTo>
                    <a:pt x="0" y="913"/>
                  </a:lnTo>
                  <a:lnTo>
                    <a:pt x="69" y="903"/>
                  </a:lnTo>
                  <a:lnTo>
                    <a:pt x="137" y="892"/>
                  </a:lnTo>
                  <a:lnTo>
                    <a:pt x="203" y="880"/>
                  </a:lnTo>
                  <a:lnTo>
                    <a:pt x="270" y="868"/>
                  </a:lnTo>
                  <a:lnTo>
                    <a:pt x="333" y="854"/>
                  </a:lnTo>
                  <a:lnTo>
                    <a:pt x="394" y="836"/>
                  </a:lnTo>
                  <a:lnTo>
                    <a:pt x="450" y="817"/>
                  </a:lnTo>
                  <a:lnTo>
                    <a:pt x="501" y="794"/>
                  </a:lnTo>
                  <a:lnTo>
                    <a:pt x="548" y="768"/>
                  </a:lnTo>
                  <a:lnTo>
                    <a:pt x="586" y="738"/>
                  </a:lnTo>
                  <a:lnTo>
                    <a:pt x="614" y="709"/>
                  </a:lnTo>
                  <a:lnTo>
                    <a:pt x="633" y="677"/>
                  </a:lnTo>
                  <a:lnTo>
                    <a:pt x="646" y="646"/>
                  </a:lnTo>
                  <a:lnTo>
                    <a:pt x="653" y="612"/>
                  </a:lnTo>
                  <a:lnTo>
                    <a:pt x="654" y="579"/>
                  </a:lnTo>
                  <a:lnTo>
                    <a:pt x="651" y="546"/>
                  </a:lnTo>
                  <a:lnTo>
                    <a:pt x="646" y="516"/>
                  </a:lnTo>
                  <a:lnTo>
                    <a:pt x="637" y="486"/>
                  </a:lnTo>
                  <a:lnTo>
                    <a:pt x="628" y="462"/>
                  </a:lnTo>
                  <a:lnTo>
                    <a:pt x="619" y="439"/>
                  </a:lnTo>
                  <a:lnTo>
                    <a:pt x="612" y="422"/>
                  </a:lnTo>
                  <a:lnTo>
                    <a:pt x="571" y="341"/>
                  </a:lnTo>
                  <a:lnTo>
                    <a:pt x="529" y="268"/>
                  </a:lnTo>
                  <a:lnTo>
                    <a:pt x="483" y="201"/>
                  </a:lnTo>
                  <a:lnTo>
                    <a:pt x="438" y="140"/>
                  </a:lnTo>
                  <a:lnTo>
                    <a:pt x="396" y="86"/>
                  </a:lnTo>
                  <a:lnTo>
                    <a:pt x="355" y="38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CCC8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6"/>
            <p:cNvSpPr>
              <a:spLocks/>
            </p:cNvSpPr>
            <p:nvPr userDrawn="1"/>
          </p:nvSpPr>
          <p:spPr bwMode="auto">
            <a:xfrm>
              <a:off x="950862" y="649091"/>
              <a:ext cx="676947" cy="942780"/>
            </a:xfrm>
            <a:custGeom>
              <a:avLst/>
              <a:gdLst>
                <a:gd name="T0" fmla="*/ 322 w 657"/>
                <a:gd name="T1" fmla="*/ 0 h 915"/>
                <a:gd name="T2" fmla="*/ 358 w 657"/>
                <a:gd name="T3" fmla="*/ 40 h 915"/>
                <a:gd name="T4" fmla="*/ 441 w 657"/>
                <a:gd name="T5" fmla="*/ 142 h 915"/>
                <a:gd name="T6" fmla="*/ 532 w 657"/>
                <a:gd name="T7" fmla="*/ 270 h 915"/>
                <a:gd name="T8" fmla="*/ 615 w 657"/>
                <a:gd name="T9" fmla="*/ 424 h 915"/>
                <a:gd name="T10" fmla="*/ 631 w 657"/>
                <a:gd name="T11" fmla="*/ 464 h 915"/>
                <a:gd name="T12" fmla="*/ 649 w 657"/>
                <a:gd name="T13" fmla="*/ 518 h 915"/>
                <a:gd name="T14" fmla="*/ 657 w 657"/>
                <a:gd name="T15" fmla="*/ 581 h 915"/>
                <a:gd name="T16" fmla="*/ 649 w 657"/>
                <a:gd name="T17" fmla="*/ 648 h 915"/>
                <a:gd name="T18" fmla="*/ 617 w 657"/>
                <a:gd name="T19" fmla="*/ 711 h 915"/>
                <a:gd name="T20" fmla="*/ 551 w 657"/>
                <a:gd name="T21" fmla="*/ 770 h 915"/>
                <a:gd name="T22" fmla="*/ 453 w 657"/>
                <a:gd name="T23" fmla="*/ 819 h 915"/>
                <a:gd name="T24" fmla="*/ 336 w 657"/>
                <a:gd name="T25" fmla="*/ 856 h 915"/>
                <a:gd name="T26" fmla="*/ 206 w 657"/>
                <a:gd name="T27" fmla="*/ 882 h 915"/>
                <a:gd name="T28" fmla="*/ 72 w 657"/>
                <a:gd name="T29" fmla="*/ 905 h 915"/>
                <a:gd name="T30" fmla="*/ 3 w 657"/>
                <a:gd name="T31" fmla="*/ 915 h 915"/>
                <a:gd name="T32" fmla="*/ 3 w 657"/>
                <a:gd name="T33" fmla="*/ 816 h 915"/>
                <a:gd name="T34" fmla="*/ 16 w 657"/>
                <a:gd name="T35" fmla="*/ 774 h 915"/>
                <a:gd name="T36" fmla="*/ 37 w 657"/>
                <a:gd name="T37" fmla="*/ 770 h 915"/>
                <a:gd name="T38" fmla="*/ 89 w 657"/>
                <a:gd name="T39" fmla="*/ 760 h 915"/>
                <a:gd name="T40" fmla="*/ 164 w 657"/>
                <a:gd name="T41" fmla="*/ 746 h 915"/>
                <a:gd name="T42" fmla="*/ 243 w 657"/>
                <a:gd name="T43" fmla="*/ 730 h 915"/>
                <a:gd name="T44" fmla="*/ 316 w 657"/>
                <a:gd name="T45" fmla="*/ 712 h 915"/>
                <a:gd name="T46" fmla="*/ 371 w 657"/>
                <a:gd name="T47" fmla="*/ 697 h 915"/>
                <a:gd name="T48" fmla="*/ 418 w 657"/>
                <a:gd name="T49" fmla="*/ 676 h 915"/>
                <a:gd name="T50" fmla="*/ 456 w 657"/>
                <a:gd name="T51" fmla="*/ 651 h 915"/>
                <a:gd name="T52" fmla="*/ 483 w 657"/>
                <a:gd name="T53" fmla="*/ 620 h 915"/>
                <a:gd name="T54" fmla="*/ 493 w 657"/>
                <a:gd name="T55" fmla="*/ 578 h 915"/>
                <a:gd name="T56" fmla="*/ 483 w 657"/>
                <a:gd name="T57" fmla="*/ 522 h 915"/>
                <a:gd name="T58" fmla="*/ 441 w 657"/>
                <a:gd name="T59" fmla="*/ 434 h 915"/>
                <a:gd name="T60" fmla="*/ 390 w 657"/>
                <a:gd name="T61" fmla="*/ 350 h 915"/>
                <a:gd name="T62" fmla="*/ 341 w 657"/>
                <a:gd name="T63" fmla="*/ 282 h 915"/>
                <a:gd name="T64" fmla="*/ 285 w 657"/>
                <a:gd name="T65" fmla="*/ 215 h 915"/>
                <a:gd name="T66" fmla="*/ 217 w 657"/>
                <a:gd name="T67" fmla="*/ 137 h 915"/>
                <a:gd name="T68" fmla="*/ 220 w 657"/>
                <a:gd name="T69" fmla="*/ 126 h 915"/>
                <a:gd name="T70" fmla="*/ 241 w 657"/>
                <a:gd name="T71" fmla="*/ 91 h 915"/>
                <a:gd name="T72" fmla="*/ 282 w 657"/>
                <a:gd name="T73" fmla="*/ 40 h 915"/>
                <a:gd name="T74" fmla="*/ 322 w 657"/>
                <a:gd name="T75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7" h="915">
                  <a:moveTo>
                    <a:pt x="322" y="0"/>
                  </a:moveTo>
                  <a:lnTo>
                    <a:pt x="322" y="0"/>
                  </a:lnTo>
                  <a:lnTo>
                    <a:pt x="323" y="2"/>
                  </a:lnTo>
                  <a:lnTo>
                    <a:pt x="358" y="40"/>
                  </a:lnTo>
                  <a:lnTo>
                    <a:pt x="399" y="88"/>
                  </a:lnTo>
                  <a:lnTo>
                    <a:pt x="441" y="142"/>
                  </a:lnTo>
                  <a:lnTo>
                    <a:pt x="486" y="203"/>
                  </a:lnTo>
                  <a:lnTo>
                    <a:pt x="532" y="270"/>
                  </a:lnTo>
                  <a:lnTo>
                    <a:pt x="574" y="343"/>
                  </a:lnTo>
                  <a:lnTo>
                    <a:pt x="615" y="424"/>
                  </a:lnTo>
                  <a:lnTo>
                    <a:pt x="622" y="441"/>
                  </a:lnTo>
                  <a:lnTo>
                    <a:pt x="631" y="464"/>
                  </a:lnTo>
                  <a:lnTo>
                    <a:pt x="640" y="488"/>
                  </a:lnTo>
                  <a:lnTo>
                    <a:pt x="649" y="518"/>
                  </a:lnTo>
                  <a:lnTo>
                    <a:pt x="654" y="548"/>
                  </a:lnTo>
                  <a:lnTo>
                    <a:pt x="657" y="581"/>
                  </a:lnTo>
                  <a:lnTo>
                    <a:pt x="656" y="614"/>
                  </a:lnTo>
                  <a:lnTo>
                    <a:pt x="649" y="648"/>
                  </a:lnTo>
                  <a:lnTo>
                    <a:pt x="636" y="679"/>
                  </a:lnTo>
                  <a:lnTo>
                    <a:pt x="617" y="711"/>
                  </a:lnTo>
                  <a:lnTo>
                    <a:pt x="589" y="740"/>
                  </a:lnTo>
                  <a:lnTo>
                    <a:pt x="551" y="770"/>
                  </a:lnTo>
                  <a:lnTo>
                    <a:pt x="504" y="796"/>
                  </a:lnTo>
                  <a:lnTo>
                    <a:pt x="453" y="819"/>
                  </a:lnTo>
                  <a:lnTo>
                    <a:pt x="397" y="838"/>
                  </a:lnTo>
                  <a:lnTo>
                    <a:pt x="336" y="856"/>
                  </a:lnTo>
                  <a:lnTo>
                    <a:pt x="273" y="870"/>
                  </a:lnTo>
                  <a:lnTo>
                    <a:pt x="206" y="882"/>
                  </a:lnTo>
                  <a:lnTo>
                    <a:pt x="140" y="894"/>
                  </a:lnTo>
                  <a:lnTo>
                    <a:pt x="72" y="905"/>
                  </a:lnTo>
                  <a:lnTo>
                    <a:pt x="3" y="915"/>
                  </a:lnTo>
                  <a:lnTo>
                    <a:pt x="3" y="915"/>
                  </a:lnTo>
                  <a:lnTo>
                    <a:pt x="0" y="863"/>
                  </a:lnTo>
                  <a:lnTo>
                    <a:pt x="3" y="816"/>
                  </a:lnTo>
                  <a:lnTo>
                    <a:pt x="14" y="774"/>
                  </a:lnTo>
                  <a:lnTo>
                    <a:pt x="16" y="774"/>
                  </a:lnTo>
                  <a:lnTo>
                    <a:pt x="21" y="772"/>
                  </a:lnTo>
                  <a:lnTo>
                    <a:pt x="37" y="770"/>
                  </a:lnTo>
                  <a:lnTo>
                    <a:pt x="59" y="765"/>
                  </a:lnTo>
                  <a:lnTo>
                    <a:pt x="89" y="760"/>
                  </a:lnTo>
                  <a:lnTo>
                    <a:pt x="126" y="754"/>
                  </a:lnTo>
                  <a:lnTo>
                    <a:pt x="164" y="746"/>
                  </a:lnTo>
                  <a:lnTo>
                    <a:pt x="205" y="739"/>
                  </a:lnTo>
                  <a:lnTo>
                    <a:pt x="243" y="730"/>
                  </a:lnTo>
                  <a:lnTo>
                    <a:pt x="282" y="721"/>
                  </a:lnTo>
                  <a:lnTo>
                    <a:pt x="316" y="712"/>
                  </a:lnTo>
                  <a:lnTo>
                    <a:pt x="346" y="705"/>
                  </a:lnTo>
                  <a:lnTo>
                    <a:pt x="371" y="697"/>
                  </a:lnTo>
                  <a:lnTo>
                    <a:pt x="395" y="686"/>
                  </a:lnTo>
                  <a:lnTo>
                    <a:pt x="418" y="676"/>
                  </a:lnTo>
                  <a:lnTo>
                    <a:pt x="437" y="665"/>
                  </a:lnTo>
                  <a:lnTo>
                    <a:pt x="456" y="651"/>
                  </a:lnTo>
                  <a:lnTo>
                    <a:pt x="472" y="637"/>
                  </a:lnTo>
                  <a:lnTo>
                    <a:pt x="483" y="620"/>
                  </a:lnTo>
                  <a:lnTo>
                    <a:pt x="491" y="600"/>
                  </a:lnTo>
                  <a:lnTo>
                    <a:pt x="493" y="578"/>
                  </a:lnTo>
                  <a:lnTo>
                    <a:pt x="491" y="551"/>
                  </a:lnTo>
                  <a:lnTo>
                    <a:pt x="483" y="522"/>
                  </a:lnTo>
                  <a:lnTo>
                    <a:pt x="467" y="487"/>
                  </a:lnTo>
                  <a:lnTo>
                    <a:pt x="441" y="434"/>
                  </a:lnTo>
                  <a:lnTo>
                    <a:pt x="414" y="389"/>
                  </a:lnTo>
                  <a:lnTo>
                    <a:pt x="390" y="350"/>
                  </a:lnTo>
                  <a:lnTo>
                    <a:pt x="365" y="313"/>
                  </a:lnTo>
                  <a:lnTo>
                    <a:pt x="341" y="282"/>
                  </a:lnTo>
                  <a:lnTo>
                    <a:pt x="315" y="249"/>
                  </a:lnTo>
                  <a:lnTo>
                    <a:pt x="285" y="215"/>
                  </a:lnTo>
                  <a:lnTo>
                    <a:pt x="254" y="179"/>
                  </a:lnTo>
                  <a:lnTo>
                    <a:pt x="217" y="137"/>
                  </a:lnTo>
                  <a:lnTo>
                    <a:pt x="217" y="137"/>
                  </a:lnTo>
                  <a:lnTo>
                    <a:pt x="220" y="126"/>
                  </a:lnTo>
                  <a:lnTo>
                    <a:pt x="229" y="110"/>
                  </a:lnTo>
                  <a:lnTo>
                    <a:pt x="241" y="91"/>
                  </a:lnTo>
                  <a:lnTo>
                    <a:pt x="257" y="68"/>
                  </a:lnTo>
                  <a:lnTo>
                    <a:pt x="282" y="40"/>
                  </a:lnTo>
                  <a:lnTo>
                    <a:pt x="302" y="18"/>
                  </a:lnTo>
                  <a:lnTo>
                    <a:pt x="322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ep 84"/>
          <p:cNvGrpSpPr/>
          <p:nvPr userDrawn="1"/>
        </p:nvGrpSpPr>
        <p:grpSpPr>
          <a:xfrm>
            <a:off x="1337727" y="1686246"/>
            <a:ext cx="889717" cy="1136797"/>
            <a:chOff x="960136" y="1579507"/>
            <a:chExt cx="808834" cy="1033452"/>
          </a:xfrm>
        </p:grpSpPr>
        <p:sp>
          <p:nvSpPr>
            <p:cNvPr id="60" name="Freeform 37"/>
            <p:cNvSpPr>
              <a:spLocks/>
            </p:cNvSpPr>
            <p:nvPr userDrawn="1"/>
          </p:nvSpPr>
          <p:spPr bwMode="auto">
            <a:xfrm>
              <a:off x="960136" y="1579507"/>
              <a:ext cx="808834" cy="1033452"/>
            </a:xfrm>
            <a:custGeom>
              <a:avLst/>
              <a:gdLst>
                <a:gd name="T0" fmla="*/ 482 w 785"/>
                <a:gd name="T1" fmla="*/ 0 h 1003"/>
                <a:gd name="T2" fmla="*/ 551 w 785"/>
                <a:gd name="T3" fmla="*/ 2 h 1003"/>
                <a:gd name="T4" fmla="*/ 619 w 785"/>
                <a:gd name="T5" fmla="*/ 7 h 1003"/>
                <a:gd name="T6" fmla="*/ 654 w 785"/>
                <a:gd name="T7" fmla="*/ 16 h 1003"/>
                <a:gd name="T8" fmla="*/ 687 w 785"/>
                <a:gd name="T9" fmla="*/ 26 h 1003"/>
                <a:gd name="T10" fmla="*/ 718 w 785"/>
                <a:gd name="T11" fmla="*/ 42 h 1003"/>
                <a:gd name="T12" fmla="*/ 746 w 785"/>
                <a:gd name="T13" fmla="*/ 65 h 1003"/>
                <a:gd name="T14" fmla="*/ 766 w 785"/>
                <a:gd name="T15" fmla="*/ 91 h 1003"/>
                <a:gd name="T16" fmla="*/ 776 w 785"/>
                <a:gd name="T17" fmla="*/ 119 h 1003"/>
                <a:gd name="T18" fmla="*/ 783 w 785"/>
                <a:gd name="T19" fmla="*/ 151 h 1003"/>
                <a:gd name="T20" fmla="*/ 785 w 785"/>
                <a:gd name="T21" fmla="*/ 182 h 1003"/>
                <a:gd name="T22" fmla="*/ 780 w 785"/>
                <a:gd name="T23" fmla="*/ 235 h 1003"/>
                <a:gd name="T24" fmla="*/ 773 w 785"/>
                <a:gd name="T25" fmla="*/ 287 h 1003"/>
                <a:gd name="T26" fmla="*/ 760 w 785"/>
                <a:gd name="T27" fmla="*/ 338 h 1003"/>
                <a:gd name="T28" fmla="*/ 729 w 785"/>
                <a:gd name="T29" fmla="*/ 455 h 1003"/>
                <a:gd name="T30" fmla="*/ 692 w 785"/>
                <a:gd name="T31" fmla="*/ 571 h 1003"/>
                <a:gd name="T32" fmla="*/ 652 w 785"/>
                <a:gd name="T33" fmla="*/ 685 h 1003"/>
                <a:gd name="T34" fmla="*/ 592 w 785"/>
                <a:gd name="T35" fmla="*/ 844 h 1003"/>
                <a:gd name="T36" fmla="*/ 530 w 785"/>
                <a:gd name="T37" fmla="*/ 1003 h 1003"/>
                <a:gd name="T38" fmla="*/ 561 w 785"/>
                <a:gd name="T39" fmla="*/ 912 h 1003"/>
                <a:gd name="T40" fmla="*/ 592 w 785"/>
                <a:gd name="T41" fmla="*/ 812 h 1003"/>
                <a:gd name="T42" fmla="*/ 622 w 785"/>
                <a:gd name="T43" fmla="*/ 709 h 1003"/>
                <a:gd name="T44" fmla="*/ 643 w 785"/>
                <a:gd name="T45" fmla="*/ 623 h 1003"/>
                <a:gd name="T46" fmla="*/ 662 w 785"/>
                <a:gd name="T47" fmla="*/ 539 h 1003"/>
                <a:gd name="T48" fmla="*/ 676 w 785"/>
                <a:gd name="T49" fmla="*/ 459 h 1003"/>
                <a:gd name="T50" fmla="*/ 687 w 785"/>
                <a:gd name="T51" fmla="*/ 382 h 1003"/>
                <a:gd name="T52" fmla="*/ 690 w 785"/>
                <a:gd name="T53" fmla="*/ 312 h 1003"/>
                <a:gd name="T54" fmla="*/ 689 w 785"/>
                <a:gd name="T55" fmla="*/ 268 h 1003"/>
                <a:gd name="T56" fmla="*/ 682 w 785"/>
                <a:gd name="T57" fmla="*/ 228 h 1003"/>
                <a:gd name="T58" fmla="*/ 673 w 785"/>
                <a:gd name="T59" fmla="*/ 191 h 1003"/>
                <a:gd name="T60" fmla="*/ 657 w 785"/>
                <a:gd name="T61" fmla="*/ 156 h 1003"/>
                <a:gd name="T62" fmla="*/ 638 w 785"/>
                <a:gd name="T63" fmla="*/ 124 h 1003"/>
                <a:gd name="T64" fmla="*/ 612 w 785"/>
                <a:gd name="T65" fmla="*/ 96 h 1003"/>
                <a:gd name="T66" fmla="*/ 578 w 785"/>
                <a:gd name="T67" fmla="*/ 72 h 1003"/>
                <a:gd name="T68" fmla="*/ 538 w 785"/>
                <a:gd name="T69" fmla="*/ 53 h 1003"/>
                <a:gd name="T70" fmla="*/ 535 w 785"/>
                <a:gd name="T71" fmla="*/ 53 h 1003"/>
                <a:gd name="T72" fmla="*/ 530 w 785"/>
                <a:gd name="T73" fmla="*/ 49 h 1003"/>
                <a:gd name="T74" fmla="*/ 519 w 785"/>
                <a:gd name="T75" fmla="*/ 46 h 1003"/>
                <a:gd name="T76" fmla="*/ 481 w 785"/>
                <a:gd name="T77" fmla="*/ 35 h 1003"/>
                <a:gd name="T78" fmla="*/ 435 w 785"/>
                <a:gd name="T79" fmla="*/ 28 h 1003"/>
                <a:gd name="T80" fmla="*/ 383 w 785"/>
                <a:gd name="T81" fmla="*/ 23 h 1003"/>
                <a:gd name="T82" fmla="*/ 323 w 785"/>
                <a:gd name="T83" fmla="*/ 21 h 1003"/>
                <a:gd name="T84" fmla="*/ 271 w 785"/>
                <a:gd name="T85" fmla="*/ 23 h 1003"/>
                <a:gd name="T86" fmla="*/ 213 w 785"/>
                <a:gd name="T87" fmla="*/ 25 h 1003"/>
                <a:gd name="T88" fmla="*/ 150 w 785"/>
                <a:gd name="T89" fmla="*/ 30 h 1003"/>
                <a:gd name="T90" fmla="*/ 78 w 785"/>
                <a:gd name="T91" fmla="*/ 37 h 1003"/>
                <a:gd name="T92" fmla="*/ 0 w 785"/>
                <a:gd name="T93" fmla="*/ 46 h 1003"/>
                <a:gd name="T94" fmla="*/ 0 w 785"/>
                <a:gd name="T95" fmla="*/ 46 h 1003"/>
                <a:gd name="T96" fmla="*/ 161 w 785"/>
                <a:gd name="T97" fmla="*/ 25 h 1003"/>
                <a:gd name="T98" fmla="*/ 321 w 785"/>
                <a:gd name="T99" fmla="*/ 9 h 1003"/>
                <a:gd name="T100" fmla="*/ 482 w 785"/>
                <a:gd name="T101" fmla="*/ 0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5" h="1003">
                  <a:moveTo>
                    <a:pt x="482" y="0"/>
                  </a:moveTo>
                  <a:lnTo>
                    <a:pt x="551" y="2"/>
                  </a:lnTo>
                  <a:lnTo>
                    <a:pt x="619" y="7"/>
                  </a:lnTo>
                  <a:lnTo>
                    <a:pt x="654" y="16"/>
                  </a:lnTo>
                  <a:lnTo>
                    <a:pt x="687" y="26"/>
                  </a:lnTo>
                  <a:lnTo>
                    <a:pt x="718" y="42"/>
                  </a:lnTo>
                  <a:lnTo>
                    <a:pt x="746" y="65"/>
                  </a:lnTo>
                  <a:lnTo>
                    <a:pt x="766" y="91"/>
                  </a:lnTo>
                  <a:lnTo>
                    <a:pt x="776" y="119"/>
                  </a:lnTo>
                  <a:lnTo>
                    <a:pt x="783" y="151"/>
                  </a:lnTo>
                  <a:lnTo>
                    <a:pt x="785" y="182"/>
                  </a:lnTo>
                  <a:lnTo>
                    <a:pt x="780" y="235"/>
                  </a:lnTo>
                  <a:lnTo>
                    <a:pt x="773" y="287"/>
                  </a:lnTo>
                  <a:lnTo>
                    <a:pt x="760" y="338"/>
                  </a:lnTo>
                  <a:lnTo>
                    <a:pt x="729" y="455"/>
                  </a:lnTo>
                  <a:lnTo>
                    <a:pt x="692" y="571"/>
                  </a:lnTo>
                  <a:lnTo>
                    <a:pt x="652" y="685"/>
                  </a:lnTo>
                  <a:lnTo>
                    <a:pt x="592" y="844"/>
                  </a:lnTo>
                  <a:lnTo>
                    <a:pt x="530" y="1003"/>
                  </a:lnTo>
                  <a:lnTo>
                    <a:pt x="561" y="912"/>
                  </a:lnTo>
                  <a:lnTo>
                    <a:pt x="592" y="812"/>
                  </a:lnTo>
                  <a:lnTo>
                    <a:pt x="622" y="709"/>
                  </a:lnTo>
                  <a:lnTo>
                    <a:pt x="643" y="623"/>
                  </a:lnTo>
                  <a:lnTo>
                    <a:pt x="662" y="539"/>
                  </a:lnTo>
                  <a:lnTo>
                    <a:pt x="676" y="459"/>
                  </a:lnTo>
                  <a:lnTo>
                    <a:pt x="687" y="382"/>
                  </a:lnTo>
                  <a:lnTo>
                    <a:pt x="690" y="312"/>
                  </a:lnTo>
                  <a:lnTo>
                    <a:pt x="689" y="268"/>
                  </a:lnTo>
                  <a:lnTo>
                    <a:pt x="682" y="228"/>
                  </a:lnTo>
                  <a:lnTo>
                    <a:pt x="673" y="191"/>
                  </a:lnTo>
                  <a:lnTo>
                    <a:pt x="657" y="156"/>
                  </a:lnTo>
                  <a:lnTo>
                    <a:pt x="638" y="124"/>
                  </a:lnTo>
                  <a:lnTo>
                    <a:pt x="612" y="96"/>
                  </a:lnTo>
                  <a:lnTo>
                    <a:pt x="578" y="72"/>
                  </a:lnTo>
                  <a:lnTo>
                    <a:pt x="538" y="53"/>
                  </a:lnTo>
                  <a:lnTo>
                    <a:pt x="535" y="53"/>
                  </a:lnTo>
                  <a:lnTo>
                    <a:pt x="530" y="49"/>
                  </a:lnTo>
                  <a:lnTo>
                    <a:pt x="519" y="46"/>
                  </a:lnTo>
                  <a:lnTo>
                    <a:pt x="481" y="35"/>
                  </a:lnTo>
                  <a:lnTo>
                    <a:pt x="435" y="28"/>
                  </a:lnTo>
                  <a:lnTo>
                    <a:pt x="383" y="23"/>
                  </a:lnTo>
                  <a:lnTo>
                    <a:pt x="323" y="21"/>
                  </a:lnTo>
                  <a:lnTo>
                    <a:pt x="271" y="23"/>
                  </a:lnTo>
                  <a:lnTo>
                    <a:pt x="213" y="25"/>
                  </a:lnTo>
                  <a:lnTo>
                    <a:pt x="150" y="30"/>
                  </a:lnTo>
                  <a:lnTo>
                    <a:pt x="78" y="3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61" y="25"/>
                  </a:lnTo>
                  <a:lnTo>
                    <a:pt x="321" y="9"/>
                  </a:lnTo>
                  <a:lnTo>
                    <a:pt x="482" y="0"/>
                  </a:lnTo>
                  <a:close/>
                </a:path>
              </a:pathLst>
            </a:custGeom>
            <a:solidFill>
              <a:srgbClr val="F3997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8"/>
            <p:cNvSpPr>
              <a:spLocks/>
            </p:cNvSpPr>
            <p:nvPr userDrawn="1"/>
          </p:nvSpPr>
          <p:spPr bwMode="auto">
            <a:xfrm>
              <a:off x="960136" y="1601145"/>
              <a:ext cx="710949" cy="1011814"/>
            </a:xfrm>
            <a:custGeom>
              <a:avLst/>
              <a:gdLst>
                <a:gd name="T0" fmla="*/ 383 w 690"/>
                <a:gd name="T1" fmla="*/ 2 h 982"/>
                <a:gd name="T2" fmla="*/ 481 w 690"/>
                <a:gd name="T3" fmla="*/ 14 h 982"/>
                <a:gd name="T4" fmla="*/ 530 w 690"/>
                <a:gd name="T5" fmla="*/ 28 h 982"/>
                <a:gd name="T6" fmla="*/ 538 w 690"/>
                <a:gd name="T7" fmla="*/ 32 h 982"/>
                <a:gd name="T8" fmla="*/ 612 w 690"/>
                <a:gd name="T9" fmla="*/ 75 h 982"/>
                <a:gd name="T10" fmla="*/ 657 w 690"/>
                <a:gd name="T11" fmla="*/ 135 h 982"/>
                <a:gd name="T12" fmla="*/ 682 w 690"/>
                <a:gd name="T13" fmla="*/ 207 h 982"/>
                <a:gd name="T14" fmla="*/ 690 w 690"/>
                <a:gd name="T15" fmla="*/ 291 h 982"/>
                <a:gd name="T16" fmla="*/ 676 w 690"/>
                <a:gd name="T17" fmla="*/ 438 h 982"/>
                <a:gd name="T18" fmla="*/ 643 w 690"/>
                <a:gd name="T19" fmla="*/ 602 h 982"/>
                <a:gd name="T20" fmla="*/ 592 w 690"/>
                <a:gd name="T21" fmla="*/ 791 h 982"/>
                <a:gd name="T22" fmla="*/ 530 w 690"/>
                <a:gd name="T23" fmla="*/ 982 h 982"/>
                <a:gd name="T24" fmla="*/ 524 w 690"/>
                <a:gd name="T25" fmla="*/ 980 h 982"/>
                <a:gd name="T26" fmla="*/ 496 w 690"/>
                <a:gd name="T27" fmla="*/ 968 h 982"/>
                <a:gd name="T28" fmla="*/ 458 w 690"/>
                <a:gd name="T29" fmla="*/ 947 h 982"/>
                <a:gd name="T30" fmla="*/ 432 w 690"/>
                <a:gd name="T31" fmla="*/ 928 h 982"/>
                <a:gd name="T32" fmla="*/ 414 w 690"/>
                <a:gd name="T33" fmla="*/ 914 h 982"/>
                <a:gd name="T34" fmla="*/ 421 w 690"/>
                <a:gd name="T35" fmla="*/ 893 h 982"/>
                <a:gd name="T36" fmla="*/ 444 w 690"/>
                <a:gd name="T37" fmla="*/ 833 h 982"/>
                <a:gd name="T38" fmla="*/ 475 w 690"/>
                <a:gd name="T39" fmla="*/ 751 h 982"/>
                <a:gd name="T40" fmla="*/ 505 w 690"/>
                <a:gd name="T41" fmla="*/ 657 h 982"/>
                <a:gd name="T42" fmla="*/ 533 w 690"/>
                <a:gd name="T43" fmla="*/ 559 h 982"/>
                <a:gd name="T44" fmla="*/ 551 w 690"/>
                <a:gd name="T45" fmla="*/ 467 h 982"/>
                <a:gd name="T46" fmla="*/ 558 w 690"/>
                <a:gd name="T47" fmla="*/ 382 h 982"/>
                <a:gd name="T48" fmla="*/ 558 w 690"/>
                <a:gd name="T49" fmla="*/ 306 h 982"/>
                <a:gd name="T50" fmla="*/ 545 w 690"/>
                <a:gd name="T51" fmla="*/ 249 h 982"/>
                <a:gd name="T52" fmla="*/ 516 w 690"/>
                <a:gd name="T53" fmla="*/ 208 h 982"/>
                <a:gd name="T54" fmla="*/ 461 w 690"/>
                <a:gd name="T55" fmla="*/ 182 h 982"/>
                <a:gd name="T56" fmla="*/ 377 w 690"/>
                <a:gd name="T57" fmla="*/ 172 h 982"/>
                <a:gd name="T58" fmla="*/ 271 w 690"/>
                <a:gd name="T59" fmla="*/ 172 h 982"/>
                <a:gd name="T60" fmla="*/ 143 w 690"/>
                <a:gd name="T61" fmla="*/ 179 h 982"/>
                <a:gd name="T62" fmla="*/ 52 w 690"/>
                <a:gd name="T63" fmla="*/ 172 h 982"/>
                <a:gd name="T64" fmla="*/ 24 w 690"/>
                <a:gd name="T65" fmla="*/ 114 h 982"/>
                <a:gd name="T66" fmla="*/ 0 w 690"/>
                <a:gd name="T67" fmla="*/ 25 h 982"/>
                <a:gd name="T68" fmla="*/ 150 w 690"/>
                <a:gd name="T69" fmla="*/ 9 h 982"/>
                <a:gd name="T70" fmla="*/ 271 w 690"/>
                <a:gd name="T71" fmla="*/ 2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0" h="982">
                  <a:moveTo>
                    <a:pt x="323" y="0"/>
                  </a:moveTo>
                  <a:lnTo>
                    <a:pt x="383" y="2"/>
                  </a:lnTo>
                  <a:lnTo>
                    <a:pt x="435" y="7"/>
                  </a:lnTo>
                  <a:lnTo>
                    <a:pt x="481" y="14"/>
                  </a:lnTo>
                  <a:lnTo>
                    <a:pt x="519" y="25"/>
                  </a:lnTo>
                  <a:lnTo>
                    <a:pt x="530" y="28"/>
                  </a:lnTo>
                  <a:lnTo>
                    <a:pt x="535" y="32"/>
                  </a:lnTo>
                  <a:lnTo>
                    <a:pt x="538" y="32"/>
                  </a:lnTo>
                  <a:lnTo>
                    <a:pt x="578" y="51"/>
                  </a:lnTo>
                  <a:lnTo>
                    <a:pt x="612" y="75"/>
                  </a:lnTo>
                  <a:lnTo>
                    <a:pt x="638" y="103"/>
                  </a:lnTo>
                  <a:lnTo>
                    <a:pt x="657" y="135"/>
                  </a:lnTo>
                  <a:lnTo>
                    <a:pt x="673" y="170"/>
                  </a:lnTo>
                  <a:lnTo>
                    <a:pt x="682" y="207"/>
                  </a:lnTo>
                  <a:lnTo>
                    <a:pt x="689" y="247"/>
                  </a:lnTo>
                  <a:lnTo>
                    <a:pt x="690" y="291"/>
                  </a:lnTo>
                  <a:lnTo>
                    <a:pt x="687" y="361"/>
                  </a:lnTo>
                  <a:lnTo>
                    <a:pt x="676" y="438"/>
                  </a:lnTo>
                  <a:lnTo>
                    <a:pt x="662" y="518"/>
                  </a:lnTo>
                  <a:lnTo>
                    <a:pt x="643" y="602"/>
                  </a:lnTo>
                  <a:lnTo>
                    <a:pt x="622" y="688"/>
                  </a:lnTo>
                  <a:lnTo>
                    <a:pt x="592" y="791"/>
                  </a:lnTo>
                  <a:lnTo>
                    <a:pt x="561" y="891"/>
                  </a:lnTo>
                  <a:lnTo>
                    <a:pt x="530" y="982"/>
                  </a:lnTo>
                  <a:lnTo>
                    <a:pt x="530" y="982"/>
                  </a:lnTo>
                  <a:lnTo>
                    <a:pt x="524" y="980"/>
                  </a:lnTo>
                  <a:lnTo>
                    <a:pt x="512" y="975"/>
                  </a:lnTo>
                  <a:lnTo>
                    <a:pt x="496" y="968"/>
                  </a:lnTo>
                  <a:lnTo>
                    <a:pt x="477" y="958"/>
                  </a:lnTo>
                  <a:lnTo>
                    <a:pt x="458" y="947"/>
                  </a:lnTo>
                  <a:lnTo>
                    <a:pt x="444" y="937"/>
                  </a:lnTo>
                  <a:lnTo>
                    <a:pt x="432" y="928"/>
                  </a:lnTo>
                  <a:lnTo>
                    <a:pt x="421" y="919"/>
                  </a:lnTo>
                  <a:lnTo>
                    <a:pt x="414" y="914"/>
                  </a:lnTo>
                  <a:lnTo>
                    <a:pt x="412" y="912"/>
                  </a:lnTo>
                  <a:lnTo>
                    <a:pt x="421" y="893"/>
                  </a:lnTo>
                  <a:lnTo>
                    <a:pt x="432" y="867"/>
                  </a:lnTo>
                  <a:lnTo>
                    <a:pt x="444" y="833"/>
                  </a:lnTo>
                  <a:lnTo>
                    <a:pt x="460" y="795"/>
                  </a:lnTo>
                  <a:lnTo>
                    <a:pt x="475" y="751"/>
                  </a:lnTo>
                  <a:lnTo>
                    <a:pt x="489" y="706"/>
                  </a:lnTo>
                  <a:lnTo>
                    <a:pt x="505" y="657"/>
                  </a:lnTo>
                  <a:lnTo>
                    <a:pt x="519" y="608"/>
                  </a:lnTo>
                  <a:lnTo>
                    <a:pt x="533" y="559"/>
                  </a:lnTo>
                  <a:lnTo>
                    <a:pt x="544" y="511"/>
                  </a:lnTo>
                  <a:lnTo>
                    <a:pt x="551" y="467"/>
                  </a:lnTo>
                  <a:lnTo>
                    <a:pt x="556" y="425"/>
                  </a:lnTo>
                  <a:lnTo>
                    <a:pt x="558" y="382"/>
                  </a:lnTo>
                  <a:lnTo>
                    <a:pt x="559" y="341"/>
                  </a:lnTo>
                  <a:lnTo>
                    <a:pt x="558" y="306"/>
                  </a:lnTo>
                  <a:lnTo>
                    <a:pt x="554" y="275"/>
                  </a:lnTo>
                  <a:lnTo>
                    <a:pt x="545" y="249"/>
                  </a:lnTo>
                  <a:lnTo>
                    <a:pt x="533" y="228"/>
                  </a:lnTo>
                  <a:lnTo>
                    <a:pt x="516" y="208"/>
                  </a:lnTo>
                  <a:lnTo>
                    <a:pt x="493" y="194"/>
                  </a:lnTo>
                  <a:lnTo>
                    <a:pt x="461" y="182"/>
                  </a:lnTo>
                  <a:lnTo>
                    <a:pt x="425" y="175"/>
                  </a:lnTo>
                  <a:lnTo>
                    <a:pt x="377" y="172"/>
                  </a:lnTo>
                  <a:lnTo>
                    <a:pt x="323" y="170"/>
                  </a:lnTo>
                  <a:lnTo>
                    <a:pt x="271" y="172"/>
                  </a:lnTo>
                  <a:lnTo>
                    <a:pt x="211" y="173"/>
                  </a:lnTo>
                  <a:lnTo>
                    <a:pt x="143" y="179"/>
                  </a:lnTo>
                  <a:lnTo>
                    <a:pt x="64" y="187"/>
                  </a:lnTo>
                  <a:lnTo>
                    <a:pt x="52" y="172"/>
                  </a:lnTo>
                  <a:lnTo>
                    <a:pt x="38" y="147"/>
                  </a:lnTo>
                  <a:lnTo>
                    <a:pt x="24" y="114"/>
                  </a:lnTo>
                  <a:lnTo>
                    <a:pt x="10" y="74"/>
                  </a:lnTo>
                  <a:lnTo>
                    <a:pt x="0" y="25"/>
                  </a:lnTo>
                  <a:lnTo>
                    <a:pt x="78" y="16"/>
                  </a:lnTo>
                  <a:lnTo>
                    <a:pt x="150" y="9"/>
                  </a:lnTo>
                  <a:lnTo>
                    <a:pt x="213" y="4"/>
                  </a:lnTo>
                  <a:lnTo>
                    <a:pt x="271" y="2"/>
                  </a:lnTo>
                  <a:lnTo>
                    <a:pt x="323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2" name="Freeform 39"/>
          <p:cNvSpPr>
            <a:spLocks/>
          </p:cNvSpPr>
          <p:nvPr userDrawn="1"/>
        </p:nvSpPr>
        <p:spPr bwMode="auto">
          <a:xfrm>
            <a:off x="3906005" y="3574484"/>
            <a:ext cx="207412" cy="232346"/>
          </a:xfrm>
          <a:custGeom>
            <a:avLst/>
            <a:gdLst>
              <a:gd name="T0" fmla="*/ 148 w 183"/>
              <a:gd name="T1" fmla="*/ 6 h 205"/>
              <a:gd name="T2" fmla="*/ 162 w 183"/>
              <a:gd name="T3" fmla="*/ 35 h 205"/>
              <a:gd name="T4" fmla="*/ 164 w 183"/>
              <a:gd name="T5" fmla="*/ 70 h 205"/>
              <a:gd name="T6" fmla="*/ 168 w 183"/>
              <a:gd name="T7" fmla="*/ 121 h 205"/>
              <a:gd name="T8" fmla="*/ 169 w 183"/>
              <a:gd name="T9" fmla="*/ 158 h 205"/>
              <a:gd name="T10" fmla="*/ 173 w 183"/>
              <a:gd name="T11" fmla="*/ 174 h 205"/>
              <a:gd name="T12" fmla="*/ 180 w 183"/>
              <a:gd name="T13" fmla="*/ 186 h 205"/>
              <a:gd name="T14" fmla="*/ 183 w 183"/>
              <a:gd name="T15" fmla="*/ 191 h 205"/>
              <a:gd name="T16" fmla="*/ 182 w 183"/>
              <a:gd name="T17" fmla="*/ 200 h 205"/>
              <a:gd name="T18" fmla="*/ 173 w 183"/>
              <a:gd name="T19" fmla="*/ 205 h 205"/>
              <a:gd name="T20" fmla="*/ 164 w 183"/>
              <a:gd name="T21" fmla="*/ 203 h 205"/>
              <a:gd name="T22" fmla="*/ 155 w 183"/>
              <a:gd name="T23" fmla="*/ 198 h 205"/>
              <a:gd name="T24" fmla="*/ 147 w 183"/>
              <a:gd name="T25" fmla="*/ 179 h 205"/>
              <a:gd name="T26" fmla="*/ 143 w 183"/>
              <a:gd name="T27" fmla="*/ 139 h 205"/>
              <a:gd name="T28" fmla="*/ 138 w 183"/>
              <a:gd name="T29" fmla="*/ 81 h 205"/>
              <a:gd name="T30" fmla="*/ 131 w 183"/>
              <a:gd name="T31" fmla="*/ 49 h 205"/>
              <a:gd name="T32" fmla="*/ 126 w 183"/>
              <a:gd name="T33" fmla="*/ 42 h 205"/>
              <a:gd name="T34" fmla="*/ 120 w 183"/>
              <a:gd name="T35" fmla="*/ 42 h 205"/>
              <a:gd name="T36" fmla="*/ 115 w 183"/>
              <a:gd name="T37" fmla="*/ 49 h 205"/>
              <a:gd name="T38" fmla="*/ 103 w 183"/>
              <a:gd name="T39" fmla="*/ 70 h 205"/>
              <a:gd name="T40" fmla="*/ 82 w 183"/>
              <a:gd name="T41" fmla="*/ 109 h 205"/>
              <a:gd name="T42" fmla="*/ 68 w 183"/>
              <a:gd name="T43" fmla="*/ 140 h 205"/>
              <a:gd name="T44" fmla="*/ 63 w 183"/>
              <a:gd name="T45" fmla="*/ 151 h 205"/>
              <a:gd name="T46" fmla="*/ 57 w 183"/>
              <a:gd name="T47" fmla="*/ 160 h 205"/>
              <a:gd name="T48" fmla="*/ 49 w 183"/>
              <a:gd name="T49" fmla="*/ 165 h 205"/>
              <a:gd name="T50" fmla="*/ 30 w 183"/>
              <a:gd name="T51" fmla="*/ 163 h 205"/>
              <a:gd name="T52" fmla="*/ 14 w 183"/>
              <a:gd name="T53" fmla="*/ 137 h 205"/>
              <a:gd name="T54" fmla="*/ 0 w 183"/>
              <a:gd name="T55" fmla="*/ 62 h 205"/>
              <a:gd name="T56" fmla="*/ 5 w 183"/>
              <a:gd name="T57" fmla="*/ 13 h 205"/>
              <a:gd name="T58" fmla="*/ 10 w 183"/>
              <a:gd name="T59" fmla="*/ 7 h 205"/>
              <a:gd name="T60" fmla="*/ 19 w 183"/>
              <a:gd name="T61" fmla="*/ 4 h 205"/>
              <a:gd name="T62" fmla="*/ 28 w 183"/>
              <a:gd name="T63" fmla="*/ 6 h 205"/>
              <a:gd name="T64" fmla="*/ 35 w 183"/>
              <a:gd name="T65" fmla="*/ 13 h 205"/>
              <a:gd name="T66" fmla="*/ 35 w 183"/>
              <a:gd name="T67" fmla="*/ 25 h 205"/>
              <a:gd name="T68" fmla="*/ 33 w 183"/>
              <a:gd name="T69" fmla="*/ 56 h 205"/>
              <a:gd name="T70" fmla="*/ 38 w 183"/>
              <a:gd name="T71" fmla="*/ 104 h 205"/>
              <a:gd name="T72" fmla="*/ 59 w 183"/>
              <a:gd name="T73" fmla="*/ 95 h 205"/>
              <a:gd name="T74" fmla="*/ 85 w 183"/>
              <a:gd name="T75" fmla="*/ 42 h 205"/>
              <a:gd name="T76" fmla="*/ 103 w 183"/>
              <a:gd name="T77" fmla="*/ 16 h 205"/>
              <a:gd name="T78" fmla="*/ 124 w 183"/>
              <a:gd name="T79" fmla="*/ 0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83" h="205">
                <a:moveTo>
                  <a:pt x="134" y="0"/>
                </a:moveTo>
                <a:lnTo>
                  <a:pt x="148" y="6"/>
                </a:lnTo>
                <a:lnTo>
                  <a:pt x="157" y="18"/>
                </a:lnTo>
                <a:lnTo>
                  <a:pt x="162" y="35"/>
                </a:lnTo>
                <a:lnTo>
                  <a:pt x="162" y="48"/>
                </a:lnTo>
                <a:lnTo>
                  <a:pt x="164" y="70"/>
                </a:lnTo>
                <a:lnTo>
                  <a:pt x="166" y="95"/>
                </a:lnTo>
                <a:lnTo>
                  <a:pt x="168" y="121"/>
                </a:lnTo>
                <a:lnTo>
                  <a:pt x="169" y="144"/>
                </a:lnTo>
                <a:lnTo>
                  <a:pt x="169" y="158"/>
                </a:lnTo>
                <a:lnTo>
                  <a:pt x="171" y="167"/>
                </a:lnTo>
                <a:lnTo>
                  <a:pt x="173" y="174"/>
                </a:lnTo>
                <a:lnTo>
                  <a:pt x="176" y="181"/>
                </a:lnTo>
                <a:lnTo>
                  <a:pt x="180" y="186"/>
                </a:lnTo>
                <a:lnTo>
                  <a:pt x="182" y="188"/>
                </a:lnTo>
                <a:lnTo>
                  <a:pt x="183" y="191"/>
                </a:lnTo>
                <a:lnTo>
                  <a:pt x="183" y="196"/>
                </a:lnTo>
                <a:lnTo>
                  <a:pt x="182" y="200"/>
                </a:lnTo>
                <a:lnTo>
                  <a:pt x="178" y="203"/>
                </a:lnTo>
                <a:lnTo>
                  <a:pt x="173" y="205"/>
                </a:lnTo>
                <a:lnTo>
                  <a:pt x="169" y="205"/>
                </a:lnTo>
                <a:lnTo>
                  <a:pt x="164" y="203"/>
                </a:lnTo>
                <a:lnTo>
                  <a:pt x="159" y="202"/>
                </a:lnTo>
                <a:lnTo>
                  <a:pt x="155" y="198"/>
                </a:lnTo>
                <a:lnTo>
                  <a:pt x="152" y="195"/>
                </a:lnTo>
                <a:lnTo>
                  <a:pt x="147" y="179"/>
                </a:lnTo>
                <a:lnTo>
                  <a:pt x="143" y="161"/>
                </a:lnTo>
                <a:lnTo>
                  <a:pt x="143" y="139"/>
                </a:lnTo>
                <a:lnTo>
                  <a:pt x="141" y="111"/>
                </a:lnTo>
                <a:lnTo>
                  <a:pt x="138" y="81"/>
                </a:lnTo>
                <a:lnTo>
                  <a:pt x="133" y="55"/>
                </a:lnTo>
                <a:lnTo>
                  <a:pt x="131" y="49"/>
                </a:lnTo>
                <a:lnTo>
                  <a:pt x="129" y="46"/>
                </a:lnTo>
                <a:lnTo>
                  <a:pt x="126" y="42"/>
                </a:lnTo>
                <a:lnTo>
                  <a:pt x="124" y="42"/>
                </a:lnTo>
                <a:lnTo>
                  <a:pt x="120" y="42"/>
                </a:lnTo>
                <a:lnTo>
                  <a:pt x="119" y="46"/>
                </a:lnTo>
                <a:lnTo>
                  <a:pt x="115" y="49"/>
                </a:lnTo>
                <a:lnTo>
                  <a:pt x="112" y="55"/>
                </a:lnTo>
                <a:lnTo>
                  <a:pt x="103" y="70"/>
                </a:lnTo>
                <a:lnTo>
                  <a:pt x="92" y="88"/>
                </a:lnTo>
                <a:lnTo>
                  <a:pt x="82" y="109"/>
                </a:lnTo>
                <a:lnTo>
                  <a:pt x="75" y="126"/>
                </a:lnTo>
                <a:lnTo>
                  <a:pt x="68" y="140"/>
                </a:lnTo>
                <a:lnTo>
                  <a:pt x="66" y="146"/>
                </a:lnTo>
                <a:lnTo>
                  <a:pt x="63" y="151"/>
                </a:lnTo>
                <a:lnTo>
                  <a:pt x="61" y="156"/>
                </a:lnTo>
                <a:lnTo>
                  <a:pt x="57" y="160"/>
                </a:lnTo>
                <a:lnTo>
                  <a:pt x="52" y="163"/>
                </a:lnTo>
                <a:lnTo>
                  <a:pt x="49" y="165"/>
                </a:lnTo>
                <a:lnTo>
                  <a:pt x="42" y="167"/>
                </a:lnTo>
                <a:lnTo>
                  <a:pt x="30" y="163"/>
                </a:lnTo>
                <a:lnTo>
                  <a:pt x="21" y="153"/>
                </a:lnTo>
                <a:lnTo>
                  <a:pt x="14" y="137"/>
                </a:lnTo>
                <a:lnTo>
                  <a:pt x="5" y="100"/>
                </a:lnTo>
                <a:lnTo>
                  <a:pt x="0" y="62"/>
                </a:lnTo>
                <a:lnTo>
                  <a:pt x="3" y="20"/>
                </a:lnTo>
                <a:lnTo>
                  <a:pt x="5" y="13"/>
                </a:lnTo>
                <a:lnTo>
                  <a:pt x="7" y="9"/>
                </a:lnTo>
                <a:lnTo>
                  <a:pt x="10" y="7"/>
                </a:lnTo>
                <a:lnTo>
                  <a:pt x="16" y="6"/>
                </a:lnTo>
                <a:lnTo>
                  <a:pt x="19" y="4"/>
                </a:lnTo>
                <a:lnTo>
                  <a:pt x="23" y="4"/>
                </a:lnTo>
                <a:lnTo>
                  <a:pt x="28" y="6"/>
                </a:lnTo>
                <a:lnTo>
                  <a:pt x="33" y="9"/>
                </a:lnTo>
                <a:lnTo>
                  <a:pt x="35" y="13"/>
                </a:lnTo>
                <a:lnTo>
                  <a:pt x="36" y="18"/>
                </a:lnTo>
                <a:lnTo>
                  <a:pt x="35" y="25"/>
                </a:lnTo>
                <a:lnTo>
                  <a:pt x="35" y="37"/>
                </a:lnTo>
                <a:lnTo>
                  <a:pt x="33" y="56"/>
                </a:lnTo>
                <a:lnTo>
                  <a:pt x="35" y="79"/>
                </a:lnTo>
                <a:lnTo>
                  <a:pt x="38" y="104"/>
                </a:lnTo>
                <a:lnTo>
                  <a:pt x="43" y="126"/>
                </a:lnTo>
                <a:lnTo>
                  <a:pt x="59" y="95"/>
                </a:lnTo>
                <a:lnTo>
                  <a:pt x="73" y="65"/>
                </a:lnTo>
                <a:lnTo>
                  <a:pt x="85" y="42"/>
                </a:lnTo>
                <a:lnTo>
                  <a:pt x="96" y="27"/>
                </a:lnTo>
                <a:lnTo>
                  <a:pt x="103" y="16"/>
                </a:lnTo>
                <a:lnTo>
                  <a:pt x="113" y="6"/>
                </a:lnTo>
                <a:lnTo>
                  <a:pt x="124" y="0"/>
                </a:lnTo>
                <a:lnTo>
                  <a:pt x="134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0"/>
          <p:cNvSpPr>
            <a:spLocks/>
          </p:cNvSpPr>
          <p:nvPr userDrawn="1"/>
        </p:nvSpPr>
        <p:spPr bwMode="auto">
          <a:xfrm>
            <a:off x="4129283" y="3565417"/>
            <a:ext cx="174544" cy="219879"/>
          </a:xfrm>
          <a:custGeom>
            <a:avLst/>
            <a:gdLst>
              <a:gd name="T0" fmla="*/ 77 w 154"/>
              <a:gd name="T1" fmla="*/ 0 h 194"/>
              <a:gd name="T2" fmla="*/ 90 w 154"/>
              <a:gd name="T3" fmla="*/ 0 h 194"/>
              <a:gd name="T4" fmla="*/ 95 w 154"/>
              <a:gd name="T5" fmla="*/ 1 h 194"/>
              <a:gd name="T6" fmla="*/ 97 w 154"/>
              <a:gd name="T7" fmla="*/ 3 h 194"/>
              <a:gd name="T8" fmla="*/ 98 w 154"/>
              <a:gd name="T9" fmla="*/ 7 h 194"/>
              <a:gd name="T10" fmla="*/ 98 w 154"/>
              <a:gd name="T11" fmla="*/ 10 h 194"/>
              <a:gd name="T12" fmla="*/ 97 w 154"/>
              <a:gd name="T13" fmla="*/ 15 h 194"/>
              <a:gd name="T14" fmla="*/ 93 w 154"/>
              <a:gd name="T15" fmla="*/ 19 h 194"/>
              <a:gd name="T16" fmla="*/ 90 w 154"/>
              <a:gd name="T17" fmla="*/ 22 h 194"/>
              <a:gd name="T18" fmla="*/ 84 w 154"/>
              <a:gd name="T19" fmla="*/ 24 h 194"/>
              <a:gd name="T20" fmla="*/ 72 w 154"/>
              <a:gd name="T21" fmla="*/ 31 h 194"/>
              <a:gd name="T22" fmla="*/ 60 w 154"/>
              <a:gd name="T23" fmla="*/ 43 h 194"/>
              <a:gd name="T24" fmla="*/ 49 w 154"/>
              <a:gd name="T25" fmla="*/ 63 h 194"/>
              <a:gd name="T26" fmla="*/ 39 w 154"/>
              <a:gd name="T27" fmla="*/ 91 h 194"/>
              <a:gd name="T28" fmla="*/ 34 w 154"/>
              <a:gd name="T29" fmla="*/ 112 h 194"/>
              <a:gd name="T30" fmla="*/ 34 w 154"/>
              <a:gd name="T31" fmla="*/ 131 h 194"/>
              <a:gd name="T32" fmla="*/ 37 w 154"/>
              <a:gd name="T33" fmla="*/ 147 h 194"/>
              <a:gd name="T34" fmla="*/ 42 w 154"/>
              <a:gd name="T35" fmla="*/ 161 h 194"/>
              <a:gd name="T36" fmla="*/ 53 w 154"/>
              <a:gd name="T37" fmla="*/ 168 h 194"/>
              <a:gd name="T38" fmla="*/ 67 w 154"/>
              <a:gd name="T39" fmla="*/ 169 h 194"/>
              <a:gd name="T40" fmla="*/ 81 w 154"/>
              <a:gd name="T41" fmla="*/ 166 h 194"/>
              <a:gd name="T42" fmla="*/ 97 w 154"/>
              <a:gd name="T43" fmla="*/ 157 h 194"/>
              <a:gd name="T44" fmla="*/ 109 w 154"/>
              <a:gd name="T45" fmla="*/ 140 h 194"/>
              <a:gd name="T46" fmla="*/ 119 w 154"/>
              <a:gd name="T47" fmla="*/ 117 h 194"/>
              <a:gd name="T48" fmla="*/ 126 w 154"/>
              <a:gd name="T49" fmla="*/ 94 h 194"/>
              <a:gd name="T50" fmla="*/ 125 w 154"/>
              <a:gd name="T51" fmla="*/ 75 h 194"/>
              <a:gd name="T52" fmla="*/ 121 w 154"/>
              <a:gd name="T53" fmla="*/ 59 h 194"/>
              <a:gd name="T54" fmla="*/ 112 w 154"/>
              <a:gd name="T55" fmla="*/ 49 h 194"/>
              <a:gd name="T56" fmla="*/ 104 w 154"/>
              <a:gd name="T57" fmla="*/ 43 h 194"/>
              <a:gd name="T58" fmla="*/ 98 w 154"/>
              <a:gd name="T59" fmla="*/ 42 h 194"/>
              <a:gd name="T60" fmla="*/ 95 w 154"/>
              <a:gd name="T61" fmla="*/ 38 h 194"/>
              <a:gd name="T62" fmla="*/ 93 w 154"/>
              <a:gd name="T63" fmla="*/ 35 h 194"/>
              <a:gd name="T64" fmla="*/ 93 w 154"/>
              <a:gd name="T65" fmla="*/ 31 h 194"/>
              <a:gd name="T66" fmla="*/ 93 w 154"/>
              <a:gd name="T67" fmla="*/ 29 h 194"/>
              <a:gd name="T68" fmla="*/ 95 w 154"/>
              <a:gd name="T69" fmla="*/ 26 h 194"/>
              <a:gd name="T70" fmla="*/ 97 w 154"/>
              <a:gd name="T71" fmla="*/ 24 h 194"/>
              <a:gd name="T72" fmla="*/ 100 w 154"/>
              <a:gd name="T73" fmla="*/ 22 h 194"/>
              <a:gd name="T74" fmla="*/ 104 w 154"/>
              <a:gd name="T75" fmla="*/ 21 h 194"/>
              <a:gd name="T76" fmla="*/ 109 w 154"/>
              <a:gd name="T77" fmla="*/ 22 h 194"/>
              <a:gd name="T78" fmla="*/ 128 w 154"/>
              <a:gd name="T79" fmla="*/ 31 h 194"/>
              <a:gd name="T80" fmla="*/ 144 w 154"/>
              <a:gd name="T81" fmla="*/ 47 h 194"/>
              <a:gd name="T82" fmla="*/ 152 w 154"/>
              <a:gd name="T83" fmla="*/ 70 h 194"/>
              <a:gd name="T84" fmla="*/ 154 w 154"/>
              <a:gd name="T85" fmla="*/ 98 h 194"/>
              <a:gd name="T86" fmla="*/ 147 w 154"/>
              <a:gd name="T87" fmla="*/ 129 h 194"/>
              <a:gd name="T88" fmla="*/ 133 w 154"/>
              <a:gd name="T89" fmla="*/ 154 h 194"/>
              <a:gd name="T90" fmla="*/ 116 w 154"/>
              <a:gd name="T91" fmla="*/ 175 h 194"/>
              <a:gd name="T92" fmla="*/ 95 w 154"/>
              <a:gd name="T93" fmla="*/ 189 h 194"/>
              <a:gd name="T94" fmla="*/ 69 w 154"/>
              <a:gd name="T95" fmla="*/ 194 h 194"/>
              <a:gd name="T96" fmla="*/ 41 w 154"/>
              <a:gd name="T97" fmla="*/ 190 h 194"/>
              <a:gd name="T98" fmla="*/ 23 w 154"/>
              <a:gd name="T99" fmla="*/ 180 h 194"/>
              <a:gd name="T100" fmla="*/ 11 w 154"/>
              <a:gd name="T101" fmla="*/ 164 h 194"/>
              <a:gd name="T102" fmla="*/ 2 w 154"/>
              <a:gd name="T103" fmla="*/ 145 h 194"/>
              <a:gd name="T104" fmla="*/ 0 w 154"/>
              <a:gd name="T105" fmla="*/ 124 h 194"/>
              <a:gd name="T106" fmla="*/ 2 w 154"/>
              <a:gd name="T107" fmla="*/ 101 h 194"/>
              <a:gd name="T108" fmla="*/ 7 w 154"/>
              <a:gd name="T109" fmla="*/ 77 h 194"/>
              <a:gd name="T110" fmla="*/ 20 w 154"/>
              <a:gd name="T111" fmla="*/ 50 h 194"/>
              <a:gd name="T112" fmla="*/ 32 w 154"/>
              <a:gd name="T113" fmla="*/ 31 h 194"/>
              <a:gd name="T114" fmla="*/ 46 w 154"/>
              <a:gd name="T115" fmla="*/ 15 h 194"/>
              <a:gd name="T116" fmla="*/ 62 w 154"/>
              <a:gd name="T117" fmla="*/ 5 h 194"/>
              <a:gd name="T118" fmla="*/ 77 w 154"/>
              <a:gd name="T119" fmla="*/ 0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4" h="194">
                <a:moveTo>
                  <a:pt x="77" y="0"/>
                </a:moveTo>
                <a:lnTo>
                  <a:pt x="90" y="0"/>
                </a:lnTo>
                <a:lnTo>
                  <a:pt x="95" y="1"/>
                </a:lnTo>
                <a:lnTo>
                  <a:pt x="97" y="3"/>
                </a:lnTo>
                <a:lnTo>
                  <a:pt x="98" y="7"/>
                </a:lnTo>
                <a:lnTo>
                  <a:pt x="98" y="10"/>
                </a:lnTo>
                <a:lnTo>
                  <a:pt x="97" y="15"/>
                </a:lnTo>
                <a:lnTo>
                  <a:pt x="93" y="19"/>
                </a:lnTo>
                <a:lnTo>
                  <a:pt x="90" y="22"/>
                </a:lnTo>
                <a:lnTo>
                  <a:pt x="84" y="24"/>
                </a:lnTo>
                <a:lnTo>
                  <a:pt x="72" y="31"/>
                </a:lnTo>
                <a:lnTo>
                  <a:pt x="60" y="43"/>
                </a:lnTo>
                <a:lnTo>
                  <a:pt x="49" y="63"/>
                </a:lnTo>
                <a:lnTo>
                  <a:pt x="39" y="91"/>
                </a:lnTo>
                <a:lnTo>
                  <a:pt x="34" y="112"/>
                </a:lnTo>
                <a:lnTo>
                  <a:pt x="34" y="131"/>
                </a:lnTo>
                <a:lnTo>
                  <a:pt x="37" y="147"/>
                </a:lnTo>
                <a:lnTo>
                  <a:pt x="42" y="161"/>
                </a:lnTo>
                <a:lnTo>
                  <a:pt x="53" y="168"/>
                </a:lnTo>
                <a:lnTo>
                  <a:pt x="67" y="169"/>
                </a:lnTo>
                <a:lnTo>
                  <a:pt x="81" y="166"/>
                </a:lnTo>
                <a:lnTo>
                  <a:pt x="97" y="157"/>
                </a:lnTo>
                <a:lnTo>
                  <a:pt x="109" y="140"/>
                </a:lnTo>
                <a:lnTo>
                  <a:pt x="119" y="117"/>
                </a:lnTo>
                <a:lnTo>
                  <a:pt x="126" y="94"/>
                </a:lnTo>
                <a:lnTo>
                  <a:pt x="125" y="75"/>
                </a:lnTo>
                <a:lnTo>
                  <a:pt x="121" y="59"/>
                </a:lnTo>
                <a:lnTo>
                  <a:pt x="112" y="49"/>
                </a:lnTo>
                <a:lnTo>
                  <a:pt x="104" y="43"/>
                </a:lnTo>
                <a:lnTo>
                  <a:pt x="98" y="42"/>
                </a:lnTo>
                <a:lnTo>
                  <a:pt x="95" y="38"/>
                </a:lnTo>
                <a:lnTo>
                  <a:pt x="93" y="35"/>
                </a:lnTo>
                <a:lnTo>
                  <a:pt x="93" y="31"/>
                </a:lnTo>
                <a:lnTo>
                  <a:pt x="93" y="29"/>
                </a:lnTo>
                <a:lnTo>
                  <a:pt x="95" y="26"/>
                </a:lnTo>
                <a:lnTo>
                  <a:pt x="97" y="24"/>
                </a:lnTo>
                <a:lnTo>
                  <a:pt x="100" y="22"/>
                </a:lnTo>
                <a:lnTo>
                  <a:pt x="104" y="21"/>
                </a:lnTo>
                <a:lnTo>
                  <a:pt x="109" y="22"/>
                </a:lnTo>
                <a:lnTo>
                  <a:pt x="128" y="31"/>
                </a:lnTo>
                <a:lnTo>
                  <a:pt x="144" y="47"/>
                </a:lnTo>
                <a:lnTo>
                  <a:pt x="152" y="70"/>
                </a:lnTo>
                <a:lnTo>
                  <a:pt x="154" y="98"/>
                </a:lnTo>
                <a:lnTo>
                  <a:pt x="147" y="129"/>
                </a:lnTo>
                <a:lnTo>
                  <a:pt x="133" y="154"/>
                </a:lnTo>
                <a:lnTo>
                  <a:pt x="116" y="175"/>
                </a:lnTo>
                <a:lnTo>
                  <a:pt x="95" y="189"/>
                </a:lnTo>
                <a:lnTo>
                  <a:pt x="69" y="194"/>
                </a:lnTo>
                <a:lnTo>
                  <a:pt x="41" y="190"/>
                </a:lnTo>
                <a:lnTo>
                  <a:pt x="23" y="180"/>
                </a:lnTo>
                <a:lnTo>
                  <a:pt x="11" y="164"/>
                </a:lnTo>
                <a:lnTo>
                  <a:pt x="2" y="145"/>
                </a:lnTo>
                <a:lnTo>
                  <a:pt x="0" y="124"/>
                </a:lnTo>
                <a:lnTo>
                  <a:pt x="2" y="101"/>
                </a:lnTo>
                <a:lnTo>
                  <a:pt x="7" y="77"/>
                </a:lnTo>
                <a:lnTo>
                  <a:pt x="20" y="50"/>
                </a:lnTo>
                <a:lnTo>
                  <a:pt x="32" y="31"/>
                </a:lnTo>
                <a:lnTo>
                  <a:pt x="46" y="15"/>
                </a:lnTo>
                <a:lnTo>
                  <a:pt x="62" y="5"/>
                </a:lnTo>
                <a:lnTo>
                  <a:pt x="77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4" name="Freeform 41"/>
          <p:cNvSpPr>
            <a:spLocks/>
          </p:cNvSpPr>
          <p:nvPr userDrawn="1"/>
        </p:nvSpPr>
        <p:spPr bwMode="auto">
          <a:xfrm>
            <a:off x="4317427" y="3568818"/>
            <a:ext cx="198344" cy="208544"/>
          </a:xfrm>
          <a:custGeom>
            <a:avLst/>
            <a:gdLst>
              <a:gd name="T0" fmla="*/ 21 w 175"/>
              <a:gd name="T1" fmla="*/ 0 h 184"/>
              <a:gd name="T2" fmla="*/ 30 w 175"/>
              <a:gd name="T3" fmla="*/ 5 h 184"/>
              <a:gd name="T4" fmla="*/ 35 w 175"/>
              <a:gd name="T5" fmla="*/ 16 h 184"/>
              <a:gd name="T6" fmla="*/ 39 w 175"/>
              <a:gd name="T7" fmla="*/ 44 h 184"/>
              <a:gd name="T8" fmla="*/ 51 w 175"/>
              <a:gd name="T9" fmla="*/ 86 h 184"/>
              <a:gd name="T10" fmla="*/ 63 w 175"/>
              <a:gd name="T11" fmla="*/ 116 h 184"/>
              <a:gd name="T12" fmla="*/ 69 w 175"/>
              <a:gd name="T13" fmla="*/ 126 h 184"/>
              <a:gd name="T14" fmla="*/ 74 w 175"/>
              <a:gd name="T15" fmla="*/ 130 h 184"/>
              <a:gd name="T16" fmla="*/ 79 w 175"/>
              <a:gd name="T17" fmla="*/ 128 h 184"/>
              <a:gd name="T18" fmla="*/ 88 w 175"/>
              <a:gd name="T19" fmla="*/ 117 h 184"/>
              <a:gd name="T20" fmla="*/ 105 w 175"/>
              <a:gd name="T21" fmla="*/ 91 h 184"/>
              <a:gd name="T22" fmla="*/ 126 w 175"/>
              <a:gd name="T23" fmla="*/ 49 h 184"/>
              <a:gd name="T24" fmla="*/ 137 w 175"/>
              <a:gd name="T25" fmla="*/ 21 h 184"/>
              <a:gd name="T26" fmla="*/ 140 w 175"/>
              <a:gd name="T27" fmla="*/ 11 h 184"/>
              <a:gd name="T28" fmla="*/ 147 w 175"/>
              <a:gd name="T29" fmla="*/ 4 h 184"/>
              <a:gd name="T30" fmla="*/ 156 w 175"/>
              <a:gd name="T31" fmla="*/ 2 h 184"/>
              <a:gd name="T32" fmla="*/ 165 w 175"/>
              <a:gd name="T33" fmla="*/ 5 h 184"/>
              <a:gd name="T34" fmla="*/ 168 w 175"/>
              <a:gd name="T35" fmla="*/ 16 h 184"/>
              <a:gd name="T36" fmla="*/ 168 w 175"/>
              <a:gd name="T37" fmla="*/ 28 h 184"/>
              <a:gd name="T38" fmla="*/ 167 w 175"/>
              <a:gd name="T39" fmla="*/ 72 h 184"/>
              <a:gd name="T40" fmla="*/ 168 w 175"/>
              <a:gd name="T41" fmla="*/ 116 h 184"/>
              <a:gd name="T42" fmla="*/ 175 w 175"/>
              <a:gd name="T43" fmla="*/ 168 h 184"/>
              <a:gd name="T44" fmla="*/ 175 w 175"/>
              <a:gd name="T45" fmla="*/ 179 h 184"/>
              <a:gd name="T46" fmla="*/ 170 w 175"/>
              <a:gd name="T47" fmla="*/ 184 h 184"/>
              <a:gd name="T48" fmla="*/ 163 w 175"/>
              <a:gd name="T49" fmla="*/ 184 h 184"/>
              <a:gd name="T50" fmla="*/ 158 w 175"/>
              <a:gd name="T51" fmla="*/ 182 h 184"/>
              <a:gd name="T52" fmla="*/ 151 w 175"/>
              <a:gd name="T53" fmla="*/ 177 h 184"/>
              <a:gd name="T54" fmla="*/ 147 w 175"/>
              <a:gd name="T55" fmla="*/ 166 h 184"/>
              <a:gd name="T56" fmla="*/ 140 w 175"/>
              <a:gd name="T57" fmla="*/ 110 h 184"/>
              <a:gd name="T58" fmla="*/ 130 w 175"/>
              <a:gd name="T59" fmla="*/ 96 h 184"/>
              <a:gd name="T60" fmla="*/ 112 w 175"/>
              <a:gd name="T61" fmla="*/ 135 h 184"/>
              <a:gd name="T62" fmla="*/ 90 w 175"/>
              <a:gd name="T63" fmla="*/ 159 h 184"/>
              <a:gd name="T64" fmla="*/ 60 w 175"/>
              <a:gd name="T65" fmla="*/ 154 h 184"/>
              <a:gd name="T66" fmla="*/ 34 w 175"/>
              <a:gd name="T67" fmla="*/ 123 h 184"/>
              <a:gd name="T68" fmla="*/ 14 w 175"/>
              <a:gd name="T69" fmla="*/ 75 h 184"/>
              <a:gd name="T70" fmla="*/ 2 w 175"/>
              <a:gd name="T71" fmla="*/ 30 h 184"/>
              <a:gd name="T72" fmla="*/ 0 w 175"/>
              <a:gd name="T73" fmla="*/ 11 h 184"/>
              <a:gd name="T74" fmla="*/ 14 w 175"/>
              <a:gd name="T75" fmla="*/ 0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75" h="184">
                <a:moveTo>
                  <a:pt x="18" y="0"/>
                </a:moveTo>
                <a:lnTo>
                  <a:pt x="21" y="0"/>
                </a:lnTo>
                <a:lnTo>
                  <a:pt x="27" y="2"/>
                </a:lnTo>
                <a:lnTo>
                  <a:pt x="30" y="5"/>
                </a:lnTo>
                <a:lnTo>
                  <a:pt x="32" y="9"/>
                </a:lnTo>
                <a:lnTo>
                  <a:pt x="35" y="16"/>
                </a:lnTo>
                <a:lnTo>
                  <a:pt x="35" y="23"/>
                </a:lnTo>
                <a:lnTo>
                  <a:pt x="39" y="44"/>
                </a:lnTo>
                <a:lnTo>
                  <a:pt x="44" y="65"/>
                </a:lnTo>
                <a:lnTo>
                  <a:pt x="51" y="86"/>
                </a:lnTo>
                <a:lnTo>
                  <a:pt x="58" y="103"/>
                </a:lnTo>
                <a:lnTo>
                  <a:pt x="63" y="116"/>
                </a:lnTo>
                <a:lnTo>
                  <a:pt x="65" y="121"/>
                </a:lnTo>
                <a:lnTo>
                  <a:pt x="69" y="126"/>
                </a:lnTo>
                <a:lnTo>
                  <a:pt x="70" y="130"/>
                </a:lnTo>
                <a:lnTo>
                  <a:pt x="74" y="130"/>
                </a:lnTo>
                <a:lnTo>
                  <a:pt x="76" y="130"/>
                </a:lnTo>
                <a:lnTo>
                  <a:pt x="79" y="128"/>
                </a:lnTo>
                <a:lnTo>
                  <a:pt x="83" y="124"/>
                </a:lnTo>
                <a:lnTo>
                  <a:pt x="88" y="117"/>
                </a:lnTo>
                <a:lnTo>
                  <a:pt x="95" y="107"/>
                </a:lnTo>
                <a:lnTo>
                  <a:pt x="105" y="91"/>
                </a:lnTo>
                <a:lnTo>
                  <a:pt x="116" y="72"/>
                </a:lnTo>
                <a:lnTo>
                  <a:pt x="126" y="49"/>
                </a:lnTo>
                <a:lnTo>
                  <a:pt x="135" y="26"/>
                </a:lnTo>
                <a:lnTo>
                  <a:pt x="137" y="21"/>
                </a:lnTo>
                <a:lnTo>
                  <a:pt x="139" y="16"/>
                </a:lnTo>
                <a:lnTo>
                  <a:pt x="140" y="11"/>
                </a:lnTo>
                <a:lnTo>
                  <a:pt x="142" y="7"/>
                </a:lnTo>
                <a:lnTo>
                  <a:pt x="147" y="4"/>
                </a:lnTo>
                <a:lnTo>
                  <a:pt x="151" y="2"/>
                </a:lnTo>
                <a:lnTo>
                  <a:pt x="156" y="2"/>
                </a:lnTo>
                <a:lnTo>
                  <a:pt x="161" y="2"/>
                </a:lnTo>
                <a:lnTo>
                  <a:pt x="165" y="5"/>
                </a:lnTo>
                <a:lnTo>
                  <a:pt x="167" y="11"/>
                </a:lnTo>
                <a:lnTo>
                  <a:pt x="168" y="16"/>
                </a:lnTo>
                <a:lnTo>
                  <a:pt x="168" y="21"/>
                </a:lnTo>
                <a:lnTo>
                  <a:pt x="168" y="28"/>
                </a:lnTo>
                <a:lnTo>
                  <a:pt x="168" y="51"/>
                </a:lnTo>
                <a:lnTo>
                  <a:pt x="167" y="72"/>
                </a:lnTo>
                <a:lnTo>
                  <a:pt x="167" y="89"/>
                </a:lnTo>
                <a:lnTo>
                  <a:pt x="168" y="116"/>
                </a:lnTo>
                <a:lnTo>
                  <a:pt x="172" y="145"/>
                </a:lnTo>
                <a:lnTo>
                  <a:pt x="175" y="168"/>
                </a:lnTo>
                <a:lnTo>
                  <a:pt x="175" y="173"/>
                </a:lnTo>
                <a:lnTo>
                  <a:pt x="175" y="179"/>
                </a:lnTo>
                <a:lnTo>
                  <a:pt x="174" y="182"/>
                </a:lnTo>
                <a:lnTo>
                  <a:pt x="170" y="184"/>
                </a:lnTo>
                <a:lnTo>
                  <a:pt x="167" y="184"/>
                </a:lnTo>
                <a:lnTo>
                  <a:pt x="163" y="184"/>
                </a:lnTo>
                <a:lnTo>
                  <a:pt x="160" y="184"/>
                </a:lnTo>
                <a:lnTo>
                  <a:pt x="158" y="182"/>
                </a:lnTo>
                <a:lnTo>
                  <a:pt x="153" y="180"/>
                </a:lnTo>
                <a:lnTo>
                  <a:pt x="151" y="177"/>
                </a:lnTo>
                <a:lnTo>
                  <a:pt x="149" y="172"/>
                </a:lnTo>
                <a:lnTo>
                  <a:pt x="147" y="166"/>
                </a:lnTo>
                <a:lnTo>
                  <a:pt x="144" y="142"/>
                </a:lnTo>
                <a:lnTo>
                  <a:pt x="140" y="110"/>
                </a:lnTo>
                <a:lnTo>
                  <a:pt x="139" y="79"/>
                </a:lnTo>
                <a:lnTo>
                  <a:pt x="130" y="96"/>
                </a:lnTo>
                <a:lnTo>
                  <a:pt x="121" y="116"/>
                </a:lnTo>
                <a:lnTo>
                  <a:pt x="112" y="135"/>
                </a:lnTo>
                <a:lnTo>
                  <a:pt x="100" y="149"/>
                </a:lnTo>
                <a:lnTo>
                  <a:pt x="90" y="159"/>
                </a:lnTo>
                <a:lnTo>
                  <a:pt x="76" y="161"/>
                </a:lnTo>
                <a:lnTo>
                  <a:pt x="60" y="154"/>
                </a:lnTo>
                <a:lnTo>
                  <a:pt x="46" y="140"/>
                </a:lnTo>
                <a:lnTo>
                  <a:pt x="34" y="123"/>
                </a:lnTo>
                <a:lnTo>
                  <a:pt x="23" y="100"/>
                </a:lnTo>
                <a:lnTo>
                  <a:pt x="14" y="75"/>
                </a:lnTo>
                <a:lnTo>
                  <a:pt x="7" y="51"/>
                </a:lnTo>
                <a:lnTo>
                  <a:pt x="2" y="30"/>
                </a:lnTo>
                <a:lnTo>
                  <a:pt x="0" y="19"/>
                </a:lnTo>
                <a:lnTo>
                  <a:pt x="0" y="11"/>
                </a:lnTo>
                <a:lnTo>
                  <a:pt x="4" y="4"/>
                </a:lnTo>
                <a:lnTo>
                  <a:pt x="14" y="0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2"/>
          <p:cNvSpPr>
            <a:spLocks/>
          </p:cNvSpPr>
          <p:nvPr userDrawn="1"/>
        </p:nvSpPr>
        <p:spPr bwMode="auto">
          <a:xfrm>
            <a:off x="4559974" y="3555217"/>
            <a:ext cx="162076" cy="211946"/>
          </a:xfrm>
          <a:custGeom>
            <a:avLst/>
            <a:gdLst>
              <a:gd name="T0" fmla="*/ 136 w 143"/>
              <a:gd name="T1" fmla="*/ 5 h 187"/>
              <a:gd name="T2" fmla="*/ 143 w 143"/>
              <a:gd name="T3" fmla="*/ 28 h 187"/>
              <a:gd name="T4" fmla="*/ 134 w 143"/>
              <a:gd name="T5" fmla="*/ 51 h 187"/>
              <a:gd name="T6" fmla="*/ 127 w 143"/>
              <a:gd name="T7" fmla="*/ 61 h 187"/>
              <a:gd name="T8" fmla="*/ 119 w 143"/>
              <a:gd name="T9" fmla="*/ 63 h 187"/>
              <a:gd name="T10" fmla="*/ 112 w 143"/>
              <a:gd name="T11" fmla="*/ 61 h 187"/>
              <a:gd name="T12" fmla="*/ 110 w 143"/>
              <a:gd name="T13" fmla="*/ 58 h 187"/>
              <a:gd name="T14" fmla="*/ 112 w 143"/>
              <a:gd name="T15" fmla="*/ 51 h 187"/>
              <a:gd name="T16" fmla="*/ 112 w 143"/>
              <a:gd name="T17" fmla="*/ 44 h 187"/>
              <a:gd name="T18" fmla="*/ 108 w 143"/>
              <a:gd name="T19" fmla="*/ 40 h 187"/>
              <a:gd name="T20" fmla="*/ 94 w 143"/>
              <a:gd name="T21" fmla="*/ 44 h 187"/>
              <a:gd name="T22" fmla="*/ 71 w 143"/>
              <a:gd name="T23" fmla="*/ 87 h 187"/>
              <a:gd name="T24" fmla="*/ 56 w 143"/>
              <a:gd name="T25" fmla="*/ 149 h 187"/>
              <a:gd name="T26" fmla="*/ 52 w 143"/>
              <a:gd name="T27" fmla="*/ 178 h 187"/>
              <a:gd name="T28" fmla="*/ 49 w 143"/>
              <a:gd name="T29" fmla="*/ 185 h 187"/>
              <a:gd name="T30" fmla="*/ 42 w 143"/>
              <a:gd name="T31" fmla="*/ 187 h 187"/>
              <a:gd name="T32" fmla="*/ 31 w 143"/>
              <a:gd name="T33" fmla="*/ 187 h 187"/>
              <a:gd name="T34" fmla="*/ 24 w 143"/>
              <a:gd name="T35" fmla="*/ 182 h 187"/>
              <a:gd name="T36" fmla="*/ 19 w 143"/>
              <a:gd name="T37" fmla="*/ 171 h 187"/>
              <a:gd name="T38" fmla="*/ 14 w 143"/>
              <a:gd name="T39" fmla="*/ 138 h 187"/>
              <a:gd name="T40" fmla="*/ 9 w 143"/>
              <a:gd name="T41" fmla="*/ 100 h 187"/>
              <a:gd name="T42" fmla="*/ 3 w 143"/>
              <a:gd name="T43" fmla="*/ 52 h 187"/>
              <a:gd name="T44" fmla="*/ 0 w 143"/>
              <a:gd name="T45" fmla="*/ 23 h 187"/>
              <a:gd name="T46" fmla="*/ 0 w 143"/>
              <a:gd name="T47" fmla="*/ 12 h 187"/>
              <a:gd name="T48" fmla="*/ 3 w 143"/>
              <a:gd name="T49" fmla="*/ 7 h 187"/>
              <a:gd name="T50" fmla="*/ 12 w 143"/>
              <a:gd name="T51" fmla="*/ 3 h 187"/>
              <a:gd name="T52" fmla="*/ 23 w 143"/>
              <a:gd name="T53" fmla="*/ 7 h 187"/>
              <a:gd name="T54" fmla="*/ 28 w 143"/>
              <a:gd name="T55" fmla="*/ 14 h 187"/>
              <a:gd name="T56" fmla="*/ 33 w 143"/>
              <a:gd name="T57" fmla="*/ 38 h 187"/>
              <a:gd name="T58" fmla="*/ 38 w 143"/>
              <a:gd name="T59" fmla="*/ 91 h 187"/>
              <a:gd name="T60" fmla="*/ 49 w 143"/>
              <a:gd name="T61" fmla="*/ 82 h 187"/>
              <a:gd name="T62" fmla="*/ 75 w 143"/>
              <a:gd name="T63" fmla="*/ 26 h 187"/>
              <a:gd name="T64" fmla="*/ 106 w 143"/>
              <a:gd name="T65" fmla="*/ 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3" h="187">
                <a:moveTo>
                  <a:pt x="126" y="0"/>
                </a:moveTo>
                <a:lnTo>
                  <a:pt x="136" y="5"/>
                </a:lnTo>
                <a:lnTo>
                  <a:pt x="141" y="16"/>
                </a:lnTo>
                <a:lnTo>
                  <a:pt x="143" y="28"/>
                </a:lnTo>
                <a:lnTo>
                  <a:pt x="140" y="42"/>
                </a:lnTo>
                <a:lnTo>
                  <a:pt x="134" y="51"/>
                </a:lnTo>
                <a:lnTo>
                  <a:pt x="131" y="56"/>
                </a:lnTo>
                <a:lnTo>
                  <a:pt x="127" y="61"/>
                </a:lnTo>
                <a:lnTo>
                  <a:pt x="122" y="63"/>
                </a:lnTo>
                <a:lnTo>
                  <a:pt x="119" y="63"/>
                </a:lnTo>
                <a:lnTo>
                  <a:pt x="113" y="63"/>
                </a:lnTo>
                <a:lnTo>
                  <a:pt x="112" y="61"/>
                </a:lnTo>
                <a:lnTo>
                  <a:pt x="110" y="59"/>
                </a:lnTo>
                <a:lnTo>
                  <a:pt x="110" y="58"/>
                </a:lnTo>
                <a:lnTo>
                  <a:pt x="112" y="54"/>
                </a:lnTo>
                <a:lnTo>
                  <a:pt x="112" y="51"/>
                </a:lnTo>
                <a:lnTo>
                  <a:pt x="112" y="47"/>
                </a:lnTo>
                <a:lnTo>
                  <a:pt x="112" y="44"/>
                </a:lnTo>
                <a:lnTo>
                  <a:pt x="112" y="42"/>
                </a:lnTo>
                <a:lnTo>
                  <a:pt x="108" y="40"/>
                </a:lnTo>
                <a:lnTo>
                  <a:pt x="105" y="38"/>
                </a:lnTo>
                <a:lnTo>
                  <a:pt x="94" y="44"/>
                </a:lnTo>
                <a:lnTo>
                  <a:pt x="84" y="59"/>
                </a:lnTo>
                <a:lnTo>
                  <a:pt x="71" y="87"/>
                </a:lnTo>
                <a:lnTo>
                  <a:pt x="63" y="121"/>
                </a:lnTo>
                <a:lnTo>
                  <a:pt x="56" y="149"/>
                </a:lnTo>
                <a:lnTo>
                  <a:pt x="54" y="173"/>
                </a:lnTo>
                <a:lnTo>
                  <a:pt x="52" y="178"/>
                </a:lnTo>
                <a:lnTo>
                  <a:pt x="50" y="184"/>
                </a:lnTo>
                <a:lnTo>
                  <a:pt x="49" y="185"/>
                </a:lnTo>
                <a:lnTo>
                  <a:pt x="45" y="187"/>
                </a:lnTo>
                <a:lnTo>
                  <a:pt x="42" y="187"/>
                </a:lnTo>
                <a:lnTo>
                  <a:pt x="38" y="187"/>
                </a:lnTo>
                <a:lnTo>
                  <a:pt x="31" y="187"/>
                </a:lnTo>
                <a:lnTo>
                  <a:pt x="28" y="184"/>
                </a:lnTo>
                <a:lnTo>
                  <a:pt x="24" y="182"/>
                </a:lnTo>
                <a:lnTo>
                  <a:pt x="23" y="178"/>
                </a:lnTo>
                <a:lnTo>
                  <a:pt x="19" y="171"/>
                </a:lnTo>
                <a:lnTo>
                  <a:pt x="16" y="159"/>
                </a:lnTo>
                <a:lnTo>
                  <a:pt x="14" y="138"/>
                </a:lnTo>
                <a:lnTo>
                  <a:pt x="12" y="121"/>
                </a:lnTo>
                <a:lnTo>
                  <a:pt x="9" y="100"/>
                </a:lnTo>
                <a:lnTo>
                  <a:pt x="7" y="75"/>
                </a:lnTo>
                <a:lnTo>
                  <a:pt x="3" y="52"/>
                </a:lnTo>
                <a:lnTo>
                  <a:pt x="2" y="35"/>
                </a:lnTo>
                <a:lnTo>
                  <a:pt x="0" y="23"/>
                </a:lnTo>
                <a:lnTo>
                  <a:pt x="0" y="17"/>
                </a:lnTo>
                <a:lnTo>
                  <a:pt x="0" y="12"/>
                </a:lnTo>
                <a:lnTo>
                  <a:pt x="2" y="9"/>
                </a:lnTo>
                <a:lnTo>
                  <a:pt x="3" y="7"/>
                </a:lnTo>
                <a:lnTo>
                  <a:pt x="7" y="5"/>
                </a:lnTo>
                <a:lnTo>
                  <a:pt x="12" y="3"/>
                </a:lnTo>
                <a:lnTo>
                  <a:pt x="19" y="5"/>
                </a:lnTo>
                <a:lnTo>
                  <a:pt x="23" y="7"/>
                </a:lnTo>
                <a:lnTo>
                  <a:pt x="26" y="10"/>
                </a:lnTo>
                <a:lnTo>
                  <a:pt x="28" y="14"/>
                </a:lnTo>
                <a:lnTo>
                  <a:pt x="30" y="19"/>
                </a:lnTo>
                <a:lnTo>
                  <a:pt x="33" y="38"/>
                </a:lnTo>
                <a:lnTo>
                  <a:pt x="36" y="63"/>
                </a:lnTo>
                <a:lnTo>
                  <a:pt x="38" y="91"/>
                </a:lnTo>
                <a:lnTo>
                  <a:pt x="42" y="119"/>
                </a:lnTo>
                <a:lnTo>
                  <a:pt x="49" y="82"/>
                </a:lnTo>
                <a:lnTo>
                  <a:pt x="61" y="51"/>
                </a:lnTo>
                <a:lnTo>
                  <a:pt x="75" y="26"/>
                </a:lnTo>
                <a:lnTo>
                  <a:pt x="89" y="9"/>
                </a:lnTo>
                <a:lnTo>
                  <a:pt x="106" y="0"/>
                </a:lnTo>
                <a:lnTo>
                  <a:pt x="126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0" name="Groep 99"/>
          <p:cNvGrpSpPr/>
          <p:nvPr userDrawn="1"/>
        </p:nvGrpSpPr>
        <p:grpSpPr>
          <a:xfrm>
            <a:off x="4763985" y="3483813"/>
            <a:ext cx="61203" cy="277682"/>
            <a:chOff x="4763985" y="3483813"/>
            <a:chExt cx="61203" cy="277682"/>
          </a:xfrm>
        </p:grpSpPr>
        <p:sp>
          <p:nvSpPr>
            <p:cNvPr id="66" name="Freeform 43"/>
            <p:cNvSpPr>
              <a:spLocks/>
            </p:cNvSpPr>
            <p:nvPr userDrawn="1"/>
          </p:nvSpPr>
          <p:spPr bwMode="auto">
            <a:xfrm>
              <a:off x="4763985" y="3574484"/>
              <a:ext cx="61203" cy="187011"/>
            </a:xfrm>
            <a:custGeom>
              <a:avLst/>
              <a:gdLst>
                <a:gd name="T0" fmla="*/ 21 w 54"/>
                <a:gd name="T1" fmla="*/ 0 h 165"/>
                <a:gd name="T2" fmla="*/ 26 w 54"/>
                <a:gd name="T3" fmla="*/ 2 h 165"/>
                <a:gd name="T4" fmla="*/ 31 w 54"/>
                <a:gd name="T5" fmla="*/ 4 h 165"/>
                <a:gd name="T6" fmla="*/ 33 w 54"/>
                <a:gd name="T7" fmla="*/ 6 h 165"/>
                <a:gd name="T8" fmla="*/ 35 w 54"/>
                <a:gd name="T9" fmla="*/ 11 h 165"/>
                <a:gd name="T10" fmla="*/ 37 w 54"/>
                <a:gd name="T11" fmla="*/ 14 h 165"/>
                <a:gd name="T12" fmla="*/ 37 w 54"/>
                <a:gd name="T13" fmla="*/ 20 h 165"/>
                <a:gd name="T14" fmla="*/ 37 w 54"/>
                <a:gd name="T15" fmla="*/ 35 h 165"/>
                <a:gd name="T16" fmla="*/ 37 w 54"/>
                <a:gd name="T17" fmla="*/ 62 h 165"/>
                <a:gd name="T18" fmla="*/ 38 w 54"/>
                <a:gd name="T19" fmla="*/ 93 h 165"/>
                <a:gd name="T20" fmla="*/ 40 w 54"/>
                <a:gd name="T21" fmla="*/ 119 h 165"/>
                <a:gd name="T22" fmla="*/ 44 w 54"/>
                <a:gd name="T23" fmla="*/ 137 h 165"/>
                <a:gd name="T24" fmla="*/ 51 w 54"/>
                <a:gd name="T25" fmla="*/ 149 h 165"/>
                <a:gd name="T26" fmla="*/ 52 w 54"/>
                <a:gd name="T27" fmla="*/ 151 h 165"/>
                <a:gd name="T28" fmla="*/ 52 w 54"/>
                <a:gd name="T29" fmla="*/ 154 h 165"/>
                <a:gd name="T30" fmla="*/ 54 w 54"/>
                <a:gd name="T31" fmla="*/ 158 h 165"/>
                <a:gd name="T32" fmla="*/ 52 w 54"/>
                <a:gd name="T33" fmla="*/ 160 h 165"/>
                <a:gd name="T34" fmla="*/ 51 w 54"/>
                <a:gd name="T35" fmla="*/ 163 h 165"/>
                <a:gd name="T36" fmla="*/ 47 w 54"/>
                <a:gd name="T37" fmla="*/ 165 h 165"/>
                <a:gd name="T38" fmla="*/ 38 w 54"/>
                <a:gd name="T39" fmla="*/ 165 h 165"/>
                <a:gd name="T40" fmla="*/ 30 w 54"/>
                <a:gd name="T41" fmla="*/ 163 h 165"/>
                <a:gd name="T42" fmla="*/ 21 w 54"/>
                <a:gd name="T43" fmla="*/ 156 h 165"/>
                <a:gd name="T44" fmla="*/ 16 w 54"/>
                <a:gd name="T45" fmla="*/ 144 h 165"/>
                <a:gd name="T46" fmla="*/ 9 w 54"/>
                <a:gd name="T47" fmla="*/ 121 h 165"/>
                <a:gd name="T48" fmla="*/ 5 w 54"/>
                <a:gd name="T49" fmla="*/ 95 h 165"/>
                <a:gd name="T50" fmla="*/ 2 w 54"/>
                <a:gd name="T51" fmla="*/ 67 h 165"/>
                <a:gd name="T52" fmla="*/ 0 w 54"/>
                <a:gd name="T53" fmla="*/ 44 h 165"/>
                <a:gd name="T54" fmla="*/ 0 w 54"/>
                <a:gd name="T55" fmla="*/ 25 h 165"/>
                <a:gd name="T56" fmla="*/ 0 w 54"/>
                <a:gd name="T57" fmla="*/ 18 h 165"/>
                <a:gd name="T58" fmla="*/ 2 w 54"/>
                <a:gd name="T59" fmla="*/ 11 h 165"/>
                <a:gd name="T60" fmla="*/ 5 w 54"/>
                <a:gd name="T61" fmla="*/ 6 h 165"/>
                <a:gd name="T62" fmla="*/ 9 w 54"/>
                <a:gd name="T63" fmla="*/ 2 h 165"/>
                <a:gd name="T64" fmla="*/ 14 w 54"/>
                <a:gd name="T65" fmla="*/ 0 h 165"/>
                <a:gd name="T66" fmla="*/ 21 w 54"/>
                <a:gd name="T67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165">
                  <a:moveTo>
                    <a:pt x="21" y="0"/>
                  </a:moveTo>
                  <a:lnTo>
                    <a:pt x="26" y="2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5" y="11"/>
                  </a:lnTo>
                  <a:lnTo>
                    <a:pt x="37" y="14"/>
                  </a:lnTo>
                  <a:lnTo>
                    <a:pt x="37" y="20"/>
                  </a:lnTo>
                  <a:lnTo>
                    <a:pt x="37" y="35"/>
                  </a:lnTo>
                  <a:lnTo>
                    <a:pt x="37" y="62"/>
                  </a:lnTo>
                  <a:lnTo>
                    <a:pt x="38" y="93"/>
                  </a:lnTo>
                  <a:lnTo>
                    <a:pt x="40" y="119"/>
                  </a:lnTo>
                  <a:lnTo>
                    <a:pt x="44" y="137"/>
                  </a:lnTo>
                  <a:lnTo>
                    <a:pt x="51" y="149"/>
                  </a:lnTo>
                  <a:lnTo>
                    <a:pt x="52" y="151"/>
                  </a:lnTo>
                  <a:lnTo>
                    <a:pt x="52" y="154"/>
                  </a:lnTo>
                  <a:lnTo>
                    <a:pt x="54" y="158"/>
                  </a:lnTo>
                  <a:lnTo>
                    <a:pt x="52" y="160"/>
                  </a:lnTo>
                  <a:lnTo>
                    <a:pt x="51" y="163"/>
                  </a:lnTo>
                  <a:lnTo>
                    <a:pt x="47" y="165"/>
                  </a:lnTo>
                  <a:lnTo>
                    <a:pt x="38" y="165"/>
                  </a:lnTo>
                  <a:lnTo>
                    <a:pt x="30" y="163"/>
                  </a:lnTo>
                  <a:lnTo>
                    <a:pt x="21" y="156"/>
                  </a:lnTo>
                  <a:lnTo>
                    <a:pt x="16" y="144"/>
                  </a:lnTo>
                  <a:lnTo>
                    <a:pt x="9" y="121"/>
                  </a:lnTo>
                  <a:lnTo>
                    <a:pt x="5" y="95"/>
                  </a:lnTo>
                  <a:lnTo>
                    <a:pt x="2" y="67"/>
                  </a:lnTo>
                  <a:lnTo>
                    <a:pt x="0" y="44"/>
                  </a:lnTo>
                  <a:lnTo>
                    <a:pt x="0" y="25"/>
                  </a:lnTo>
                  <a:lnTo>
                    <a:pt x="0" y="18"/>
                  </a:lnTo>
                  <a:lnTo>
                    <a:pt x="2" y="11"/>
                  </a:lnTo>
                  <a:lnTo>
                    <a:pt x="5" y="6"/>
                  </a:lnTo>
                  <a:lnTo>
                    <a:pt x="9" y="2"/>
                  </a:lnTo>
                  <a:lnTo>
                    <a:pt x="14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4"/>
            <p:cNvSpPr>
              <a:spLocks/>
            </p:cNvSpPr>
            <p:nvPr userDrawn="1"/>
          </p:nvSpPr>
          <p:spPr bwMode="auto">
            <a:xfrm>
              <a:off x="4767386" y="3483813"/>
              <a:ext cx="44202" cy="27202"/>
            </a:xfrm>
            <a:custGeom>
              <a:avLst/>
              <a:gdLst>
                <a:gd name="T0" fmla="*/ 20 w 39"/>
                <a:gd name="T1" fmla="*/ 0 h 24"/>
                <a:gd name="T2" fmla="*/ 27 w 39"/>
                <a:gd name="T3" fmla="*/ 0 h 24"/>
                <a:gd name="T4" fmla="*/ 32 w 39"/>
                <a:gd name="T5" fmla="*/ 3 h 24"/>
                <a:gd name="T6" fmla="*/ 35 w 39"/>
                <a:gd name="T7" fmla="*/ 7 h 24"/>
                <a:gd name="T8" fmla="*/ 39 w 39"/>
                <a:gd name="T9" fmla="*/ 10 h 24"/>
                <a:gd name="T10" fmla="*/ 39 w 39"/>
                <a:gd name="T11" fmla="*/ 14 h 24"/>
                <a:gd name="T12" fmla="*/ 37 w 39"/>
                <a:gd name="T13" fmla="*/ 17 h 24"/>
                <a:gd name="T14" fmla="*/ 35 w 39"/>
                <a:gd name="T15" fmla="*/ 19 h 24"/>
                <a:gd name="T16" fmla="*/ 30 w 39"/>
                <a:gd name="T17" fmla="*/ 21 h 24"/>
                <a:gd name="T18" fmla="*/ 27 w 39"/>
                <a:gd name="T19" fmla="*/ 23 h 24"/>
                <a:gd name="T20" fmla="*/ 20 w 39"/>
                <a:gd name="T21" fmla="*/ 24 h 24"/>
                <a:gd name="T22" fmla="*/ 16 w 39"/>
                <a:gd name="T23" fmla="*/ 24 h 24"/>
                <a:gd name="T24" fmla="*/ 13 w 39"/>
                <a:gd name="T25" fmla="*/ 23 h 24"/>
                <a:gd name="T26" fmla="*/ 7 w 39"/>
                <a:gd name="T27" fmla="*/ 23 h 24"/>
                <a:gd name="T28" fmla="*/ 4 w 39"/>
                <a:gd name="T29" fmla="*/ 21 h 24"/>
                <a:gd name="T30" fmla="*/ 2 w 39"/>
                <a:gd name="T31" fmla="*/ 17 h 24"/>
                <a:gd name="T32" fmla="*/ 0 w 39"/>
                <a:gd name="T33" fmla="*/ 14 h 24"/>
                <a:gd name="T34" fmla="*/ 0 w 39"/>
                <a:gd name="T35" fmla="*/ 10 h 24"/>
                <a:gd name="T36" fmla="*/ 2 w 39"/>
                <a:gd name="T37" fmla="*/ 7 h 24"/>
                <a:gd name="T38" fmla="*/ 4 w 39"/>
                <a:gd name="T39" fmla="*/ 3 h 24"/>
                <a:gd name="T40" fmla="*/ 6 w 39"/>
                <a:gd name="T41" fmla="*/ 2 h 24"/>
                <a:gd name="T42" fmla="*/ 9 w 39"/>
                <a:gd name="T43" fmla="*/ 0 h 24"/>
                <a:gd name="T44" fmla="*/ 14 w 39"/>
                <a:gd name="T45" fmla="*/ 0 h 24"/>
                <a:gd name="T46" fmla="*/ 20 w 39"/>
                <a:gd name="T4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24">
                  <a:moveTo>
                    <a:pt x="20" y="0"/>
                  </a:moveTo>
                  <a:lnTo>
                    <a:pt x="27" y="0"/>
                  </a:lnTo>
                  <a:lnTo>
                    <a:pt x="32" y="3"/>
                  </a:lnTo>
                  <a:lnTo>
                    <a:pt x="35" y="7"/>
                  </a:lnTo>
                  <a:lnTo>
                    <a:pt x="39" y="10"/>
                  </a:lnTo>
                  <a:lnTo>
                    <a:pt x="39" y="14"/>
                  </a:lnTo>
                  <a:lnTo>
                    <a:pt x="37" y="17"/>
                  </a:lnTo>
                  <a:lnTo>
                    <a:pt x="35" y="19"/>
                  </a:lnTo>
                  <a:lnTo>
                    <a:pt x="30" y="21"/>
                  </a:lnTo>
                  <a:lnTo>
                    <a:pt x="27" y="23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7"/>
                  </a:lnTo>
                  <a:lnTo>
                    <a:pt x="4" y="3"/>
                  </a:lnTo>
                  <a:lnTo>
                    <a:pt x="6" y="2"/>
                  </a:lnTo>
                  <a:lnTo>
                    <a:pt x="9" y="0"/>
                  </a:lnTo>
                  <a:lnTo>
                    <a:pt x="14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8" name="Freeform 45"/>
          <p:cNvSpPr>
            <a:spLocks/>
          </p:cNvSpPr>
          <p:nvPr userDrawn="1"/>
        </p:nvSpPr>
        <p:spPr bwMode="auto">
          <a:xfrm>
            <a:off x="4843324" y="3518949"/>
            <a:ext cx="150742" cy="295816"/>
          </a:xfrm>
          <a:custGeom>
            <a:avLst/>
            <a:gdLst>
              <a:gd name="T0" fmla="*/ 72 w 133"/>
              <a:gd name="T1" fmla="*/ 2 h 261"/>
              <a:gd name="T2" fmla="*/ 99 w 133"/>
              <a:gd name="T3" fmla="*/ 14 h 261"/>
              <a:gd name="T4" fmla="*/ 112 w 133"/>
              <a:gd name="T5" fmla="*/ 39 h 261"/>
              <a:gd name="T6" fmla="*/ 99 w 133"/>
              <a:gd name="T7" fmla="*/ 55 h 261"/>
              <a:gd name="T8" fmla="*/ 89 w 133"/>
              <a:gd name="T9" fmla="*/ 55 h 261"/>
              <a:gd name="T10" fmla="*/ 82 w 133"/>
              <a:gd name="T11" fmla="*/ 49 h 261"/>
              <a:gd name="T12" fmla="*/ 73 w 133"/>
              <a:gd name="T13" fmla="*/ 34 h 261"/>
              <a:gd name="T14" fmla="*/ 54 w 133"/>
              <a:gd name="T15" fmla="*/ 27 h 261"/>
              <a:gd name="T16" fmla="*/ 38 w 133"/>
              <a:gd name="T17" fmla="*/ 30 h 261"/>
              <a:gd name="T18" fmla="*/ 33 w 133"/>
              <a:gd name="T19" fmla="*/ 39 h 261"/>
              <a:gd name="T20" fmla="*/ 35 w 133"/>
              <a:gd name="T21" fmla="*/ 49 h 261"/>
              <a:gd name="T22" fmla="*/ 45 w 133"/>
              <a:gd name="T23" fmla="*/ 65 h 261"/>
              <a:gd name="T24" fmla="*/ 72 w 133"/>
              <a:gd name="T25" fmla="*/ 90 h 261"/>
              <a:gd name="T26" fmla="*/ 105 w 133"/>
              <a:gd name="T27" fmla="*/ 123 h 261"/>
              <a:gd name="T28" fmla="*/ 129 w 133"/>
              <a:gd name="T29" fmla="*/ 158 h 261"/>
              <a:gd name="T30" fmla="*/ 127 w 133"/>
              <a:gd name="T31" fmla="*/ 198 h 261"/>
              <a:gd name="T32" fmla="*/ 99 w 133"/>
              <a:gd name="T33" fmla="*/ 235 h 261"/>
              <a:gd name="T34" fmla="*/ 66 w 133"/>
              <a:gd name="T35" fmla="*/ 256 h 261"/>
              <a:gd name="T36" fmla="*/ 35 w 133"/>
              <a:gd name="T37" fmla="*/ 261 h 261"/>
              <a:gd name="T38" fmla="*/ 16 w 133"/>
              <a:gd name="T39" fmla="*/ 251 h 261"/>
              <a:gd name="T40" fmla="*/ 3 w 133"/>
              <a:gd name="T41" fmla="*/ 235 h 261"/>
              <a:gd name="T42" fmla="*/ 2 w 133"/>
              <a:gd name="T43" fmla="*/ 217 h 261"/>
              <a:gd name="T44" fmla="*/ 7 w 133"/>
              <a:gd name="T45" fmla="*/ 214 h 261"/>
              <a:gd name="T46" fmla="*/ 12 w 133"/>
              <a:gd name="T47" fmla="*/ 216 h 261"/>
              <a:gd name="T48" fmla="*/ 21 w 133"/>
              <a:gd name="T49" fmla="*/ 226 h 261"/>
              <a:gd name="T50" fmla="*/ 44 w 133"/>
              <a:gd name="T51" fmla="*/ 237 h 261"/>
              <a:gd name="T52" fmla="*/ 82 w 133"/>
              <a:gd name="T53" fmla="*/ 219 h 261"/>
              <a:gd name="T54" fmla="*/ 101 w 133"/>
              <a:gd name="T55" fmla="*/ 181 h 261"/>
              <a:gd name="T56" fmla="*/ 87 w 133"/>
              <a:gd name="T57" fmla="*/ 146 h 261"/>
              <a:gd name="T58" fmla="*/ 47 w 133"/>
              <a:gd name="T59" fmla="*/ 107 h 261"/>
              <a:gd name="T60" fmla="*/ 12 w 133"/>
              <a:gd name="T61" fmla="*/ 70 h 261"/>
              <a:gd name="T62" fmla="*/ 0 w 133"/>
              <a:gd name="T63" fmla="*/ 39 h 261"/>
              <a:gd name="T64" fmla="*/ 12 w 133"/>
              <a:gd name="T65" fmla="*/ 13 h 261"/>
              <a:gd name="T66" fmla="*/ 51 w 133"/>
              <a:gd name="T67" fmla="*/ 0 h 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3" h="261">
                <a:moveTo>
                  <a:pt x="51" y="0"/>
                </a:moveTo>
                <a:lnTo>
                  <a:pt x="72" y="2"/>
                </a:lnTo>
                <a:lnTo>
                  <a:pt x="87" y="7"/>
                </a:lnTo>
                <a:lnTo>
                  <a:pt x="99" y="14"/>
                </a:lnTo>
                <a:lnTo>
                  <a:pt x="108" y="25"/>
                </a:lnTo>
                <a:lnTo>
                  <a:pt x="112" y="39"/>
                </a:lnTo>
                <a:lnTo>
                  <a:pt x="108" y="49"/>
                </a:lnTo>
                <a:lnTo>
                  <a:pt x="99" y="55"/>
                </a:lnTo>
                <a:lnTo>
                  <a:pt x="92" y="56"/>
                </a:lnTo>
                <a:lnTo>
                  <a:pt x="89" y="55"/>
                </a:lnTo>
                <a:lnTo>
                  <a:pt x="85" y="53"/>
                </a:lnTo>
                <a:lnTo>
                  <a:pt x="82" y="49"/>
                </a:lnTo>
                <a:lnTo>
                  <a:pt x="80" y="44"/>
                </a:lnTo>
                <a:lnTo>
                  <a:pt x="73" y="34"/>
                </a:lnTo>
                <a:lnTo>
                  <a:pt x="65" y="28"/>
                </a:lnTo>
                <a:lnTo>
                  <a:pt x="54" y="27"/>
                </a:lnTo>
                <a:lnTo>
                  <a:pt x="44" y="28"/>
                </a:lnTo>
                <a:lnTo>
                  <a:pt x="38" y="30"/>
                </a:lnTo>
                <a:lnTo>
                  <a:pt x="35" y="34"/>
                </a:lnTo>
                <a:lnTo>
                  <a:pt x="33" y="39"/>
                </a:lnTo>
                <a:lnTo>
                  <a:pt x="33" y="44"/>
                </a:lnTo>
                <a:lnTo>
                  <a:pt x="35" y="49"/>
                </a:lnTo>
                <a:lnTo>
                  <a:pt x="38" y="55"/>
                </a:lnTo>
                <a:lnTo>
                  <a:pt x="45" y="65"/>
                </a:lnTo>
                <a:lnTo>
                  <a:pt x="58" y="77"/>
                </a:lnTo>
                <a:lnTo>
                  <a:pt x="72" y="90"/>
                </a:lnTo>
                <a:lnTo>
                  <a:pt x="84" y="104"/>
                </a:lnTo>
                <a:lnTo>
                  <a:pt x="105" y="123"/>
                </a:lnTo>
                <a:lnTo>
                  <a:pt x="120" y="142"/>
                </a:lnTo>
                <a:lnTo>
                  <a:pt x="129" y="158"/>
                </a:lnTo>
                <a:lnTo>
                  <a:pt x="133" y="175"/>
                </a:lnTo>
                <a:lnTo>
                  <a:pt x="127" y="198"/>
                </a:lnTo>
                <a:lnTo>
                  <a:pt x="115" y="219"/>
                </a:lnTo>
                <a:lnTo>
                  <a:pt x="99" y="235"/>
                </a:lnTo>
                <a:lnTo>
                  <a:pt x="82" y="249"/>
                </a:lnTo>
                <a:lnTo>
                  <a:pt x="66" y="256"/>
                </a:lnTo>
                <a:lnTo>
                  <a:pt x="49" y="261"/>
                </a:lnTo>
                <a:lnTo>
                  <a:pt x="35" y="261"/>
                </a:lnTo>
                <a:lnTo>
                  <a:pt x="23" y="258"/>
                </a:lnTo>
                <a:lnTo>
                  <a:pt x="16" y="251"/>
                </a:lnTo>
                <a:lnTo>
                  <a:pt x="9" y="244"/>
                </a:lnTo>
                <a:lnTo>
                  <a:pt x="3" y="235"/>
                </a:lnTo>
                <a:lnTo>
                  <a:pt x="2" y="223"/>
                </a:lnTo>
                <a:lnTo>
                  <a:pt x="2" y="217"/>
                </a:lnTo>
                <a:lnTo>
                  <a:pt x="3" y="216"/>
                </a:lnTo>
                <a:lnTo>
                  <a:pt x="7" y="214"/>
                </a:lnTo>
                <a:lnTo>
                  <a:pt x="10" y="214"/>
                </a:lnTo>
                <a:lnTo>
                  <a:pt x="12" y="216"/>
                </a:lnTo>
                <a:lnTo>
                  <a:pt x="16" y="217"/>
                </a:lnTo>
                <a:lnTo>
                  <a:pt x="21" y="226"/>
                </a:lnTo>
                <a:lnTo>
                  <a:pt x="31" y="233"/>
                </a:lnTo>
                <a:lnTo>
                  <a:pt x="44" y="237"/>
                </a:lnTo>
                <a:lnTo>
                  <a:pt x="65" y="231"/>
                </a:lnTo>
                <a:lnTo>
                  <a:pt x="82" y="219"/>
                </a:lnTo>
                <a:lnTo>
                  <a:pt x="96" y="200"/>
                </a:lnTo>
                <a:lnTo>
                  <a:pt x="101" y="181"/>
                </a:lnTo>
                <a:lnTo>
                  <a:pt x="99" y="163"/>
                </a:lnTo>
                <a:lnTo>
                  <a:pt x="87" y="146"/>
                </a:lnTo>
                <a:lnTo>
                  <a:pt x="70" y="128"/>
                </a:lnTo>
                <a:lnTo>
                  <a:pt x="47" y="107"/>
                </a:lnTo>
                <a:lnTo>
                  <a:pt x="26" y="88"/>
                </a:lnTo>
                <a:lnTo>
                  <a:pt x="12" y="70"/>
                </a:lnTo>
                <a:lnTo>
                  <a:pt x="3" y="53"/>
                </a:lnTo>
                <a:lnTo>
                  <a:pt x="0" y="39"/>
                </a:lnTo>
                <a:lnTo>
                  <a:pt x="3" y="25"/>
                </a:lnTo>
                <a:lnTo>
                  <a:pt x="12" y="13"/>
                </a:lnTo>
                <a:lnTo>
                  <a:pt x="28" y="4"/>
                </a:lnTo>
                <a:lnTo>
                  <a:pt x="51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Freeform 46"/>
          <p:cNvSpPr>
            <a:spLocks/>
          </p:cNvSpPr>
          <p:nvPr userDrawn="1"/>
        </p:nvSpPr>
        <p:spPr bwMode="auto">
          <a:xfrm>
            <a:off x="5023533" y="3452078"/>
            <a:ext cx="166609" cy="360420"/>
          </a:xfrm>
          <a:custGeom>
            <a:avLst/>
            <a:gdLst>
              <a:gd name="T0" fmla="*/ 26 w 147"/>
              <a:gd name="T1" fmla="*/ 2 h 318"/>
              <a:gd name="T2" fmla="*/ 35 w 147"/>
              <a:gd name="T3" fmla="*/ 9 h 318"/>
              <a:gd name="T4" fmla="*/ 38 w 147"/>
              <a:gd name="T5" fmla="*/ 21 h 318"/>
              <a:gd name="T6" fmla="*/ 31 w 147"/>
              <a:gd name="T7" fmla="*/ 66 h 318"/>
              <a:gd name="T8" fmla="*/ 26 w 147"/>
              <a:gd name="T9" fmla="*/ 163 h 318"/>
              <a:gd name="T10" fmla="*/ 47 w 147"/>
              <a:gd name="T11" fmla="*/ 178 h 318"/>
              <a:gd name="T12" fmla="*/ 77 w 147"/>
              <a:gd name="T13" fmla="*/ 131 h 318"/>
              <a:gd name="T14" fmla="*/ 107 w 147"/>
              <a:gd name="T15" fmla="*/ 119 h 318"/>
              <a:gd name="T16" fmla="*/ 129 w 147"/>
              <a:gd name="T17" fmla="*/ 136 h 318"/>
              <a:gd name="T18" fmla="*/ 143 w 147"/>
              <a:gd name="T19" fmla="*/ 182 h 318"/>
              <a:gd name="T20" fmla="*/ 147 w 147"/>
              <a:gd name="T21" fmla="*/ 255 h 318"/>
              <a:gd name="T22" fmla="*/ 142 w 147"/>
              <a:gd name="T23" fmla="*/ 310 h 318"/>
              <a:gd name="T24" fmla="*/ 135 w 147"/>
              <a:gd name="T25" fmla="*/ 318 h 318"/>
              <a:gd name="T26" fmla="*/ 126 w 147"/>
              <a:gd name="T27" fmla="*/ 318 h 318"/>
              <a:gd name="T28" fmla="*/ 121 w 147"/>
              <a:gd name="T29" fmla="*/ 315 h 318"/>
              <a:gd name="T30" fmla="*/ 117 w 147"/>
              <a:gd name="T31" fmla="*/ 308 h 318"/>
              <a:gd name="T32" fmla="*/ 119 w 147"/>
              <a:gd name="T33" fmla="*/ 262 h 318"/>
              <a:gd name="T34" fmla="*/ 115 w 147"/>
              <a:gd name="T35" fmla="*/ 198 h 318"/>
              <a:gd name="T36" fmla="*/ 107 w 147"/>
              <a:gd name="T37" fmla="*/ 163 h 318"/>
              <a:gd name="T38" fmla="*/ 100 w 147"/>
              <a:gd name="T39" fmla="*/ 156 h 318"/>
              <a:gd name="T40" fmla="*/ 93 w 147"/>
              <a:gd name="T41" fmla="*/ 157 h 318"/>
              <a:gd name="T42" fmla="*/ 84 w 147"/>
              <a:gd name="T43" fmla="*/ 164 h 318"/>
              <a:gd name="T44" fmla="*/ 58 w 147"/>
              <a:gd name="T45" fmla="*/ 213 h 318"/>
              <a:gd name="T46" fmla="*/ 38 w 147"/>
              <a:gd name="T47" fmla="*/ 254 h 318"/>
              <a:gd name="T48" fmla="*/ 31 w 147"/>
              <a:gd name="T49" fmla="*/ 259 h 318"/>
              <a:gd name="T50" fmla="*/ 26 w 147"/>
              <a:gd name="T51" fmla="*/ 261 h 318"/>
              <a:gd name="T52" fmla="*/ 19 w 147"/>
              <a:gd name="T53" fmla="*/ 261 h 318"/>
              <a:gd name="T54" fmla="*/ 12 w 147"/>
              <a:gd name="T55" fmla="*/ 257 h 318"/>
              <a:gd name="T56" fmla="*/ 7 w 147"/>
              <a:gd name="T57" fmla="*/ 248 h 318"/>
              <a:gd name="T58" fmla="*/ 5 w 147"/>
              <a:gd name="T59" fmla="*/ 226 h 318"/>
              <a:gd name="T60" fmla="*/ 2 w 147"/>
              <a:gd name="T61" fmla="*/ 170 h 318"/>
              <a:gd name="T62" fmla="*/ 2 w 147"/>
              <a:gd name="T63" fmla="*/ 96 h 318"/>
              <a:gd name="T64" fmla="*/ 7 w 147"/>
              <a:gd name="T65" fmla="*/ 23 h 318"/>
              <a:gd name="T66" fmla="*/ 9 w 147"/>
              <a:gd name="T67" fmla="*/ 10 h 318"/>
              <a:gd name="T68" fmla="*/ 12 w 147"/>
              <a:gd name="T69" fmla="*/ 3 h 318"/>
              <a:gd name="T70" fmla="*/ 19 w 147"/>
              <a:gd name="T71" fmla="*/ 0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7" h="318">
                <a:moveTo>
                  <a:pt x="19" y="0"/>
                </a:moveTo>
                <a:lnTo>
                  <a:pt x="26" y="2"/>
                </a:lnTo>
                <a:lnTo>
                  <a:pt x="31" y="3"/>
                </a:lnTo>
                <a:lnTo>
                  <a:pt x="35" y="9"/>
                </a:lnTo>
                <a:lnTo>
                  <a:pt x="38" y="14"/>
                </a:lnTo>
                <a:lnTo>
                  <a:pt x="38" y="21"/>
                </a:lnTo>
                <a:lnTo>
                  <a:pt x="38" y="28"/>
                </a:lnTo>
                <a:lnTo>
                  <a:pt x="31" y="66"/>
                </a:lnTo>
                <a:lnTo>
                  <a:pt x="28" y="112"/>
                </a:lnTo>
                <a:lnTo>
                  <a:pt x="26" y="163"/>
                </a:lnTo>
                <a:lnTo>
                  <a:pt x="30" y="215"/>
                </a:lnTo>
                <a:lnTo>
                  <a:pt x="47" y="178"/>
                </a:lnTo>
                <a:lnTo>
                  <a:pt x="63" y="150"/>
                </a:lnTo>
                <a:lnTo>
                  <a:pt x="77" y="131"/>
                </a:lnTo>
                <a:lnTo>
                  <a:pt x="93" y="121"/>
                </a:lnTo>
                <a:lnTo>
                  <a:pt x="107" y="119"/>
                </a:lnTo>
                <a:lnTo>
                  <a:pt x="119" y="124"/>
                </a:lnTo>
                <a:lnTo>
                  <a:pt x="129" y="136"/>
                </a:lnTo>
                <a:lnTo>
                  <a:pt x="138" y="156"/>
                </a:lnTo>
                <a:lnTo>
                  <a:pt x="143" y="182"/>
                </a:lnTo>
                <a:lnTo>
                  <a:pt x="147" y="215"/>
                </a:lnTo>
                <a:lnTo>
                  <a:pt x="147" y="255"/>
                </a:lnTo>
                <a:lnTo>
                  <a:pt x="143" y="303"/>
                </a:lnTo>
                <a:lnTo>
                  <a:pt x="142" y="310"/>
                </a:lnTo>
                <a:lnTo>
                  <a:pt x="140" y="315"/>
                </a:lnTo>
                <a:lnTo>
                  <a:pt x="135" y="318"/>
                </a:lnTo>
                <a:lnTo>
                  <a:pt x="129" y="318"/>
                </a:lnTo>
                <a:lnTo>
                  <a:pt x="126" y="318"/>
                </a:lnTo>
                <a:lnTo>
                  <a:pt x="124" y="317"/>
                </a:lnTo>
                <a:lnTo>
                  <a:pt x="121" y="315"/>
                </a:lnTo>
                <a:lnTo>
                  <a:pt x="119" y="311"/>
                </a:lnTo>
                <a:lnTo>
                  <a:pt x="117" y="308"/>
                </a:lnTo>
                <a:lnTo>
                  <a:pt x="117" y="303"/>
                </a:lnTo>
                <a:lnTo>
                  <a:pt x="119" y="262"/>
                </a:lnTo>
                <a:lnTo>
                  <a:pt x="117" y="227"/>
                </a:lnTo>
                <a:lnTo>
                  <a:pt x="115" y="198"/>
                </a:lnTo>
                <a:lnTo>
                  <a:pt x="110" y="170"/>
                </a:lnTo>
                <a:lnTo>
                  <a:pt x="107" y="163"/>
                </a:lnTo>
                <a:lnTo>
                  <a:pt x="103" y="157"/>
                </a:lnTo>
                <a:lnTo>
                  <a:pt x="100" y="156"/>
                </a:lnTo>
                <a:lnTo>
                  <a:pt x="96" y="156"/>
                </a:lnTo>
                <a:lnTo>
                  <a:pt x="93" y="157"/>
                </a:lnTo>
                <a:lnTo>
                  <a:pt x="89" y="161"/>
                </a:lnTo>
                <a:lnTo>
                  <a:pt x="84" y="164"/>
                </a:lnTo>
                <a:lnTo>
                  <a:pt x="72" y="185"/>
                </a:lnTo>
                <a:lnTo>
                  <a:pt x="58" y="213"/>
                </a:lnTo>
                <a:lnTo>
                  <a:pt x="42" y="248"/>
                </a:lnTo>
                <a:lnTo>
                  <a:pt x="38" y="254"/>
                </a:lnTo>
                <a:lnTo>
                  <a:pt x="35" y="257"/>
                </a:lnTo>
                <a:lnTo>
                  <a:pt x="31" y="259"/>
                </a:lnTo>
                <a:lnTo>
                  <a:pt x="28" y="261"/>
                </a:lnTo>
                <a:lnTo>
                  <a:pt x="26" y="261"/>
                </a:lnTo>
                <a:lnTo>
                  <a:pt x="23" y="261"/>
                </a:lnTo>
                <a:lnTo>
                  <a:pt x="19" y="261"/>
                </a:lnTo>
                <a:lnTo>
                  <a:pt x="16" y="259"/>
                </a:lnTo>
                <a:lnTo>
                  <a:pt x="12" y="257"/>
                </a:lnTo>
                <a:lnTo>
                  <a:pt x="10" y="254"/>
                </a:lnTo>
                <a:lnTo>
                  <a:pt x="7" y="248"/>
                </a:lnTo>
                <a:lnTo>
                  <a:pt x="7" y="241"/>
                </a:lnTo>
                <a:lnTo>
                  <a:pt x="5" y="226"/>
                </a:lnTo>
                <a:lnTo>
                  <a:pt x="3" y="201"/>
                </a:lnTo>
                <a:lnTo>
                  <a:pt x="2" y="170"/>
                </a:lnTo>
                <a:lnTo>
                  <a:pt x="0" y="135"/>
                </a:lnTo>
                <a:lnTo>
                  <a:pt x="2" y="96"/>
                </a:lnTo>
                <a:lnTo>
                  <a:pt x="3" y="59"/>
                </a:lnTo>
                <a:lnTo>
                  <a:pt x="7" y="23"/>
                </a:lnTo>
                <a:lnTo>
                  <a:pt x="7" y="16"/>
                </a:lnTo>
                <a:lnTo>
                  <a:pt x="9" y="10"/>
                </a:lnTo>
                <a:lnTo>
                  <a:pt x="10" y="7"/>
                </a:lnTo>
                <a:lnTo>
                  <a:pt x="12" y="3"/>
                </a:lnTo>
                <a:lnTo>
                  <a:pt x="16" y="0"/>
                </a:lnTo>
                <a:lnTo>
                  <a:pt x="19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1" name="Groep 100"/>
          <p:cNvGrpSpPr/>
          <p:nvPr userDrawn="1"/>
        </p:nvGrpSpPr>
        <p:grpSpPr>
          <a:xfrm>
            <a:off x="5227545" y="3495147"/>
            <a:ext cx="69137" cy="303751"/>
            <a:chOff x="5227545" y="3495147"/>
            <a:chExt cx="69137" cy="303751"/>
          </a:xfrm>
        </p:grpSpPr>
        <p:sp>
          <p:nvSpPr>
            <p:cNvPr id="70" name="Freeform 47"/>
            <p:cNvSpPr>
              <a:spLocks/>
            </p:cNvSpPr>
            <p:nvPr userDrawn="1"/>
          </p:nvSpPr>
          <p:spPr bwMode="auto">
            <a:xfrm>
              <a:off x="5227545" y="3582419"/>
              <a:ext cx="51004" cy="216479"/>
            </a:xfrm>
            <a:custGeom>
              <a:avLst/>
              <a:gdLst>
                <a:gd name="T0" fmla="*/ 14 w 45"/>
                <a:gd name="T1" fmla="*/ 0 h 191"/>
                <a:gd name="T2" fmla="*/ 19 w 45"/>
                <a:gd name="T3" fmla="*/ 0 h 191"/>
                <a:gd name="T4" fmla="*/ 24 w 45"/>
                <a:gd name="T5" fmla="*/ 2 h 191"/>
                <a:gd name="T6" fmla="*/ 28 w 45"/>
                <a:gd name="T7" fmla="*/ 4 h 191"/>
                <a:gd name="T8" fmla="*/ 31 w 45"/>
                <a:gd name="T9" fmla="*/ 6 h 191"/>
                <a:gd name="T10" fmla="*/ 35 w 45"/>
                <a:gd name="T11" fmla="*/ 9 h 191"/>
                <a:gd name="T12" fmla="*/ 37 w 45"/>
                <a:gd name="T13" fmla="*/ 14 h 191"/>
                <a:gd name="T14" fmla="*/ 38 w 45"/>
                <a:gd name="T15" fmla="*/ 20 h 191"/>
                <a:gd name="T16" fmla="*/ 38 w 45"/>
                <a:gd name="T17" fmla="*/ 28 h 191"/>
                <a:gd name="T18" fmla="*/ 37 w 45"/>
                <a:gd name="T19" fmla="*/ 65 h 191"/>
                <a:gd name="T20" fmla="*/ 35 w 45"/>
                <a:gd name="T21" fmla="*/ 102 h 191"/>
                <a:gd name="T22" fmla="*/ 37 w 45"/>
                <a:gd name="T23" fmla="*/ 132 h 191"/>
                <a:gd name="T24" fmla="*/ 38 w 45"/>
                <a:gd name="T25" fmla="*/ 158 h 191"/>
                <a:gd name="T26" fmla="*/ 44 w 45"/>
                <a:gd name="T27" fmla="*/ 177 h 191"/>
                <a:gd name="T28" fmla="*/ 45 w 45"/>
                <a:gd name="T29" fmla="*/ 181 h 191"/>
                <a:gd name="T30" fmla="*/ 45 w 45"/>
                <a:gd name="T31" fmla="*/ 186 h 191"/>
                <a:gd name="T32" fmla="*/ 44 w 45"/>
                <a:gd name="T33" fmla="*/ 188 h 191"/>
                <a:gd name="T34" fmla="*/ 40 w 45"/>
                <a:gd name="T35" fmla="*/ 191 h 191"/>
                <a:gd name="T36" fmla="*/ 37 w 45"/>
                <a:gd name="T37" fmla="*/ 191 h 191"/>
                <a:gd name="T38" fmla="*/ 31 w 45"/>
                <a:gd name="T39" fmla="*/ 191 h 191"/>
                <a:gd name="T40" fmla="*/ 28 w 45"/>
                <a:gd name="T41" fmla="*/ 189 h 191"/>
                <a:gd name="T42" fmla="*/ 23 w 45"/>
                <a:gd name="T43" fmla="*/ 188 h 191"/>
                <a:gd name="T44" fmla="*/ 19 w 45"/>
                <a:gd name="T45" fmla="*/ 184 h 191"/>
                <a:gd name="T46" fmla="*/ 16 w 45"/>
                <a:gd name="T47" fmla="*/ 177 h 191"/>
                <a:gd name="T48" fmla="*/ 12 w 45"/>
                <a:gd name="T49" fmla="*/ 170 h 191"/>
                <a:gd name="T50" fmla="*/ 9 w 45"/>
                <a:gd name="T51" fmla="*/ 149 h 191"/>
                <a:gd name="T52" fmla="*/ 4 w 45"/>
                <a:gd name="T53" fmla="*/ 121 h 191"/>
                <a:gd name="T54" fmla="*/ 2 w 45"/>
                <a:gd name="T55" fmla="*/ 90 h 191"/>
                <a:gd name="T56" fmla="*/ 0 w 45"/>
                <a:gd name="T57" fmla="*/ 55 h 191"/>
                <a:gd name="T58" fmla="*/ 2 w 45"/>
                <a:gd name="T59" fmla="*/ 23 h 191"/>
                <a:gd name="T60" fmla="*/ 2 w 45"/>
                <a:gd name="T61" fmla="*/ 16 h 191"/>
                <a:gd name="T62" fmla="*/ 4 w 45"/>
                <a:gd name="T63" fmla="*/ 9 h 191"/>
                <a:gd name="T64" fmla="*/ 7 w 45"/>
                <a:gd name="T65" fmla="*/ 6 h 191"/>
                <a:gd name="T66" fmla="*/ 11 w 45"/>
                <a:gd name="T67" fmla="*/ 2 h 191"/>
                <a:gd name="T68" fmla="*/ 14 w 45"/>
                <a:gd name="T6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" h="191">
                  <a:moveTo>
                    <a:pt x="14" y="0"/>
                  </a:moveTo>
                  <a:lnTo>
                    <a:pt x="19" y="0"/>
                  </a:lnTo>
                  <a:lnTo>
                    <a:pt x="24" y="2"/>
                  </a:lnTo>
                  <a:lnTo>
                    <a:pt x="28" y="4"/>
                  </a:lnTo>
                  <a:lnTo>
                    <a:pt x="31" y="6"/>
                  </a:lnTo>
                  <a:lnTo>
                    <a:pt x="35" y="9"/>
                  </a:lnTo>
                  <a:lnTo>
                    <a:pt x="37" y="14"/>
                  </a:lnTo>
                  <a:lnTo>
                    <a:pt x="38" y="20"/>
                  </a:lnTo>
                  <a:lnTo>
                    <a:pt x="38" y="28"/>
                  </a:lnTo>
                  <a:lnTo>
                    <a:pt x="37" y="65"/>
                  </a:lnTo>
                  <a:lnTo>
                    <a:pt x="35" y="102"/>
                  </a:lnTo>
                  <a:lnTo>
                    <a:pt x="37" y="132"/>
                  </a:lnTo>
                  <a:lnTo>
                    <a:pt x="38" y="158"/>
                  </a:lnTo>
                  <a:lnTo>
                    <a:pt x="44" y="177"/>
                  </a:lnTo>
                  <a:lnTo>
                    <a:pt x="45" y="181"/>
                  </a:lnTo>
                  <a:lnTo>
                    <a:pt x="45" y="186"/>
                  </a:lnTo>
                  <a:lnTo>
                    <a:pt x="44" y="188"/>
                  </a:lnTo>
                  <a:lnTo>
                    <a:pt x="40" y="191"/>
                  </a:lnTo>
                  <a:lnTo>
                    <a:pt x="37" y="191"/>
                  </a:lnTo>
                  <a:lnTo>
                    <a:pt x="31" y="191"/>
                  </a:lnTo>
                  <a:lnTo>
                    <a:pt x="28" y="189"/>
                  </a:lnTo>
                  <a:lnTo>
                    <a:pt x="23" y="188"/>
                  </a:lnTo>
                  <a:lnTo>
                    <a:pt x="19" y="184"/>
                  </a:lnTo>
                  <a:lnTo>
                    <a:pt x="16" y="177"/>
                  </a:lnTo>
                  <a:lnTo>
                    <a:pt x="12" y="170"/>
                  </a:lnTo>
                  <a:lnTo>
                    <a:pt x="9" y="149"/>
                  </a:lnTo>
                  <a:lnTo>
                    <a:pt x="4" y="121"/>
                  </a:lnTo>
                  <a:lnTo>
                    <a:pt x="2" y="90"/>
                  </a:lnTo>
                  <a:lnTo>
                    <a:pt x="0" y="55"/>
                  </a:lnTo>
                  <a:lnTo>
                    <a:pt x="2" y="23"/>
                  </a:lnTo>
                  <a:lnTo>
                    <a:pt x="2" y="16"/>
                  </a:lnTo>
                  <a:lnTo>
                    <a:pt x="4" y="9"/>
                  </a:lnTo>
                  <a:lnTo>
                    <a:pt x="7" y="6"/>
                  </a:lnTo>
                  <a:lnTo>
                    <a:pt x="11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8"/>
            <p:cNvSpPr>
              <a:spLocks/>
            </p:cNvSpPr>
            <p:nvPr userDrawn="1"/>
          </p:nvSpPr>
          <p:spPr bwMode="auto">
            <a:xfrm>
              <a:off x="5251347" y="3495147"/>
              <a:ext cx="45335" cy="31735"/>
            </a:xfrm>
            <a:custGeom>
              <a:avLst/>
              <a:gdLst>
                <a:gd name="T0" fmla="*/ 10 w 40"/>
                <a:gd name="T1" fmla="*/ 0 h 28"/>
                <a:gd name="T2" fmla="*/ 17 w 40"/>
                <a:gd name="T3" fmla="*/ 0 h 28"/>
                <a:gd name="T4" fmla="*/ 23 w 40"/>
                <a:gd name="T5" fmla="*/ 2 h 28"/>
                <a:gd name="T6" fmla="*/ 30 w 40"/>
                <a:gd name="T7" fmla="*/ 6 h 28"/>
                <a:gd name="T8" fmla="*/ 35 w 40"/>
                <a:gd name="T9" fmla="*/ 9 h 28"/>
                <a:gd name="T10" fmla="*/ 38 w 40"/>
                <a:gd name="T11" fmla="*/ 13 h 28"/>
                <a:gd name="T12" fmla="*/ 40 w 40"/>
                <a:gd name="T13" fmla="*/ 18 h 28"/>
                <a:gd name="T14" fmla="*/ 38 w 40"/>
                <a:gd name="T15" fmla="*/ 21 h 28"/>
                <a:gd name="T16" fmla="*/ 37 w 40"/>
                <a:gd name="T17" fmla="*/ 25 h 28"/>
                <a:gd name="T18" fmla="*/ 35 w 40"/>
                <a:gd name="T19" fmla="*/ 27 h 28"/>
                <a:gd name="T20" fmla="*/ 30 w 40"/>
                <a:gd name="T21" fmla="*/ 28 h 28"/>
                <a:gd name="T22" fmla="*/ 26 w 40"/>
                <a:gd name="T23" fmla="*/ 28 h 28"/>
                <a:gd name="T24" fmla="*/ 21 w 40"/>
                <a:gd name="T25" fmla="*/ 28 h 28"/>
                <a:gd name="T26" fmla="*/ 16 w 40"/>
                <a:gd name="T27" fmla="*/ 27 h 28"/>
                <a:gd name="T28" fmla="*/ 10 w 40"/>
                <a:gd name="T29" fmla="*/ 25 h 28"/>
                <a:gd name="T30" fmla="*/ 5 w 40"/>
                <a:gd name="T31" fmla="*/ 21 h 28"/>
                <a:gd name="T32" fmla="*/ 2 w 40"/>
                <a:gd name="T33" fmla="*/ 18 h 28"/>
                <a:gd name="T34" fmla="*/ 0 w 40"/>
                <a:gd name="T35" fmla="*/ 14 h 28"/>
                <a:gd name="T36" fmla="*/ 0 w 40"/>
                <a:gd name="T37" fmla="*/ 9 h 28"/>
                <a:gd name="T38" fmla="*/ 2 w 40"/>
                <a:gd name="T39" fmla="*/ 6 h 28"/>
                <a:gd name="T40" fmla="*/ 3 w 40"/>
                <a:gd name="T41" fmla="*/ 4 h 28"/>
                <a:gd name="T42" fmla="*/ 7 w 40"/>
                <a:gd name="T43" fmla="*/ 2 h 28"/>
                <a:gd name="T44" fmla="*/ 10 w 40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28">
                  <a:moveTo>
                    <a:pt x="10" y="0"/>
                  </a:moveTo>
                  <a:lnTo>
                    <a:pt x="17" y="0"/>
                  </a:lnTo>
                  <a:lnTo>
                    <a:pt x="23" y="2"/>
                  </a:lnTo>
                  <a:lnTo>
                    <a:pt x="30" y="6"/>
                  </a:lnTo>
                  <a:lnTo>
                    <a:pt x="35" y="9"/>
                  </a:lnTo>
                  <a:lnTo>
                    <a:pt x="38" y="13"/>
                  </a:lnTo>
                  <a:lnTo>
                    <a:pt x="40" y="18"/>
                  </a:lnTo>
                  <a:lnTo>
                    <a:pt x="38" y="21"/>
                  </a:lnTo>
                  <a:lnTo>
                    <a:pt x="37" y="25"/>
                  </a:lnTo>
                  <a:lnTo>
                    <a:pt x="35" y="27"/>
                  </a:lnTo>
                  <a:lnTo>
                    <a:pt x="30" y="28"/>
                  </a:lnTo>
                  <a:lnTo>
                    <a:pt x="26" y="28"/>
                  </a:lnTo>
                  <a:lnTo>
                    <a:pt x="21" y="28"/>
                  </a:lnTo>
                  <a:lnTo>
                    <a:pt x="16" y="27"/>
                  </a:lnTo>
                  <a:lnTo>
                    <a:pt x="10" y="25"/>
                  </a:lnTo>
                  <a:lnTo>
                    <a:pt x="5" y="21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4"/>
                  </a:lnTo>
                  <a:lnTo>
                    <a:pt x="7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2" name="Freeform 49"/>
          <p:cNvSpPr>
            <a:spLocks/>
          </p:cNvSpPr>
          <p:nvPr userDrawn="1"/>
        </p:nvSpPr>
        <p:spPr bwMode="auto">
          <a:xfrm>
            <a:off x="5318217" y="3584686"/>
            <a:ext cx="187011" cy="235746"/>
          </a:xfrm>
          <a:custGeom>
            <a:avLst/>
            <a:gdLst>
              <a:gd name="T0" fmla="*/ 156 w 165"/>
              <a:gd name="T1" fmla="*/ 4 h 208"/>
              <a:gd name="T2" fmla="*/ 165 w 165"/>
              <a:gd name="T3" fmla="*/ 28 h 208"/>
              <a:gd name="T4" fmla="*/ 163 w 165"/>
              <a:gd name="T5" fmla="*/ 72 h 208"/>
              <a:gd name="T6" fmla="*/ 158 w 165"/>
              <a:gd name="T7" fmla="*/ 124 h 208"/>
              <a:gd name="T8" fmla="*/ 156 w 165"/>
              <a:gd name="T9" fmla="*/ 163 h 208"/>
              <a:gd name="T10" fmla="*/ 161 w 165"/>
              <a:gd name="T11" fmla="*/ 193 h 208"/>
              <a:gd name="T12" fmla="*/ 163 w 165"/>
              <a:gd name="T13" fmla="*/ 198 h 208"/>
              <a:gd name="T14" fmla="*/ 160 w 165"/>
              <a:gd name="T15" fmla="*/ 203 h 208"/>
              <a:gd name="T16" fmla="*/ 154 w 165"/>
              <a:gd name="T17" fmla="*/ 207 h 208"/>
              <a:gd name="T18" fmla="*/ 147 w 165"/>
              <a:gd name="T19" fmla="*/ 207 h 208"/>
              <a:gd name="T20" fmla="*/ 139 w 165"/>
              <a:gd name="T21" fmla="*/ 203 h 208"/>
              <a:gd name="T22" fmla="*/ 132 w 165"/>
              <a:gd name="T23" fmla="*/ 187 h 208"/>
              <a:gd name="T24" fmla="*/ 133 w 165"/>
              <a:gd name="T25" fmla="*/ 131 h 208"/>
              <a:gd name="T26" fmla="*/ 133 w 165"/>
              <a:gd name="T27" fmla="*/ 49 h 208"/>
              <a:gd name="T28" fmla="*/ 130 w 165"/>
              <a:gd name="T29" fmla="*/ 42 h 208"/>
              <a:gd name="T30" fmla="*/ 125 w 165"/>
              <a:gd name="T31" fmla="*/ 40 h 208"/>
              <a:gd name="T32" fmla="*/ 118 w 165"/>
              <a:gd name="T33" fmla="*/ 47 h 208"/>
              <a:gd name="T34" fmla="*/ 91 w 165"/>
              <a:gd name="T35" fmla="*/ 89 h 208"/>
              <a:gd name="T36" fmla="*/ 70 w 165"/>
              <a:gd name="T37" fmla="*/ 130 h 208"/>
              <a:gd name="T38" fmla="*/ 55 w 165"/>
              <a:gd name="T39" fmla="*/ 152 h 208"/>
              <a:gd name="T40" fmla="*/ 34 w 165"/>
              <a:gd name="T41" fmla="*/ 158 h 208"/>
              <a:gd name="T42" fmla="*/ 16 w 165"/>
              <a:gd name="T43" fmla="*/ 149 h 208"/>
              <a:gd name="T44" fmla="*/ 7 w 165"/>
              <a:gd name="T45" fmla="*/ 138 h 208"/>
              <a:gd name="T46" fmla="*/ 4 w 165"/>
              <a:gd name="T47" fmla="*/ 107 h 208"/>
              <a:gd name="T48" fmla="*/ 0 w 165"/>
              <a:gd name="T49" fmla="*/ 49 h 208"/>
              <a:gd name="T50" fmla="*/ 4 w 165"/>
              <a:gd name="T51" fmla="*/ 18 h 208"/>
              <a:gd name="T52" fmla="*/ 7 w 165"/>
              <a:gd name="T53" fmla="*/ 11 h 208"/>
              <a:gd name="T54" fmla="*/ 16 w 165"/>
              <a:gd name="T55" fmla="*/ 11 h 208"/>
              <a:gd name="T56" fmla="*/ 27 w 165"/>
              <a:gd name="T57" fmla="*/ 12 h 208"/>
              <a:gd name="T58" fmla="*/ 32 w 165"/>
              <a:gd name="T59" fmla="*/ 16 h 208"/>
              <a:gd name="T60" fmla="*/ 35 w 165"/>
              <a:gd name="T61" fmla="*/ 21 h 208"/>
              <a:gd name="T62" fmla="*/ 35 w 165"/>
              <a:gd name="T63" fmla="*/ 30 h 208"/>
              <a:gd name="T64" fmla="*/ 32 w 165"/>
              <a:gd name="T65" fmla="*/ 63 h 208"/>
              <a:gd name="T66" fmla="*/ 34 w 165"/>
              <a:gd name="T67" fmla="*/ 102 h 208"/>
              <a:gd name="T68" fmla="*/ 35 w 165"/>
              <a:gd name="T69" fmla="*/ 119 h 208"/>
              <a:gd name="T70" fmla="*/ 37 w 165"/>
              <a:gd name="T71" fmla="*/ 121 h 208"/>
              <a:gd name="T72" fmla="*/ 41 w 165"/>
              <a:gd name="T73" fmla="*/ 117 h 208"/>
              <a:gd name="T74" fmla="*/ 63 w 165"/>
              <a:gd name="T75" fmla="*/ 88 h 208"/>
              <a:gd name="T76" fmla="*/ 90 w 165"/>
              <a:gd name="T77" fmla="*/ 46 h 208"/>
              <a:gd name="T78" fmla="*/ 116 w 165"/>
              <a:gd name="T79" fmla="*/ 12 h 208"/>
              <a:gd name="T80" fmla="*/ 147 w 165"/>
              <a:gd name="T81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5" h="208">
                <a:moveTo>
                  <a:pt x="147" y="0"/>
                </a:moveTo>
                <a:lnTo>
                  <a:pt x="156" y="4"/>
                </a:lnTo>
                <a:lnTo>
                  <a:pt x="163" y="14"/>
                </a:lnTo>
                <a:lnTo>
                  <a:pt x="165" y="28"/>
                </a:lnTo>
                <a:lnTo>
                  <a:pt x="165" y="47"/>
                </a:lnTo>
                <a:lnTo>
                  <a:pt x="163" y="72"/>
                </a:lnTo>
                <a:lnTo>
                  <a:pt x="161" y="100"/>
                </a:lnTo>
                <a:lnTo>
                  <a:pt x="158" y="124"/>
                </a:lnTo>
                <a:lnTo>
                  <a:pt x="156" y="144"/>
                </a:lnTo>
                <a:lnTo>
                  <a:pt x="156" y="163"/>
                </a:lnTo>
                <a:lnTo>
                  <a:pt x="158" y="180"/>
                </a:lnTo>
                <a:lnTo>
                  <a:pt x="161" y="193"/>
                </a:lnTo>
                <a:lnTo>
                  <a:pt x="163" y="196"/>
                </a:lnTo>
                <a:lnTo>
                  <a:pt x="163" y="198"/>
                </a:lnTo>
                <a:lnTo>
                  <a:pt x="161" y="200"/>
                </a:lnTo>
                <a:lnTo>
                  <a:pt x="160" y="203"/>
                </a:lnTo>
                <a:lnTo>
                  <a:pt x="158" y="205"/>
                </a:lnTo>
                <a:lnTo>
                  <a:pt x="154" y="207"/>
                </a:lnTo>
                <a:lnTo>
                  <a:pt x="151" y="208"/>
                </a:lnTo>
                <a:lnTo>
                  <a:pt x="147" y="207"/>
                </a:lnTo>
                <a:lnTo>
                  <a:pt x="144" y="205"/>
                </a:lnTo>
                <a:lnTo>
                  <a:pt x="139" y="203"/>
                </a:lnTo>
                <a:lnTo>
                  <a:pt x="135" y="196"/>
                </a:lnTo>
                <a:lnTo>
                  <a:pt x="132" y="187"/>
                </a:lnTo>
                <a:lnTo>
                  <a:pt x="130" y="175"/>
                </a:lnTo>
                <a:lnTo>
                  <a:pt x="133" y="131"/>
                </a:lnTo>
                <a:lnTo>
                  <a:pt x="133" y="89"/>
                </a:lnTo>
                <a:lnTo>
                  <a:pt x="133" y="49"/>
                </a:lnTo>
                <a:lnTo>
                  <a:pt x="132" y="44"/>
                </a:lnTo>
                <a:lnTo>
                  <a:pt x="130" y="42"/>
                </a:lnTo>
                <a:lnTo>
                  <a:pt x="128" y="40"/>
                </a:lnTo>
                <a:lnTo>
                  <a:pt x="125" y="40"/>
                </a:lnTo>
                <a:lnTo>
                  <a:pt x="121" y="44"/>
                </a:lnTo>
                <a:lnTo>
                  <a:pt x="118" y="47"/>
                </a:lnTo>
                <a:lnTo>
                  <a:pt x="105" y="68"/>
                </a:lnTo>
                <a:lnTo>
                  <a:pt x="91" y="89"/>
                </a:lnTo>
                <a:lnTo>
                  <a:pt x="81" y="110"/>
                </a:lnTo>
                <a:lnTo>
                  <a:pt x="70" y="130"/>
                </a:lnTo>
                <a:lnTo>
                  <a:pt x="62" y="144"/>
                </a:lnTo>
                <a:lnTo>
                  <a:pt x="55" y="152"/>
                </a:lnTo>
                <a:lnTo>
                  <a:pt x="46" y="159"/>
                </a:lnTo>
                <a:lnTo>
                  <a:pt x="34" y="158"/>
                </a:lnTo>
                <a:lnTo>
                  <a:pt x="23" y="154"/>
                </a:lnTo>
                <a:lnTo>
                  <a:pt x="16" y="149"/>
                </a:lnTo>
                <a:lnTo>
                  <a:pt x="11" y="144"/>
                </a:lnTo>
                <a:lnTo>
                  <a:pt x="7" y="138"/>
                </a:lnTo>
                <a:lnTo>
                  <a:pt x="6" y="130"/>
                </a:lnTo>
                <a:lnTo>
                  <a:pt x="4" y="107"/>
                </a:lnTo>
                <a:lnTo>
                  <a:pt x="2" y="79"/>
                </a:lnTo>
                <a:lnTo>
                  <a:pt x="0" y="49"/>
                </a:lnTo>
                <a:lnTo>
                  <a:pt x="2" y="23"/>
                </a:lnTo>
                <a:lnTo>
                  <a:pt x="4" y="18"/>
                </a:lnTo>
                <a:lnTo>
                  <a:pt x="6" y="14"/>
                </a:lnTo>
                <a:lnTo>
                  <a:pt x="7" y="11"/>
                </a:lnTo>
                <a:lnTo>
                  <a:pt x="13" y="11"/>
                </a:lnTo>
                <a:lnTo>
                  <a:pt x="16" y="11"/>
                </a:lnTo>
                <a:lnTo>
                  <a:pt x="23" y="11"/>
                </a:lnTo>
                <a:lnTo>
                  <a:pt x="27" y="12"/>
                </a:lnTo>
                <a:lnTo>
                  <a:pt x="30" y="14"/>
                </a:lnTo>
                <a:lnTo>
                  <a:pt x="32" y="16"/>
                </a:lnTo>
                <a:lnTo>
                  <a:pt x="34" y="18"/>
                </a:lnTo>
                <a:lnTo>
                  <a:pt x="35" y="21"/>
                </a:lnTo>
                <a:lnTo>
                  <a:pt x="35" y="25"/>
                </a:lnTo>
                <a:lnTo>
                  <a:pt x="35" y="30"/>
                </a:lnTo>
                <a:lnTo>
                  <a:pt x="34" y="44"/>
                </a:lnTo>
                <a:lnTo>
                  <a:pt x="32" y="63"/>
                </a:lnTo>
                <a:lnTo>
                  <a:pt x="32" y="84"/>
                </a:lnTo>
                <a:lnTo>
                  <a:pt x="34" y="102"/>
                </a:lnTo>
                <a:lnTo>
                  <a:pt x="35" y="116"/>
                </a:lnTo>
                <a:lnTo>
                  <a:pt x="35" y="119"/>
                </a:lnTo>
                <a:lnTo>
                  <a:pt x="35" y="119"/>
                </a:lnTo>
                <a:lnTo>
                  <a:pt x="37" y="121"/>
                </a:lnTo>
                <a:lnTo>
                  <a:pt x="39" y="119"/>
                </a:lnTo>
                <a:lnTo>
                  <a:pt x="41" y="117"/>
                </a:lnTo>
                <a:lnTo>
                  <a:pt x="51" y="105"/>
                </a:lnTo>
                <a:lnTo>
                  <a:pt x="63" y="88"/>
                </a:lnTo>
                <a:lnTo>
                  <a:pt x="76" y="67"/>
                </a:lnTo>
                <a:lnTo>
                  <a:pt x="90" y="46"/>
                </a:lnTo>
                <a:lnTo>
                  <a:pt x="100" y="30"/>
                </a:lnTo>
                <a:lnTo>
                  <a:pt x="116" y="12"/>
                </a:lnTo>
                <a:lnTo>
                  <a:pt x="130" y="4"/>
                </a:lnTo>
                <a:lnTo>
                  <a:pt x="147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Freeform 50"/>
          <p:cNvSpPr>
            <a:spLocks/>
          </p:cNvSpPr>
          <p:nvPr userDrawn="1"/>
        </p:nvSpPr>
        <p:spPr bwMode="auto">
          <a:xfrm>
            <a:off x="5540363" y="3581285"/>
            <a:ext cx="202878" cy="426157"/>
          </a:xfrm>
          <a:custGeom>
            <a:avLst/>
            <a:gdLst>
              <a:gd name="T0" fmla="*/ 119 w 179"/>
              <a:gd name="T1" fmla="*/ 1 h 376"/>
              <a:gd name="T2" fmla="*/ 130 w 179"/>
              <a:gd name="T3" fmla="*/ 8 h 376"/>
              <a:gd name="T4" fmla="*/ 128 w 179"/>
              <a:gd name="T5" fmla="*/ 15 h 376"/>
              <a:gd name="T6" fmla="*/ 123 w 179"/>
              <a:gd name="T7" fmla="*/ 17 h 376"/>
              <a:gd name="T8" fmla="*/ 114 w 179"/>
              <a:gd name="T9" fmla="*/ 19 h 376"/>
              <a:gd name="T10" fmla="*/ 88 w 179"/>
              <a:gd name="T11" fmla="*/ 29 h 376"/>
              <a:gd name="T12" fmla="*/ 49 w 179"/>
              <a:gd name="T13" fmla="*/ 59 h 376"/>
              <a:gd name="T14" fmla="*/ 30 w 179"/>
              <a:gd name="T15" fmla="*/ 98 h 376"/>
              <a:gd name="T16" fmla="*/ 44 w 179"/>
              <a:gd name="T17" fmla="*/ 136 h 376"/>
              <a:gd name="T18" fmla="*/ 67 w 179"/>
              <a:gd name="T19" fmla="*/ 145 h 376"/>
              <a:gd name="T20" fmla="*/ 89 w 179"/>
              <a:gd name="T21" fmla="*/ 129 h 376"/>
              <a:gd name="T22" fmla="*/ 109 w 179"/>
              <a:gd name="T23" fmla="*/ 110 h 376"/>
              <a:gd name="T24" fmla="*/ 117 w 179"/>
              <a:gd name="T25" fmla="*/ 99 h 376"/>
              <a:gd name="T26" fmla="*/ 123 w 179"/>
              <a:gd name="T27" fmla="*/ 92 h 376"/>
              <a:gd name="T28" fmla="*/ 126 w 179"/>
              <a:gd name="T29" fmla="*/ 85 h 376"/>
              <a:gd name="T30" fmla="*/ 128 w 179"/>
              <a:gd name="T31" fmla="*/ 75 h 376"/>
              <a:gd name="T32" fmla="*/ 128 w 179"/>
              <a:gd name="T33" fmla="*/ 66 h 376"/>
              <a:gd name="T34" fmla="*/ 131 w 179"/>
              <a:gd name="T35" fmla="*/ 61 h 376"/>
              <a:gd name="T36" fmla="*/ 140 w 179"/>
              <a:gd name="T37" fmla="*/ 57 h 376"/>
              <a:gd name="T38" fmla="*/ 151 w 179"/>
              <a:gd name="T39" fmla="*/ 59 h 376"/>
              <a:gd name="T40" fmla="*/ 158 w 179"/>
              <a:gd name="T41" fmla="*/ 64 h 376"/>
              <a:gd name="T42" fmla="*/ 161 w 179"/>
              <a:gd name="T43" fmla="*/ 75 h 376"/>
              <a:gd name="T44" fmla="*/ 166 w 179"/>
              <a:gd name="T45" fmla="*/ 124 h 376"/>
              <a:gd name="T46" fmla="*/ 172 w 179"/>
              <a:gd name="T47" fmla="*/ 185 h 376"/>
              <a:gd name="T48" fmla="*/ 177 w 179"/>
              <a:gd name="T49" fmla="*/ 232 h 376"/>
              <a:gd name="T50" fmla="*/ 179 w 179"/>
              <a:gd name="T51" fmla="*/ 287 h 376"/>
              <a:gd name="T52" fmla="*/ 170 w 179"/>
              <a:gd name="T53" fmla="*/ 336 h 376"/>
              <a:gd name="T54" fmla="*/ 145 w 179"/>
              <a:gd name="T55" fmla="*/ 369 h 376"/>
              <a:gd name="T56" fmla="*/ 107 w 179"/>
              <a:gd name="T57" fmla="*/ 376 h 376"/>
              <a:gd name="T58" fmla="*/ 95 w 179"/>
              <a:gd name="T59" fmla="*/ 367 h 376"/>
              <a:gd name="T60" fmla="*/ 95 w 179"/>
              <a:gd name="T61" fmla="*/ 360 h 376"/>
              <a:gd name="T62" fmla="*/ 100 w 179"/>
              <a:gd name="T63" fmla="*/ 358 h 376"/>
              <a:gd name="T64" fmla="*/ 117 w 179"/>
              <a:gd name="T65" fmla="*/ 358 h 376"/>
              <a:gd name="T66" fmla="*/ 142 w 179"/>
              <a:gd name="T67" fmla="*/ 334 h 376"/>
              <a:gd name="T68" fmla="*/ 151 w 179"/>
              <a:gd name="T69" fmla="*/ 281 h 376"/>
              <a:gd name="T70" fmla="*/ 147 w 179"/>
              <a:gd name="T71" fmla="*/ 220 h 376"/>
              <a:gd name="T72" fmla="*/ 140 w 179"/>
              <a:gd name="T73" fmla="*/ 164 h 376"/>
              <a:gd name="T74" fmla="*/ 135 w 179"/>
              <a:gd name="T75" fmla="*/ 119 h 376"/>
              <a:gd name="T76" fmla="*/ 103 w 179"/>
              <a:gd name="T77" fmla="*/ 152 h 376"/>
              <a:gd name="T78" fmla="*/ 65 w 179"/>
              <a:gd name="T79" fmla="*/ 164 h 376"/>
              <a:gd name="T80" fmla="*/ 23 w 179"/>
              <a:gd name="T81" fmla="*/ 152 h 376"/>
              <a:gd name="T82" fmla="*/ 2 w 179"/>
              <a:gd name="T83" fmla="*/ 119 h 376"/>
              <a:gd name="T84" fmla="*/ 4 w 179"/>
              <a:gd name="T85" fmla="*/ 82 h 376"/>
              <a:gd name="T86" fmla="*/ 28 w 179"/>
              <a:gd name="T87" fmla="*/ 42 h 376"/>
              <a:gd name="T88" fmla="*/ 65 w 179"/>
              <a:gd name="T89" fmla="*/ 10 h 376"/>
              <a:gd name="T90" fmla="*/ 107 w 179"/>
              <a:gd name="T91" fmla="*/ 0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9" h="376">
                <a:moveTo>
                  <a:pt x="107" y="0"/>
                </a:moveTo>
                <a:lnTo>
                  <a:pt x="119" y="1"/>
                </a:lnTo>
                <a:lnTo>
                  <a:pt x="128" y="5"/>
                </a:lnTo>
                <a:lnTo>
                  <a:pt x="130" y="8"/>
                </a:lnTo>
                <a:lnTo>
                  <a:pt x="130" y="12"/>
                </a:lnTo>
                <a:lnTo>
                  <a:pt x="128" y="15"/>
                </a:lnTo>
                <a:lnTo>
                  <a:pt x="126" y="17"/>
                </a:lnTo>
                <a:lnTo>
                  <a:pt x="123" y="17"/>
                </a:lnTo>
                <a:lnTo>
                  <a:pt x="119" y="19"/>
                </a:lnTo>
                <a:lnTo>
                  <a:pt x="114" y="19"/>
                </a:lnTo>
                <a:lnTo>
                  <a:pt x="107" y="21"/>
                </a:lnTo>
                <a:lnTo>
                  <a:pt x="88" y="29"/>
                </a:lnTo>
                <a:lnTo>
                  <a:pt x="67" y="42"/>
                </a:lnTo>
                <a:lnTo>
                  <a:pt x="49" y="59"/>
                </a:lnTo>
                <a:lnTo>
                  <a:pt x="35" y="77"/>
                </a:lnTo>
                <a:lnTo>
                  <a:pt x="30" y="98"/>
                </a:lnTo>
                <a:lnTo>
                  <a:pt x="34" y="120"/>
                </a:lnTo>
                <a:lnTo>
                  <a:pt x="44" y="136"/>
                </a:lnTo>
                <a:lnTo>
                  <a:pt x="54" y="143"/>
                </a:lnTo>
                <a:lnTo>
                  <a:pt x="67" y="145"/>
                </a:lnTo>
                <a:lnTo>
                  <a:pt x="77" y="138"/>
                </a:lnTo>
                <a:lnTo>
                  <a:pt x="89" y="129"/>
                </a:lnTo>
                <a:lnTo>
                  <a:pt x="102" y="117"/>
                </a:lnTo>
                <a:lnTo>
                  <a:pt x="109" y="110"/>
                </a:lnTo>
                <a:lnTo>
                  <a:pt x="114" y="103"/>
                </a:lnTo>
                <a:lnTo>
                  <a:pt x="117" y="99"/>
                </a:lnTo>
                <a:lnTo>
                  <a:pt x="121" y="96"/>
                </a:lnTo>
                <a:lnTo>
                  <a:pt x="123" y="92"/>
                </a:lnTo>
                <a:lnTo>
                  <a:pt x="124" y="91"/>
                </a:lnTo>
                <a:lnTo>
                  <a:pt x="126" y="85"/>
                </a:lnTo>
                <a:lnTo>
                  <a:pt x="128" y="80"/>
                </a:lnTo>
                <a:lnTo>
                  <a:pt x="128" y="75"/>
                </a:lnTo>
                <a:lnTo>
                  <a:pt x="128" y="71"/>
                </a:lnTo>
                <a:lnTo>
                  <a:pt x="128" y="66"/>
                </a:lnTo>
                <a:lnTo>
                  <a:pt x="130" y="63"/>
                </a:lnTo>
                <a:lnTo>
                  <a:pt x="131" y="61"/>
                </a:lnTo>
                <a:lnTo>
                  <a:pt x="135" y="59"/>
                </a:lnTo>
                <a:lnTo>
                  <a:pt x="140" y="57"/>
                </a:lnTo>
                <a:lnTo>
                  <a:pt x="145" y="59"/>
                </a:lnTo>
                <a:lnTo>
                  <a:pt x="151" y="59"/>
                </a:lnTo>
                <a:lnTo>
                  <a:pt x="154" y="61"/>
                </a:lnTo>
                <a:lnTo>
                  <a:pt x="158" y="64"/>
                </a:lnTo>
                <a:lnTo>
                  <a:pt x="159" y="70"/>
                </a:lnTo>
                <a:lnTo>
                  <a:pt x="161" y="75"/>
                </a:lnTo>
                <a:lnTo>
                  <a:pt x="163" y="94"/>
                </a:lnTo>
                <a:lnTo>
                  <a:pt x="166" y="124"/>
                </a:lnTo>
                <a:lnTo>
                  <a:pt x="170" y="166"/>
                </a:lnTo>
                <a:lnTo>
                  <a:pt x="172" y="185"/>
                </a:lnTo>
                <a:lnTo>
                  <a:pt x="173" y="208"/>
                </a:lnTo>
                <a:lnTo>
                  <a:pt x="177" y="232"/>
                </a:lnTo>
                <a:lnTo>
                  <a:pt x="179" y="260"/>
                </a:lnTo>
                <a:lnTo>
                  <a:pt x="179" y="287"/>
                </a:lnTo>
                <a:lnTo>
                  <a:pt x="175" y="313"/>
                </a:lnTo>
                <a:lnTo>
                  <a:pt x="170" y="336"/>
                </a:lnTo>
                <a:lnTo>
                  <a:pt x="161" y="355"/>
                </a:lnTo>
                <a:lnTo>
                  <a:pt x="145" y="369"/>
                </a:lnTo>
                <a:lnTo>
                  <a:pt x="124" y="376"/>
                </a:lnTo>
                <a:lnTo>
                  <a:pt x="107" y="376"/>
                </a:lnTo>
                <a:lnTo>
                  <a:pt x="96" y="371"/>
                </a:lnTo>
                <a:lnTo>
                  <a:pt x="95" y="367"/>
                </a:lnTo>
                <a:lnTo>
                  <a:pt x="95" y="364"/>
                </a:lnTo>
                <a:lnTo>
                  <a:pt x="95" y="360"/>
                </a:lnTo>
                <a:lnTo>
                  <a:pt x="96" y="358"/>
                </a:lnTo>
                <a:lnTo>
                  <a:pt x="100" y="358"/>
                </a:lnTo>
                <a:lnTo>
                  <a:pt x="103" y="358"/>
                </a:lnTo>
                <a:lnTo>
                  <a:pt x="117" y="358"/>
                </a:lnTo>
                <a:lnTo>
                  <a:pt x="131" y="351"/>
                </a:lnTo>
                <a:lnTo>
                  <a:pt x="142" y="334"/>
                </a:lnTo>
                <a:lnTo>
                  <a:pt x="149" y="309"/>
                </a:lnTo>
                <a:lnTo>
                  <a:pt x="151" y="281"/>
                </a:lnTo>
                <a:lnTo>
                  <a:pt x="149" y="246"/>
                </a:lnTo>
                <a:lnTo>
                  <a:pt x="147" y="220"/>
                </a:lnTo>
                <a:lnTo>
                  <a:pt x="144" y="192"/>
                </a:lnTo>
                <a:lnTo>
                  <a:pt x="140" y="164"/>
                </a:lnTo>
                <a:lnTo>
                  <a:pt x="138" y="138"/>
                </a:lnTo>
                <a:lnTo>
                  <a:pt x="135" y="119"/>
                </a:lnTo>
                <a:lnTo>
                  <a:pt x="121" y="138"/>
                </a:lnTo>
                <a:lnTo>
                  <a:pt x="103" y="152"/>
                </a:lnTo>
                <a:lnTo>
                  <a:pt x="86" y="161"/>
                </a:lnTo>
                <a:lnTo>
                  <a:pt x="65" y="164"/>
                </a:lnTo>
                <a:lnTo>
                  <a:pt x="42" y="161"/>
                </a:lnTo>
                <a:lnTo>
                  <a:pt x="23" y="152"/>
                </a:lnTo>
                <a:lnTo>
                  <a:pt x="11" y="136"/>
                </a:lnTo>
                <a:lnTo>
                  <a:pt x="2" y="119"/>
                </a:lnTo>
                <a:lnTo>
                  <a:pt x="0" y="99"/>
                </a:lnTo>
                <a:lnTo>
                  <a:pt x="4" y="82"/>
                </a:lnTo>
                <a:lnTo>
                  <a:pt x="13" y="63"/>
                </a:lnTo>
                <a:lnTo>
                  <a:pt x="28" y="42"/>
                </a:lnTo>
                <a:lnTo>
                  <a:pt x="46" y="24"/>
                </a:lnTo>
                <a:lnTo>
                  <a:pt x="65" y="10"/>
                </a:lnTo>
                <a:lnTo>
                  <a:pt x="86" y="1"/>
                </a:lnTo>
                <a:lnTo>
                  <a:pt x="107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Freeform 51"/>
          <p:cNvSpPr>
            <a:spLocks/>
          </p:cNvSpPr>
          <p:nvPr userDrawn="1"/>
        </p:nvSpPr>
        <p:spPr bwMode="auto">
          <a:xfrm>
            <a:off x="5889449" y="3430544"/>
            <a:ext cx="235746" cy="342286"/>
          </a:xfrm>
          <a:custGeom>
            <a:avLst/>
            <a:gdLst>
              <a:gd name="T0" fmla="*/ 21 w 208"/>
              <a:gd name="T1" fmla="*/ 1 h 302"/>
              <a:gd name="T2" fmla="*/ 30 w 208"/>
              <a:gd name="T3" fmla="*/ 7 h 302"/>
              <a:gd name="T4" fmla="*/ 35 w 208"/>
              <a:gd name="T5" fmla="*/ 19 h 302"/>
              <a:gd name="T6" fmla="*/ 44 w 208"/>
              <a:gd name="T7" fmla="*/ 122 h 302"/>
              <a:gd name="T8" fmla="*/ 58 w 208"/>
              <a:gd name="T9" fmla="*/ 210 h 302"/>
              <a:gd name="T10" fmla="*/ 89 w 208"/>
              <a:gd name="T11" fmla="*/ 168 h 302"/>
              <a:gd name="T12" fmla="*/ 131 w 208"/>
              <a:gd name="T13" fmla="*/ 136 h 302"/>
              <a:gd name="T14" fmla="*/ 170 w 208"/>
              <a:gd name="T15" fmla="*/ 129 h 302"/>
              <a:gd name="T16" fmla="*/ 194 w 208"/>
              <a:gd name="T17" fmla="*/ 138 h 302"/>
              <a:gd name="T18" fmla="*/ 208 w 208"/>
              <a:gd name="T19" fmla="*/ 169 h 302"/>
              <a:gd name="T20" fmla="*/ 205 w 208"/>
              <a:gd name="T21" fmla="*/ 215 h 302"/>
              <a:gd name="T22" fmla="*/ 187 w 208"/>
              <a:gd name="T23" fmla="*/ 260 h 302"/>
              <a:gd name="T24" fmla="*/ 154 w 208"/>
              <a:gd name="T25" fmla="*/ 294 h 302"/>
              <a:gd name="T26" fmla="*/ 126 w 208"/>
              <a:gd name="T27" fmla="*/ 302 h 302"/>
              <a:gd name="T28" fmla="*/ 115 w 208"/>
              <a:gd name="T29" fmla="*/ 301 h 302"/>
              <a:gd name="T30" fmla="*/ 108 w 208"/>
              <a:gd name="T31" fmla="*/ 295 h 302"/>
              <a:gd name="T32" fmla="*/ 105 w 208"/>
              <a:gd name="T33" fmla="*/ 288 h 302"/>
              <a:gd name="T34" fmla="*/ 107 w 208"/>
              <a:gd name="T35" fmla="*/ 281 h 302"/>
              <a:gd name="T36" fmla="*/ 112 w 208"/>
              <a:gd name="T37" fmla="*/ 281 h 302"/>
              <a:gd name="T38" fmla="*/ 133 w 208"/>
              <a:gd name="T39" fmla="*/ 283 h 302"/>
              <a:gd name="T40" fmla="*/ 161 w 208"/>
              <a:gd name="T41" fmla="*/ 257 h 302"/>
              <a:gd name="T42" fmla="*/ 177 w 208"/>
              <a:gd name="T43" fmla="*/ 197 h 302"/>
              <a:gd name="T44" fmla="*/ 171 w 208"/>
              <a:gd name="T45" fmla="*/ 157 h 302"/>
              <a:gd name="T46" fmla="*/ 164 w 208"/>
              <a:gd name="T47" fmla="*/ 152 h 302"/>
              <a:gd name="T48" fmla="*/ 154 w 208"/>
              <a:gd name="T49" fmla="*/ 154 h 302"/>
              <a:gd name="T50" fmla="*/ 140 w 208"/>
              <a:gd name="T51" fmla="*/ 161 h 302"/>
              <a:gd name="T52" fmla="*/ 110 w 208"/>
              <a:gd name="T53" fmla="*/ 183 h 302"/>
              <a:gd name="T54" fmla="*/ 79 w 208"/>
              <a:gd name="T55" fmla="*/ 227 h 302"/>
              <a:gd name="T56" fmla="*/ 63 w 208"/>
              <a:gd name="T57" fmla="*/ 266 h 302"/>
              <a:gd name="T58" fmla="*/ 56 w 208"/>
              <a:gd name="T59" fmla="*/ 274 h 302"/>
              <a:gd name="T60" fmla="*/ 45 w 208"/>
              <a:gd name="T61" fmla="*/ 276 h 302"/>
              <a:gd name="T62" fmla="*/ 37 w 208"/>
              <a:gd name="T63" fmla="*/ 274 h 302"/>
              <a:gd name="T64" fmla="*/ 31 w 208"/>
              <a:gd name="T65" fmla="*/ 267 h 302"/>
              <a:gd name="T66" fmla="*/ 31 w 208"/>
              <a:gd name="T67" fmla="*/ 259 h 302"/>
              <a:gd name="T68" fmla="*/ 31 w 208"/>
              <a:gd name="T69" fmla="*/ 224 h 302"/>
              <a:gd name="T70" fmla="*/ 26 w 208"/>
              <a:gd name="T71" fmla="*/ 187 h 302"/>
              <a:gd name="T72" fmla="*/ 17 w 208"/>
              <a:gd name="T73" fmla="*/ 140 h 302"/>
              <a:gd name="T74" fmla="*/ 7 w 208"/>
              <a:gd name="T75" fmla="*/ 78 h 302"/>
              <a:gd name="T76" fmla="*/ 0 w 208"/>
              <a:gd name="T77" fmla="*/ 22 h 302"/>
              <a:gd name="T78" fmla="*/ 2 w 208"/>
              <a:gd name="T79" fmla="*/ 8 h 302"/>
              <a:gd name="T80" fmla="*/ 9 w 208"/>
              <a:gd name="T81" fmla="*/ 1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8" h="302">
                <a:moveTo>
                  <a:pt x="14" y="0"/>
                </a:moveTo>
                <a:lnTo>
                  <a:pt x="21" y="1"/>
                </a:lnTo>
                <a:lnTo>
                  <a:pt x="26" y="3"/>
                </a:lnTo>
                <a:lnTo>
                  <a:pt x="30" y="7"/>
                </a:lnTo>
                <a:lnTo>
                  <a:pt x="33" y="12"/>
                </a:lnTo>
                <a:lnTo>
                  <a:pt x="35" y="19"/>
                </a:lnTo>
                <a:lnTo>
                  <a:pt x="40" y="75"/>
                </a:lnTo>
                <a:lnTo>
                  <a:pt x="44" y="122"/>
                </a:lnTo>
                <a:lnTo>
                  <a:pt x="49" y="166"/>
                </a:lnTo>
                <a:lnTo>
                  <a:pt x="58" y="210"/>
                </a:lnTo>
                <a:lnTo>
                  <a:pt x="72" y="189"/>
                </a:lnTo>
                <a:lnTo>
                  <a:pt x="89" y="168"/>
                </a:lnTo>
                <a:lnTo>
                  <a:pt x="108" y="150"/>
                </a:lnTo>
                <a:lnTo>
                  <a:pt x="131" y="136"/>
                </a:lnTo>
                <a:lnTo>
                  <a:pt x="157" y="129"/>
                </a:lnTo>
                <a:lnTo>
                  <a:pt x="170" y="129"/>
                </a:lnTo>
                <a:lnTo>
                  <a:pt x="184" y="133"/>
                </a:lnTo>
                <a:lnTo>
                  <a:pt x="194" y="138"/>
                </a:lnTo>
                <a:lnTo>
                  <a:pt x="203" y="152"/>
                </a:lnTo>
                <a:lnTo>
                  <a:pt x="208" y="169"/>
                </a:lnTo>
                <a:lnTo>
                  <a:pt x="208" y="192"/>
                </a:lnTo>
                <a:lnTo>
                  <a:pt x="205" y="215"/>
                </a:lnTo>
                <a:lnTo>
                  <a:pt x="198" y="239"/>
                </a:lnTo>
                <a:lnTo>
                  <a:pt x="187" y="260"/>
                </a:lnTo>
                <a:lnTo>
                  <a:pt x="173" y="280"/>
                </a:lnTo>
                <a:lnTo>
                  <a:pt x="154" y="294"/>
                </a:lnTo>
                <a:lnTo>
                  <a:pt x="133" y="302"/>
                </a:lnTo>
                <a:lnTo>
                  <a:pt x="126" y="302"/>
                </a:lnTo>
                <a:lnTo>
                  <a:pt x="119" y="301"/>
                </a:lnTo>
                <a:lnTo>
                  <a:pt x="115" y="301"/>
                </a:lnTo>
                <a:lnTo>
                  <a:pt x="112" y="297"/>
                </a:lnTo>
                <a:lnTo>
                  <a:pt x="108" y="295"/>
                </a:lnTo>
                <a:lnTo>
                  <a:pt x="107" y="292"/>
                </a:lnTo>
                <a:lnTo>
                  <a:pt x="105" y="288"/>
                </a:lnTo>
                <a:lnTo>
                  <a:pt x="105" y="285"/>
                </a:lnTo>
                <a:lnTo>
                  <a:pt x="107" y="281"/>
                </a:lnTo>
                <a:lnTo>
                  <a:pt x="108" y="281"/>
                </a:lnTo>
                <a:lnTo>
                  <a:pt x="112" y="281"/>
                </a:lnTo>
                <a:lnTo>
                  <a:pt x="122" y="285"/>
                </a:lnTo>
                <a:lnTo>
                  <a:pt x="133" y="283"/>
                </a:lnTo>
                <a:lnTo>
                  <a:pt x="145" y="276"/>
                </a:lnTo>
                <a:lnTo>
                  <a:pt x="161" y="257"/>
                </a:lnTo>
                <a:lnTo>
                  <a:pt x="171" y="229"/>
                </a:lnTo>
                <a:lnTo>
                  <a:pt x="177" y="197"/>
                </a:lnTo>
                <a:lnTo>
                  <a:pt x="173" y="162"/>
                </a:lnTo>
                <a:lnTo>
                  <a:pt x="171" y="157"/>
                </a:lnTo>
                <a:lnTo>
                  <a:pt x="168" y="154"/>
                </a:lnTo>
                <a:lnTo>
                  <a:pt x="164" y="152"/>
                </a:lnTo>
                <a:lnTo>
                  <a:pt x="161" y="152"/>
                </a:lnTo>
                <a:lnTo>
                  <a:pt x="154" y="154"/>
                </a:lnTo>
                <a:lnTo>
                  <a:pt x="149" y="155"/>
                </a:lnTo>
                <a:lnTo>
                  <a:pt x="140" y="161"/>
                </a:lnTo>
                <a:lnTo>
                  <a:pt x="126" y="169"/>
                </a:lnTo>
                <a:lnTo>
                  <a:pt x="110" y="183"/>
                </a:lnTo>
                <a:lnTo>
                  <a:pt x="94" y="201"/>
                </a:lnTo>
                <a:lnTo>
                  <a:pt x="79" y="227"/>
                </a:lnTo>
                <a:lnTo>
                  <a:pt x="66" y="259"/>
                </a:lnTo>
                <a:lnTo>
                  <a:pt x="63" y="266"/>
                </a:lnTo>
                <a:lnTo>
                  <a:pt x="59" y="271"/>
                </a:lnTo>
                <a:lnTo>
                  <a:pt x="56" y="274"/>
                </a:lnTo>
                <a:lnTo>
                  <a:pt x="51" y="276"/>
                </a:lnTo>
                <a:lnTo>
                  <a:pt x="45" y="276"/>
                </a:lnTo>
                <a:lnTo>
                  <a:pt x="40" y="276"/>
                </a:lnTo>
                <a:lnTo>
                  <a:pt x="37" y="274"/>
                </a:lnTo>
                <a:lnTo>
                  <a:pt x="33" y="271"/>
                </a:lnTo>
                <a:lnTo>
                  <a:pt x="31" y="267"/>
                </a:lnTo>
                <a:lnTo>
                  <a:pt x="31" y="264"/>
                </a:lnTo>
                <a:lnTo>
                  <a:pt x="31" y="259"/>
                </a:lnTo>
                <a:lnTo>
                  <a:pt x="33" y="243"/>
                </a:lnTo>
                <a:lnTo>
                  <a:pt x="31" y="224"/>
                </a:lnTo>
                <a:lnTo>
                  <a:pt x="28" y="201"/>
                </a:lnTo>
                <a:lnTo>
                  <a:pt x="26" y="187"/>
                </a:lnTo>
                <a:lnTo>
                  <a:pt x="21" y="166"/>
                </a:lnTo>
                <a:lnTo>
                  <a:pt x="17" y="140"/>
                </a:lnTo>
                <a:lnTo>
                  <a:pt x="12" y="110"/>
                </a:lnTo>
                <a:lnTo>
                  <a:pt x="7" y="78"/>
                </a:lnTo>
                <a:lnTo>
                  <a:pt x="4" y="49"/>
                </a:lnTo>
                <a:lnTo>
                  <a:pt x="0" y="22"/>
                </a:lnTo>
                <a:lnTo>
                  <a:pt x="0" y="15"/>
                </a:lnTo>
                <a:lnTo>
                  <a:pt x="2" y="8"/>
                </a:lnTo>
                <a:lnTo>
                  <a:pt x="5" y="5"/>
                </a:lnTo>
                <a:lnTo>
                  <a:pt x="9" y="1"/>
                </a:lnTo>
                <a:lnTo>
                  <a:pt x="14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52"/>
          <p:cNvSpPr>
            <a:spLocks/>
          </p:cNvSpPr>
          <p:nvPr userDrawn="1"/>
        </p:nvSpPr>
        <p:spPr bwMode="auto">
          <a:xfrm>
            <a:off x="6153530" y="3581285"/>
            <a:ext cx="181344" cy="421623"/>
          </a:xfrm>
          <a:custGeom>
            <a:avLst/>
            <a:gdLst>
              <a:gd name="T0" fmla="*/ 150 w 160"/>
              <a:gd name="T1" fmla="*/ 1 h 372"/>
              <a:gd name="T2" fmla="*/ 159 w 160"/>
              <a:gd name="T3" fmla="*/ 10 h 372"/>
              <a:gd name="T4" fmla="*/ 160 w 160"/>
              <a:gd name="T5" fmla="*/ 45 h 372"/>
              <a:gd name="T6" fmla="*/ 150 w 160"/>
              <a:gd name="T7" fmla="*/ 105 h 372"/>
              <a:gd name="T8" fmla="*/ 131 w 160"/>
              <a:gd name="T9" fmla="*/ 175 h 372"/>
              <a:gd name="T10" fmla="*/ 117 w 160"/>
              <a:gd name="T11" fmla="*/ 241 h 372"/>
              <a:gd name="T12" fmla="*/ 115 w 160"/>
              <a:gd name="T13" fmla="*/ 287 h 372"/>
              <a:gd name="T14" fmla="*/ 118 w 160"/>
              <a:gd name="T15" fmla="*/ 318 h 372"/>
              <a:gd name="T16" fmla="*/ 122 w 160"/>
              <a:gd name="T17" fmla="*/ 350 h 372"/>
              <a:gd name="T18" fmla="*/ 120 w 160"/>
              <a:gd name="T19" fmla="*/ 365 h 372"/>
              <a:gd name="T20" fmla="*/ 115 w 160"/>
              <a:gd name="T21" fmla="*/ 372 h 372"/>
              <a:gd name="T22" fmla="*/ 110 w 160"/>
              <a:gd name="T23" fmla="*/ 372 h 372"/>
              <a:gd name="T24" fmla="*/ 103 w 160"/>
              <a:gd name="T25" fmla="*/ 369 h 372"/>
              <a:gd name="T26" fmla="*/ 97 w 160"/>
              <a:gd name="T27" fmla="*/ 364 h 372"/>
              <a:gd name="T28" fmla="*/ 99 w 160"/>
              <a:gd name="T29" fmla="*/ 357 h 372"/>
              <a:gd name="T30" fmla="*/ 99 w 160"/>
              <a:gd name="T31" fmla="*/ 348 h 372"/>
              <a:gd name="T32" fmla="*/ 97 w 160"/>
              <a:gd name="T33" fmla="*/ 336 h 372"/>
              <a:gd name="T34" fmla="*/ 94 w 160"/>
              <a:gd name="T35" fmla="*/ 262 h 372"/>
              <a:gd name="T36" fmla="*/ 101 w 160"/>
              <a:gd name="T37" fmla="*/ 206 h 372"/>
              <a:gd name="T38" fmla="*/ 113 w 160"/>
              <a:gd name="T39" fmla="*/ 147 h 372"/>
              <a:gd name="T40" fmla="*/ 131 w 160"/>
              <a:gd name="T41" fmla="*/ 66 h 372"/>
              <a:gd name="T42" fmla="*/ 103 w 160"/>
              <a:gd name="T43" fmla="*/ 119 h 372"/>
              <a:gd name="T44" fmla="*/ 80 w 160"/>
              <a:gd name="T45" fmla="*/ 155 h 372"/>
              <a:gd name="T46" fmla="*/ 59 w 160"/>
              <a:gd name="T47" fmla="*/ 168 h 372"/>
              <a:gd name="T48" fmla="*/ 43 w 160"/>
              <a:gd name="T49" fmla="*/ 164 h 372"/>
              <a:gd name="T50" fmla="*/ 31 w 160"/>
              <a:gd name="T51" fmla="*/ 159 h 372"/>
              <a:gd name="T52" fmla="*/ 22 w 160"/>
              <a:gd name="T53" fmla="*/ 150 h 372"/>
              <a:gd name="T54" fmla="*/ 15 w 160"/>
              <a:gd name="T55" fmla="*/ 133 h 372"/>
              <a:gd name="T56" fmla="*/ 5 w 160"/>
              <a:gd name="T57" fmla="*/ 96 h 372"/>
              <a:gd name="T58" fmla="*/ 0 w 160"/>
              <a:gd name="T59" fmla="*/ 61 h 372"/>
              <a:gd name="T60" fmla="*/ 1 w 160"/>
              <a:gd name="T61" fmla="*/ 38 h 372"/>
              <a:gd name="T62" fmla="*/ 14 w 160"/>
              <a:gd name="T63" fmla="*/ 29 h 372"/>
              <a:gd name="T64" fmla="*/ 21 w 160"/>
              <a:gd name="T65" fmla="*/ 33 h 372"/>
              <a:gd name="T66" fmla="*/ 26 w 160"/>
              <a:gd name="T67" fmla="*/ 42 h 372"/>
              <a:gd name="T68" fmla="*/ 28 w 160"/>
              <a:gd name="T69" fmla="*/ 54 h 372"/>
              <a:gd name="T70" fmla="*/ 33 w 160"/>
              <a:gd name="T71" fmla="*/ 98 h 372"/>
              <a:gd name="T72" fmla="*/ 43 w 160"/>
              <a:gd name="T73" fmla="*/ 136 h 372"/>
              <a:gd name="T74" fmla="*/ 59 w 160"/>
              <a:gd name="T75" fmla="*/ 138 h 372"/>
              <a:gd name="T76" fmla="*/ 89 w 160"/>
              <a:gd name="T77" fmla="*/ 98 h 372"/>
              <a:gd name="T78" fmla="*/ 122 w 160"/>
              <a:gd name="T79" fmla="*/ 29 h 372"/>
              <a:gd name="T80" fmla="*/ 136 w 160"/>
              <a:gd name="T81" fmla="*/ 1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60" h="372">
                <a:moveTo>
                  <a:pt x="145" y="0"/>
                </a:moveTo>
                <a:lnTo>
                  <a:pt x="150" y="1"/>
                </a:lnTo>
                <a:lnTo>
                  <a:pt x="155" y="3"/>
                </a:lnTo>
                <a:lnTo>
                  <a:pt x="159" y="10"/>
                </a:lnTo>
                <a:lnTo>
                  <a:pt x="160" y="24"/>
                </a:lnTo>
                <a:lnTo>
                  <a:pt x="160" y="45"/>
                </a:lnTo>
                <a:lnTo>
                  <a:pt x="157" y="71"/>
                </a:lnTo>
                <a:lnTo>
                  <a:pt x="150" y="105"/>
                </a:lnTo>
                <a:lnTo>
                  <a:pt x="139" y="140"/>
                </a:lnTo>
                <a:lnTo>
                  <a:pt x="131" y="175"/>
                </a:lnTo>
                <a:lnTo>
                  <a:pt x="122" y="211"/>
                </a:lnTo>
                <a:lnTo>
                  <a:pt x="117" y="241"/>
                </a:lnTo>
                <a:lnTo>
                  <a:pt x="115" y="267"/>
                </a:lnTo>
                <a:lnTo>
                  <a:pt x="115" y="287"/>
                </a:lnTo>
                <a:lnTo>
                  <a:pt x="117" y="304"/>
                </a:lnTo>
                <a:lnTo>
                  <a:pt x="118" y="318"/>
                </a:lnTo>
                <a:lnTo>
                  <a:pt x="120" y="337"/>
                </a:lnTo>
                <a:lnTo>
                  <a:pt x="122" y="350"/>
                </a:lnTo>
                <a:lnTo>
                  <a:pt x="122" y="360"/>
                </a:lnTo>
                <a:lnTo>
                  <a:pt x="120" y="365"/>
                </a:lnTo>
                <a:lnTo>
                  <a:pt x="118" y="371"/>
                </a:lnTo>
                <a:lnTo>
                  <a:pt x="115" y="372"/>
                </a:lnTo>
                <a:lnTo>
                  <a:pt x="113" y="372"/>
                </a:lnTo>
                <a:lnTo>
                  <a:pt x="110" y="372"/>
                </a:lnTo>
                <a:lnTo>
                  <a:pt x="104" y="371"/>
                </a:lnTo>
                <a:lnTo>
                  <a:pt x="103" y="369"/>
                </a:lnTo>
                <a:lnTo>
                  <a:pt x="99" y="367"/>
                </a:lnTo>
                <a:lnTo>
                  <a:pt x="97" y="364"/>
                </a:lnTo>
                <a:lnTo>
                  <a:pt x="97" y="360"/>
                </a:lnTo>
                <a:lnTo>
                  <a:pt x="99" y="357"/>
                </a:lnTo>
                <a:lnTo>
                  <a:pt x="99" y="351"/>
                </a:lnTo>
                <a:lnTo>
                  <a:pt x="99" y="348"/>
                </a:lnTo>
                <a:lnTo>
                  <a:pt x="97" y="343"/>
                </a:lnTo>
                <a:lnTo>
                  <a:pt x="97" y="336"/>
                </a:lnTo>
                <a:lnTo>
                  <a:pt x="94" y="295"/>
                </a:lnTo>
                <a:lnTo>
                  <a:pt x="94" y="262"/>
                </a:lnTo>
                <a:lnTo>
                  <a:pt x="96" y="234"/>
                </a:lnTo>
                <a:lnTo>
                  <a:pt x="101" y="206"/>
                </a:lnTo>
                <a:lnTo>
                  <a:pt x="106" y="178"/>
                </a:lnTo>
                <a:lnTo>
                  <a:pt x="113" y="147"/>
                </a:lnTo>
                <a:lnTo>
                  <a:pt x="122" y="110"/>
                </a:lnTo>
                <a:lnTo>
                  <a:pt x="131" y="66"/>
                </a:lnTo>
                <a:lnTo>
                  <a:pt x="117" y="94"/>
                </a:lnTo>
                <a:lnTo>
                  <a:pt x="103" y="119"/>
                </a:lnTo>
                <a:lnTo>
                  <a:pt x="90" y="140"/>
                </a:lnTo>
                <a:lnTo>
                  <a:pt x="80" y="155"/>
                </a:lnTo>
                <a:lnTo>
                  <a:pt x="70" y="164"/>
                </a:lnTo>
                <a:lnTo>
                  <a:pt x="59" y="168"/>
                </a:lnTo>
                <a:lnTo>
                  <a:pt x="50" y="168"/>
                </a:lnTo>
                <a:lnTo>
                  <a:pt x="43" y="164"/>
                </a:lnTo>
                <a:lnTo>
                  <a:pt x="36" y="162"/>
                </a:lnTo>
                <a:lnTo>
                  <a:pt x="31" y="159"/>
                </a:lnTo>
                <a:lnTo>
                  <a:pt x="26" y="155"/>
                </a:lnTo>
                <a:lnTo>
                  <a:pt x="22" y="150"/>
                </a:lnTo>
                <a:lnTo>
                  <a:pt x="19" y="143"/>
                </a:lnTo>
                <a:lnTo>
                  <a:pt x="15" y="133"/>
                </a:lnTo>
                <a:lnTo>
                  <a:pt x="10" y="115"/>
                </a:lnTo>
                <a:lnTo>
                  <a:pt x="5" y="96"/>
                </a:lnTo>
                <a:lnTo>
                  <a:pt x="3" y="77"/>
                </a:lnTo>
                <a:lnTo>
                  <a:pt x="0" y="61"/>
                </a:lnTo>
                <a:lnTo>
                  <a:pt x="0" y="49"/>
                </a:lnTo>
                <a:lnTo>
                  <a:pt x="1" y="38"/>
                </a:lnTo>
                <a:lnTo>
                  <a:pt x="7" y="31"/>
                </a:lnTo>
                <a:lnTo>
                  <a:pt x="14" y="29"/>
                </a:lnTo>
                <a:lnTo>
                  <a:pt x="17" y="31"/>
                </a:lnTo>
                <a:lnTo>
                  <a:pt x="21" y="33"/>
                </a:lnTo>
                <a:lnTo>
                  <a:pt x="22" y="36"/>
                </a:lnTo>
                <a:lnTo>
                  <a:pt x="26" y="42"/>
                </a:lnTo>
                <a:lnTo>
                  <a:pt x="28" y="47"/>
                </a:lnTo>
                <a:lnTo>
                  <a:pt x="28" y="54"/>
                </a:lnTo>
                <a:lnTo>
                  <a:pt x="29" y="73"/>
                </a:lnTo>
                <a:lnTo>
                  <a:pt x="33" y="98"/>
                </a:lnTo>
                <a:lnTo>
                  <a:pt x="38" y="122"/>
                </a:lnTo>
                <a:lnTo>
                  <a:pt x="43" y="136"/>
                </a:lnTo>
                <a:lnTo>
                  <a:pt x="50" y="141"/>
                </a:lnTo>
                <a:lnTo>
                  <a:pt x="59" y="138"/>
                </a:lnTo>
                <a:lnTo>
                  <a:pt x="70" y="126"/>
                </a:lnTo>
                <a:lnTo>
                  <a:pt x="89" y="98"/>
                </a:lnTo>
                <a:lnTo>
                  <a:pt x="106" y="66"/>
                </a:lnTo>
                <a:lnTo>
                  <a:pt x="122" y="29"/>
                </a:lnTo>
                <a:lnTo>
                  <a:pt x="129" y="10"/>
                </a:lnTo>
                <a:lnTo>
                  <a:pt x="136" y="1"/>
                </a:lnTo>
                <a:lnTo>
                  <a:pt x="14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53"/>
          <p:cNvSpPr>
            <a:spLocks/>
          </p:cNvSpPr>
          <p:nvPr userDrawn="1"/>
        </p:nvSpPr>
        <p:spPr bwMode="auto">
          <a:xfrm>
            <a:off x="6487883" y="3579019"/>
            <a:ext cx="200611" cy="245948"/>
          </a:xfrm>
          <a:custGeom>
            <a:avLst/>
            <a:gdLst>
              <a:gd name="T0" fmla="*/ 135 w 177"/>
              <a:gd name="T1" fmla="*/ 2 h 217"/>
              <a:gd name="T2" fmla="*/ 161 w 177"/>
              <a:gd name="T3" fmla="*/ 14 h 217"/>
              <a:gd name="T4" fmla="*/ 164 w 177"/>
              <a:gd name="T5" fmla="*/ 42 h 217"/>
              <a:gd name="T6" fmla="*/ 166 w 177"/>
              <a:gd name="T7" fmla="*/ 96 h 217"/>
              <a:gd name="T8" fmla="*/ 170 w 177"/>
              <a:gd name="T9" fmla="*/ 154 h 217"/>
              <a:gd name="T10" fmla="*/ 177 w 177"/>
              <a:gd name="T11" fmla="*/ 196 h 217"/>
              <a:gd name="T12" fmla="*/ 177 w 177"/>
              <a:gd name="T13" fmla="*/ 210 h 217"/>
              <a:gd name="T14" fmla="*/ 171 w 177"/>
              <a:gd name="T15" fmla="*/ 217 h 217"/>
              <a:gd name="T16" fmla="*/ 161 w 177"/>
              <a:gd name="T17" fmla="*/ 217 h 217"/>
              <a:gd name="T18" fmla="*/ 150 w 177"/>
              <a:gd name="T19" fmla="*/ 213 h 217"/>
              <a:gd name="T20" fmla="*/ 143 w 177"/>
              <a:gd name="T21" fmla="*/ 206 h 217"/>
              <a:gd name="T22" fmla="*/ 142 w 177"/>
              <a:gd name="T23" fmla="*/ 191 h 217"/>
              <a:gd name="T24" fmla="*/ 140 w 177"/>
              <a:gd name="T25" fmla="*/ 150 h 217"/>
              <a:gd name="T26" fmla="*/ 135 w 177"/>
              <a:gd name="T27" fmla="*/ 87 h 217"/>
              <a:gd name="T28" fmla="*/ 129 w 177"/>
              <a:gd name="T29" fmla="*/ 35 h 217"/>
              <a:gd name="T30" fmla="*/ 126 w 177"/>
              <a:gd name="T31" fmla="*/ 28 h 217"/>
              <a:gd name="T32" fmla="*/ 122 w 177"/>
              <a:gd name="T33" fmla="*/ 28 h 217"/>
              <a:gd name="T34" fmla="*/ 115 w 177"/>
              <a:gd name="T35" fmla="*/ 35 h 217"/>
              <a:gd name="T36" fmla="*/ 100 w 177"/>
              <a:gd name="T37" fmla="*/ 56 h 217"/>
              <a:gd name="T38" fmla="*/ 73 w 177"/>
              <a:gd name="T39" fmla="*/ 100 h 217"/>
              <a:gd name="T40" fmla="*/ 47 w 177"/>
              <a:gd name="T41" fmla="*/ 170 h 217"/>
              <a:gd name="T42" fmla="*/ 44 w 177"/>
              <a:gd name="T43" fmla="*/ 177 h 217"/>
              <a:gd name="T44" fmla="*/ 35 w 177"/>
              <a:gd name="T45" fmla="*/ 178 h 217"/>
              <a:gd name="T46" fmla="*/ 23 w 177"/>
              <a:gd name="T47" fmla="*/ 177 h 217"/>
              <a:gd name="T48" fmla="*/ 14 w 177"/>
              <a:gd name="T49" fmla="*/ 171 h 217"/>
              <a:gd name="T50" fmla="*/ 11 w 177"/>
              <a:gd name="T51" fmla="*/ 166 h 217"/>
              <a:gd name="T52" fmla="*/ 7 w 177"/>
              <a:gd name="T53" fmla="*/ 154 h 217"/>
              <a:gd name="T54" fmla="*/ 4 w 177"/>
              <a:gd name="T55" fmla="*/ 126 h 217"/>
              <a:gd name="T56" fmla="*/ 2 w 177"/>
              <a:gd name="T57" fmla="*/ 75 h 217"/>
              <a:gd name="T58" fmla="*/ 0 w 177"/>
              <a:gd name="T59" fmla="*/ 24 h 217"/>
              <a:gd name="T60" fmla="*/ 2 w 177"/>
              <a:gd name="T61" fmla="*/ 10 h 217"/>
              <a:gd name="T62" fmla="*/ 7 w 177"/>
              <a:gd name="T63" fmla="*/ 2 h 217"/>
              <a:gd name="T64" fmla="*/ 16 w 177"/>
              <a:gd name="T65" fmla="*/ 2 h 217"/>
              <a:gd name="T66" fmla="*/ 26 w 177"/>
              <a:gd name="T67" fmla="*/ 14 h 217"/>
              <a:gd name="T68" fmla="*/ 28 w 177"/>
              <a:gd name="T69" fmla="*/ 38 h 217"/>
              <a:gd name="T70" fmla="*/ 30 w 177"/>
              <a:gd name="T71" fmla="*/ 98 h 217"/>
              <a:gd name="T72" fmla="*/ 46 w 177"/>
              <a:gd name="T73" fmla="*/ 101 h 217"/>
              <a:gd name="T74" fmla="*/ 73 w 177"/>
              <a:gd name="T75" fmla="*/ 54 h 217"/>
              <a:gd name="T76" fmla="*/ 96 w 177"/>
              <a:gd name="T77" fmla="*/ 17 h 217"/>
              <a:gd name="T78" fmla="*/ 112 w 177"/>
              <a:gd name="T79" fmla="*/ 2 h 2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7" h="217">
                <a:moveTo>
                  <a:pt x="121" y="0"/>
                </a:moveTo>
                <a:lnTo>
                  <a:pt x="135" y="2"/>
                </a:lnTo>
                <a:lnTo>
                  <a:pt x="152" y="7"/>
                </a:lnTo>
                <a:lnTo>
                  <a:pt x="161" y="14"/>
                </a:lnTo>
                <a:lnTo>
                  <a:pt x="163" y="24"/>
                </a:lnTo>
                <a:lnTo>
                  <a:pt x="164" y="42"/>
                </a:lnTo>
                <a:lnTo>
                  <a:pt x="164" y="68"/>
                </a:lnTo>
                <a:lnTo>
                  <a:pt x="166" y="96"/>
                </a:lnTo>
                <a:lnTo>
                  <a:pt x="168" y="124"/>
                </a:lnTo>
                <a:lnTo>
                  <a:pt x="170" y="154"/>
                </a:lnTo>
                <a:lnTo>
                  <a:pt x="173" y="177"/>
                </a:lnTo>
                <a:lnTo>
                  <a:pt x="177" y="196"/>
                </a:lnTo>
                <a:lnTo>
                  <a:pt x="177" y="205"/>
                </a:lnTo>
                <a:lnTo>
                  <a:pt x="177" y="210"/>
                </a:lnTo>
                <a:lnTo>
                  <a:pt x="175" y="213"/>
                </a:lnTo>
                <a:lnTo>
                  <a:pt x="171" y="217"/>
                </a:lnTo>
                <a:lnTo>
                  <a:pt x="168" y="217"/>
                </a:lnTo>
                <a:lnTo>
                  <a:pt x="161" y="217"/>
                </a:lnTo>
                <a:lnTo>
                  <a:pt x="156" y="215"/>
                </a:lnTo>
                <a:lnTo>
                  <a:pt x="150" y="213"/>
                </a:lnTo>
                <a:lnTo>
                  <a:pt x="147" y="210"/>
                </a:lnTo>
                <a:lnTo>
                  <a:pt x="143" y="206"/>
                </a:lnTo>
                <a:lnTo>
                  <a:pt x="142" y="199"/>
                </a:lnTo>
                <a:lnTo>
                  <a:pt x="142" y="191"/>
                </a:lnTo>
                <a:lnTo>
                  <a:pt x="140" y="175"/>
                </a:lnTo>
                <a:lnTo>
                  <a:pt x="140" y="150"/>
                </a:lnTo>
                <a:lnTo>
                  <a:pt x="138" y="119"/>
                </a:lnTo>
                <a:lnTo>
                  <a:pt x="135" y="87"/>
                </a:lnTo>
                <a:lnTo>
                  <a:pt x="133" y="58"/>
                </a:lnTo>
                <a:lnTo>
                  <a:pt x="129" y="35"/>
                </a:lnTo>
                <a:lnTo>
                  <a:pt x="128" y="30"/>
                </a:lnTo>
                <a:lnTo>
                  <a:pt x="126" y="28"/>
                </a:lnTo>
                <a:lnTo>
                  <a:pt x="124" y="26"/>
                </a:lnTo>
                <a:lnTo>
                  <a:pt x="122" y="28"/>
                </a:lnTo>
                <a:lnTo>
                  <a:pt x="119" y="30"/>
                </a:lnTo>
                <a:lnTo>
                  <a:pt x="115" y="35"/>
                </a:lnTo>
                <a:lnTo>
                  <a:pt x="110" y="42"/>
                </a:lnTo>
                <a:lnTo>
                  <a:pt x="100" y="56"/>
                </a:lnTo>
                <a:lnTo>
                  <a:pt x="87" y="75"/>
                </a:lnTo>
                <a:lnTo>
                  <a:pt x="73" y="100"/>
                </a:lnTo>
                <a:lnTo>
                  <a:pt x="60" y="131"/>
                </a:lnTo>
                <a:lnTo>
                  <a:pt x="47" y="170"/>
                </a:lnTo>
                <a:lnTo>
                  <a:pt x="46" y="173"/>
                </a:lnTo>
                <a:lnTo>
                  <a:pt x="44" y="177"/>
                </a:lnTo>
                <a:lnTo>
                  <a:pt x="40" y="178"/>
                </a:lnTo>
                <a:lnTo>
                  <a:pt x="35" y="178"/>
                </a:lnTo>
                <a:lnTo>
                  <a:pt x="30" y="178"/>
                </a:lnTo>
                <a:lnTo>
                  <a:pt x="23" y="177"/>
                </a:lnTo>
                <a:lnTo>
                  <a:pt x="19" y="175"/>
                </a:lnTo>
                <a:lnTo>
                  <a:pt x="14" y="171"/>
                </a:lnTo>
                <a:lnTo>
                  <a:pt x="12" y="170"/>
                </a:lnTo>
                <a:lnTo>
                  <a:pt x="11" y="166"/>
                </a:lnTo>
                <a:lnTo>
                  <a:pt x="9" y="161"/>
                </a:lnTo>
                <a:lnTo>
                  <a:pt x="7" y="154"/>
                </a:lnTo>
                <a:lnTo>
                  <a:pt x="5" y="143"/>
                </a:lnTo>
                <a:lnTo>
                  <a:pt x="4" y="126"/>
                </a:lnTo>
                <a:lnTo>
                  <a:pt x="2" y="101"/>
                </a:lnTo>
                <a:lnTo>
                  <a:pt x="2" y="75"/>
                </a:lnTo>
                <a:lnTo>
                  <a:pt x="0" y="49"/>
                </a:lnTo>
                <a:lnTo>
                  <a:pt x="0" y="24"/>
                </a:lnTo>
                <a:lnTo>
                  <a:pt x="2" y="16"/>
                </a:lnTo>
                <a:lnTo>
                  <a:pt x="2" y="10"/>
                </a:lnTo>
                <a:lnTo>
                  <a:pt x="4" y="5"/>
                </a:lnTo>
                <a:lnTo>
                  <a:pt x="7" y="2"/>
                </a:lnTo>
                <a:lnTo>
                  <a:pt x="11" y="2"/>
                </a:lnTo>
                <a:lnTo>
                  <a:pt x="16" y="2"/>
                </a:lnTo>
                <a:lnTo>
                  <a:pt x="23" y="5"/>
                </a:lnTo>
                <a:lnTo>
                  <a:pt x="26" y="14"/>
                </a:lnTo>
                <a:lnTo>
                  <a:pt x="28" y="24"/>
                </a:lnTo>
                <a:lnTo>
                  <a:pt x="28" y="38"/>
                </a:lnTo>
                <a:lnTo>
                  <a:pt x="28" y="68"/>
                </a:lnTo>
                <a:lnTo>
                  <a:pt x="30" y="98"/>
                </a:lnTo>
                <a:lnTo>
                  <a:pt x="33" y="128"/>
                </a:lnTo>
                <a:lnTo>
                  <a:pt x="46" y="101"/>
                </a:lnTo>
                <a:lnTo>
                  <a:pt x="60" y="77"/>
                </a:lnTo>
                <a:lnTo>
                  <a:pt x="73" y="54"/>
                </a:lnTo>
                <a:lnTo>
                  <a:pt x="86" y="33"/>
                </a:lnTo>
                <a:lnTo>
                  <a:pt x="96" y="17"/>
                </a:lnTo>
                <a:lnTo>
                  <a:pt x="105" y="5"/>
                </a:lnTo>
                <a:lnTo>
                  <a:pt x="112" y="2"/>
                </a:lnTo>
                <a:lnTo>
                  <a:pt x="121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54"/>
          <p:cNvSpPr>
            <a:spLocks/>
          </p:cNvSpPr>
          <p:nvPr userDrawn="1"/>
        </p:nvSpPr>
        <p:spPr bwMode="auto">
          <a:xfrm>
            <a:off x="6702095" y="3576752"/>
            <a:ext cx="193811" cy="235746"/>
          </a:xfrm>
          <a:custGeom>
            <a:avLst/>
            <a:gdLst>
              <a:gd name="T0" fmla="*/ 114 w 171"/>
              <a:gd name="T1" fmla="*/ 2 h 208"/>
              <a:gd name="T2" fmla="*/ 121 w 171"/>
              <a:gd name="T3" fmla="*/ 5 h 208"/>
              <a:gd name="T4" fmla="*/ 124 w 171"/>
              <a:gd name="T5" fmla="*/ 12 h 208"/>
              <a:gd name="T6" fmla="*/ 119 w 171"/>
              <a:gd name="T7" fmla="*/ 23 h 208"/>
              <a:gd name="T8" fmla="*/ 73 w 171"/>
              <a:gd name="T9" fmla="*/ 47 h 208"/>
              <a:gd name="T10" fmla="*/ 42 w 171"/>
              <a:gd name="T11" fmla="*/ 79 h 208"/>
              <a:gd name="T12" fmla="*/ 30 w 171"/>
              <a:gd name="T13" fmla="*/ 109 h 208"/>
              <a:gd name="T14" fmla="*/ 38 w 171"/>
              <a:gd name="T15" fmla="*/ 123 h 208"/>
              <a:gd name="T16" fmla="*/ 65 w 171"/>
              <a:gd name="T17" fmla="*/ 119 h 208"/>
              <a:gd name="T18" fmla="*/ 98 w 171"/>
              <a:gd name="T19" fmla="*/ 105 h 208"/>
              <a:gd name="T20" fmla="*/ 126 w 171"/>
              <a:gd name="T21" fmla="*/ 86 h 208"/>
              <a:gd name="T22" fmla="*/ 128 w 171"/>
              <a:gd name="T23" fmla="*/ 60 h 208"/>
              <a:gd name="T24" fmla="*/ 140 w 171"/>
              <a:gd name="T25" fmla="*/ 49 h 208"/>
              <a:gd name="T26" fmla="*/ 152 w 171"/>
              <a:gd name="T27" fmla="*/ 54 h 208"/>
              <a:gd name="T28" fmla="*/ 157 w 171"/>
              <a:gd name="T29" fmla="*/ 58 h 208"/>
              <a:gd name="T30" fmla="*/ 159 w 171"/>
              <a:gd name="T31" fmla="*/ 63 h 208"/>
              <a:gd name="T32" fmla="*/ 161 w 171"/>
              <a:gd name="T33" fmla="*/ 112 h 208"/>
              <a:gd name="T34" fmla="*/ 166 w 171"/>
              <a:gd name="T35" fmla="*/ 172 h 208"/>
              <a:gd name="T36" fmla="*/ 169 w 171"/>
              <a:gd name="T37" fmla="*/ 200 h 208"/>
              <a:gd name="T38" fmla="*/ 164 w 171"/>
              <a:gd name="T39" fmla="*/ 207 h 208"/>
              <a:gd name="T40" fmla="*/ 156 w 171"/>
              <a:gd name="T41" fmla="*/ 207 h 208"/>
              <a:gd name="T42" fmla="*/ 147 w 171"/>
              <a:gd name="T43" fmla="*/ 198 h 208"/>
              <a:gd name="T44" fmla="*/ 135 w 171"/>
              <a:gd name="T45" fmla="*/ 158 h 208"/>
              <a:gd name="T46" fmla="*/ 129 w 171"/>
              <a:gd name="T47" fmla="*/ 117 h 208"/>
              <a:gd name="T48" fmla="*/ 86 w 171"/>
              <a:gd name="T49" fmla="*/ 140 h 208"/>
              <a:gd name="T50" fmla="*/ 44 w 171"/>
              <a:gd name="T51" fmla="*/ 151 h 208"/>
              <a:gd name="T52" fmla="*/ 12 w 171"/>
              <a:gd name="T53" fmla="*/ 138 h 208"/>
              <a:gd name="T54" fmla="*/ 0 w 171"/>
              <a:gd name="T55" fmla="*/ 102 h 208"/>
              <a:gd name="T56" fmla="*/ 17 w 171"/>
              <a:gd name="T57" fmla="*/ 58 h 208"/>
              <a:gd name="T58" fmla="*/ 58 w 171"/>
              <a:gd name="T59" fmla="*/ 19 h 208"/>
              <a:gd name="T60" fmla="*/ 91 w 171"/>
              <a:gd name="T61" fmla="*/ 2 h 208"/>
              <a:gd name="T62" fmla="*/ 110 w 171"/>
              <a:gd name="T63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71" h="208">
                <a:moveTo>
                  <a:pt x="110" y="0"/>
                </a:moveTo>
                <a:lnTo>
                  <a:pt x="114" y="2"/>
                </a:lnTo>
                <a:lnTo>
                  <a:pt x="117" y="4"/>
                </a:lnTo>
                <a:lnTo>
                  <a:pt x="121" y="5"/>
                </a:lnTo>
                <a:lnTo>
                  <a:pt x="122" y="9"/>
                </a:lnTo>
                <a:lnTo>
                  <a:pt x="124" y="12"/>
                </a:lnTo>
                <a:lnTo>
                  <a:pt x="122" y="18"/>
                </a:lnTo>
                <a:lnTo>
                  <a:pt x="119" y="23"/>
                </a:lnTo>
                <a:lnTo>
                  <a:pt x="96" y="33"/>
                </a:lnTo>
                <a:lnTo>
                  <a:pt x="73" y="47"/>
                </a:lnTo>
                <a:lnTo>
                  <a:pt x="56" y="63"/>
                </a:lnTo>
                <a:lnTo>
                  <a:pt x="42" y="79"/>
                </a:lnTo>
                <a:lnTo>
                  <a:pt x="33" y="95"/>
                </a:lnTo>
                <a:lnTo>
                  <a:pt x="30" y="109"/>
                </a:lnTo>
                <a:lnTo>
                  <a:pt x="31" y="119"/>
                </a:lnTo>
                <a:lnTo>
                  <a:pt x="38" y="123"/>
                </a:lnTo>
                <a:lnTo>
                  <a:pt x="49" y="123"/>
                </a:lnTo>
                <a:lnTo>
                  <a:pt x="65" y="119"/>
                </a:lnTo>
                <a:lnTo>
                  <a:pt x="82" y="112"/>
                </a:lnTo>
                <a:lnTo>
                  <a:pt x="98" y="105"/>
                </a:lnTo>
                <a:lnTo>
                  <a:pt x="114" y="95"/>
                </a:lnTo>
                <a:lnTo>
                  <a:pt x="126" y="86"/>
                </a:lnTo>
                <a:lnTo>
                  <a:pt x="126" y="70"/>
                </a:lnTo>
                <a:lnTo>
                  <a:pt x="128" y="60"/>
                </a:lnTo>
                <a:lnTo>
                  <a:pt x="131" y="51"/>
                </a:lnTo>
                <a:lnTo>
                  <a:pt x="140" y="49"/>
                </a:lnTo>
                <a:lnTo>
                  <a:pt x="147" y="51"/>
                </a:lnTo>
                <a:lnTo>
                  <a:pt x="152" y="54"/>
                </a:lnTo>
                <a:lnTo>
                  <a:pt x="154" y="56"/>
                </a:lnTo>
                <a:lnTo>
                  <a:pt x="157" y="58"/>
                </a:lnTo>
                <a:lnTo>
                  <a:pt x="157" y="61"/>
                </a:lnTo>
                <a:lnTo>
                  <a:pt x="159" y="63"/>
                </a:lnTo>
                <a:lnTo>
                  <a:pt x="159" y="84"/>
                </a:lnTo>
                <a:lnTo>
                  <a:pt x="161" y="112"/>
                </a:lnTo>
                <a:lnTo>
                  <a:pt x="163" y="142"/>
                </a:lnTo>
                <a:lnTo>
                  <a:pt x="166" y="172"/>
                </a:lnTo>
                <a:lnTo>
                  <a:pt x="171" y="194"/>
                </a:lnTo>
                <a:lnTo>
                  <a:pt x="169" y="200"/>
                </a:lnTo>
                <a:lnTo>
                  <a:pt x="168" y="205"/>
                </a:lnTo>
                <a:lnTo>
                  <a:pt x="164" y="207"/>
                </a:lnTo>
                <a:lnTo>
                  <a:pt x="161" y="208"/>
                </a:lnTo>
                <a:lnTo>
                  <a:pt x="156" y="207"/>
                </a:lnTo>
                <a:lnTo>
                  <a:pt x="150" y="203"/>
                </a:lnTo>
                <a:lnTo>
                  <a:pt x="147" y="198"/>
                </a:lnTo>
                <a:lnTo>
                  <a:pt x="140" y="179"/>
                </a:lnTo>
                <a:lnTo>
                  <a:pt x="135" y="158"/>
                </a:lnTo>
                <a:lnTo>
                  <a:pt x="131" y="135"/>
                </a:lnTo>
                <a:lnTo>
                  <a:pt x="129" y="117"/>
                </a:lnTo>
                <a:lnTo>
                  <a:pt x="108" y="130"/>
                </a:lnTo>
                <a:lnTo>
                  <a:pt x="86" y="140"/>
                </a:lnTo>
                <a:lnTo>
                  <a:pt x="65" y="147"/>
                </a:lnTo>
                <a:lnTo>
                  <a:pt x="44" y="151"/>
                </a:lnTo>
                <a:lnTo>
                  <a:pt x="26" y="149"/>
                </a:lnTo>
                <a:lnTo>
                  <a:pt x="12" y="138"/>
                </a:lnTo>
                <a:lnTo>
                  <a:pt x="2" y="121"/>
                </a:lnTo>
                <a:lnTo>
                  <a:pt x="0" y="102"/>
                </a:lnTo>
                <a:lnTo>
                  <a:pt x="5" y="81"/>
                </a:lnTo>
                <a:lnTo>
                  <a:pt x="17" y="58"/>
                </a:lnTo>
                <a:lnTo>
                  <a:pt x="37" y="37"/>
                </a:lnTo>
                <a:lnTo>
                  <a:pt x="58" y="19"/>
                </a:lnTo>
                <a:lnTo>
                  <a:pt x="75" y="9"/>
                </a:lnTo>
                <a:lnTo>
                  <a:pt x="91" y="2"/>
                </a:lnTo>
                <a:lnTo>
                  <a:pt x="101" y="0"/>
                </a:lnTo>
                <a:lnTo>
                  <a:pt x="110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2" name="Groep 101"/>
          <p:cNvGrpSpPr/>
          <p:nvPr userDrawn="1"/>
        </p:nvGrpSpPr>
        <p:grpSpPr>
          <a:xfrm>
            <a:off x="6884572" y="3444144"/>
            <a:ext cx="223279" cy="359287"/>
            <a:chOff x="6884572" y="3444144"/>
            <a:chExt cx="223279" cy="359287"/>
          </a:xfrm>
        </p:grpSpPr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925374" y="3444144"/>
              <a:ext cx="86138" cy="359287"/>
            </a:xfrm>
            <a:custGeom>
              <a:avLst/>
              <a:gdLst>
                <a:gd name="T0" fmla="*/ 16 w 76"/>
                <a:gd name="T1" fmla="*/ 0 h 317"/>
                <a:gd name="T2" fmla="*/ 21 w 76"/>
                <a:gd name="T3" fmla="*/ 0 h 317"/>
                <a:gd name="T4" fmla="*/ 28 w 76"/>
                <a:gd name="T5" fmla="*/ 3 h 317"/>
                <a:gd name="T6" fmla="*/ 34 w 76"/>
                <a:gd name="T7" fmla="*/ 10 h 317"/>
                <a:gd name="T8" fmla="*/ 35 w 76"/>
                <a:gd name="T9" fmla="*/ 24 h 317"/>
                <a:gd name="T10" fmla="*/ 35 w 76"/>
                <a:gd name="T11" fmla="*/ 47 h 317"/>
                <a:gd name="T12" fmla="*/ 37 w 76"/>
                <a:gd name="T13" fmla="*/ 72 h 317"/>
                <a:gd name="T14" fmla="*/ 37 w 76"/>
                <a:gd name="T15" fmla="*/ 103 h 317"/>
                <a:gd name="T16" fmla="*/ 39 w 76"/>
                <a:gd name="T17" fmla="*/ 142 h 317"/>
                <a:gd name="T18" fmla="*/ 42 w 76"/>
                <a:gd name="T19" fmla="*/ 180 h 317"/>
                <a:gd name="T20" fmla="*/ 46 w 76"/>
                <a:gd name="T21" fmla="*/ 219 h 317"/>
                <a:gd name="T22" fmla="*/ 51 w 76"/>
                <a:gd name="T23" fmla="*/ 255 h 317"/>
                <a:gd name="T24" fmla="*/ 53 w 76"/>
                <a:gd name="T25" fmla="*/ 254 h 317"/>
                <a:gd name="T26" fmla="*/ 56 w 76"/>
                <a:gd name="T27" fmla="*/ 252 h 317"/>
                <a:gd name="T28" fmla="*/ 60 w 76"/>
                <a:gd name="T29" fmla="*/ 250 h 317"/>
                <a:gd name="T30" fmla="*/ 62 w 76"/>
                <a:gd name="T31" fmla="*/ 248 h 317"/>
                <a:gd name="T32" fmla="*/ 65 w 76"/>
                <a:gd name="T33" fmla="*/ 247 h 317"/>
                <a:gd name="T34" fmla="*/ 69 w 76"/>
                <a:gd name="T35" fmla="*/ 247 h 317"/>
                <a:gd name="T36" fmla="*/ 70 w 76"/>
                <a:gd name="T37" fmla="*/ 248 h 317"/>
                <a:gd name="T38" fmla="*/ 74 w 76"/>
                <a:gd name="T39" fmla="*/ 250 h 317"/>
                <a:gd name="T40" fmla="*/ 74 w 76"/>
                <a:gd name="T41" fmla="*/ 255 h 317"/>
                <a:gd name="T42" fmla="*/ 76 w 76"/>
                <a:gd name="T43" fmla="*/ 261 h 317"/>
                <a:gd name="T44" fmla="*/ 72 w 76"/>
                <a:gd name="T45" fmla="*/ 283 h 317"/>
                <a:gd name="T46" fmla="*/ 63 w 76"/>
                <a:gd name="T47" fmla="*/ 301 h 317"/>
                <a:gd name="T48" fmla="*/ 53 w 76"/>
                <a:gd name="T49" fmla="*/ 313 h 317"/>
                <a:gd name="T50" fmla="*/ 42 w 76"/>
                <a:gd name="T51" fmla="*/ 317 h 317"/>
                <a:gd name="T52" fmla="*/ 35 w 76"/>
                <a:gd name="T53" fmla="*/ 315 h 317"/>
                <a:gd name="T54" fmla="*/ 30 w 76"/>
                <a:gd name="T55" fmla="*/ 306 h 317"/>
                <a:gd name="T56" fmla="*/ 27 w 76"/>
                <a:gd name="T57" fmla="*/ 296 h 317"/>
                <a:gd name="T58" fmla="*/ 23 w 76"/>
                <a:gd name="T59" fmla="*/ 282 h 317"/>
                <a:gd name="T60" fmla="*/ 21 w 76"/>
                <a:gd name="T61" fmla="*/ 264 h 317"/>
                <a:gd name="T62" fmla="*/ 18 w 76"/>
                <a:gd name="T63" fmla="*/ 238 h 317"/>
                <a:gd name="T64" fmla="*/ 14 w 76"/>
                <a:gd name="T65" fmla="*/ 205 h 317"/>
                <a:gd name="T66" fmla="*/ 13 w 76"/>
                <a:gd name="T67" fmla="*/ 168 h 317"/>
                <a:gd name="T68" fmla="*/ 9 w 76"/>
                <a:gd name="T69" fmla="*/ 131 h 317"/>
                <a:gd name="T70" fmla="*/ 6 w 76"/>
                <a:gd name="T71" fmla="*/ 94 h 317"/>
                <a:gd name="T72" fmla="*/ 2 w 76"/>
                <a:gd name="T73" fmla="*/ 65 h 317"/>
                <a:gd name="T74" fmla="*/ 0 w 76"/>
                <a:gd name="T75" fmla="*/ 40 h 317"/>
                <a:gd name="T76" fmla="*/ 0 w 76"/>
                <a:gd name="T77" fmla="*/ 26 h 317"/>
                <a:gd name="T78" fmla="*/ 0 w 76"/>
                <a:gd name="T79" fmla="*/ 19 h 317"/>
                <a:gd name="T80" fmla="*/ 0 w 76"/>
                <a:gd name="T81" fmla="*/ 12 h 317"/>
                <a:gd name="T82" fmla="*/ 4 w 76"/>
                <a:gd name="T83" fmla="*/ 7 h 317"/>
                <a:gd name="T84" fmla="*/ 6 w 76"/>
                <a:gd name="T85" fmla="*/ 3 h 317"/>
                <a:gd name="T86" fmla="*/ 9 w 76"/>
                <a:gd name="T87" fmla="*/ 2 h 317"/>
                <a:gd name="T88" fmla="*/ 13 w 76"/>
                <a:gd name="T89" fmla="*/ 0 h 317"/>
                <a:gd name="T90" fmla="*/ 16 w 76"/>
                <a:gd name="T91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6" h="317">
                  <a:moveTo>
                    <a:pt x="16" y="0"/>
                  </a:moveTo>
                  <a:lnTo>
                    <a:pt x="21" y="0"/>
                  </a:lnTo>
                  <a:lnTo>
                    <a:pt x="28" y="3"/>
                  </a:lnTo>
                  <a:lnTo>
                    <a:pt x="34" y="10"/>
                  </a:lnTo>
                  <a:lnTo>
                    <a:pt x="35" y="24"/>
                  </a:lnTo>
                  <a:lnTo>
                    <a:pt x="35" y="47"/>
                  </a:lnTo>
                  <a:lnTo>
                    <a:pt x="37" y="72"/>
                  </a:lnTo>
                  <a:lnTo>
                    <a:pt x="37" y="103"/>
                  </a:lnTo>
                  <a:lnTo>
                    <a:pt x="39" y="142"/>
                  </a:lnTo>
                  <a:lnTo>
                    <a:pt x="42" y="180"/>
                  </a:lnTo>
                  <a:lnTo>
                    <a:pt x="46" y="219"/>
                  </a:lnTo>
                  <a:lnTo>
                    <a:pt x="51" y="255"/>
                  </a:lnTo>
                  <a:lnTo>
                    <a:pt x="53" y="254"/>
                  </a:lnTo>
                  <a:lnTo>
                    <a:pt x="56" y="252"/>
                  </a:lnTo>
                  <a:lnTo>
                    <a:pt x="60" y="250"/>
                  </a:lnTo>
                  <a:lnTo>
                    <a:pt x="62" y="248"/>
                  </a:lnTo>
                  <a:lnTo>
                    <a:pt x="65" y="247"/>
                  </a:lnTo>
                  <a:lnTo>
                    <a:pt x="69" y="247"/>
                  </a:lnTo>
                  <a:lnTo>
                    <a:pt x="70" y="248"/>
                  </a:lnTo>
                  <a:lnTo>
                    <a:pt x="74" y="250"/>
                  </a:lnTo>
                  <a:lnTo>
                    <a:pt x="74" y="255"/>
                  </a:lnTo>
                  <a:lnTo>
                    <a:pt x="76" y="261"/>
                  </a:lnTo>
                  <a:lnTo>
                    <a:pt x="72" y="283"/>
                  </a:lnTo>
                  <a:lnTo>
                    <a:pt x="63" y="301"/>
                  </a:lnTo>
                  <a:lnTo>
                    <a:pt x="53" y="313"/>
                  </a:lnTo>
                  <a:lnTo>
                    <a:pt x="42" y="317"/>
                  </a:lnTo>
                  <a:lnTo>
                    <a:pt x="35" y="315"/>
                  </a:lnTo>
                  <a:lnTo>
                    <a:pt x="30" y="306"/>
                  </a:lnTo>
                  <a:lnTo>
                    <a:pt x="27" y="296"/>
                  </a:lnTo>
                  <a:lnTo>
                    <a:pt x="23" y="282"/>
                  </a:lnTo>
                  <a:lnTo>
                    <a:pt x="21" y="264"/>
                  </a:lnTo>
                  <a:lnTo>
                    <a:pt x="18" y="238"/>
                  </a:lnTo>
                  <a:lnTo>
                    <a:pt x="14" y="205"/>
                  </a:lnTo>
                  <a:lnTo>
                    <a:pt x="13" y="168"/>
                  </a:lnTo>
                  <a:lnTo>
                    <a:pt x="9" y="131"/>
                  </a:lnTo>
                  <a:lnTo>
                    <a:pt x="6" y="94"/>
                  </a:lnTo>
                  <a:lnTo>
                    <a:pt x="2" y="65"/>
                  </a:lnTo>
                  <a:lnTo>
                    <a:pt x="0" y="40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0" y="12"/>
                  </a:lnTo>
                  <a:lnTo>
                    <a:pt x="4" y="7"/>
                  </a:lnTo>
                  <a:lnTo>
                    <a:pt x="6" y="3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884572" y="3523482"/>
              <a:ext cx="223279" cy="53270"/>
            </a:xfrm>
            <a:custGeom>
              <a:avLst/>
              <a:gdLst>
                <a:gd name="T0" fmla="*/ 183 w 197"/>
                <a:gd name="T1" fmla="*/ 0 h 47"/>
                <a:gd name="T2" fmla="*/ 187 w 197"/>
                <a:gd name="T3" fmla="*/ 3 h 47"/>
                <a:gd name="T4" fmla="*/ 192 w 197"/>
                <a:gd name="T5" fmla="*/ 7 h 47"/>
                <a:gd name="T6" fmla="*/ 196 w 197"/>
                <a:gd name="T7" fmla="*/ 10 h 47"/>
                <a:gd name="T8" fmla="*/ 197 w 197"/>
                <a:gd name="T9" fmla="*/ 14 h 47"/>
                <a:gd name="T10" fmla="*/ 196 w 197"/>
                <a:gd name="T11" fmla="*/ 16 h 47"/>
                <a:gd name="T12" fmla="*/ 194 w 197"/>
                <a:gd name="T13" fmla="*/ 19 h 47"/>
                <a:gd name="T14" fmla="*/ 190 w 197"/>
                <a:gd name="T15" fmla="*/ 21 h 47"/>
                <a:gd name="T16" fmla="*/ 183 w 197"/>
                <a:gd name="T17" fmla="*/ 23 h 47"/>
                <a:gd name="T18" fmla="*/ 176 w 197"/>
                <a:gd name="T19" fmla="*/ 24 h 47"/>
                <a:gd name="T20" fmla="*/ 157 w 197"/>
                <a:gd name="T21" fmla="*/ 26 h 47"/>
                <a:gd name="T22" fmla="*/ 131 w 197"/>
                <a:gd name="T23" fmla="*/ 31 h 47"/>
                <a:gd name="T24" fmla="*/ 105 w 197"/>
                <a:gd name="T25" fmla="*/ 37 h 47"/>
                <a:gd name="T26" fmla="*/ 78 w 197"/>
                <a:gd name="T27" fmla="*/ 42 h 47"/>
                <a:gd name="T28" fmla="*/ 52 w 197"/>
                <a:gd name="T29" fmla="*/ 45 h 47"/>
                <a:gd name="T30" fmla="*/ 33 w 197"/>
                <a:gd name="T31" fmla="*/ 47 h 47"/>
                <a:gd name="T32" fmla="*/ 19 w 197"/>
                <a:gd name="T33" fmla="*/ 47 h 47"/>
                <a:gd name="T34" fmla="*/ 8 w 197"/>
                <a:gd name="T35" fmla="*/ 42 h 47"/>
                <a:gd name="T36" fmla="*/ 2 w 197"/>
                <a:gd name="T37" fmla="*/ 35 h 47"/>
                <a:gd name="T38" fmla="*/ 0 w 197"/>
                <a:gd name="T39" fmla="*/ 31 h 47"/>
                <a:gd name="T40" fmla="*/ 2 w 197"/>
                <a:gd name="T41" fmla="*/ 26 h 47"/>
                <a:gd name="T42" fmla="*/ 3 w 197"/>
                <a:gd name="T43" fmla="*/ 23 h 47"/>
                <a:gd name="T44" fmla="*/ 5 w 197"/>
                <a:gd name="T45" fmla="*/ 21 h 47"/>
                <a:gd name="T46" fmla="*/ 10 w 197"/>
                <a:gd name="T47" fmla="*/ 19 h 47"/>
                <a:gd name="T48" fmla="*/ 17 w 197"/>
                <a:gd name="T49" fmla="*/ 17 h 47"/>
                <a:gd name="T50" fmla="*/ 31 w 197"/>
                <a:gd name="T51" fmla="*/ 17 h 47"/>
                <a:gd name="T52" fmla="*/ 47 w 197"/>
                <a:gd name="T53" fmla="*/ 16 h 47"/>
                <a:gd name="T54" fmla="*/ 64 w 197"/>
                <a:gd name="T55" fmla="*/ 12 h 47"/>
                <a:gd name="T56" fmla="*/ 122 w 197"/>
                <a:gd name="T57" fmla="*/ 5 h 47"/>
                <a:gd name="T58" fmla="*/ 183 w 197"/>
                <a:gd name="T5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97" h="47">
                  <a:moveTo>
                    <a:pt x="183" y="0"/>
                  </a:moveTo>
                  <a:lnTo>
                    <a:pt x="187" y="3"/>
                  </a:lnTo>
                  <a:lnTo>
                    <a:pt x="192" y="7"/>
                  </a:lnTo>
                  <a:lnTo>
                    <a:pt x="196" y="10"/>
                  </a:lnTo>
                  <a:lnTo>
                    <a:pt x="197" y="14"/>
                  </a:lnTo>
                  <a:lnTo>
                    <a:pt x="196" y="16"/>
                  </a:lnTo>
                  <a:lnTo>
                    <a:pt x="194" y="19"/>
                  </a:lnTo>
                  <a:lnTo>
                    <a:pt x="190" y="21"/>
                  </a:lnTo>
                  <a:lnTo>
                    <a:pt x="183" y="23"/>
                  </a:lnTo>
                  <a:lnTo>
                    <a:pt x="176" y="24"/>
                  </a:lnTo>
                  <a:lnTo>
                    <a:pt x="157" y="26"/>
                  </a:lnTo>
                  <a:lnTo>
                    <a:pt x="131" y="31"/>
                  </a:lnTo>
                  <a:lnTo>
                    <a:pt x="105" y="37"/>
                  </a:lnTo>
                  <a:lnTo>
                    <a:pt x="78" y="42"/>
                  </a:lnTo>
                  <a:lnTo>
                    <a:pt x="52" y="45"/>
                  </a:lnTo>
                  <a:lnTo>
                    <a:pt x="33" y="47"/>
                  </a:lnTo>
                  <a:lnTo>
                    <a:pt x="19" y="47"/>
                  </a:lnTo>
                  <a:lnTo>
                    <a:pt x="8" y="42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2" y="26"/>
                  </a:lnTo>
                  <a:lnTo>
                    <a:pt x="3" y="23"/>
                  </a:lnTo>
                  <a:lnTo>
                    <a:pt x="5" y="21"/>
                  </a:lnTo>
                  <a:lnTo>
                    <a:pt x="10" y="19"/>
                  </a:lnTo>
                  <a:lnTo>
                    <a:pt x="17" y="17"/>
                  </a:lnTo>
                  <a:lnTo>
                    <a:pt x="31" y="17"/>
                  </a:lnTo>
                  <a:lnTo>
                    <a:pt x="47" y="16"/>
                  </a:lnTo>
                  <a:lnTo>
                    <a:pt x="64" y="12"/>
                  </a:lnTo>
                  <a:lnTo>
                    <a:pt x="122" y="5"/>
                  </a:lnTo>
                  <a:lnTo>
                    <a:pt x="18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0" name="Freeform 57"/>
          <p:cNvSpPr>
            <a:spLocks/>
          </p:cNvSpPr>
          <p:nvPr userDrawn="1"/>
        </p:nvSpPr>
        <p:spPr bwMode="auto">
          <a:xfrm>
            <a:off x="7036446" y="3579019"/>
            <a:ext cx="198344" cy="214212"/>
          </a:xfrm>
          <a:custGeom>
            <a:avLst/>
            <a:gdLst>
              <a:gd name="T0" fmla="*/ 158 w 175"/>
              <a:gd name="T1" fmla="*/ 2 h 189"/>
              <a:gd name="T2" fmla="*/ 163 w 175"/>
              <a:gd name="T3" fmla="*/ 19 h 189"/>
              <a:gd name="T4" fmla="*/ 159 w 175"/>
              <a:gd name="T5" fmla="*/ 65 h 189"/>
              <a:gd name="T6" fmla="*/ 161 w 175"/>
              <a:gd name="T7" fmla="*/ 112 h 189"/>
              <a:gd name="T8" fmla="*/ 168 w 175"/>
              <a:gd name="T9" fmla="*/ 157 h 189"/>
              <a:gd name="T10" fmla="*/ 172 w 175"/>
              <a:gd name="T11" fmla="*/ 163 h 189"/>
              <a:gd name="T12" fmla="*/ 175 w 175"/>
              <a:gd name="T13" fmla="*/ 170 h 189"/>
              <a:gd name="T14" fmla="*/ 173 w 175"/>
              <a:gd name="T15" fmla="*/ 180 h 189"/>
              <a:gd name="T16" fmla="*/ 168 w 175"/>
              <a:gd name="T17" fmla="*/ 189 h 189"/>
              <a:gd name="T18" fmla="*/ 159 w 175"/>
              <a:gd name="T19" fmla="*/ 189 h 189"/>
              <a:gd name="T20" fmla="*/ 153 w 175"/>
              <a:gd name="T21" fmla="*/ 185 h 189"/>
              <a:gd name="T22" fmla="*/ 142 w 175"/>
              <a:gd name="T23" fmla="*/ 166 h 189"/>
              <a:gd name="T24" fmla="*/ 132 w 175"/>
              <a:gd name="T25" fmla="*/ 112 h 189"/>
              <a:gd name="T26" fmla="*/ 104 w 175"/>
              <a:gd name="T27" fmla="*/ 156 h 189"/>
              <a:gd name="T28" fmla="*/ 76 w 175"/>
              <a:gd name="T29" fmla="*/ 173 h 189"/>
              <a:gd name="T30" fmla="*/ 46 w 175"/>
              <a:gd name="T31" fmla="*/ 164 h 189"/>
              <a:gd name="T32" fmla="*/ 23 w 175"/>
              <a:gd name="T33" fmla="*/ 131 h 189"/>
              <a:gd name="T34" fmla="*/ 9 w 175"/>
              <a:gd name="T35" fmla="*/ 87 h 189"/>
              <a:gd name="T36" fmla="*/ 2 w 175"/>
              <a:gd name="T37" fmla="*/ 49 h 189"/>
              <a:gd name="T38" fmla="*/ 0 w 175"/>
              <a:gd name="T39" fmla="*/ 31 h 189"/>
              <a:gd name="T40" fmla="*/ 2 w 175"/>
              <a:gd name="T41" fmla="*/ 23 h 189"/>
              <a:gd name="T42" fmla="*/ 6 w 175"/>
              <a:gd name="T43" fmla="*/ 16 h 189"/>
              <a:gd name="T44" fmla="*/ 13 w 175"/>
              <a:gd name="T45" fmla="*/ 12 h 189"/>
              <a:gd name="T46" fmla="*/ 28 w 175"/>
              <a:gd name="T47" fmla="*/ 14 h 189"/>
              <a:gd name="T48" fmla="*/ 34 w 175"/>
              <a:gd name="T49" fmla="*/ 31 h 189"/>
              <a:gd name="T50" fmla="*/ 41 w 175"/>
              <a:gd name="T51" fmla="*/ 82 h 189"/>
              <a:gd name="T52" fmla="*/ 55 w 175"/>
              <a:gd name="T53" fmla="*/ 135 h 189"/>
              <a:gd name="T54" fmla="*/ 63 w 175"/>
              <a:gd name="T55" fmla="*/ 145 h 189"/>
              <a:gd name="T56" fmla="*/ 72 w 175"/>
              <a:gd name="T57" fmla="*/ 147 h 189"/>
              <a:gd name="T58" fmla="*/ 83 w 175"/>
              <a:gd name="T59" fmla="*/ 140 h 189"/>
              <a:gd name="T60" fmla="*/ 109 w 175"/>
              <a:gd name="T61" fmla="*/ 105 h 189"/>
              <a:gd name="T62" fmla="*/ 133 w 175"/>
              <a:gd name="T63" fmla="*/ 42 h 189"/>
              <a:gd name="T64" fmla="*/ 139 w 175"/>
              <a:gd name="T65" fmla="*/ 9 h 189"/>
              <a:gd name="T66" fmla="*/ 153 w 175"/>
              <a:gd name="T67" fmla="*/ 0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5" h="189">
                <a:moveTo>
                  <a:pt x="153" y="0"/>
                </a:moveTo>
                <a:lnTo>
                  <a:pt x="158" y="2"/>
                </a:lnTo>
                <a:lnTo>
                  <a:pt x="161" y="9"/>
                </a:lnTo>
                <a:lnTo>
                  <a:pt x="163" y="19"/>
                </a:lnTo>
                <a:lnTo>
                  <a:pt x="163" y="35"/>
                </a:lnTo>
                <a:lnTo>
                  <a:pt x="159" y="65"/>
                </a:lnTo>
                <a:lnTo>
                  <a:pt x="159" y="89"/>
                </a:lnTo>
                <a:lnTo>
                  <a:pt x="161" y="112"/>
                </a:lnTo>
                <a:lnTo>
                  <a:pt x="163" y="133"/>
                </a:lnTo>
                <a:lnTo>
                  <a:pt x="168" y="157"/>
                </a:lnTo>
                <a:lnTo>
                  <a:pt x="170" y="159"/>
                </a:lnTo>
                <a:lnTo>
                  <a:pt x="172" y="163"/>
                </a:lnTo>
                <a:lnTo>
                  <a:pt x="173" y="166"/>
                </a:lnTo>
                <a:lnTo>
                  <a:pt x="175" y="170"/>
                </a:lnTo>
                <a:lnTo>
                  <a:pt x="175" y="175"/>
                </a:lnTo>
                <a:lnTo>
                  <a:pt x="173" y="180"/>
                </a:lnTo>
                <a:lnTo>
                  <a:pt x="170" y="185"/>
                </a:lnTo>
                <a:lnTo>
                  <a:pt x="168" y="189"/>
                </a:lnTo>
                <a:lnTo>
                  <a:pt x="163" y="189"/>
                </a:lnTo>
                <a:lnTo>
                  <a:pt x="159" y="189"/>
                </a:lnTo>
                <a:lnTo>
                  <a:pt x="156" y="189"/>
                </a:lnTo>
                <a:lnTo>
                  <a:pt x="153" y="185"/>
                </a:lnTo>
                <a:lnTo>
                  <a:pt x="149" y="182"/>
                </a:lnTo>
                <a:lnTo>
                  <a:pt x="142" y="166"/>
                </a:lnTo>
                <a:lnTo>
                  <a:pt x="137" y="142"/>
                </a:lnTo>
                <a:lnTo>
                  <a:pt x="132" y="112"/>
                </a:lnTo>
                <a:lnTo>
                  <a:pt x="119" y="135"/>
                </a:lnTo>
                <a:lnTo>
                  <a:pt x="104" y="156"/>
                </a:lnTo>
                <a:lnTo>
                  <a:pt x="91" y="168"/>
                </a:lnTo>
                <a:lnTo>
                  <a:pt x="76" y="173"/>
                </a:lnTo>
                <a:lnTo>
                  <a:pt x="62" y="173"/>
                </a:lnTo>
                <a:lnTo>
                  <a:pt x="46" y="164"/>
                </a:lnTo>
                <a:lnTo>
                  <a:pt x="32" y="149"/>
                </a:lnTo>
                <a:lnTo>
                  <a:pt x="23" y="131"/>
                </a:lnTo>
                <a:lnTo>
                  <a:pt x="16" y="108"/>
                </a:lnTo>
                <a:lnTo>
                  <a:pt x="9" y="87"/>
                </a:lnTo>
                <a:lnTo>
                  <a:pt x="6" y="66"/>
                </a:lnTo>
                <a:lnTo>
                  <a:pt x="2" y="49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3"/>
                </a:lnTo>
                <a:lnTo>
                  <a:pt x="2" y="17"/>
                </a:lnTo>
                <a:lnTo>
                  <a:pt x="6" y="16"/>
                </a:lnTo>
                <a:lnTo>
                  <a:pt x="9" y="12"/>
                </a:lnTo>
                <a:lnTo>
                  <a:pt x="13" y="12"/>
                </a:lnTo>
                <a:lnTo>
                  <a:pt x="20" y="10"/>
                </a:lnTo>
                <a:lnTo>
                  <a:pt x="28" y="14"/>
                </a:lnTo>
                <a:lnTo>
                  <a:pt x="32" y="19"/>
                </a:lnTo>
                <a:lnTo>
                  <a:pt x="34" y="31"/>
                </a:lnTo>
                <a:lnTo>
                  <a:pt x="37" y="51"/>
                </a:lnTo>
                <a:lnTo>
                  <a:pt x="41" y="82"/>
                </a:lnTo>
                <a:lnTo>
                  <a:pt x="48" y="112"/>
                </a:lnTo>
                <a:lnTo>
                  <a:pt x="55" y="135"/>
                </a:lnTo>
                <a:lnTo>
                  <a:pt x="58" y="142"/>
                </a:lnTo>
                <a:lnTo>
                  <a:pt x="63" y="145"/>
                </a:lnTo>
                <a:lnTo>
                  <a:pt x="69" y="147"/>
                </a:lnTo>
                <a:lnTo>
                  <a:pt x="72" y="147"/>
                </a:lnTo>
                <a:lnTo>
                  <a:pt x="77" y="145"/>
                </a:lnTo>
                <a:lnTo>
                  <a:pt x="83" y="140"/>
                </a:lnTo>
                <a:lnTo>
                  <a:pt x="97" y="126"/>
                </a:lnTo>
                <a:lnTo>
                  <a:pt x="109" y="105"/>
                </a:lnTo>
                <a:lnTo>
                  <a:pt x="123" y="77"/>
                </a:lnTo>
                <a:lnTo>
                  <a:pt x="133" y="42"/>
                </a:lnTo>
                <a:lnTo>
                  <a:pt x="135" y="23"/>
                </a:lnTo>
                <a:lnTo>
                  <a:pt x="139" y="9"/>
                </a:lnTo>
                <a:lnTo>
                  <a:pt x="144" y="0"/>
                </a:lnTo>
                <a:lnTo>
                  <a:pt x="153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1" name="Freeform 58"/>
          <p:cNvSpPr>
            <a:spLocks/>
          </p:cNvSpPr>
          <p:nvPr userDrawn="1"/>
        </p:nvSpPr>
        <p:spPr bwMode="auto">
          <a:xfrm>
            <a:off x="7280127" y="3568818"/>
            <a:ext cx="155276" cy="224412"/>
          </a:xfrm>
          <a:custGeom>
            <a:avLst/>
            <a:gdLst>
              <a:gd name="T0" fmla="*/ 105 w 137"/>
              <a:gd name="T1" fmla="*/ 0 h 198"/>
              <a:gd name="T2" fmla="*/ 119 w 137"/>
              <a:gd name="T3" fmla="*/ 0 h 198"/>
              <a:gd name="T4" fmla="*/ 128 w 137"/>
              <a:gd name="T5" fmla="*/ 5 h 198"/>
              <a:gd name="T6" fmla="*/ 135 w 137"/>
              <a:gd name="T7" fmla="*/ 14 h 198"/>
              <a:gd name="T8" fmla="*/ 137 w 137"/>
              <a:gd name="T9" fmla="*/ 32 h 198"/>
              <a:gd name="T10" fmla="*/ 135 w 137"/>
              <a:gd name="T11" fmla="*/ 46 h 198"/>
              <a:gd name="T12" fmla="*/ 132 w 137"/>
              <a:gd name="T13" fmla="*/ 58 h 198"/>
              <a:gd name="T14" fmla="*/ 126 w 137"/>
              <a:gd name="T15" fmla="*/ 68 h 198"/>
              <a:gd name="T16" fmla="*/ 118 w 137"/>
              <a:gd name="T17" fmla="*/ 74 h 198"/>
              <a:gd name="T18" fmla="*/ 107 w 137"/>
              <a:gd name="T19" fmla="*/ 75 h 198"/>
              <a:gd name="T20" fmla="*/ 104 w 137"/>
              <a:gd name="T21" fmla="*/ 74 h 198"/>
              <a:gd name="T22" fmla="*/ 102 w 137"/>
              <a:gd name="T23" fmla="*/ 72 h 198"/>
              <a:gd name="T24" fmla="*/ 102 w 137"/>
              <a:gd name="T25" fmla="*/ 68 h 198"/>
              <a:gd name="T26" fmla="*/ 102 w 137"/>
              <a:gd name="T27" fmla="*/ 67 h 198"/>
              <a:gd name="T28" fmla="*/ 104 w 137"/>
              <a:gd name="T29" fmla="*/ 63 h 198"/>
              <a:gd name="T30" fmla="*/ 105 w 137"/>
              <a:gd name="T31" fmla="*/ 58 h 198"/>
              <a:gd name="T32" fmla="*/ 105 w 137"/>
              <a:gd name="T33" fmla="*/ 49 h 198"/>
              <a:gd name="T34" fmla="*/ 107 w 137"/>
              <a:gd name="T35" fmla="*/ 39 h 198"/>
              <a:gd name="T36" fmla="*/ 104 w 137"/>
              <a:gd name="T37" fmla="*/ 30 h 198"/>
              <a:gd name="T38" fmla="*/ 98 w 137"/>
              <a:gd name="T39" fmla="*/ 26 h 198"/>
              <a:gd name="T40" fmla="*/ 88 w 137"/>
              <a:gd name="T41" fmla="*/ 28 h 198"/>
              <a:gd name="T42" fmla="*/ 77 w 137"/>
              <a:gd name="T43" fmla="*/ 37 h 198"/>
              <a:gd name="T44" fmla="*/ 69 w 137"/>
              <a:gd name="T45" fmla="*/ 54 h 198"/>
              <a:gd name="T46" fmla="*/ 58 w 137"/>
              <a:gd name="T47" fmla="*/ 75 h 198"/>
              <a:gd name="T48" fmla="*/ 53 w 137"/>
              <a:gd name="T49" fmla="*/ 103 h 198"/>
              <a:gd name="T50" fmla="*/ 51 w 137"/>
              <a:gd name="T51" fmla="*/ 117 h 198"/>
              <a:gd name="T52" fmla="*/ 51 w 137"/>
              <a:gd name="T53" fmla="*/ 131 h 198"/>
              <a:gd name="T54" fmla="*/ 51 w 137"/>
              <a:gd name="T55" fmla="*/ 149 h 198"/>
              <a:gd name="T56" fmla="*/ 55 w 137"/>
              <a:gd name="T57" fmla="*/ 175 h 198"/>
              <a:gd name="T58" fmla="*/ 56 w 137"/>
              <a:gd name="T59" fmla="*/ 182 h 198"/>
              <a:gd name="T60" fmla="*/ 56 w 137"/>
              <a:gd name="T61" fmla="*/ 189 h 198"/>
              <a:gd name="T62" fmla="*/ 55 w 137"/>
              <a:gd name="T63" fmla="*/ 193 h 198"/>
              <a:gd name="T64" fmla="*/ 55 w 137"/>
              <a:gd name="T65" fmla="*/ 196 h 198"/>
              <a:gd name="T66" fmla="*/ 53 w 137"/>
              <a:gd name="T67" fmla="*/ 198 h 198"/>
              <a:gd name="T68" fmla="*/ 49 w 137"/>
              <a:gd name="T69" fmla="*/ 198 h 198"/>
              <a:gd name="T70" fmla="*/ 46 w 137"/>
              <a:gd name="T71" fmla="*/ 198 h 198"/>
              <a:gd name="T72" fmla="*/ 41 w 137"/>
              <a:gd name="T73" fmla="*/ 198 h 198"/>
              <a:gd name="T74" fmla="*/ 35 w 137"/>
              <a:gd name="T75" fmla="*/ 196 h 198"/>
              <a:gd name="T76" fmla="*/ 32 w 137"/>
              <a:gd name="T77" fmla="*/ 194 h 198"/>
              <a:gd name="T78" fmla="*/ 28 w 137"/>
              <a:gd name="T79" fmla="*/ 191 h 198"/>
              <a:gd name="T80" fmla="*/ 27 w 137"/>
              <a:gd name="T81" fmla="*/ 186 h 198"/>
              <a:gd name="T82" fmla="*/ 14 w 137"/>
              <a:gd name="T83" fmla="*/ 138 h 198"/>
              <a:gd name="T84" fmla="*/ 7 w 137"/>
              <a:gd name="T85" fmla="*/ 93 h 198"/>
              <a:gd name="T86" fmla="*/ 2 w 137"/>
              <a:gd name="T87" fmla="*/ 49 h 198"/>
              <a:gd name="T88" fmla="*/ 0 w 137"/>
              <a:gd name="T89" fmla="*/ 14 h 198"/>
              <a:gd name="T90" fmla="*/ 0 w 137"/>
              <a:gd name="T91" fmla="*/ 9 h 198"/>
              <a:gd name="T92" fmla="*/ 4 w 137"/>
              <a:gd name="T93" fmla="*/ 5 h 198"/>
              <a:gd name="T94" fmla="*/ 7 w 137"/>
              <a:gd name="T95" fmla="*/ 4 h 198"/>
              <a:gd name="T96" fmla="*/ 11 w 137"/>
              <a:gd name="T97" fmla="*/ 2 h 198"/>
              <a:gd name="T98" fmla="*/ 14 w 137"/>
              <a:gd name="T99" fmla="*/ 2 h 198"/>
              <a:gd name="T100" fmla="*/ 18 w 137"/>
              <a:gd name="T101" fmla="*/ 4 h 198"/>
              <a:gd name="T102" fmla="*/ 21 w 137"/>
              <a:gd name="T103" fmla="*/ 4 h 198"/>
              <a:gd name="T104" fmla="*/ 25 w 137"/>
              <a:gd name="T105" fmla="*/ 7 h 198"/>
              <a:gd name="T106" fmla="*/ 27 w 137"/>
              <a:gd name="T107" fmla="*/ 12 h 198"/>
              <a:gd name="T108" fmla="*/ 30 w 137"/>
              <a:gd name="T109" fmla="*/ 28 h 198"/>
              <a:gd name="T110" fmla="*/ 34 w 137"/>
              <a:gd name="T111" fmla="*/ 47 h 198"/>
              <a:gd name="T112" fmla="*/ 37 w 137"/>
              <a:gd name="T113" fmla="*/ 68 h 198"/>
              <a:gd name="T114" fmla="*/ 44 w 137"/>
              <a:gd name="T115" fmla="*/ 49 h 198"/>
              <a:gd name="T116" fmla="*/ 55 w 137"/>
              <a:gd name="T117" fmla="*/ 32 h 198"/>
              <a:gd name="T118" fmla="*/ 67 w 137"/>
              <a:gd name="T119" fmla="*/ 16 h 198"/>
              <a:gd name="T120" fmla="*/ 84 w 137"/>
              <a:gd name="T121" fmla="*/ 5 h 198"/>
              <a:gd name="T122" fmla="*/ 105 w 137"/>
              <a:gd name="T123" fmla="*/ 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7" h="198">
                <a:moveTo>
                  <a:pt x="105" y="0"/>
                </a:moveTo>
                <a:lnTo>
                  <a:pt x="119" y="0"/>
                </a:lnTo>
                <a:lnTo>
                  <a:pt x="128" y="5"/>
                </a:lnTo>
                <a:lnTo>
                  <a:pt x="135" y="14"/>
                </a:lnTo>
                <a:lnTo>
                  <a:pt x="137" y="32"/>
                </a:lnTo>
                <a:lnTo>
                  <a:pt x="135" y="46"/>
                </a:lnTo>
                <a:lnTo>
                  <a:pt x="132" y="58"/>
                </a:lnTo>
                <a:lnTo>
                  <a:pt x="126" y="68"/>
                </a:lnTo>
                <a:lnTo>
                  <a:pt x="118" y="74"/>
                </a:lnTo>
                <a:lnTo>
                  <a:pt x="107" y="75"/>
                </a:lnTo>
                <a:lnTo>
                  <a:pt x="104" y="74"/>
                </a:lnTo>
                <a:lnTo>
                  <a:pt x="102" y="72"/>
                </a:lnTo>
                <a:lnTo>
                  <a:pt x="102" y="68"/>
                </a:lnTo>
                <a:lnTo>
                  <a:pt x="102" y="67"/>
                </a:lnTo>
                <a:lnTo>
                  <a:pt x="104" y="63"/>
                </a:lnTo>
                <a:lnTo>
                  <a:pt x="105" y="58"/>
                </a:lnTo>
                <a:lnTo>
                  <a:pt x="105" y="49"/>
                </a:lnTo>
                <a:lnTo>
                  <a:pt x="107" y="39"/>
                </a:lnTo>
                <a:lnTo>
                  <a:pt x="104" y="30"/>
                </a:lnTo>
                <a:lnTo>
                  <a:pt x="98" y="26"/>
                </a:lnTo>
                <a:lnTo>
                  <a:pt x="88" y="28"/>
                </a:lnTo>
                <a:lnTo>
                  <a:pt x="77" y="37"/>
                </a:lnTo>
                <a:lnTo>
                  <a:pt x="69" y="54"/>
                </a:lnTo>
                <a:lnTo>
                  <a:pt x="58" y="75"/>
                </a:lnTo>
                <a:lnTo>
                  <a:pt x="53" y="103"/>
                </a:lnTo>
                <a:lnTo>
                  <a:pt x="51" y="117"/>
                </a:lnTo>
                <a:lnTo>
                  <a:pt x="51" y="131"/>
                </a:lnTo>
                <a:lnTo>
                  <a:pt x="51" y="149"/>
                </a:lnTo>
                <a:lnTo>
                  <a:pt x="55" y="175"/>
                </a:lnTo>
                <a:lnTo>
                  <a:pt x="56" y="182"/>
                </a:lnTo>
                <a:lnTo>
                  <a:pt x="56" y="189"/>
                </a:lnTo>
                <a:lnTo>
                  <a:pt x="55" y="193"/>
                </a:lnTo>
                <a:lnTo>
                  <a:pt x="55" y="196"/>
                </a:lnTo>
                <a:lnTo>
                  <a:pt x="53" y="198"/>
                </a:lnTo>
                <a:lnTo>
                  <a:pt x="49" y="198"/>
                </a:lnTo>
                <a:lnTo>
                  <a:pt x="46" y="198"/>
                </a:lnTo>
                <a:lnTo>
                  <a:pt x="41" y="198"/>
                </a:lnTo>
                <a:lnTo>
                  <a:pt x="35" y="196"/>
                </a:lnTo>
                <a:lnTo>
                  <a:pt x="32" y="194"/>
                </a:lnTo>
                <a:lnTo>
                  <a:pt x="28" y="191"/>
                </a:lnTo>
                <a:lnTo>
                  <a:pt x="27" y="186"/>
                </a:lnTo>
                <a:lnTo>
                  <a:pt x="14" y="138"/>
                </a:lnTo>
                <a:lnTo>
                  <a:pt x="7" y="93"/>
                </a:lnTo>
                <a:lnTo>
                  <a:pt x="2" y="49"/>
                </a:lnTo>
                <a:lnTo>
                  <a:pt x="0" y="14"/>
                </a:lnTo>
                <a:lnTo>
                  <a:pt x="0" y="9"/>
                </a:lnTo>
                <a:lnTo>
                  <a:pt x="4" y="5"/>
                </a:lnTo>
                <a:lnTo>
                  <a:pt x="7" y="4"/>
                </a:lnTo>
                <a:lnTo>
                  <a:pt x="11" y="2"/>
                </a:lnTo>
                <a:lnTo>
                  <a:pt x="14" y="2"/>
                </a:lnTo>
                <a:lnTo>
                  <a:pt x="18" y="4"/>
                </a:lnTo>
                <a:lnTo>
                  <a:pt x="21" y="4"/>
                </a:lnTo>
                <a:lnTo>
                  <a:pt x="25" y="7"/>
                </a:lnTo>
                <a:lnTo>
                  <a:pt x="27" y="12"/>
                </a:lnTo>
                <a:lnTo>
                  <a:pt x="30" y="28"/>
                </a:lnTo>
                <a:lnTo>
                  <a:pt x="34" y="47"/>
                </a:lnTo>
                <a:lnTo>
                  <a:pt x="37" y="68"/>
                </a:lnTo>
                <a:lnTo>
                  <a:pt x="44" y="49"/>
                </a:lnTo>
                <a:lnTo>
                  <a:pt x="55" y="32"/>
                </a:lnTo>
                <a:lnTo>
                  <a:pt x="67" y="16"/>
                </a:lnTo>
                <a:lnTo>
                  <a:pt x="84" y="5"/>
                </a:lnTo>
                <a:lnTo>
                  <a:pt x="105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2" name="Freeform 59"/>
          <p:cNvSpPr>
            <a:spLocks noEditPoints="1"/>
          </p:cNvSpPr>
          <p:nvPr userDrawn="1"/>
        </p:nvSpPr>
        <p:spPr bwMode="auto">
          <a:xfrm>
            <a:off x="7427469" y="3589219"/>
            <a:ext cx="190411" cy="204011"/>
          </a:xfrm>
          <a:custGeom>
            <a:avLst/>
            <a:gdLst>
              <a:gd name="T0" fmla="*/ 110 w 168"/>
              <a:gd name="T1" fmla="*/ 26 h 180"/>
              <a:gd name="T2" fmla="*/ 84 w 168"/>
              <a:gd name="T3" fmla="*/ 42 h 180"/>
              <a:gd name="T4" fmla="*/ 59 w 168"/>
              <a:gd name="T5" fmla="*/ 68 h 180"/>
              <a:gd name="T6" fmla="*/ 51 w 168"/>
              <a:gd name="T7" fmla="*/ 87 h 180"/>
              <a:gd name="T8" fmla="*/ 86 w 168"/>
              <a:gd name="T9" fmla="*/ 80 h 180"/>
              <a:gd name="T10" fmla="*/ 124 w 168"/>
              <a:gd name="T11" fmla="*/ 59 h 180"/>
              <a:gd name="T12" fmla="*/ 138 w 168"/>
              <a:gd name="T13" fmla="*/ 35 h 180"/>
              <a:gd name="T14" fmla="*/ 124 w 168"/>
              <a:gd name="T15" fmla="*/ 22 h 180"/>
              <a:gd name="T16" fmla="*/ 134 w 168"/>
              <a:gd name="T17" fmla="*/ 1 h 180"/>
              <a:gd name="T18" fmla="*/ 162 w 168"/>
              <a:gd name="T19" fmla="*/ 22 h 180"/>
              <a:gd name="T20" fmla="*/ 164 w 168"/>
              <a:gd name="T21" fmla="*/ 57 h 180"/>
              <a:gd name="T22" fmla="*/ 136 w 168"/>
              <a:gd name="T23" fmla="*/ 87 h 180"/>
              <a:gd name="T24" fmla="*/ 91 w 168"/>
              <a:gd name="T25" fmla="*/ 108 h 180"/>
              <a:gd name="T26" fmla="*/ 51 w 168"/>
              <a:gd name="T27" fmla="*/ 115 h 180"/>
              <a:gd name="T28" fmla="*/ 59 w 168"/>
              <a:gd name="T29" fmla="*/ 138 h 180"/>
              <a:gd name="T30" fmla="*/ 93 w 168"/>
              <a:gd name="T31" fmla="*/ 155 h 180"/>
              <a:gd name="T32" fmla="*/ 138 w 168"/>
              <a:gd name="T33" fmla="*/ 150 h 180"/>
              <a:gd name="T34" fmla="*/ 148 w 168"/>
              <a:gd name="T35" fmla="*/ 147 h 180"/>
              <a:gd name="T36" fmla="*/ 155 w 168"/>
              <a:gd name="T37" fmla="*/ 148 h 180"/>
              <a:gd name="T38" fmla="*/ 157 w 168"/>
              <a:gd name="T39" fmla="*/ 154 h 180"/>
              <a:gd name="T40" fmla="*/ 154 w 168"/>
              <a:gd name="T41" fmla="*/ 162 h 180"/>
              <a:gd name="T42" fmla="*/ 147 w 168"/>
              <a:gd name="T43" fmla="*/ 171 h 180"/>
              <a:gd name="T44" fmla="*/ 117 w 168"/>
              <a:gd name="T45" fmla="*/ 180 h 180"/>
              <a:gd name="T46" fmla="*/ 66 w 168"/>
              <a:gd name="T47" fmla="*/ 175 h 180"/>
              <a:gd name="T48" fmla="*/ 28 w 168"/>
              <a:gd name="T49" fmla="*/ 145 h 180"/>
              <a:gd name="T50" fmla="*/ 19 w 168"/>
              <a:gd name="T51" fmla="*/ 112 h 180"/>
              <a:gd name="T52" fmla="*/ 5 w 168"/>
              <a:gd name="T53" fmla="*/ 105 h 180"/>
              <a:gd name="T54" fmla="*/ 0 w 168"/>
              <a:gd name="T55" fmla="*/ 98 h 180"/>
              <a:gd name="T56" fmla="*/ 2 w 168"/>
              <a:gd name="T57" fmla="*/ 91 h 180"/>
              <a:gd name="T58" fmla="*/ 9 w 168"/>
              <a:gd name="T59" fmla="*/ 84 h 180"/>
              <a:gd name="T60" fmla="*/ 23 w 168"/>
              <a:gd name="T61" fmla="*/ 80 h 180"/>
              <a:gd name="T62" fmla="*/ 51 w 168"/>
              <a:gd name="T63" fmla="*/ 35 h 180"/>
              <a:gd name="T64" fmla="*/ 91 w 168"/>
              <a:gd name="T65" fmla="*/ 7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8" h="180">
                <a:moveTo>
                  <a:pt x="124" y="22"/>
                </a:moveTo>
                <a:lnTo>
                  <a:pt x="110" y="26"/>
                </a:lnTo>
                <a:lnTo>
                  <a:pt x="96" y="33"/>
                </a:lnTo>
                <a:lnTo>
                  <a:pt x="84" y="42"/>
                </a:lnTo>
                <a:lnTo>
                  <a:pt x="73" y="50"/>
                </a:lnTo>
                <a:lnTo>
                  <a:pt x="59" y="68"/>
                </a:lnTo>
                <a:lnTo>
                  <a:pt x="51" y="84"/>
                </a:lnTo>
                <a:lnTo>
                  <a:pt x="51" y="87"/>
                </a:lnTo>
                <a:lnTo>
                  <a:pt x="61" y="85"/>
                </a:lnTo>
                <a:lnTo>
                  <a:pt x="86" y="80"/>
                </a:lnTo>
                <a:lnTo>
                  <a:pt x="106" y="70"/>
                </a:lnTo>
                <a:lnTo>
                  <a:pt x="124" y="59"/>
                </a:lnTo>
                <a:lnTo>
                  <a:pt x="134" y="47"/>
                </a:lnTo>
                <a:lnTo>
                  <a:pt x="138" y="35"/>
                </a:lnTo>
                <a:lnTo>
                  <a:pt x="133" y="26"/>
                </a:lnTo>
                <a:lnTo>
                  <a:pt x="124" y="22"/>
                </a:lnTo>
                <a:close/>
                <a:moveTo>
                  <a:pt x="113" y="0"/>
                </a:moveTo>
                <a:lnTo>
                  <a:pt x="134" y="1"/>
                </a:lnTo>
                <a:lnTo>
                  <a:pt x="154" y="10"/>
                </a:lnTo>
                <a:lnTo>
                  <a:pt x="162" y="22"/>
                </a:lnTo>
                <a:lnTo>
                  <a:pt x="168" y="38"/>
                </a:lnTo>
                <a:lnTo>
                  <a:pt x="164" y="57"/>
                </a:lnTo>
                <a:lnTo>
                  <a:pt x="154" y="71"/>
                </a:lnTo>
                <a:lnTo>
                  <a:pt x="136" y="87"/>
                </a:lnTo>
                <a:lnTo>
                  <a:pt x="115" y="99"/>
                </a:lnTo>
                <a:lnTo>
                  <a:pt x="91" y="108"/>
                </a:lnTo>
                <a:lnTo>
                  <a:pt x="68" y="113"/>
                </a:lnTo>
                <a:lnTo>
                  <a:pt x="51" y="115"/>
                </a:lnTo>
                <a:lnTo>
                  <a:pt x="51" y="122"/>
                </a:lnTo>
                <a:lnTo>
                  <a:pt x="59" y="138"/>
                </a:lnTo>
                <a:lnTo>
                  <a:pt x="73" y="148"/>
                </a:lnTo>
                <a:lnTo>
                  <a:pt x="93" y="155"/>
                </a:lnTo>
                <a:lnTo>
                  <a:pt x="113" y="155"/>
                </a:lnTo>
                <a:lnTo>
                  <a:pt x="138" y="150"/>
                </a:lnTo>
                <a:lnTo>
                  <a:pt x="143" y="148"/>
                </a:lnTo>
                <a:lnTo>
                  <a:pt x="148" y="147"/>
                </a:lnTo>
                <a:lnTo>
                  <a:pt x="152" y="147"/>
                </a:lnTo>
                <a:lnTo>
                  <a:pt x="155" y="148"/>
                </a:lnTo>
                <a:lnTo>
                  <a:pt x="157" y="150"/>
                </a:lnTo>
                <a:lnTo>
                  <a:pt x="157" y="154"/>
                </a:lnTo>
                <a:lnTo>
                  <a:pt x="157" y="159"/>
                </a:lnTo>
                <a:lnTo>
                  <a:pt x="154" y="162"/>
                </a:lnTo>
                <a:lnTo>
                  <a:pt x="152" y="168"/>
                </a:lnTo>
                <a:lnTo>
                  <a:pt x="147" y="171"/>
                </a:lnTo>
                <a:lnTo>
                  <a:pt x="143" y="173"/>
                </a:lnTo>
                <a:lnTo>
                  <a:pt x="117" y="180"/>
                </a:lnTo>
                <a:lnTo>
                  <a:pt x="91" y="180"/>
                </a:lnTo>
                <a:lnTo>
                  <a:pt x="66" y="175"/>
                </a:lnTo>
                <a:lnTo>
                  <a:pt x="45" y="162"/>
                </a:lnTo>
                <a:lnTo>
                  <a:pt x="28" y="145"/>
                </a:lnTo>
                <a:lnTo>
                  <a:pt x="21" y="126"/>
                </a:lnTo>
                <a:lnTo>
                  <a:pt x="19" y="112"/>
                </a:lnTo>
                <a:lnTo>
                  <a:pt x="10" y="110"/>
                </a:lnTo>
                <a:lnTo>
                  <a:pt x="5" y="105"/>
                </a:lnTo>
                <a:lnTo>
                  <a:pt x="2" y="101"/>
                </a:lnTo>
                <a:lnTo>
                  <a:pt x="0" y="98"/>
                </a:lnTo>
                <a:lnTo>
                  <a:pt x="0" y="94"/>
                </a:lnTo>
                <a:lnTo>
                  <a:pt x="2" y="91"/>
                </a:lnTo>
                <a:lnTo>
                  <a:pt x="3" y="87"/>
                </a:lnTo>
                <a:lnTo>
                  <a:pt x="9" y="84"/>
                </a:lnTo>
                <a:lnTo>
                  <a:pt x="21" y="85"/>
                </a:lnTo>
                <a:lnTo>
                  <a:pt x="23" y="80"/>
                </a:lnTo>
                <a:lnTo>
                  <a:pt x="33" y="57"/>
                </a:lnTo>
                <a:lnTo>
                  <a:pt x="51" y="35"/>
                </a:lnTo>
                <a:lnTo>
                  <a:pt x="70" y="19"/>
                </a:lnTo>
                <a:lnTo>
                  <a:pt x="91" y="7"/>
                </a:lnTo>
                <a:lnTo>
                  <a:pt x="113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2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</p:grpSpPr>
        <p:sp>
          <p:nvSpPr>
            <p:cNvPr id="93" name="Rechthoek 92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Rechthoek 93"/>
            <p:cNvSpPr/>
            <p:nvPr userDrawn="1"/>
          </p:nvSpPr>
          <p:spPr>
            <a:xfrm>
              <a:off x="0" y="5771156"/>
              <a:ext cx="12192000" cy="1082211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5204788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hthoek 95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hthoek 96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hthoek 97"/>
            <p:cNvSpPr/>
            <p:nvPr userDrawn="1"/>
          </p:nvSpPr>
          <p:spPr>
            <a:xfrm>
              <a:off x="0" y="927370"/>
              <a:ext cx="12192000" cy="39493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hthoek 98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3" name="Tekstvak 102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Logo animatie - intro</a:t>
            </a:r>
          </a:p>
        </p:txBody>
      </p:sp>
    </p:spTree>
    <p:extLst>
      <p:ext uri="{BB962C8B-B14F-4D97-AF65-F5344CB8AC3E}">
        <p14:creationId xmlns:p14="http://schemas.microsoft.com/office/powerpoint/2010/main" val="379390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7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4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mph" presetSubtype="0" repeatCount="indefinite" accel="40000" decel="60000" autoRev="1" fill="hold" grpId="2" nodeType="withEffect">
                                  <p:stCondLst>
                                    <p:cond delay="4000"/>
                                  </p:stCondLst>
                                  <p:childTnLst>
                                    <p:animScale>
                                      <p:cBhvr>
                                        <p:cTn id="13" dur="3000" fill="hold"/>
                                        <p:tgtEl>
                                          <p:spTgt spid="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23" presetClass="entr" presetSubtype="27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4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mph" presetSubtype="0" repeatCount="indefinite" accel="40000" decel="60000" autoRev="1" fill="hold" grpId="2" nodeType="withEffect">
                                  <p:stCondLst>
                                    <p:cond delay="4500"/>
                                  </p:stCondLst>
                                  <p:childTnLst>
                                    <p:animScale>
                                      <p:cBhvr>
                                        <p:cTn id="22" dur="3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23" presetClass="entr" presetSubtype="27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4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mph" presetSubtype="0" repeatCount="indefinite" accel="40000" decel="60000" autoRev="1" fill="hold" grpId="2" nodeType="withEffect">
                                  <p:stCondLst>
                                    <p:cond delay="4250"/>
                                  </p:stCondLst>
                                  <p:childTnLst>
                                    <p:animScale>
                                      <p:cBhvr>
                                        <p:cTn id="31" dur="3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23" presetClass="entr" presetSubtype="27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4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mph" presetSubtype="0" repeatCount="indefinite" accel="40000" decel="60000" autoRev="1" fill="hold" grpId="2" nodeType="withEffect">
                                  <p:stCondLst>
                                    <p:cond delay="4500"/>
                                  </p:stCondLst>
                                  <p:childTnLst>
                                    <p:animScale>
                                      <p:cBhvr>
                                        <p:cTn id="40" dur="3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23" presetClass="entr" presetSubtype="272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4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mph" presetSubtype="0" repeatCount="indefinite" accel="40000" decel="60000" autoRev="1" fill="hold" grpId="2" nodeType="withEffect">
                                  <p:stCondLst>
                                    <p:cond delay="4750"/>
                                  </p:stCondLst>
                                  <p:childTnLst>
                                    <p:animScale>
                                      <p:cBhvr>
                                        <p:cTn id="49" dur="3000" fill="hold"/>
                                        <p:tgtEl>
                                          <p:spTgt spid="1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23" presetClass="entr" presetSubtype="27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4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mph" presetSubtype="0" repeatCount="indefinite" accel="40000" decel="60000" autoRev="1" fill="hold" grpId="2" nodeType="withEffect">
                                  <p:stCondLst>
                                    <p:cond delay="5000"/>
                                  </p:stCondLst>
                                  <p:childTnLst>
                                    <p:animScale>
                                      <p:cBhvr>
                                        <p:cTn id="58" dur="3000" fill="hold"/>
                                        <p:tgtEl>
                                          <p:spTgt spid="1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23" presetClass="entr" presetSubtype="272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4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mph" presetSubtype="0" repeatCount="indefinite" accel="40000" decel="60000" autoRev="1" fill="hold" grpId="2" nodeType="withEffect">
                                  <p:stCondLst>
                                    <p:cond delay="5250"/>
                                  </p:stCondLst>
                                  <p:childTnLst>
                                    <p:animScale>
                                      <p:cBhvr>
                                        <p:cTn id="67" dur="3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23" presetClass="entr" presetSubtype="272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4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mph" presetSubtype="0" repeatCount="indefinite" accel="40000" decel="60000" autoRev="1" fill="hold" grpId="2" nodeType="withEffect">
                                  <p:stCondLst>
                                    <p:cond delay="5500"/>
                                  </p:stCondLst>
                                  <p:childTnLst>
                                    <p:animScale>
                                      <p:cBhvr>
                                        <p:cTn id="76" dur="3000" fill="hold"/>
                                        <p:tgtEl>
                                          <p:spTgt spid="1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23" presetClass="entr" presetSubtype="272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1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4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mph" presetSubtype="0" repeatCount="indefinite" accel="40000" decel="60000" autoRev="1" fill="hold" grpId="2" nodeType="withEffect">
                                  <p:stCondLst>
                                    <p:cond delay="5750"/>
                                  </p:stCondLst>
                                  <p:childTnLst>
                                    <p:animScale>
                                      <p:cBhvr>
                                        <p:cTn id="85" dur="3000" fill="hold"/>
                                        <p:tgtEl>
                                          <p:spTgt spid="1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86" presetID="23" presetClass="entr" presetSubtype="27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4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6" presetClass="emph" presetSubtype="0" repeatCount="indefinite" accel="40000" decel="60000" autoRev="1" fill="hold" grpId="2" nodeType="withEffect">
                                  <p:stCondLst>
                                    <p:cond delay="6000"/>
                                  </p:stCondLst>
                                  <p:childTnLst>
                                    <p:animScale>
                                      <p:cBhvr>
                                        <p:cTn id="94" dur="3000" fill="hold"/>
                                        <p:tgtEl>
                                          <p:spTgt spid="18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23" presetClass="entr" presetSubtype="272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4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6" presetClass="emph" presetSubtype="0" repeatCount="indefinite" accel="40000" decel="60000" autoRev="1" fill="hold" grpId="2" nodeType="withEffect">
                                  <p:stCondLst>
                                    <p:cond delay="6250"/>
                                  </p:stCondLst>
                                  <p:childTnLst>
                                    <p:animScale>
                                      <p:cBhvr>
                                        <p:cTn id="103" dur="3000" fill="hold"/>
                                        <p:tgtEl>
                                          <p:spTgt spid="1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04" presetID="23" presetClass="entr" presetSubtype="272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grpId="1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4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6" presetClass="emph" presetSubtype="0" repeatCount="indefinite" accel="40000" decel="60000" autoRev="1" fill="hold" grpId="2" nodeType="withEffect">
                                  <p:stCondLst>
                                    <p:cond delay="6500"/>
                                  </p:stCondLst>
                                  <p:childTnLst>
                                    <p:animScale>
                                      <p:cBhvr>
                                        <p:cTn id="112" dur="3000" fill="hold"/>
                                        <p:tgtEl>
                                          <p:spTgt spid="2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13" presetID="23" presetClass="entr" presetSubtype="272" fill="hold" grpId="0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1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4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6" presetClass="emph" presetSubtype="0" repeatCount="indefinite" accel="40000" decel="60000" autoRev="1" fill="hold" grpId="2" nodeType="withEffect">
                                  <p:stCondLst>
                                    <p:cond delay="6750"/>
                                  </p:stCondLst>
                                  <p:childTnLst>
                                    <p:animScale>
                                      <p:cBhvr>
                                        <p:cTn id="121" dur="3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22" presetID="23" presetClass="entr" presetSubtype="272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4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6" presetClass="emph" presetSubtype="0" repeatCount="indefinite" accel="40000" decel="60000" autoRev="1" fill="hold" grpId="2" nodeType="withEffect">
                                  <p:stCondLst>
                                    <p:cond delay="7000"/>
                                  </p:stCondLst>
                                  <p:childTnLst>
                                    <p:animScale>
                                      <p:cBhvr>
                                        <p:cTn id="130" dur="3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31" presetID="23" presetClass="entr" presetSubtype="272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4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6" presetClass="emph" presetSubtype="0" repeatCount="indefinite" accel="40000" decel="60000" autoRev="1" fill="hold" grpId="2" nodeType="withEffect">
                                  <p:stCondLst>
                                    <p:cond delay="7000"/>
                                  </p:stCondLst>
                                  <p:childTnLst>
                                    <p:animScale>
                                      <p:cBhvr>
                                        <p:cTn id="139" dur="3000" fill="hold"/>
                                        <p:tgtEl>
                                          <p:spTgt spid="25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40" presetID="23" presetClass="entr" presetSubtype="272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grpId="1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4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6" presetClass="emph" presetSubtype="0" repeatCount="indefinite" accel="40000" decel="60000" autoRev="1" fill="hold" grpId="2" nodeType="withEffect">
                                  <p:stCondLst>
                                    <p:cond delay="7250"/>
                                  </p:stCondLst>
                                  <p:childTnLst>
                                    <p:animScale>
                                      <p:cBhvr>
                                        <p:cTn id="148" dur="3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49" presetID="23" presetClass="entr" presetSubtype="272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1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grpId="1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4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6" presetClass="emph" presetSubtype="0" repeatCount="indefinite" accel="40000" decel="60000" autoRev="1" fill="hold" grpId="2" nodeType="withEffect">
                                  <p:stCondLst>
                                    <p:cond delay="7500"/>
                                  </p:stCondLst>
                                  <p:childTnLst>
                                    <p:animScale>
                                      <p:cBhvr>
                                        <p:cTn id="157" dur="3000" fill="hold"/>
                                        <p:tgtEl>
                                          <p:spTgt spid="2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58" presetID="2" presetClass="entr" presetSubtype="3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1" dur="7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125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2" presetClass="entr" presetSubtype="6" decel="10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175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2" presetClass="entr" presetSubtype="4" decel="10000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4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5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nodeType="withEffect">
                                  <p:stCondLst>
                                    <p:cond delay="45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17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2" presetClass="entr" presetSubtype="12" decel="100000" fill="hold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1" dur="7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2" dur="7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3" presetID="10" presetClass="entr" presetSubtype="0" fill="hold" nodeType="withEffect">
                                  <p:stCondLst>
                                    <p:cond delay="55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17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2" presetClass="entr" presetSubtype="9" decel="100000" fill="hold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8" dur="7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9" dur="7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12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2" presetClass="entr" presetSubtype="1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5" dur="7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6" dur="7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12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0" presetID="23" presetClass="entr" presetSubtype="272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2" dur="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4" presetID="10" presetClass="entr" presetSubtype="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6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23" presetClass="entr" presetSubtype="272" fill="hold" grpId="0" nodeType="withEffect">
                                  <p:stCondLst>
                                    <p:cond delay="155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9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0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1" presetID="10" presetClass="entr" presetSubtype="0" fill="hold" grpId="1" nodeType="withEffect">
                                  <p:stCondLst>
                                    <p:cond delay="155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3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4" presetID="23" presetClass="entr" presetSubtype="272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6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7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8" presetID="10" presetClass="entr" presetSubtype="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23" presetClass="entr" presetSubtype="272" fill="hold" grpId="0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3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4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10" presetClass="entr" presetSubtype="0" fill="hold" grpId="1" nodeType="withEffect">
                                  <p:stCondLst>
                                    <p:cond delay="165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7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8" presetID="23" presetClass="entr" presetSubtype="272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0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2" presetID="10" presetClass="entr" presetSubtype="0" fill="hold" grpId="1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2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4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5" presetID="23" presetClass="entr" presetSubtype="272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7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8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9" presetID="10" presetClass="entr" presetSubtype="0" fill="hold" grpId="1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1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2" presetID="23" presetClass="entr" presetSubtype="272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4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6" presetID="10" presetClass="entr" presetSubtype="0" fill="hold" grpId="1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8" dur="7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9" presetID="23" presetClass="entr" presetSubtype="272" fill="hold" grpId="0" nodeType="withEffect">
                                  <p:stCondLst>
                                    <p:cond delay="185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1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2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3" presetID="10" presetClass="entr" presetSubtype="0" fill="hold" grpId="1" nodeType="withEffect">
                                  <p:stCondLst>
                                    <p:cond delay="185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5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6" presetID="23" presetClass="entr" presetSubtype="272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8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9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0" presetID="10" presetClass="entr" presetSubtype="0" fill="hold" grpId="1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2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3" presetID="23" presetClass="entr" presetSubtype="272" fill="hold" grpId="0" nodeType="withEffect">
                                  <p:stCondLst>
                                    <p:cond delay="195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5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6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7" presetID="10" presetClass="entr" presetSubtype="0" fill="hold" grpId="1" nodeType="withEffect">
                                  <p:stCondLst>
                                    <p:cond delay="195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9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0" presetID="23" presetClass="entr" presetSubtype="27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2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3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4" presetID="10" presetClass="entr" presetSubtype="0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6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7" presetID="23" presetClass="entr" presetSubtype="272" fill="hold" grpId="0" nodeType="withEffect">
                                  <p:stCondLst>
                                    <p:cond delay="205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9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1" presetID="10" presetClass="entr" presetSubtype="0" fill="hold" grpId="1" nodeType="withEffect">
                                  <p:stCondLst>
                                    <p:cond delay="205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3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4" presetID="23" presetClass="entr" presetSubtype="272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6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7" dur="2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8" presetID="10" presetClass="entr" presetSubtype="0" fill="hold" grpId="1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0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1" presetID="23" presetClass="entr" presetSubtype="272" fill="hold" grpId="0" nodeType="withEffect">
                                  <p:stCondLst>
                                    <p:cond delay="215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3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4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5" presetID="10" presetClass="entr" presetSubtype="0" fill="hold" grpId="1" nodeType="withEffect">
                                  <p:stCondLst>
                                    <p:cond delay="215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7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8" presetID="23" presetClass="entr" presetSubtype="272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2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0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1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2" presetID="10" presetClass="entr" presetSubtype="0" fill="hold" grpId="1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4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5" presetID="23" presetClass="entr" presetSubtype="272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7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8" dur="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9" presetID="10" presetClass="entr" presetSubtype="0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1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2" presetID="17" presetClass="entr" presetSubtype="1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4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5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6" presetID="17" presetClass="entr" presetSubtype="4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3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8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9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0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1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2" presetID="17" presetClass="entr" presetSubtype="4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3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4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5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6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7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8" presetID="17" presetClass="entr" presetSubtype="4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3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0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1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2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3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4" presetID="53" presetClass="entr" presetSubtype="16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id="3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6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7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8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9" presetID="10" presetClass="entr" presetSubtype="0" fill="hold" grpId="0" nodeType="withEffect">
                                  <p:stCondLst>
                                    <p:cond delay="290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1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2" presetID="10" presetClass="entr" presetSubtype="0" fill="hold" grpId="0" nodeType="withEffect">
                                  <p:stCondLst>
                                    <p:cond delay="2950"/>
                                  </p:stCondLst>
                                  <p:childTnLst>
                                    <p:set>
                                      <p:cBhvr>
                                        <p:cTn id="3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4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5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7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8" presetID="10" presetClass="entr" presetSubtype="0" fill="hold" grpId="0" nodeType="withEffect">
                                  <p:stCondLst>
                                    <p:cond delay="3050"/>
                                  </p:stCondLst>
                                  <p:childTnLst>
                                    <p:set>
                                      <p:cBhvr>
                                        <p:cTn id="3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0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1" presetID="10" presetClass="entr" presetSubtype="0" fill="hold" nodeType="withEffect">
                                  <p:stCondLst>
                                    <p:cond delay="3100"/>
                                  </p:stCondLst>
                                  <p:childTnLst>
                                    <p:set>
                                      <p:cBhvr>
                                        <p:cTn id="3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3" dur="25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4" presetID="10" presetClass="entr" presetSubtype="0" fill="hold" grpId="0" nodeType="withEffect">
                                  <p:stCondLst>
                                    <p:cond delay="3150"/>
                                  </p:stCondLst>
                                  <p:childTnLst>
                                    <p:set>
                                      <p:cBhvr>
                                        <p:cTn id="3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6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7" presetID="10" presetClass="entr" presetSubtype="0" fill="hold" grpId="0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3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9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0" presetID="10" presetClass="entr" presetSubtype="0" fill="hold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3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2" dur="25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3" presetID="10" presetClass="entr" presetSubtype="0" fill="hold" grpId="0" nodeType="withEffect">
                                  <p:stCondLst>
                                    <p:cond delay="3300"/>
                                  </p:stCondLst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5" dur="25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6" presetID="10" presetClass="entr" presetSubtype="0" fill="hold" grpId="0" nodeType="withEffect">
                                  <p:stCondLst>
                                    <p:cond delay="3350"/>
                                  </p:stCondLst>
                                  <p:childTnLst>
                                    <p:set>
                                      <p:cBhvr>
                                        <p:cTn id="3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8" dur="2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9" presetID="10" presetClass="entr" presetSubtype="0" fill="hold" grpId="0" nodeType="withEffect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id="3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1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2" presetID="10" presetClass="entr" presetSubtype="0" fill="hold" grpId="0" nodeType="withEffect">
                                  <p:stCondLst>
                                    <p:cond delay="3450"/>
                                  </p:stCondLst>
                                  <p:childTnLst>
                                    <p:set>
                                      <p:cBhvr>
                                        <p:cTn id="3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4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5" presetID="10" presetClass="entr" presetSubtype="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7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8" presetID="10" presetClass="entr" presetSubtype="0" fill="hold" grpId="0" nodeType="withEffect">
                                  <p:stCondLst>
                                    <p:cond delay="3550"/>
                                  </p:stCondLst>
                                  <p:childTnLst>
                                    <p:set>
                                      <p:cBhvr>
                                        <p:cTn id="3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0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1" presetID="10" presetClass="entr" presetSubtype="0" fill="hold" nodeType="withEffect">
                                  <p:stCondLst>
                                    <p:cond delay="3600"/>
                                  </p:stCondLst>
                                  <p:childTnLst>
                                    <p:set>
                                      <p:cBhvr>
                                        <p:cTn id="3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3" dur="2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4" presetID="10" presetClass="entr" presetSubtype="0" fill="hold" grpId="0" nodeType="withEffect">
                                  <p:stCondLst>
                                    <p:cond delay="3650"/>
                                  </p:stCondLst>
                                  <p:childTnLst>
                                    <p:set>
                                      <p:cBhvr>
                                        <p:cTn id="3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6" dur="2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7" presetID="10" presetClass="entr" presetSubtype="0" fill="hold" grpId="0" nodeType="withEffect">
                                  <p:stCondLst>
                                    <p:cond delay="3700"/>
                                  </p:stCondLst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9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0" presetID="10" presetClass="entr" presetSubtype="0" fill="hold" grpId="0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3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2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9" grpId="2" animBg="1"/>
      <p:bldP spid="10" grpId="0" animBg="1"/>
      <p:bldP spid="10" grpId="1" animBg="1"/>
      <p:bldP spid="10" grpId="2" animBg="1"/>
      <p:bldP spid="11" grpId="0" animBg="1"/>
      <p:bldP spid="11" grpId="1" animBg="1"/>
      <p:bldP spid="11" grpId="2" animBg="1"/>
      <p:bldP spid="12" grpId="0" animBg="1"/>
      <p:bldP spid="12" grpId="1" animBg="1"/>
      <p:bldP spid="12" grpId="2" animBg="1"/>
      <p:bldP spid="13" grpId="0" animBg="1"/>
      <p:bldP spid="13" grpId="1" animBg="1"/>
      <p:bldP spid="13" grpId="2" animBg="1"/>
      <p:bldP spid="14" grpId="0" animBg="1"/>
      <p:bldP spid="14" grpId="1" animBg="1"/>
      <p:bldP spid="14" grpId="2" animBg="1"/>
      <p:bldP spid="15" grpId="0" animBg="1"/>
      <p:bldP spid="15" grpId="1" animBg="1"/>
      <p:bldP spid="15" grpId="2" animBg="1"/>
      <p:bldP spid="16" grpId="0" animBg="1"/>
      <p:bldP spid="16" grpId="1" animBg="1"/>
      <p:bldP spid="16" grpId="2" animBg="1"/>
      <p:bldP spid="17" grpId="0" animBg="1"/>
      <p:bldP spid="17" grpId="1" animBg="1"/>
      <p:bldP spid="17" grpId="2" animBg="1"/>
      <p:bldP spid="18" grpId="0" animBg="1"/>
      <p:bldP spid="18" grpId="1" animBg="1"/>
      <p:bldP spid="18" grpId="2" animBg="1"/>
      <p:bldP spid="19" grpId="0" animBg="1"/>
      <p:bldP spid="19" grpId="1" animBg="1"/>
      <p:bldP spid="19" grpId="2" animBg="1"/>
      <p:bldP spid="20" grpId="0" animBg="1"/>
      <p:bldP spid="20" grpId="1" animBg="1"/>
      <p:bldP spid="20" grpId="2" animBg="1"/>
      <p:bldP spid="23" grpId="0" animBg="1"/>
      <p:bldP spid="23" grpId="1" animBg="1"/>
      <p:bldP spid="23" grpId="2" animBg="1"/>
      <p:bldP spid="24" grpId="0" animBg="1"/>
      <p:bldP spid="24" grpId="1" animBg="1"/>
      <p:bldP spid="24" grpId="2" animBg="1"/>
      <p:bldP spid="25" grpId="0" animBg="1"/>
      <p:bldP spid="25" grpId="1" animBg="1"/>
      <p:bldP spid="25" grpId="2" animBg="1"/>
      <p:bldP spid="26" grpId="0" animBg="1"/>
      <p:bldP spid="26" grpId="1" animBg="1"/>
      <p:bldP spid="26" grpId="2" animBg="1"/>
      <p:bldP spid="27" grpId="0" animBg="1"/>
      <p:bldP spid="27" grpId="1" animBg="1"/>
      <p:bldP spid="27" grpId="2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  <p:bldP spid="32" grpId="0" animBg="1"/>
      <p:bldP spid="32" grpId="1" animBg="1"/>
      <p:bldP spid="33" grpId="0" animBg="1"/>
      <p:bldP spid="33" grpId="1" animBg="1"/>
      <p:bldP spid="34" grpId="0" animBg="1"/>
      <p:bldP spid="34" grpId="1" animBg="1"/>
      <p:bldP spid="35" grpId="0" animBg="1"/>
      <p:bldP spid="35" grpId="1" animBg="1"/>
      <p:bldP spid="36" grpId="0" animBg="1"/>
      <p:bldP spid="36" grpId="1" animBg="1"/>
      <p:bldP spid="37" grpId="0" animBg="1"/>
      <p:bldP spid="37" grpId="1" animBg="1"/>
      <p:bldP spid="38" grpId="0" animBg="1"/>
      <p:bldP spid="38" grpId="1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6" grpId="0" animBg="1"/>
      <p:bldP spid="47" grpId="0" animBg="1"/>
      <p:bldP spid="48" grpId="0" animBg="1"/>
      <p:bldP spid="49" grpId="0" animBg="1"/>
      <p:bldP spid="62" grpId="0" animBg="1"/>
      <p:bldP spid="63" grpId="0" animBg="1"/>
      <p:bldP spid="64" grpId="0" animBg="1"/>
      <p:bldP spid="65" grpId="0" animBg="1"/>
      <p:bldP spid="68" grpId="0" animBg="1"/>
      <p:bldP spid="69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80" grpId="0" animBg="1"/>
      <p:bldP spid="81" grpId="0" animBg="1"/>
      <p:bldP spid="82" grpId="0" animBg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F33D3-5C1E-4E8E-A828-EC6F8692A9E9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81" name="Tekstvak 80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Alleen titel</a:t>
            </a:r>
          </a:p>
        </p:txBody>
      </p:sp>
      <p:sp>
        <p:nvSpPr>
          <p:cNvPr id="18" name="Tijdelijke aanduiding voor titel 1"/>
          <p:cNvSpPr>
            <a:spLocks noGrp="1"/>
          </p:cNvSpPr>
          <p:nvPr>
            <p:ph type="title"/>
          </p:nvPr>
        </p:nvSpPr>
        <p:spPr>
          <a:xfrm>
            <a:off x="1058626" y="683361"/>
            <a:ext cx="10586794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-10486" y="3303"/>
            <a:ext cx="12202486" cy="6854697"/>
            <a:chOff x="0" y="-1"/>
            <a:chExt cx="12202486" cy="6854697"/>
          </a:xfrm>
          <a:solidFill>
            <a:schemeClr val="tx2">
              <a:alpha val="26000"/>
            </a:schemeClr>
          </a:solidFill>
        </p:grpSpPr>
        <p:sp>
          <p:nvSpPr>
            <p:cNvPr id="21" name="Rechthoek 20"/>
            <p:cNvSpPr/>
            <p:nvPr userDrawn="1"/>
          </p:nvSpPr>
          <p:spPr>
            <a:xfrm>
              <a:off x="0" y="-1"/>
              <a:ext cx="12202486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hoek 21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hoek 22"/>
            <p:cNvSpPr/>
            <p:nvPr userDrawn="1"/>
          </p:nvSpPr>
          <p:spPr>
            <a:xfrm rot="16200000">
              <a:off x="8501517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hthoek 23"/>
            <p:cNvSpPr/>
            <p:nvPr userDrawn="1"/>
          </p:nvSpPr>
          <p:spPr>
            <a:xfrm>
              <a:off x="0" y="6313229"/>
              <a:ext cx="12202486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hthoek 24"/>
            <p:cNvSpPr/>
            <p:nvPr userDrawn="1"/>
          </p:nvSpPr>
          <p:spPr>
            <a:xfrm>
              <a:off x="0" y="5625142"/>
              <a:ext cx="12202486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hoek 25"/>
            <p:cNvSpPr/>
            <p:nvPr userDrawn="1"/>
          </p:nvSpPr>
          <p:spPr>
            <a:xfrm>
              <a:off x="0" y="1053569"/>
              <a:ext cx="12202486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hoek 26"/>
            <p:cNvSpPr/>
            <p:nvPr/>
          </p:nvSpPr>
          <p:spPr>
            <a:xfrm>
              <a:off x="0" y="4300230"/>
              <a:ext cx="12202486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hthoek 27"/>
            <p:cNvSpPr/>
            <p:nvPr/>
          </p:nvSpPr>
          <p:spPr>
            <a:xfrm rot="16200000">
              <a:off x="-2617820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hoek 28"/>
            <p:cNvSpPr/>
            <p:nvPr/>
          </p:nvSpPr>
          <p:spPr>
            <a:xfrm rot="16200000">
              <a:off x="7958032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hoek 29"/>
            <p:cNvSpPr/>
            <p:nvPr/>
          </p:nvSpPr>
          <p:spPr>
            <a:xfrm rot="16200000">
              <a:off x="4671124" y="3175448"/>
              <a:ext cx="5692550" cy="17167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hthoek 30"/>
            <p:cNvSpPr/>
            <p:nvPr/>
          </p:nvSpPr>
          <p:spPr>
            <a:xfrm rot="16200000">
              <a:off x="6512334" y="3175448"/>
              <a:ext cx="5692550" cy="17167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Rechthoek 31"/>
            <p:cNvSpPr/>
            <p:nvPr/>
          </p:nvSpPr>
          <p:spPr>
            <a:xfrm rot="16200000">
              <a:off x="223400" y="3155954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hoek 32"/>
            <p:cNvSpPr/>
            <p:nvPr/>
          </p:nvSpPr>
          <p:spPr>
            <a:xfrm rot="16200000">
              <a:off x="2829914" y="3175448"/>
              <a:ext cx="5692550" cy="17167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Rechthoek 33"/>
            <p:cNvSpPr/>
            <p:nvPr/>
          </p:nvSpPr>
          <p:spPr>
            <a:xfrm>
              <a:off x="0" y="5009072"/>
              <a:ext cx="12202486" cy="19921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2076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horz" lIns="0" tIns="0" rIns="0" bIns="0"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870A23-D2CE-4409-B094-25C377B974F9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88" name="Tekstvak 87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Tekst 100%</a:t>
            </a:r>
          </a:p>
        </p:txBody>
      </p:sp>
      <p:sp>
        <p:nvSpPr>
          <p:cNvPr id="11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43005" y="872249"/>
            <a:ext cx="11104144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28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7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543005" y="1448502"/>
            <a:ext cx="7286534" cy="4161068"/>
          </a:xfrm>
        </p:spPr>
        <p:txBody>
          <a:bodyPr vert="horz" lIns="0" tIns="0" rIns="0" bIns="0"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D94988-B1BB-4C7A-BFB0-59663F23B259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88" name="Tekstvak 87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Tekst 75%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43005" y="872249"/>
            <a:ext cx="11104144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grpSp>
        <p:nvGrpSpPr>
          <p:cNvPr id="17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18" name="Rechthoek 17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hoek 28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hoek 29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5609570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hoek 32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hoek 33"/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64087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543005" y="1448502"/>
            <a:ext cx="5280493" cy="4161068"/>
          </a:xfrm>
        </p:spPr>
        <p:txBody>
          <a:bodyPr vert="horz" lIns="0" tIns="0" rIns="0" bIns="0"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DD19E-C8BA-4255-8D64-62F781DD7BC3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88" name="Tekstvak 87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Tekst 50%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43005" y="872249"/>
            <a:ext cx="11104144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grpSp>
        <p:nvGrpSpPr>
          <p:cNvPr id="17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18" name="Rechthoek 17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hoek 28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hoek 29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5609570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hoek 32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hoek 33"/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5075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543006" y="1448502"/>
            <a:ext cx="3174496" cy="4161068"/>
          </a:xfrm>
        </p:spPr>
        <p:txBody>
          <a:bodyPr vert="horz" lIns="0" tIns="0" rIns="0" bIns="0"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83E16-92E8-45C3-BC02-43134F658DC6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88" name="Tekstvak 87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Tekst 25%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43005" y="872249"/>
            <a:ext cx="11104144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grpSp>
        <p:nvGrpSpPr>
          <p:cNvPr id="17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18" name="Rechthoek 17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hoek 28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hoek 29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5609570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hoek 32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hoek 33"/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0326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Beeld 75%/2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543005" y="1448637"/>
            <a:ext cx="7286534" cy="4159606"/>
          </a:xfrm>
        </p:spPr>
        <p:txBody>
          <a:bodyPr vert="horz" lIns="0" tIns="0" rIns="0" bIns="0"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0019D-92E8-452F-BAF4-88120E4A6AC2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88" name="Tekstvak 87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Tekst &amp; Beeld 75%/25%</a:t>
            </a:r>
          </a:p>
        </p:txBody>
      </p:sp>
      <p:sp>
        <p:nvSpPr>
          <p:cNvPr id="83" name="Tijdelijke aanduiding voor afbeelding 7"/>
          <p:cNvSpPr>
            <a:spLocks noGrp="1"/>
          </p:cNvSpPr>
          <p:nvPr>
            <p:ph type="pic" sz="quarter" idx="17" hasCustomPrompt="1"/>
          </p:nvPr>
        </p:nvSpPr>
        <p:spPr>
          <a:xfrm>
            <a:off x="8371007" y="1448502"/>
            <a:ext cx="3274414" cy="4157737"/>
          </a:xfrm>
          <a:prstGeom prst="roundRect">
            <a:avLst>
              <a:gd name="adj" fmla="val 1577"/>
            </a:avLst>
          </a:prstGeom>
        </p:spPr>
        <p:txBody>
          <a:bodyPr tIns="1440000" rIns="0">
            <a:normAutofit/>
          </a:bodyPr>
          <a:lstStyle>
            <a:lvl1pPr marL="0" indent="0" algn="ctr">
              <a:buNone/>
              <a:defRPr sz="1200"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onderstaand</a:t>
            </a:r>
            <a:r>
              <a:rPr lang="en-US" dirty="0"/>
              <a:t> pictogram</a:t>
            </a:r>
            <a:br>
              <a:rPr lang="en-US" dirty="0"/>
            </a:br>
            <a:r>
              <a:rPr lang="en-US" dirty="0"/>
              <a:t>om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afbeelding</a:t>
            </a:r>
            <a:r>
              <a:rPr lang="en-US" dirty="0"/>
              <a:t> in te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43005" y="872249"/>
            <a:ext cx="11104144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grpSp>
        <p:nvGrpSpPr>
          <p:cNvPr id="18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19" name="Rechthoek 18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hoek 29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hoek 30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hoek 32"/>
            <p:cNvSpPr/>
            <p:nvPr userDrawn="1"/>
          </p:nvSpPr>
          <p:spPr>
            <a:xfrm>
              <a:off x="0" y="5609570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hoek 33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hoek 34"/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5546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Beeld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543005" y="1448502"/>
            <a:ext cx="5280493" cy="4163076"/>
          </a:xfrm>
        </p:spPr>
        <p:txBody>
          <a:bodyPr vert="horz" lIns="0" tIns="0" rIns="0" bIns="0"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34A7F-8B95-4116-B2EF-1F5DD69569A8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88" name="Tekstvak 87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Tekst &amp; Beeld 50%/50%</a:t>
            </a:r>
          </a:p>
        </p:txBody>
      </p:sp>
      <p:sp>
        <p:nvSpPr>
          <p:cNvPr id="81" name="Tijdelijke aanduiding voor afbeelding 7"/>
          <p:cNvSpPr>
            <a:spLocks noGrp="1"/>
          </p:cNvSpPr>
          <p:nvPr>
            <p:ph type="pic" sz="quarter" idx="17" hasCustomPrompt="1"/>
          </p:nvPr>
        </p:nvSpPr>
        <p:spPr>
          <a:xfrm>
            <a:off x="6364967" y="1448502"/>
            <a:ext cx="5280454" cy="4161068"/>
          </a:xfrm>
          <a:prstGeom prst="roundRect">
            <a:avLst>
              <a:gd name="adj" fmla="val 1577"/>
            </a:avLst>
          </a:prstGeom>
        </p:spPr>
        <p:txBody>
          <a:bodyPr tIns="1440000" rIns="0">
            <a:normAutofit/>
          </a:bodyPr>
          <a:lstStyle>
            <a:lvl1pPr marL="0" indent="0" algn="ctr">
              <a:buNone/>
              <a:defRPr sz="1200"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onderstaand</a:t>
            </a:r>
            <a:r>
              <a:rPr lang="en-US" dirty="0"/>
              <a:t> pictogram</a:t>
            </a:r>
            <a:br>
              <a:rPr lang="en-US" dirty="0"/>
            </a:br>
            <a:r>
              <a:rPr lang="en-US" dirty="0"/>
              <a:t>om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afbeelding</a:t>
            </a:r>
            <a:r>
              <a:rPr lang="en-US" dirty="0"/>
              <a:t> in te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43005" y="872249"/>
            <a:ext cx="11104144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grpSp>
        <p:nvGrpSpPr>
          <p:cNvPr id="18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19" name="Rechthoek 18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hoek 29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hoek 30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hoek 32"/>
            <p:cNvSpPr/>
            <p:nvPr userDrawn="1"/>
          </p:nvSpPr>
          <p:spPr>
            <a:xfrm>
              <a:off x="0" y="5609570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hoek 33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hoek 34"/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9336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Beeld 25%/75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543006" y="1448637"/>
            <a:ext cx="3174496" cy="4159606"/>
          </a:xfrm>
        </p:spPr>
        <p:txBody>
          <a:bodyPr vert="horz" lIns="0" tIns="0" rIns="0" bIns="0"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1CCC-65E0-489F-A1F7-525C9C5395A5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88" name="Tekstvak 87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Tekst &amp; Beeld 25%/75%</a:t>
            </a:r>
          </a:p>
        </p:txBody>
      </p:sp>
      <p:sp>
        <p:nvSpPr>
          <p:cNvPr id="81" name="Tijdelijke aanduiding voor afbeelding 7"/>
          <p:cNvSpPr>
            <a:spLocks noGrp="1"/>
          </p:cNvSpPr>
          <p:nvPr>
            <p:ph type="pic" sz="quarter" idx="17" hasCustomPrompt="1"/>
          </p:nvPr>
        </p:nvSpPr>
        <p:spPr>
          <a:xfrm>
            <a:off x="4260660" y="1448503"/>
            <a:ext cx="7384761" cy="4157737"/>
          </a:xfrm>
          <a:prstGeom prst="roundRect">
            <a:avLst>
              <a:gd name="adj" fmla="val 1577"/>
            </a:avLst>
          </a:prstGeom>
        </p:spPr>
        <p:txBody>
          <a:bodyPr tIns="1440000" rIns="0">
            <a:normAutofit/>
          </a:bodyPr>
          <a:lstStyle>
            <a:lvl1pPr marL="0" indent="0" algn="ctr">
              <a:buNone/>
              <a:defRPr sz="1200"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onderstaand</a:t>
            </a:r>
            <a:r>
              <a:rPr lang="en-US" dirty="0"/>
              <a:t> pictogram</a:t>
            </a:r>
            <a:br>
              <a:rPr lang="en-US" dirty="0"/>
            </a:br>
            <a:r>
              <a:rPr lang="en-US" dirty="0"/>
              <a:t>om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afbeelding</a:t>
            </a:r>
            <a:r>
              <a:rPr lang="en-US" dirty="0"/>
              <a:t> in te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43005" y="872249"/>
            <a:ext cx="11104144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grpSp>
        <p:nvGrpSpPr>
          <p:cNvPr id="18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19" name="Rechthoek 18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hoek 29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hoek 30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hoek 32"/>
            <p:cNvSpPr/>
            <p:nvPr userDrawn="1"/>
          </p:nvSpPr>
          <p:spPr>
            <a:xfrm>
              <a:off x="0" y="5609570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hoek 33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hthoek 34"/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35485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19ACE-84E0-4961-AFC6-A1AE971E906F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88" name="Tekstvak 87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Beeld 100%</a:t>
            </a:r>
          </a:p>
        </p:txBody>
      </p:sp>
      <p:sp>
        <p:nvSpPr>
          <p:cNvPr id="81" name="Tijdelijke aanduiding voor afbeelding 7"/>
          <p:cNvSpPr>
            <a:spLocks noGrp="1"/>
          </p:cNvSpPr>
          <p:nvPr>
            <p:ph type="pic" sz="quarter" idx="17" hasCustomPrompt="1"/>
          </p:nvPr>
        </p:nvSpPr>
        <p:spPr>
          <a:xfrm>
            <a:off x="543005" y="1448502"/>
            <a:ext cx="11102416" cy="4161068"/>
          </a:xfrm>
          <a:prstGeom prst="roundRect">
            <a:avLst>
              <a:gd name="adj" fmla="val 1577"/>
            </a:avLst>
          </a:prstGeom>
        </p:spPr>
        <p:txBody>
          <a:bodyPr tIns="1440000" rIns="0">
            <a:normAutofit/>
          </a:bodyPr>
          <a:lstStyle>
            <a:lvl1pPr marL="0" indent="0" algn="ctr">
              <a:buNone/>
              <a:defRPr sz="1200"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onderstaand</a:t>
            </a:r>
            <a:r>
              <a:rPr lang="en-US" dirty="0"/>
              <a:t> pictogram</a:t>
            </a:r>
            <a:br>
              <a:rPr lang="en-US" dirty="0"/>
            </a:br>
            <a:r>
              <a:rPr lang="en-US" dirty="0"/>
              <a:t>om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afbeelding</a:t>
            </a:r>
            <a:r>
              <a:rPr lang="en-US" dirty="0"/>
              <a:t> in te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43005" y="872249"/>
            <a:ext cx="11104144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grpSp>
        <p:nvGrpSpPr>
          <p:cNvPr id="17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18" name="Rechthoek 17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hoek 28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hoek 29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5609570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hoek 32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hoek 33"/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60529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5F1477-19AC-4944-8447-C07605C8CBB7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88" name="Tekstvak 87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Grafiek 100%</a:t>
            </a:r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43005" y="872249"/>
            <a:ext cx="11104144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ijdelijke aanduiding voor grafiek 2"/>
          <p:cNvSpPr>
            <a:spLocks noGrp="1"/>
          </p:cNvSpPr>
          <p:nvPr>
            <p:ph type="chart" sz="quarter" idx="14" hasCustomPrompt="1"/>
          </p:nvPr>
        </p:nvSpPr>
        <p:spPr>
          <a:xfrm>
            <a:off x="542926" y="1447800"/>
            <a:ext cx="11102496" cy="4160443"/>
          </a:xfrm>
        </p:spPr>
        <p:txBody>
          <a:bodyPr tIns="1440000">
            <a:normAutofit/>
          </a:bodyPr>
          <a:lstStyle>
            <a:lvl1pPr marL="0" indent="0" algn="ctr">
              <a:buNone/>
              <a:defRPr sz="1200"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nl-NL" dirty="0"/>
              <a:t>Klik op onderstaand pictogram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grpSp>
        <p:nvGrpSpPr>
          <p:cNvPr id="16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17" name="Rechthoek 16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hthoek 17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hoek 26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hoek 28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hoek 29"/>
            <p:cNvSpPr/>
            <p:nvPr userDrawn="1"/>
          </p:nvSpPr>
          <p:spPr>
            <a:xfrm>
              <a:off x="0" y="5609570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hoek 30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1790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dia -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Achtergron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84448"/>
            <a:ext cx="12190719" cy="8520722"/>
          </a:xfrm>
          <a:prstGeom prst="rect">
            <a:avLst/>
          </a:prstGeom>
        </p:spPr>
      </p:pic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FF5AE-1FA4-4C20-A74C-6E1C65242923}" type="datetime1">
              <a:rPr lang="en-US" smtClean="0"/>
              <a:t>6/10/18</a:t>
            </a:fld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grpSp>
        <p:nvGrpSpPr>
          <p:cNvPr id="92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</p:grpSpPr>
        <p:sp>
          <p:nvSpPr>
            <p:cNvPr id="93" name="Rechthoek 92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Rechthoek 93"/>
            <p:cNvSpPr/>
            <p:nvPr userDrawn="1"/>
          </p:nvSpPr>
          <p:spPr>
            <a:xfrm>
              <a:off x="0" y="5771156"/>
              <a:ext cx="12192000" cy="1082211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5204788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hthoek 95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hthoek 96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8" name="Rechthoek 97"/>
            <p:cNvSpPr/>
            <p:nvPr userDrawn="1"/>
          </p:nvSpPr>
          <p:spPr>
            <a:xfrm>
              <a:off x="0" y="927370"/>
              <a:ext cx="12192000" cy="39493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hthoek 98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Gras_achter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7" y="2523753"/>
            <a:ext cx="12208496" cy="3943351"/>
          </a:xfrm>
          <a:prstGeom prst="rect">
            <a:avLst/>
          </a:prstGeom>
        </p:spPr>
      </p:pic>
      <p:pic>
        <p:nvPicPr>
          <p:cNvPr id="9" name="Laptop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5788" y="770020"/>
            <a:ext cx="8330262" cy="5743075"/>
          </a:xfrm>
          <a:prstGeom prst="rect">
            <a:avLst/>
          </a:prstGeom>
        </p:spPr>
      </p:pic>
      <p:sp>
        <p:nvSpPr>
          <p:cNvPr id="118" name="Ovaal 117"/>
          <p:cNvSpPr/>
          <p:nvPr userDrawn="1"/>
        </p:nvSpPr>
        <p:spPr>
          <a:xfrm>
            <a:off x="-1451082" y="-1719824"/>
            <a:ext cx="5289958" cy="5289958"/>
          </a:xfrm>
          <a:prstGeom prst="ellipse">
            <a:avLst/>
          </a:prstGeom>
          <a:solidFill>
            <a:schemeClr val="bg1">
              <a:alpha val="63000"/>
            </a:schemeClr>
          </a:solidFill>
          <a:ln>
            <a:noFill/>
          </a:ln>
          <a:effectLst>
            <a:softEdge rad="838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6-puntige ster 7"/>
          <p:cNvSpPr/>
          <p:nvPr userDrawn="1"/>
        </p:nvSpPr>
        <p:spPr>
          <a:xfrm rot="20040497">
            <a:off x="-3464863" y="-4112032"/>
            <a:ext cx="9068687" cy="9889645"/>
          </a:xfrm>
          <a:prstGeom prst="star6">
            <a:avLst>
              <a:gd name="adj" fmla="val 7354"/>
              <a:gd name="hf" fmla="val 115470"/>
            </a:avLst>
          </a:prstGeom>
          <a:solidFill>
            <a:schemeClr val="bg1">
              <a:alpha val="80000"/>
            </a:schemeClr>
          </a:solidFill>
          <a:ln>
            <a:noFill/>
          </a:ln>
          <a:effectLst>
            <a:softEdge rad="215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13" name="Lensflare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249" y="-1457264"/>
            <a:ext cx="4008747" cy="6320589"/>
          </a:xfrm>
          <a:prstGeom prst="rect">
            <a:avLst/>
          </a:prstGeom>
        </p:spPr>
      </p:pic>
      <p:sp>
        <p:nvSpPr>
          <p:cNvPr id="115" name="Ovaal 114"/>
          <p:cNvSpPr/>
          <p:nvPr userDrawn="1"/>
        </p:nvSpPr>
        <p:spPr>
          <a:xfrm>
            <a:off x="4521648" y="1033797"/>
            <a:ext cx="4549381" cy="4218932"/>
          </a:xfrm>
          <a:prstGeom prst="ellipse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>
            <a:softEdge rad="381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127" name="Laptop_screen_logo"/>
          <p:cNvGrpSpPr/>
          <p:nvPr userDrawn="1"/>
        </p:nvGrpSpPr>
        <p:grpSpPr>
          <a:xfrm>
            <a:off x="4995691" y="1556365"/>
            <a:ext cx="3412900" cy="3201516"/>
            <a:chOff x="12968288" y="-319088"/>
            <a:chExt cx="2998787" cy="2813052"/>
          </a:xfrm>
          <a:scene3d>
            <a:camera prst="orthographicFront">
              <a:rot lat="900000" lon="600000" rev="0"/>
            </a:camera>
            <a:lightRig rig="threePt" dir="t"/>
          </a:scene3d>
        </p:grpSpPr>
        <p:grpSp>
          <p:nvGrpSpPr>
            <p:cNvPr id="2115" name="Groep 2114"/>
            <p:cNvGrpSpPr/>
            <p:nvPr userDrawn="1"/>
          </p:nvGrpSpPr>
          <p:grpSpPr>
            <a:xfrm>
              <a:off x="12968288" y="1993900"/>
              <a:ext cx="2998787" cy="500064"/>
              <a:chOff x="12968288" y="1993900"/>
              <a:chExt cx="2998787" cy="500064"/>
            </a:xfrm>
            <a:solidFill>
              <a:srgbClr val="008AD2"/>
            </a:solidFill>
          </p:grpSpPr>
          <p:sp>
            <p:nvSpPr>
              <p:cNvPr id="1955" name="Line 45"/>
              <p:cNvSpPr>
                <a:spLocks noChangeShapeType="1"/>
              </p:cNvSpPr>
              <p:nvPr userDrawn="1"/>
            </p:nvSpPr>
            <p:spPr bwMode="auto">
              <a:xfrm>
                <a:off x="13652500" y="1993900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6" name="Line 46"/>
              <p:cNvSpPr>
                <a:spLocks noChangeShapeType="1"/>
              </p:cNvSpPr>
              <p:nvPr userDrawn="1"/>
            </p:nvSpPr>
            <p:spPr bwMode="auto">
              <a:xfrm>
                <a:off x="13652500" y="1997075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7" name="Line 47"/>
              <p:cNvSpPr>
                <a:spLocks noChangeShapeType="1"/>
              </p:cNvSpPr>
              <p:nvPr userDrawn="1"/>
            </p:nvSpPr>
            <p:spPr bwMode="auto">
              <a:xfrm>
                <a:off x="13654088" y="1998663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8" name="Line 48"/>
              <p:cNvSpPr>
                <a:spLocks noChangeShapeType="1"/>
              </p:cNvSpPr>
              <p:nvPr userDrawn="1"/>
            </p:nvSpPr>
            <p:spPr bwMode="auto">
              <a:xfrm>
                <a:off x="13654088" y="2000250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9" name="Line 49"/>
              <p:cNvSpPr>
                <a:spLocks noChangeShapeType="1"/>
              </p:cNvSpPr>
              <p:nvPr userDrawn="1"/>
            </p:nvSpPr>
            <p:spPr bwMode="auto">
              <a:xfrm>
                <a:off x="13655675" y="2000250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0" name="Line 50"/>
              <p:cNvSpPr>
                <a:spLocks noChangeShapeType="1"/>
              </p:cNvSpPr>
              <p:nvPr userDrawn="1"/>
            </p:nvSpPr>
            <p:spPr bwMode="auto">
              <a:xfrm>
                <a:off x="13657263" y="2001838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1" name="Line 51"/>
              <p:cNvSpPr>
                <a:spLocks noChangeShapeType="1"/>
              </p:cNvSpPr>
              <p:nvPr userDrawn="1"/>
            </p:nvSpPr>
            <p:spPr bwMode="auto">
              <a:xfrm>
                <a:off x="13658850" y="2003425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2" name="Line 52"/>
              <p:cNvSpPr>
                <a:spLocks noChangeShapeType="1"/>
              </p:cNvSpPr>
              <p:nvPr userDrawn="1"/>
            </p:nvSpPr>
            <p:spPr bwMode="auto">
              <a:xfrm flipV="1">
                <a:off x="13660438" y="2001838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3" name="Line 53"/>
              <p:cNvSpPr>
                <a:spLocks noChangeShapeType="1"/>
              </p:cNvSpPr>
              <p:nvPr userDrawn="1"/>
            </p:nvSpPr>
            <p:spPr bwMode="auto">
              <a:xfrm flipV="1">
                <a:off x="13663613" y="2000250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4" name="Line 54"/>
              <p:cNvSpPr>
                <a:spLocks noChangeShapeType="1"/>
              </p:cNvSpPr>
              <p:nvPr userDrawn="1"/>
            </p:nvSpPr>
            <p:spPr bwMode="auto">
              <a:xfrm flipV="1">
                <a:off x="13665200" y="1998663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9" name="Line 69"/>
              <p:cNvSpPr>
                <a:spLocks noChangeShapeType="1"/>
              </p:cNvSpPr>
              <p:nvPr userDrawn="1"/>
            </p:nvSpPr>
            <p:spPr bwMode="auto">
              <a:xfrm>
                <a:off x="13774738" y="1997075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0" name="Line 70"/>
              <p:cNvSpPr>
                <a:spLocks noChangeShapeType="1"/>
              </p:cNvSpPr>
              <p:nvPr userDrawn="1"/>
            </p:nvSpPr>
            <p:spPr bwMode="auto">
              <a:xfrm>
                <a:off x="13776325" y="2000250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1" name="Line 71"/>
              <p:cNvSpPr>
                <a:spLocks noChangeShapeType="1"/>
              </p:cNvSpPr>
              <p:nvPr userDrawn="1"/>
            </p:nvSpPr>
            <p:spPr bwMode="auto">
              <a:xfrm>
                <a:off x="13777913" y="2001838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2" name="Line 72"/>
              <p:cNvSpPr>
                <a:spLocks noChangeShapeType="1"/>
              </p:cNvSpPr>
              <p:nvPr userDrawn="1"/>
            </p:nvSpPr>
            <p:spPr bwMode="auto">
              <a:xfrm>
                <a:off x="13779500" y="2001838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3" name="Line 73"/>
              <p:cNvSpPr>
                <a:spLocks noChangeShapeType="1"/>
              </p:cNvSpPr>
              <p:nvPr userDrawn="1"/>
            </p:nvSpPr>
            <p:spPr bwMode="auto">
              <a:xfrm>
                <a:off x="13782675" y="2003425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4" name="Line 74"/>
              <p:cNvSpPr>
                <a:spLocks noChangeShapeType="1"/>
              </p:cNvSpPr>
              <p:nvPr userDrawn="1"/>
            </p:nvSpPr>
            <p:spPr bwMode="auto">
              <a:xfrm flipV="1">
                <a:off x="13782675" y="2001838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5" name="Line 75"/>
              <p:cNvSpPr>
                <a:spLocks noChangeShapeType="1"/>
              </p:cNvSpPr>
              <p:nvPr userDrawn="1"/>
            </p:nvSpPr>
            <p:spPr bwMode="auto">
              <a:xfrm flipV="1">
                <a:off x="13784263" y="2000250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6" name="Line 76"/>
              <p:cNvSpPr>
                <a:spLocks noChangeShapeType="1"/>
              </p:cNvSpPr>
              <p:nvPr userDrawn="1"/>
            </p:nvSpPr>
            <p:spPr bwMode="auto">
              <a:xfrm>
                <a:off x="13785850" y="2000250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7" name="Line 77"/>
              <p:cNvSpPr>
                <a:spLocks noChangeShapeType="1"/>
              </p:cNvSpPr>
              <p:nvPr userDrawn="1"/>
            </p:nvSpPr>
            <p:spPr bwMode="auto">
              <a:xfrm flipV="1">
                <a:off x="13785850" y="2000250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8" name="Line 78"/>
              <p:cNvSpPr>
                <a:spLocks noChangeShapeType="1"/>
              </p:cNvSpPr>
              <p:nvPr userDrawn="1"/>
            </p:nvSpPr>
            <p:spPr bwMode="auto">
              <a:xfrm flipV="1">
                <a:off x="13787438" y="1998663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9" name="Line 79"/>
              <p:cNvSpPr>
                <a:spLocks noChangeShapeType="1"/>
              </p:cNvSpPr>
              <p:nvPr userDrawn="1"/>
            </p:nvSpPr>
            <p:spPr bwMode="auto">
              <a:xfrm flipV="1">
                <a:off x="13787438" y="1995488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0" name="Line 120"/>
              <p:cNvSpPr>
                <a:spLocks noChangeShapeType="1"/>
              </p:cNvSpPr>
              <p:nvPr userDrawn="1"/>
            </p:nvSpPr>
            <p:spPr bwMode="auto">
              <a:xfrm>
                <a:off x="13828713" y="2000250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1" name="Line 121"/>
              <p:cNvSpPr>
                <a:spLocks noChangeShapeType="1"/>
              </p:cNvSpPr>
              <p:nvPr userDrawn="1"/>
            </p:nvSpPr>
            <p:spPr bwMode="auto">
              <a:xfrm flipH="1">
                <a:off x="13827125" y="2000250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2" name="Line 122"/>
              <p:cNvSpPr>
                <a:spLocks noChangeShapeType="1"/>
              </p:cNvSpPr>
              <p:nvPr userDrawn="1"/>
            </p:nvSpPr>
            <p:spPr bwMode="auto">
              <a:xfrm>
                <a:off x="13827125" y="2003425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3" name="Line 123"/>
              <p:cNvSpPr>
                <a:spLocks noChangeShapeType="1"/>
              </p:cNvSpPr>
              <p:nvPr userDrawn="1"/>
            </p:nvSpPr>
            <p:spPr bwMode="auto">
              <a:xfrm flipH="1">
                <a:off x="13825538" y="2003425"/>
                <a:ext cx="1587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4" name="Line 124"/>
              <p:cNvSpPr>
                <a:spLocks noChangeShapeType="1"/>
              </p:cNvSpPr>
              <p:nvPr userDrawn="1"/>
            </p:nvSpPr>
            <p:spPr bwMode="auto">
              <a:xfrm flipH="1">
                <a:off x="13822363" y="2012950"/>
                <a:ext cx="3175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5" name="Line 125"/>
              <p:cNvSpPr>
                <a:spLocks noChangeShapeType="1"/>
              </p:cNvSpPr>
              <p:nvPr userDrawn="1"/>
            </p:nvSpPr>
            <p:spPr bwMode="auto">
              <a:xfrm flipH="1">
                <a:off x="13819188" y="20208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6" name="Line 126"/>
              <p:cNvSpPr>
                <a:spLocks noChangeShapeType="1"/>
              </p:cNvSpPr>
              <p:nvPr userDrawn="1"/>
            </p:nvSpPr>
            <p:spPr bwMode="auto">
              <a:xfrm flipH="1">
                <a:off x="13816013" y="2025650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7" name="Line 127"/>
              <p:cNvSpPr>
                <a:spLocks noChangeShapeType="1"/>
              </p:cNvSpPr>
              <p:nvPr userDrawn="1"/>
            </p:nvSpPr>
            <p:spPr bwMode="auto">
              <a:xfrm flipH="1">
                <a:off x="13812838" y="2030413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8" name="Line 128"/>
              <p:cNvSpPr>
                <a:spLocks noChangeShapeType="1"/>
              </p:cNvSpPr>
              <p:nvPr userDrawn="1"/>
            </p:nvSpPr>
            <p:spPr bwMode="auto">
              <a:xfrm flipH="1">
                <a:off x="13796963" y="2033588"/>
                <a:ext cx="15875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9" name="Line 129"/>
              <p:cNvSpPr>
                <a:spLocks noChangeShapeType="1"/>
              </p:cNvSpPr>
              <p:nvPr userDrawn="1"/>
            </p:nvSpPr>
            <p:spPr bwMode="auto">
              <a:xfrm flipH="1">
                <a:off x="13782675" y="2041525"/>
                <a:ext cx="142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0" name="Line 130"/>
              <p:cNvSpPr>
                <a:spLocks noChangeShapeType="1"/>
              </p:cNvSpPr>
              <p:nvPr userDrawn="1"/>
            </p:nvSpPr>
            <p:spPr bwMode="auto">
              <a:xfrm flipH="1" flipV="1">
                <a:off x="13765213" y="2041525"/>
                <a:ext cx="174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1" name="Line 131"/>
              <p:cNvSpPr>
                <a:spLocks noChangeShapeType="1"/>
              </p:cNvSpPr>
              <p:nvPr userDrawn="1"/>
            </p:nvSpPr>
            <p:spPr bwMode="auto">
              <a:xfrm flipH="1" flipV="1">
                <a:off x="13750925" y="2033588"/>
                <a:ext cx="14287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2" name="Line 132"/>
              <p:cNvSpPr>
                <a:spLocks noChangeShapeType="1"/>
              </p:cNvSpPr>
              <p:nvPr userDrawn="1"/>
            </p:nvSpPr>
            <p:spPr bwMode="auto">
              <a:xfrm flipH="1" flipV="1">
                <a:off x="13739813" y="2020888"/>
                <a:ext cx="11112" cy="127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3" name="Line 133"/>
              <p:cNvSpPr>
                <a:spLocks noChangeShapeType="1"/>
              </p:cNvSpPr>
              <p:nvPr userDrawn="1"/>
            </p:nvSpPr>
            <p:spPr bwMode="auto">
              <a:xfrm flipH="1" flipV="1">
                <a:off x="13735050" y="2005013"/>
                <a:ext cx="4762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2" name="Line 142"/>
              <p:cNvSpPr>
                <a:spLocks noChangeShapeType="1"/>
              </p:cNvSpPr>
              <p:nvPr userDrawn="1"/>
            </p:nvSpPr>
            <p:spPr bwMode="auto">
              <a:xfrm flipH="1">
                <a:off x="13700125" y="2005013"/>
                <a:ext cx="6350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3" name="Line 143"/>
              <p:cNvSpPr>
                <a:spLocks noChangeShapeType="1"/>
              </p:cNvSpPr>
              <p:nvPr userDrawn="1"/>
            </p:nvSpPr>
            <p:spPr bwMode="auto">
              <a:xfrm flipH="1">
                <a:off x="13689013" y="2020888"/>
                <a:ext cx="11112" cy="127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4" name="Line 144"/>
              <p:cNvSpPr>
                <a:spLocks noChangeShapeType="1"/>
              </p:cNvSpPr>
              <p:nvPr userDrawn="1"/>
            </p:nvSpPr>
            <p:spPr bwMode="auto">
              <a:xfrm flipH="1">
                <a:off x="13676313" y="2033588"/>
                <a:ext cx="12700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5" name="Line 145"/>
              <p:cNvSpPr>
                <a:spLocks noChangeShapeType="1"/>
              </p:cNvSpPr>
              <p:nvPr userDrawn="1"/>
            </p:nvSpPr>
            <p:spPr bwMode="auto">
              <a:xfrm flipH="1">
                <a:off x="13658850" y="2041525"/>
                <a:ext cx="174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6" name="Line 146"/>
              <p:cNvSpPr>
                <a:spLocks noChangeShapeType="1"/>
              </p:cNvSpPr>
              <p:nvPr userDrawn="1"/>
            </p:nvSpPr>
            <p:spPr bwMode="auto">
              <a:xfrm flipH="1" flipV="1">
                <a:off x="13646150" y="2041525"/>
                <a:ext cx="1270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7" name="Line 147"/>
              <p:cNvSpPr>
                <a:spLocks noChangeShapeType="1"/>
              </p:cNvSpPr>
              <p:nvPr userDrawn="1"/>
            </p:nvSpPr>
            <p:spPr bwMode="auto">
              <a:xfrm flipH="1" flipV="1">
                <a:off x="13636625" y="2038350"/>
                <a:ext cx="952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8" name="Line 148"/>
              <p:cNvSpPr>
                <a:spLocks noChangeShapeType="1"/>
              </p:cNvSpPr>
              <p:nvPr userDrawn="1"/>
            </p:nvSpPr>
            <p:spPr bwMode="auto">
              <a:xfrm flipH="1" flipV="1">
                <a:off x="13630275" y="2033588"/>
                <a:ext cx="635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9" name="Line 149"/>
              <p:cNvSpPr>
                <a:spLocks noChangeShapeType="1"/>
              </p:cNvSpPr>
              <p:nvPr userDrawn="1"/>
            </p:nvSpPr>
            <p:spPr bwMode="auto">
              <a:xfrm flipH="1" flipV="1">
                <a:off x="13625513" y="2030413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0" name="Line 150"/>
              <p:cNvSpPr>
                <a:spLocks noChangeShapeType="1"/>
              </p:cNvSpPr>
              <p:nvPr userDrawn="1"/>
            </p:nvSpPr>
            <p:spPr bwMode="auto">
              <a:xfrm flipH="1" flipV="1">
                <a:off x="13622338" y="2025650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1" name="Line 151"/>
              <p:cNvSpPr>
                <a:spLocks noChangeShapeType="1"/>
              </p:cNvSpPr>
              <p:nvPr userDrawn="1"/>
            </p:nvSpPr>
            <p:spPr bwMode="auto">
              <a:xfrm flipH="1" flipV="1">
                <a:off x="13619163" y="20208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2" name="Line 152"/>
              <p:cNvSpPr>
                <a:spLocks noChangeShapeType="1"/>
              </p:cNvSpPr>
              <p:nvPr userDrawn="1"/>
            </p:nvSpPr>
            <p:spPr bwMode="auto">
              <a:xfrm flipH="1" flipV="1">
                <a:off x="13615988" y="2012950"/>
                <a:ext cx="3175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3" name="Line 153"/>
              <p:cNvSpPr>
                <a:spLocks noChangeShapeType="1"/>
              </p:cNvSpPr>
              <p:nvPr userDrawn="1"/>
            </p:nvSpPr>
            <p:spPr bwMode="auto">
              <a:xfrm flipH="1" flipV="1">
                <a:off x="13612813" y="2003425"/>
                <a:ext cx="3175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4" name="Line 154"/>
              <p:cNvSpPr>
                <a:spLocks noChangeShapeType="1"/>
              </p:cNvSpPr>
              <p:nvPr userDrawn="1"/>
            </p:nvSpPr>
            <p:spPr bwMode="auto">
              <a:xfrm flipV="1">
                <a:off x="13612813" y="2003425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5" name="Line 155"/>
              <p:cNvSpPr>
                <a:spLocks noChangeShapeType="1"/>
              </p:cNvSpPr>
              <p:nvPr userDrawn="1"/>
            </p:nvSpPr>
            <p:spPr bwMode="auto">
              <a:xfrm flipV="1">
                <a:off x="13612813" y="2000250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6" name="Line 156"/>
              <p:cNvSpPr>
                <a:spLocks noChangeShapeType="1"/>
              </p:cNvSpPr>
              <p:nvPr userDrawn="1"/>
            </p:nvSpPr>
            <p:spPr bwMode="auto">
              <a:xfrm flipV="1">
                <a:off x="13612813" y="2000250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6" name="Line 166"/>
              <p:cNvSpPr>
                <a:spLocks noChangeShapeType="1"/>
              </p:cNvSpPr>
              <p:nvPr userDrawn="1"/>
            </p:nvSpPr>
            <p:spPr bwMode="auto">
              <a:xfrm flipH="1">
                <a:off x="13938250" y="2038350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7" name="Line 167"/>
              <p:cNvSpPr>
                <a:spLocks noChangeShapeType="1"/>
              </p:cNvSpPr>
              <p:nvPr userDrawn="1"/>
            </p:nvSpPr>
            <p:spPr bwMode="auto">
              <a:xfrm flipH="1">
                <a:off x="13933488" y="2041525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8" name="Line 168"/>
              <p:cNvSpPr>
                <a:spLocks noChangeShapeType="1"/>
              </p:cNvSpPr>
              <p:nvPr userDrawn="1"/>
            </p:nvSpPr>
            <p:spPr bwMode="auto">
              <a:xfrm flipH="1">
                <a:off x="13928725" y="20431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9" name="Line 169"/>
              <p:cNvSpPr>
                <a:spLocks noChangeShapeType="1"/>
              </p:cNvSpPr>
              <p:nvPr userDrawn="1"/>
            </p:nvSpPr>
            <p:spPr bwMode="auto">
              <a:xfrm flipH="1" flipV="1">
                <a:off x="13922375" y="2043113"/>
                <a:ext cx="635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0" name="Line 170"/>
              <p:cNvSpPr>
                <a:spLocks noChangeShapeType="1"/>
              </p:cNvSpPr>
              <p:nvPr userDrawn="1"/>
            </p:nvSpPr>
            <p:spPr bwMode="auto">
              <a:xfrm flipH="1" flipV="1">
                <a:off x="13917613" y="2041525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1" name="Line 171"/>
              <p:cNvSpPr>
                <a:spLocks noChangeShapeType="1"/>
              </p:cNvSpPr>
              <p:nvPr userDrawn="1"/>
            </p:nvSpPr>
            <p:spPr bwMode="auto">
              <a:xfrm flipH="1" flipV="1">
                <a:off x="13914438" y="2038350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2" name="Line 172"/>
              <p:cNvSpPr>
                <a:spLocks noChangeShapeType="1"/>
              </p:cNvSpPr>
              <p:nvPr userDrawn="1"/>
            </p:nvSpPr>
            <p:spPr bwMode="auto">
              <a:xfrm flipH="1" flipV="1">
                <a:off x="13911263" y="20335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3" name="Line 173"/>
              <p:cNvSpPr>
                <a:spLocks noChangeShapeType="1"/>
              </p:cNvSpPr>
              <p:nvPr userDrawn="1"/>
            </p:nvSpPr>
            <p:spPr bwMode="auto">
              <a:xfrm flipH="1" flipV="1">
                <a:off x="13908088" y="2028825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4" name="Line 174"/>
              <p:cNvSpPr>
                <a:spLocks noChangeShapeType="1"/>
              </p:cNvSpPr>
              <p:nvPr userDrawn="1"/>
            </p:nvSpPr>
            <p:spPr bwMode="auto">
              <a:xfrm flipV="1">
                <a:off x="13908088" y="2022475"/>
                <a:ext cx="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9" name="Line 189"/>
              <p:cNvSpPr>
                <a:spLocks noChangeShapeType="1"/>
              </p:cNvSpPr>
              <p:nvPr userDrawn="1"/>
            </p:nvSpPr>
            <p:spPr bwMode="auto">
              <a:xfrm>
                <a:off x="13947775" y="2022475"/>
                <a:ext cx="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0" name="Line 190"/>
              <p:cNvSpPr>
                <a:spLocks noChangeShapeType="1"/>
              </p:cNvSpPr>
              <p:nvPr userDrawn="1"/>
            </p:nvSpPr>
            <p:spPr bwMode="auto">
              <a:xfrm flipH="1">
                <a:off x="13946188" y="2028825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1" name="Line 191"/>
              <p:cNvSpPr>
                <a:spLocks noChangeShapeType="1"/>
              </p:cNvSpPr>
              <p:nvPr userDrawn="1"/>
            </p:nvSpPr>
            <p:spPr bwMode="auto">
              <a:xfrm flipH="1">
                <a:off x="13943013" y="20335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3" name="Line 193"/>
              <p:cNvSpPr>
                <a:spLocks noChangeShapeType="1"/>
              </p:cNvSpPr>
              <p:nvPr userDrawn="1"/>
            </p:nvSpPr>
            <p:spPr bwMode="auto">
              <a:xfrm flipH="1">
                <a:off x="14038263" y="2038350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4" name="Line 194"/>
              <p:cNvSpPr>
                <a:spLocks noChangeShapeType="1"/>
              </p:cNvSpPr>
              <p:nvPr userDrawn="1"/>
            </p:nvSpPr>
            <p:spPr bwMode="auto">
              <a:xfrm flipH="1">
                <a:off x="14033500" y="2041525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5" name="Line 195"/>
              <p:cNvSpPr>
                <a:spLocks noChangeShapeType="1"/>
              </p:cNvSpPr>
              <p:nvPr userDrawn="1"/>
            </p:nvSpPr>
            <p:spPr bwMode="auto">
              <a:xfrm flipH="1">
                <a:off x="14028738" y="2043113"/>
                <a:ext cx="47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6" name="Line 196"/>
              <p:cNvSpPr>
                <a:spLocks noChangeShapeType="1"/>
              </p:cNvSpPr>
              <p:nvPr userDrawn="1"/>
            </p:nvSpPr>
            <p:spPr bwMode="auto">
              <a:xfrm flipH="1">
                <a:off x="14022388" y="2043113"/>
                <a:ext cx="635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7" name="Line 197"/>
              <p:cNvSpPr>
                <a:spLocks noChangeShapeType="1"/>
              </p:cNvSpPr>
              <p:nvPr userDrawn="1"/>
            </p:nvSpPr>
            <p:spPr bwMode="auto">
              <a:xfrm flipH="1" flipV="1">
                <a:off x="14017625" y="2041525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8" name="Line 198"/>
              <p:cNvSpPr>
                <a:spLocks noChangeShapeType="1"/>
              </p:cNvSpPr>
              <p:nvPr userDrawn="1"/>
            </p:nvSpPr>
            <p:spPr bwMode="auto">
              <a:xfrm flipH="1" flipV="1">
                <a:off x="14012863" y="2038350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9" name="Line 199"/>
              <p:cNvSpPr>
                <a:spLocks noChangeShapeType="1"/>
              </p:cNvSpPr>
              <p:nvPr userDrawn="1"/>
            </p:nvSpPr>
            <p:spPr bwMode="auto">
              <a:xfrm flipH="1" flipV="1">
                <a:off x="14009688" y="20335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0" name="Line 200"/>
              <p:cNvSpPr>
                <a:spLocks noChangeShapeType="1"/>
              </p:cNvSpPr>
              <p:nvPr userDrawn="1"/>
            </p:nvSpPr>
            <p:spPr bwMode="auto">
              <a:xfrm flipH="1" flipV="1">
                <a:off x="14008100" y="2028825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1" name="Line 201"/>
              <p:cNvSpPr>
                <a:spLocks noChangeShapeType="1"/>
              </p:cNvSpPr>
              <p:nvPr userDrawn="1"/>
            </p:nvSpPr>
            <p:spPr bwMode="auto">
              <a:xfrm flipV="1">
                <a:off x="14008100" y="2022475"/>
                <a:ext cx="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7" name="Line 238"/>
              <p:cNvSpPr>
                <a:spLocks noChangeShapeType="1"/>
              </p:cNvSpPr>
              <p:nvPr userDrawn="1"/>
            </p:nvSpPr>
            <p:spPr bwMode="auto">
              <a:xfrm>
                <a:off x="14171613" y="2022475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8" name="Line 239"/>
              <p:cNvSpPr>
                <a:spLocks noChangeShapeType="1"/>
              </p:cNvSpPr>
              <p:nvPr userDrawn="1"/>
            </p:nvSpPr>
            <p:spPr bwMode="auto">
              <a:xfrm flipH="1">
                <a:off x="14171613" y="2027238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9" name="Line 240"/>
              <p:cNvSpPr>
                <a:spLocks noChangeShapeType="1"/>
              </p:cNvSpPr>
              <p:nvPr userDrawn="1"/>
            </p:nvSpPr>
            <p:spPr bwMode="auto">
              <a:xfrm flipH="1">
                <a:off x="14168438" y="2032000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0" name="Line 241"/>
              <p:cNvSpPr>
                <a:spLocks noChangeShapeType="1"/>
              </p:cNvSpPr>
              <p:nvPr userDrawn="1"/>
            </p:nvSpPr>
            <p:spPr bwMode="auto">
              <a:xfrm flipH="1">
                <a:off x="14165263" y="2035175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1" name="Line 242"/>
              <p:cNvSpPr>
                <a:spLocks noChangeShapeType="1"/>
              </p:cNvSpPr>
              <p:nvPr userDrawn="1"/>
            </p:nvSpPr>
            <p:spPr bwMode="auto">
              <a:xfrm flipH="1">
                <a:off x="14160500" y="2038350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2" name="Line 243"/>
              <p:cNvSpPr>
                <a:spLocks noChangeShapeType="1"/>
              </p:cNvSpPr>
              <p:nvPr userDrawn="1"/>
            </p:nvSpPr>
            <p:spPr bwMode="auto">
              <a:xfrm flipH="1">
                <a:off x="14157325" y="2041525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3" name="Line 244"/>
              <p:cNvSpPr>
                <a:spLocks noChangeShapeType="1"/>
              </p:cNvSpPr>
              <p:nvPr userDrawn="1"/>
            </p:nvSpPr>
            <p:spPr bwMode="auto">
              <a:xfrm flipH="1">
                <a:off x="14154150" y="2043113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4" name="Line 245"/>
              <p:cNvSpPr>
                <a:spLocks noChangeShapeType="1"/>
              </p:cNvSpPr>
              <p:nvPr userDrawn="1"/>
            </p:nvSpPr>
            <p:spPr bwMode="auto">
              <a:xfrm flipH="1">
                <a:off x="14152563" y="2043113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5" name="Line 246"/>
              <p:cNvSpPr>
                <a:spLocks noChangeShapeType="1"/>
              </p:cNvSpPr>
              <p:nvPr userDrawn="1"/>
            </p:nvSpPr>
            <p:spPr bwMode="auto">
              <a:xfrm flipH="1">
                <a:off x="14146213" y="2043113"/>
                <a:ext cx="635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6" name="Line 247"/>
              <p:cNvSpPr>
                <a:spLocks noChangeShapeType="1"/>
              </p:cNvSpPr>
              <p:nvPr userDrawn="1"/>
            </p:nvSpPr>
            <p:spPr bwMode="auto">
              <a:xfrm flipH="1" flipV="1">
                <a:off x="14141450" y="2041525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7" name="Line 248"/>
              <p:cNvSpPr>
                <a:spLocks noChangeShapeType="1"/>
              </p:cNvSpPr>
              <p:nvPr userDrawn="1"/>
            </p:nvSpPr>
            <p:spPr bwMode="auto">
              <a:xfrm flipH="1" flipV="1">
                <a:off x="14138275" y="2038350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8" name="Line 249"/>
              <p:cNvSpPr>
                <a:spLocks noChangeShapeType="1"/>
              </p:cNvSpPr>
              <p:nvPr userDrawn="1"/>
            </p:nvSpPr>
            <p:spPr bwMode="auto">
              <a:xfrm flipH="1" flipV="1">
                <a:off x="14135100" y="2035175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9" name="Line 250"/>
              <p:cNvSpPr>
                <a:spLocks noChangeShapeType="1"/>
              </p:cNvSpPr>
              <p:nvPr userDrawn="1"/>
            </p:nvSpPr>
            <p:spPr bwMode="auto">
              <a:xfrm flipH="1" flipV="1">
                <a:off x="14133513" y="2032000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9" name="Line 260"/>
              <p:cNvSpPr>
                <a:spLocks noChangeShapeType="1"/>
              </p:cNvSpPr>
              <p:nvPr userDrawn="1"/>
            </p:nvSpPr>
            <p:spPr bwMode="auto">
              <a:xfrm>
                <a:off x="14047788" y="2022475"/>
                <a:ext cx="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0" name="Line 261"/>
              <p:cNvSpPr>
                <a:spLocks noChangeShapeType="1"/>
              </p:cNvSpPr>
              <p:nvPr userDrawn="1"/>
            </p:nvSpPr>
            <p:spPr bwMode="auto">
              <a:xfrm flipH="1">
                <a:off x="14046200" y="2028825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1" name="Line 262"/>
              <p:cNvSpPr>
                <a:spLocks noChangeShapeType="1"/>
              </p:cNvSpPr>
              <p:nvPr userDrawn="1"/>
            </p:nvSpPr>
            <p:spPr bwMode="auto">
              <a:xfrm flipH="1">
                <a:off x="14043025" y="20335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3" name="Line 264"/>
              <p:cNvSpPr>
                <a:spLocks noChangeShapeType="1"/>
              </p:cNvSpPr>
              <p:nvPr userDrawn="1"/>
            </p:nvSpPr>
            <p:spPr bwMode="auto">
              <a:xfrm flipH="1" flipV="1">
                <a:off x="14408150" y="20431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4" name="Line 265"/>
              <p:cNvSpPr>
                <a:spLocks noChangeShapeType="1"/>
              </p:cNvSpPr>
              <p:nvPr userDrawn="1"/>
            </p:nvSpPr>
            <p:spPr bwMode="auto">
              <a:xfrm flipH="1" flipV="1">
                <a:off x="14403388" y="2041525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5" name="Line 266"/>
              <p:cNvSpPr>
                <a:spLocks noChangeShapeType="1"/>
              </p:cNvSpPr>
              <p:nvPr userDrawn="1"/>
            </p:nvSpPr>
            <p:spPr bwMode="auto">
              <a:xfrm flipH="1" flipV="1">
                <a:off x="14398625" y="2038350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6" name="Line 267"/>
              <p:cNvSpPr>
                <a:spLocks noChangeShapeType="1"/>
              </p:cNvSpPr>
              <p:nvPr userDrawn="1"/>
            </p:nvSpPr>
            <p:spPr bwMode="auto">
              <a:xfrm flipH="1" flipV="1">
                <a:off x="14395450" y="20335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7" name="Line 268"/>
              <p:cNvSpPr>
                <a:spLocks noChangeShapeType="1"/>
              </p:cNvSpPr>
              <p:nvPr userDrawn="1"/>
            </p:nvSpPr>
            <p:spPr bwMode="auto">
              <a:xfrm flipH="1" flipV="1">
                <a:off x="14393863" y="2028825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8" name="Line 269"/>
              <p:cNvSpPr>
                <a:spLocks noChangeShapeType="1"/>
              </p:cNvSpPr>
              <p:nvPr userDrawn="1"/>
            </p:nvSpPr>
            <p:spPr bwMode="auto">
              <a:xfrm flipH="1" flipV="1">
                <a:off x="14392275" y="2022475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6" name="Line 307"/>
              <p:cNvSpPr>
                <a:spLocks noChangeShapeType="1"/>
              </p:cNvSpPr>
              <p:nvPr userDrawn="1"/>
            </p:nvSpPr>
            <p:spPr bwMode="auto">
              <a:xfrm flipH="1">
                <a:off x="14433550" y="2022475"/>
                <a:ext cx="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7" name="Line 308"/>
              <p:cNvSpPr>
                <a:spLocks noChangeShapeType="1"/>
              </p:cNvSpPr>
              <p:nvPr userDrawn="1"/>
            </p:nvSpPr>
            <p:spPr bwMode="auto">
              <a:xfrm flipH="1">
                <a:off x="14431963" y="2028825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8" name="Line 309"/>
              <p:cNvSpPr>
                <a:spLocks noChangeShapeType="1"/>
              </p:cNvSpPr>
              <p:nvPr userDrawn="1"/>
            </p:nvSpPr>
            <p:spPr bwMode="auto">
              <a:xfrm flipH="1">
                <a:off x="14427200" y="2033588"/>
                <a:ext cx="4762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9" name="Line 310"/>
              <p:cNvSpPr>
                <a:spLocks noChangeShapeType="1"/>
              </p:cNvSpPr>
              <p:nvPr userDrawn="1"/>
            </p:nvSpPr>
            <p:spPr bwMode="auto">
              <a:xfrm flipH="1">
                <a:off x="14424025" y="2038350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0" name="Line 311"/>
              <p:cNvSpPr>
                <a:spLocks noChangeShapeType="1"/>
              </p:cNvSpPr>
              <p:nvPr userDrawn="1"/>
            </p:nvSpPr>
            <p:spPr bwMode="auto">
              <a:xfrm flipH="1">
                <a:off x="14417675" y="2041525"/>
                <a:ext cx="635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1" name="Line 312"/>
              <p:cNvSpPr>
                <a:spLocks noChangeShapeType="1"/>
              </p:cNvSpPr>
              <p:nvPr userDrawn="1"/>
            </p:nvSpPr>
            <p:spPr bwMode="auto">
              <a:xfrm flipH="1">
                <a:off x="14412913" y="20431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7" name="Line 318"/>
              <p:cNvSpPr>
                <a:spLocks noChangeShapeType="1"/>
              </p:cNvSpPr>
              <p:nvPr userDrawn="1"/>
            </p:nvSpPr>
            <p:spPr bwMode="auto">
              <a:xfrm>
                <a:off x="14581188" y="1995488"/>
                <a:ext cx="635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8" name="Line 319"/>
              <p:cNvSpPr>
                <a:spLocks noChangeShapeType="1"/>
              </p:cNvSpPr>
              <p:nvPr userDrawn="1"/>
            </p:nvSpPr>
            <p:spPr bwMode="auto">
              <a:xfrm>
                <a:off x="14587538" y="2000250"/>
                <a:ext cx="793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9" name="Line 320"/>
              <p:cNvSpPr>
                <a:spLocks noChangeShapeType="1"/>
              </p:cNvSpPr>
              <p:nvPr userDrawn="1"/>
            </p:nvSpPr>
            <p:spPr bwMode="auto">
              <a:xfrm>
                <a:off x="14595475" y="2001838"/>
                <a:ext cx="793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0" name="Line 321"/>
              <p:cNvSpPr>
                <a:spLocks noChangeShapeType="1"/>
              </p:cNvSpPr>
              <p:nvPr userDrawn="1"/>
            </p:nvSpPr>
            <p:spPr bwMode="auto">
              <a:xfrm flipV="1">
                <a:off x="14603413" y="2000250"/>
                <a:ext cx="1270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1" name="Line 322"/>
              <p:cNvSpPr>
                <a:spLocks noChangeShapeType="1"/>
              </p:cNvSpPr>
              <p:nvPr userDrawn="1"/>
            </p:nvSpPr>
            <p:spPr bwMode="auto">
              <a:xfrm flipV="1">
                <a:off x="14616113" y="1995488"/>
                <a:ext cx="952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5" name="Line 346"/>
              <p:cNvSpPr>
                <a:spLocks noChangeShapeType="1"/>
              </p:cNvSpPr>
              <p:nvPr userDrawn="1"/>
            </p:nvSpPr>
            <p:spPr bwMode="auto">
              <a:xfrm flipH="1" flipV="1">
                <a:off x="14552613" y="2025650"/>
                <a:ext cx="635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6" name="Line 347"/>
              <p:cNvSpPr>
                <a:spLocks noChangeShapeType="1"/>
              </p:cNvSpPr>
              <p:nvPr userDrawn="1"/>
            </p:nvSpPr>
            <p:spPr bwMode="auto">
              <a:xfrm flipH="1" flipV="1">
                <a:off x="14546263" y="2019300"/>
                <a:ext cx="635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7" name="Line 348"/>
              <p:cNvSpPr>
                <a:spLocks noChangeShapeType="1"/>
              </p:cNvSpPr>
              <p:nvPr userDrawn="1"/>
            </p:nvSpPr>
            <p:spPr bwMode="auto">
              <a:xfrm flipH="1" flipV="1">
                <a:off x="14543088" y="201453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8" name="Line 349"/>
              <p:cNvSpPr>
                <a:spLocks noChangeShapeType="1"/>
              </p:cNvSpPr>
              <p:nvPr userDrawn="1"/>
            </p:nvSpPr>
            <p:spPr bwMode="auto">
              <a:xfrm flipH="1" flipV="1">
                <a:off x="14535150" y="2005013"/>
                <a:ext cx="7937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9" name="Line 350"/>
              <p:cNvSpPr>
                <a:spLocks noChangeShapeType="1"/>
              </p:cNvSpPr>
              <p:nvPr userDrawn="1"/>
            </p:nvSpPr>
            <p:spPr bwMode="auto">
              <a:xfrm flipH="1" flipV="1">
                <a:off x="14530388" y="1993900"/>
                <a:ext cx="4762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2" name="Line 373"/>
              <p:cNvSpPr>
                <a:spLocks noChangeShapeType="1"/>
              </p:cNvSpPr>
              <p:nvPr userDrawn="1"/>
            </p:nvSpPr>
            <p:spPr bwMode="auto">
              <a:xfrm flipH="1">
                <a:off x="14666913" y="2008188"/>
                <a:ext cx="4762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3" name="Line 374"/>
              <p:cNvSpPr>
                <a:spLocks noChangeShapeType="1"/>
              </p:cNvSpPr>
              <p:nvPr userDrawn="1"/>
            </p:nvSpPr>
            <p:spPr bwMode="auto">
              <a:xfrm flipH="1">
                <a:off x="14660563" y="2014538"/>
                <a:ext cx="635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4" name="Line 375"/>
              <p:cNvSpPr>
                <a:spLocks noChangeShapeType="1"/>
              </p:cNvSpPr>
              <p:nvPr userDrawn="1"/>
            </p:nvSpPr>
            <p:spPr bwMode="auto">
              <a:xfrm flipH="1">
                <a:off x="14655800" y="2019300"/>
                <a:ext cx="4762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5" name="Line 376"/>
              <p:cNvSpPr>
                <a:spLocks noChangeShapeType="1"/>
              </p:cNvSpPr>
              <p:nvPr userDrawn="1"/>
            </p:nvSpPr>
            <p:spPr bwMode="auto">
              <a:xfrm flipH="1">
                <a:off x="14646275" y="2025650"/>
                <a:ext cx="9525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6" name="Line 377"/>
              <p:cNvSpPr>
                <a:spLocks noChangeShapeType="1"/>
              </p:cNvSpPr>
              <p:nvPr userDrawn="1"/>
            </p:nvSpPr>
            <p:spPr bwMode="auto">
              <a:xfrm flipH="1">
                <a:off x="14635163" y="2032000"/>
                <a:ext cx="11112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7" name="Line 378"/>
              <p:cNvSpPr>
                <a:spLocks noChangeShapeType="1"/>
              </p:cNvSpPr>
              <p:nvPr userDrawn="1"/>
            </p:nvSpPr>
            <p:spPr bwMode="auto">
              <a:xfrm flipH="1">
                <a:off x="14620875" y="2038350"/>
                <a:ext cx="142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8" name="Line 379"/>
              <p:cNvSpPr>
                <a:spLocks noChangeShapeType="1"/>
              </p:cNvSpPr>
              <p:nvPr userDrawn="1"/>
            </p:nvSpPr>
            <p:spPr bwMode="auto">
              <a:xfrm flipH="1">
                <a:off x="14603413" y="2041525"/>
                <a:ext cx="174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9" name="Line 380"/>
              <p:cNvSpPr>
                <a:spLocks noChangeShapeType="1"/>
              </p:cNvSpPr>
              <p:nvPr userDrawn="1"/>
            </p:nvSpPr>
            <p:spPr bwMode="auto">
              <a:xfrm flipH="1" flipV="1">
                <a:off x="14581188" y="2039938"/>
                <a:ext cx="2222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0" name="Line 381"/>
              <p:cNvSpPr>
                <a:spLocks noChangeShapeType="1"/>
              </p:cNvSpPr>
              <p:nvPr userDrawn="1"/>
            </p:nvSpPr>
            <p:spPr bwMode="auto">
              <a:xfrm flipH="1" flipV="1">
                <a:off x="14558963" y="2030413"/>
                <a:ext cx="22225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2" name="Line 383"/>
              <p:cNvSpPr>
                <a:spLocks noChangeShapeType="1"/>
              </p:cNvSpPr>
              <p:nvPr userDrawn="1"/>
            </p:nvSpPr>
            <p:spPr bwMode="auto">
              <a:xfrm>
                <a:off x="14784388" y="1995488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3" name="Line 384"/>
              <p:cNvSpPr>
                <a:spLocks noChangeShapeType="1"/>
              </p:cNvSpPr>
              <p:nvPr userDrawn="1"/>
            </p:nvSpPr>
            <p:spPr bwMode="auto">
              <a:xfrm>
                <a:off x="14784388" y="1997075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4" name="Line 385"/>
              <p:cNvSpPr>
                <a:spLocks noChangeShapeType="1"/>
              </p:cNvSpPr>
              <p:nvPr userDrawn="1"/>
            </p:nvSpPr>
            <p:spPr bwMode="auto">
              <a:xfrm>
                <a:off x="14785975" y="2000250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5" name="Line 386"/>
              <p:cNvSpPr>
                <a:spLocks noChangeShapeType="1"/>
              </p:cNvSpPr>
              <p:nvPr userDrawn="1"/>
            </p:nvSpPr>
            <p:spPr bwMode="auto">
              <a:xfrm>
                <a:off x="14789150" y="2001838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6" name="Line 387"/>
              <p:cNvSpPr>
                <a:spLocks noChangeShapeType="1"/>
              </p:cNvSpPr>
              <p:nvPr userDrawn="1"/>
            </p:nvSpPr>
            <p:spPr bwMode="auto">
              <a:xfrm>
                <a:off x="14790738" y="2001838"/>
                <a:ext cx="2381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7" name="Line 388"/>
              <p:cNvSpPr>
                <a:spLocks noChangeShapeType="1"/>
              </p:cNvSpPr>
              <p:nvPr userDrawn="1"/>
            </p:nvSpPr>
            <p:spPr bwMode="auto">
              <a:xfrm flipV="1">
                <a:off x="14814550" y="2000250"/>
                <a:ext cx="1270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8" name="Line 389"/>
              <p:cNvSpPr>
                <a:spLocks noChangeShapeType="1"/>
              </p:cNvSpPr>
              <p:nvPr userDrawn="1"/>
            </p:nvSpPr>
            <p:spPr bwMode="auto">
              <a:xfrm flipV="1">
                <a:off x="14827250" y="1995488"/>
                <a:ext cx="1270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16" name="Line 408"/>
              <p:cNvSpPr>
                <a:spLocks noChangeShapeType="1"/>
              </p:cNvSpPr>
              <p:nvPr userDrawn="1"/>
            </p:nvSpPr>
            <p:spPr bwMode="auto">
              <a:xfrm flipH="1">
                <a:off x="14758988" y="2043113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17" name="Line 409"/>
              <p:cNvSpPr>
                <a:spLocks noChangeShapeType="1"/>
              </p:cNvSpPr>
              <p:nvPr userDrawn="1"/>
            </p:nvSpPr>
            <p:spPr bwMode="auto">
              <a:xfrm flipH="1" flipV="1">
                <a:off x="14752638" y="2041526"/>
                <a:ext cx="635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18" name="Line 410"/>
              <p:cNvSpPr>
                <a:spLocks noChangeShapeType="1"/>
              </p:cNvSpPr>
              <p:nvPr userDrawn="1"/>
            </p:nvSpPr>
            <p:spPr bwMode="auto">
              <a:xfrm flipH="1" flipV="1">
                <a:off x="14747875" y="2038351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19" name="Line 411"/>
              <p:cNvSpPr>
                <a:spLocks noChangeShapeType="1"/>
              </p:cNvSpPr>
              <p:nvPr userDrawn="1"/>
            </p:nvSpPr>
            <p:spPr bwMode="auto">
              <a:xfrm flipH="1" flipV="1">
                <a:off x="14744700" y="20335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20" name="Line 412"/>
              <p:cNvSpPr>
                <a:spLocks noChangeShapeType="1"/>
              </p:cNvSpPr>
              <p:nvPr userDrawn="1"/>
            </p:nvSpPr>
            <p:spPr bwMode="auto">
              <a:xfrm flipH="1" flipV="1">
                <a:off x="14743113" y="2027238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21" name="Line 413"/>
              <p:cNvSpPr>
                <a:spLocks noChangeShapeType="1"/>
              </p:cNvSpPr>
              <p:nvPr userDrawn="1"/>
            </p:nvSpPr>
            <p:spPr bwMode="auto">
              <a:xfrm flipV="1">
                <a:off x="14743113" y="2022476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2" name="Line 434"/>
              <p:cNvSpPr>
                <a:spLocks noChangeShapeType="1"/>
              </p:cNvSpPr>
              <p:nvPr userDrawn="1"/>
            </p:nvSpPr>
            <p:spPr bwMode="auto">
              <a:xfrm flipH="1">
                <a:off x="14876463" y="2005013"/>
                <a:ext cx="9525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3" name="Line 435"/>
              <p:cNvSpPr>
                <a:spLocks noChangeShapeType="1"/>
              </p:cNvSpPr>
              <p:nvPr userDrawn="1"/>
            </p:nvSpPr>
            <p:spPr bwMode="auto">
              <a:xfrm flipH="1">
                <a:off x="14862175" y="2019301"/>
                <a:ext cx="14287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4" name="Line 436"/>
              <p:cNvSpPr>
                <a:spLocks noChangeShapeType="1"/>
              </p:cNvSpPr>
              <p:nvPr userDrawn="1"/>
            </p:nvSpPr>
            <p:spPr bwMode="auto">
              <a:xfrm flipH="1">
                <a:off x="14847888" y="2028826"/>
                <a:ext cx="14287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5" name="Line 437"/>
              <p:cNvSpPr>
                <a:spLocks noChangeShapeType="1"/>
              </p:cNvSpPr>
              <p:nvPr userDrawn="1"/>
            </p:nvSpPr>
            <p:spPr bwMode="auto">
              <a:xfrm flipH="1">
                <a:off x="14830425" y="2036763"/>
                <a:ext cx="17462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6" name="Line 438"/>
              <p:cNvSpPr>
                <a:spLocks noChangeShapeType="1"/>
              </p:cNvSpPr>
              <p:nvPr userDrawn="1"/>
            </p:nvSpPr>
            <p:spPr bwMode="auto">
              <a:xfrm flipH="1">
                <a:off x="14814550" y="2041526"/>
                <a:ext cx="158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7" name="Line 439"/>
              <p:cNvSpPr>
                <a:spLocks noChangeShapeType="1"/>
              </p:cNvSpPr>
              <p:nvPr userDrawn="1"/>
            </p:nvSpPr>
            <p:spPr bwMode="auto">
              <a:xfrm flipH="1">
                <a:off x="14762163" y="2043113"/>
                <a:ext cx="523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7" name="Line 469"/>
              <p:cNvSpPr>
                <a:spLocks noChangeShapeType="1"/>
              </p:cNvSpPr>
              <p:nvPr userDrawn="1"/>
            </p:nvSpPr>
            <p:spPr bwMode="auto">
              <a:xfrm flipH="1" flipV="1">
                <a:off x="14952663" y="2041526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8" name="Line 470"/>
              <p:cNvSpPr>
                <a:spLocks noChangeShapeType="1"/>
              </p:cNvSpPr>
              <p:nvPr userDrawn="1"/>
            </p:nvSpPr>
            <p:spPr bwMode="auto">
              <a:xfrm flipH="1" flipV="1">
                <a:off x="14949488" y="2041526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9" name="Line 471"/>
              <p:cNvSpPr>
                <a:spLocks noChangeShapeType="1"/>
              </p:cNvSpPr>
              <p:nvPr userDrawn="1"/>
            </p:nvSpPr>
            <p:spPr bwMode="auto">
              <a:xfrm flipH="1" flipV="1">
                <a:off x="14946313" y="2038351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0" name="Line 472"/>
              <p:cNvSpPr>
                <a:spLocks noChangeShapeType="1"/>
              </p:cNvSpPr>
              <p:nvPr userDrawn="1"/>
            </p:nvSpPr>
            <p:spPr bwMode="auto">
              <a:xfrm flipH="1" flipV="1">
                <a:off x="14944725" y="203358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1" name="Line 473"/>
              <p:cNvSpPr>
                <a:spLocks noChangeShapeType="1"/>
              </p:cNvSpPr>
              <p:nvPr userDrawn="1"/>
            </p:nvSpPr>
            <p:spPr bwMode="auto">
              <a:xfrm flipH="1" flipV="1">
                <a:off x="14939963" y="2030413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2" name="Line 474"/>
              <p:cNvSpPr>
                <a:spLocks noChangeShapeType="1"/>
              </p:cNvSpPr>
              <p:nvPr userDrawn="1"/>
            </p:nvSpPr>
            <p:spPr bwMode="auto">
              <a:xfrm flipH="1" flipV="1">
                <a:off x="14939963" y="2025651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3" name="Line 475"/>
              <p:cNvSpPr>
                <a:spLocks noChangeShapeType="1"/>
              </p:cNvSpPr>
              <p:nvPr userDrawn="1"/>
            </p:nvSpPr>
            <p:spPr bwMode="auto">
              <a:xfrm flipV="1">
                <a:off x="14939963" y="2019301"/>
                <a:ext cx="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4" name="Line 506"/>
              <p:cNvSpPr>
                <a:spLocks noChangeShapeType="1"/>
              </p:cNvSpPr>
              <p:nvPr userDrawn="1"/>
            </p:nvSpPr>
            <p:spPr bwMode="auto">
              <a:xfrm>
                <a:off x="15122525" y="2019301"/>
                <a:ext cx="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5" name="Line 507"/>
              <p:cNvSpPr>
                <a:spLocks noChangeShapeType="1"/>
              </p:cNvSpPr>
              <p:nvPr userDrawn="1"/>
            </p:nvSpPr>
            <p:spPr bwMode="auto">
              <a:xfrm flipH="1">
                <a:off x="15122525" y="2025651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6" name="Line 508"/>
              <p:cNvSpPr>
                <a:spLocks noChangeShapeType="1"/>
              </p:cNvSpPr>
              <p:nvPr userDrawn="1"/>
            </p:nvSpPr>
            <p:spPr bwMode="auto">
              <a:xfrm flipH="1">
                <a:off x="15117763" y="2030413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7" name="Line 509"/>
              <p:cNvSpPr>
                <a:spLocks noChangeShapeType="1"/>
              </p:cNvSpPr>
              <p:nvPr userDrawn="1"/>
            </p:nvSpPr>
            <p:spPr bwMode="auto">
              <a:xfrm flipH="1">
                <a:off x="15116175" y="203358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8" name="Line 510"/>
              <p:cNvSpPr>
                <a:spLocks noChangeShapeType="1"/>
              </p:cNvSpPr>
              <p:nvPr userDrawn="1"/>
            </p:nvSpPr>
            <p:spPr bwMode="auto">
              <a:xfrm flipH="1">
                <a:off x="15113000" y="2038351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9" name="Line 511"/>
              <p:cNvSpPr>
                <a:spLocks noChangeShapeType="1"/>
              </p:cNvSpPr>
              <p:nvPr userDrawn="1"/>
            </p:nvSpPr>
            <p:spPr bwMode="auto">
              <a:xfrm flipH="1">
                <a:off x="15109825" y="2041526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0" name="Line 512"/>
              <p:cNvSpPr>
                <a:spLocks noChangeShapeType="1"/>
              </p:cNvSpPr>
              <p:nvPr userDrawn="1"/>
            </p:nvSpPr>
            <p:spPr bwMode="auto">
              <a:xfrm flipH="1">
                <a:off x="15106650" y="2041526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1" name="Line 513"/>
              <p:cNvSpPr>
                <a:spLocks noChangeShapeType="1"/>
              </p:cNvSpPr>
              <p:nvPr userDrawn="1"/>
            </p:nvSpPr>
            <p:spPr bwMode="auto">
              <a:xfrm flipH="1">
                <a:off x="15103475" y="2043113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2" name="Line 514"/>
              <p:cNvSpPr>
                <a:spLocks noChangeShapeType="1"/>
              </p:cNvSpPr>
              <p:nvPr userDrawn="1"/>
            </p:nvSpPr>
            <p:spPr bwMode="auto">
              <a:xfrm flipH="1">
                <a:off x="15101888" y="2044701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3" name="Line 515"/>
              <p:cNvSpPr>
                <a:spLocks noChangeShapeType="1"/>
              </p:cNvSpPr>
              <p:nvPr userDrawn="1"/>
            </p:nvSpPr>
            <p:spPr bwMode="auto">
              <a:xfrm flipH="1" flipV="1">
                <a:off x="15097125" y="20431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4" name="Line 516"/>
              <p:cNvSpPr>
                <a:spLocks noChangeShapeType="1"/>
              </p:cNvSpPr>
              <p:nvPr userDrawn="1"/>
            </p:nvSpPr>
            <p:spPr bwMode="auto">
              <a:xfrm flipH="1" flipV="1">
                <a:off x="15092363" y="2041526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5" name="Line 517"/>
              <p:cNvSpPr>
                <a:spLocks noChangeShapeType="1"/>
              </p:cNvSpPr>
              <p:nvPr userDrawn="1"/>
            </p:nvSpPr>
            <p:spPr bwMode="auto">
              <a:xfrm flipH="1" flipV="1">
                <a:off x="15089188" y="2038351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6" name="Line 518"/>
              <p:cNvSpPr>
                <a:spLocks noChangeShapeType="1"/>
              </p:cNvSpPr>
              <p:nvPr userDrawn="1"/>
            </p:nvSpPr>
            <p:spPr bwMode="auto">
              <a:xfrm flipH="1" flipV="1">
                <a:off x="15086013" y="2035176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7" name="Line 519"/>
              <p:cNvSpPr>
                <a:spLocks noChangeShapeType="1"/>
              </p:cNvSpPr>
              <p:nvPr userDrawn="1"/>
            </p:nvSpPr>
            <p:spPr bwMode="auto">
              <a:xfrm flipH="1" flipV="1">
                <a:off x="15082838" y="2032001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8" name="Line 520"/>
              <p:cNvSpPr>
                <a:spLocks noChangeShapeType="1"/>
              </p:cNvSpPr>
              <p:nvPr userDrawn="1"/>
            </p:nvSpPr>
            <p:spPr bwMode="auto">
              <a:xfrm flipH="1" flipV="1">
                <a:off x="15081250" y="2025651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0" name="Line 532"/>
              <p:cNvSpPr>
                <a:spLocks noChangeShapeType="1"/>
              </p:cNvSpPr>
              <p:nvPr userDrawn="1"/>
            </p:nvSpPr>
            <p:spPr bwMode="auto">
              <a:xfrm flipH="1">
                <a:off x="14978063" y="2025651"/>
                <a:ext cx="3175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1" name="Line 533"/>
              <p:cNvSpPr>
                <a:spLocks noChangeShapeType="1"/>
              </p:cNvSpPr>
              <p:nvPr userDrawn="1"/>
            </p:nvSpPr>
            <p:spPr bwMode="auto">
              <a:xfrm flipH="1">
                <a:off x="14976475" y="2032001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2" name="Line 534"/>
              <p:cNvSpPr>
                <a:spLocks noChangeShapeType="1"/>
              </p:cNvSpPr>
              <p:nvPr userDrawn="1"/>
            </p:nvSpPr>
            <p:spPr bwMode="auto">
              <a:xfrm flipH="1">
                <a:off x="14973300" y="2035176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3" name="Line 535"/>
              <p:cNvSpPr>
                <a:spLocks noChangeShapeType="1"/>
              </p:cNvSpPr>
              <p:nvPr userDrawn="1"/>
            </p:nvSpPr>
            <p:spPr bwMode="auto">
              <a:xfrm flipH="1">
                <a:off x="14970125" y="2038351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4" name="Line 536"/>
              <p:cNvSpPr>
                <a:spLocks noChangeShapeType="1"/>
              </p:cNvSpPr>
              <p:nvPr userDrawn="1"/>
            </p:nvSpPr>
            <p:spPr bwMode="auto">
              <a:xfrm flipH="1">
                <a:off x="14965363" y="2041526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5" name="Line 537"/>
              <p:cNvSpPr>
                <a:spLocks noChangeShapeType="1"/>
              </p:cNvSpPr>
              <p:nvPr userDrawn="1"/>
            </p:nvSpPr>
            <p:spPr bwMode="auto">
              <a:xfrm flipH="1">
                <a:off x="14960600" y="20431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6" name="Line 538"/>
              <p:cNvSpPr>
                <a:spLocks noChangeShapeType="1"/>
              </p:cNvSpPr>
              <p:nvPr userDrawn="1"/>
            </p:nvSpPr>
            <p:spPr bwMode="auto">
              <a:xfrm flipH="1">
                <a:off x="14959013" y="2044701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7" name="Line 539"/>
              <p:cNvSpPr>
                <a:spLocks noChangeShapeType="1"/>
              </p:cNvSpPr>
              <p:nvPr userDrawn="1"/>
            </p:nvSpPr>
            <p:spPr bwMode="auto">
              <a:xfrm flipH="1" flipV="1">
                <a:off x="14955838" y="2043113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9" name="Line 541"/>
              <p:cNvSpPr>
                <a:spLocks noChangeShapeType="1"/>
              </p:cNvSpPr>
              <p:nvPr userDrawn="1"/>
            </p:nvSpPr>
            <p:spPr bwMode="auto">
              <a:xfrm flipH="1" flipV="1">
                <a:off x="15222538" y="20431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0" name="Line 542"/>
              <p:cNvSpPr>
                <a:spLocks noChangeShapeType="1"/>
              </p:cNvSpPr>
              <p:nvPr userDrawn="1"/>
            </p:nvSpPr>
            <p:spPr bwMode="auto">
              <a:xfrm flipH="1" flipV="1">
                <a:off x="15216188" y="2041526"/>
                <a:ext cx="635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1" name="Line 543"/>
              <p:cNvSpPr>
                <a:spLocks noChangeShapeType="1"/>
              </p:cNvSpPr>
              <p:nvPr userDrawn="1"/>
            </p:nvSpPr>
            <p:spPr bwMode="auto">
              <a:xfrm flipH="1" flipV="1">
                <a:off x="15213013" y="2038351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2" name="Line 544"/>
              <p:cNvSpPr>
                <a:spLocks noChangeShapeType="1"/>
              </p:cNvSpPr>
              <p:nvPr userDrawn="1"/>
            </p:nvSpPr>
            <p:spPr bwMode="auto">
              <a:xfrm flipH="1" flipV="1">
                <a:off x="15209838" y="20335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3" name="Line 545"/>
              <p:cNvSpPr>
                <a:spLocks noChangeShapeType="1"/>
              </p:cNvSpPr>
              <p:nvPr userDrawn="1"/>
            </p:nvSpPr>
            <p:spPr bwMode="auto">
              <a:xfrm flipH="1" flipV="1">
                <a:off x="15206663" y="2028826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4" name="Line 546"/>
              <p:cNvSpPr>
                <a:spLocks noChangeShapeType="1"/>
              </p:cNvSpPr>
              <p:nvPr userDrawn="1"/>
            </p:nvSpPr>
            <p:spPr bwMode="auto">
              <a:xfrm flipV="1">
                <a:off x="15206663" y="2022476"/>
                <a:ext cx="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41" name="Line 634"/>
              <p:cNvSpPr>
                <a:spLocks noChangeShapeType="1"/>
              </p:cNvSpPr>
              <p:nvPr userDrawn="1"/>
            </p:nvSpPr>
            <p:spPr bwMode="auto">
              <a:xfrm flipH="1">
                <a:off x="15246350" y="2022476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42" name="Line 635"/>
              <p:cNvSpPr>
                <a:spLocks noChangeShapeType="1"/>
              </p:cNvSpPr>
              <p:nvPr userDrawn="1"/>
            </p:nvSpPr>
            <p:spPr bwMode="auto">
              <a:xfrm flipH="1">
                <a:off x="15244763" y="2028826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43" name="Line 636"/>
              <p:cNvSpPr>
                <a:spLocks noChangeShapeType="1"/>
              </p:cNvSpPr>
              <p:nvPr userDrawn="1"/>
            </p:nvSpPr>
            <p:spPr bwMode="auto">
              <a:xfrm flipH="1">
                <a:off x="15241588" y="20335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44" name="Line 637"/>
              <p:cNvSpPr>
                <a:spLocks noChangeShapeType="1"/>
              </p:cNvSpPr>
              <p:nvPr userDrawn="1"/>
            </p:nvSpPr>
            <p:spPr bwMode="auto">
              <a:xfrm flipH="1">
                <a:off x="15238413" y="2038351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45" name="Line 638"/>
              <p:cNvSpPr>
                <a:spLocks noChangeShapeType="1"/>
              </p:cNvSpPr>
              <p:nvPr userDrawn="1"/>
            </p:nvSpPr>
            <p:spPr bwMode="auto">
              <a:xfrm flipH="1">
                <a:off x="15232063" y="2041526"/>
                <a:ext cx="635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46" name="Line 639"/>
              <p:cNvSpPr>
                <a:spLocks noChangeShapeType="1"/>
              </p:cNvSpPr>
              <p:nvPr userDrawn="1"/>
            </p:nvSpPr>
            <p:spPr bwMode="auto">
              <a:xfrm flipH="1">
                <a:off x="15227300" y="20431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47" name="Freeform 640"/>
              <p:cNvSpPr>
                <a:spLocks noEditPoints="1"/>
              </p:cNvSpPr>
              <p:nvPr userDrawn="1"/>
            </p:nvSpPr>
            <p:spPr bwMode="auto">
              <a:xfrm>
                <a:off x="12968288" y="2185988"/>
                <a:ext cx="136525" cy="307975"/>
              </a:xfrm>
              <a:custGeom>
                <a:avLst/>
                <a:gdLst>
                  <a:gd name="T0" fmla="*/ 83 w 174"/>
                  <a:gd name="T1" fmla="*/ 44 h 389"/>
                  <a:gd name="T2" fmla="*/ 55 w 174"/>
                  <a:gd name="T3" fmla="*/ 59 h 389"/>
                  <a:gd name="T4" fmla="*/ 47 w 174"/>
                  <a:gd name="T5" fmla="*/ 95 h 389"/>
                  <a:gd name="T6" fmla="*/ 40 w 174"/>
                  <a:gd name="T7" fmla="*/ 183 h 389"/>
                  <a:gd name="T8" fmla="*/ 62 w 174"/>
                  <a:gd name="T9" fmla="*/ 182 h 389"/>
                  <a:gd name="T10" fmla="*/ 86 w 174"/>
                  <a:gd name="T11" fmla="*/ 165 h 389"/>
                  <a:gd name="T12" fmla="*/ 120 w 174"/>
                  <a:gd name="T13" fmla="*/ 130 h 389"/>
                  <a:gd name="T14" fmla="*/ 137 w 174"/>
                  <a:gd name="T15" fmla="*/ 99 h 389"/>
                  <a:gd name="T16" fmla="*/ 137 w 174"/>
                  <a:gd name="T17" fmla="*/ 64 h 389"/>
                  <a:gd name="T18" fmla="*/ 121 w 174"/>
                  <a:gd name="T19" fmla="*/ 47 h 389"/>
                  <a:gd name="T20" fmla="*/ 37 w 174"/>
                  <a:gd name="T21" fmla="*/ 0 h 389"/>
                  <a:gd name="T22" fmla="*/ 44 w 174"/>
                  <a:gd name="T23" fmla="*/ 4 h 389"/>
                  <a:gd name="T24" fmla="*/ 65 w 174"/>
                  <a:gd name="T25" fmla="*/ 10 h 389"/>
                  <a:gd name="T26" fmla="*/ 106 w 174"/>
                  <a:gd name="T27" fmla="*/ 10 h 389"/>
                  <a:gd name="T28" fmla="*/ 126 w 174"/>
                  <a:gd name="T29" fmla="*/ 13 h 389"/>
                  <a:gd name="T30" fmla="*/ 151 w 174"/>
                  <a:gd name="T31" fmla="*/ 30 h 389"/>
                  <a:gd name="T32" fmla="*/ 165 w 174"/>
                  <a:gd name="T33" fmla="*/ 42 h 389"/>
                  <a:gd name="T34" fmla="*/ 172 w 174"/>
                  <a:gd name="T35" fmla="*/ 52 h 389"/>
                  <a:gd name="T36" fmla="*/ 174 w 174"/>
                  <a:gd name="T37" fmla="*/ 82 h 389"/>
                  <a:gd name="T38" fmla="*/ 171 w 174"/>
                  <a:gd name="T39" fmla="*/ 113 h 389"/>
                  <a:gd name="T40" fmla="*/ 154 w 174"/>
                  <a:gd name="T41" fmla="*/ 143 h 389"/>
                  <a:gd name="T42" fmla="*/ 124 w 174"/>
                  <a:gd name="T43" fmla="*/ 175 h 389"/>
                  <a:gd name="T44" fmla="*/ 82 w 174"/>
                  <a:gd name="T45" fmla="*/ 209 h 389"/>
                  <a:gd name="T46" fmla="*/ 55 w 174"/>
                  <a:gd name="T47" fmla="*/ 220 h 389"/>
                  <a:gd name="T48" fmla="*/ 41 w 174"/>
                  <a:gd name="T49" fmla="*/ 238 h 389"/>
                  <a:gd name="T50" fmla="*/ 34 w 174"/>
                  <a:gd name="T51" fmla="*/ 338 h 389"/>
                  <a:gd name="T52" fmla="*/ 30 w 174"/>
                  <a:gd name="T53" fmla="*/ 378 h 389"/>
                  <a:gd name="T54" fmla="*/ 20 w 174"/>
                  <a:gd name="T55" fmla="*/ 388 h 389"/>
                  <a:gd name="T56" fmla="*/ 7 w 174"/>
                  <a:gd name="T57" fmla="*/ 388 h 389"/>
                  <a:gd name="T58" fmla="*/ 2 w 174"/>
                  <a:gd name="T59" fmla="*/ 382 h 389"/>
                  <a:gd name="T60" fmla="*/ 0 w 174"/>
                  <a:gd name="T61" fmla="*/ 369 h 389"/>
                  <a:gd name="T62" fmla="*/ 0 w 174"/>
                  <a:gd name="T63" fmla="*/ 333 h 389"/>
                  <a:gd name="T64" fmla="*/ 6 w 174"/>
                  <a:gd name="T65" fmla="*/ 205 h 389"/>
                  <a:gd name="T66" fmla="*/ 9 w 174"/>
                  <a:gd name="T67" fmla="*/ 76 h 389"/>
                  <a:gd name="T68" fmla="*/ 10 w 174"/>
                  <a:gd name="T69" fmla="*/ 34 h 389"/>
                  <a:gd name="T70" fmla="*/ 19 w 174"/>
                  <a:gd name="T71" fmla="*/ 10 h 389"/>
                  <a:gd name="T72" fmla="*/ 28 w 174"/>
                  <a:gd name="T73" fmla="*/ 2 h 389"/>
                  <a:gd name="T74" fmla="*/ 37 w 174"/>
                  <a:gd name="T75" fmla="*/ 0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4" h="389">
                    <a:moveTo>
                      <a:pt x="103" y="42"/>
                    </a:moveTo>
                    <a:lnTo>
                      <a:pt x="83" y="44"/>
                    </a:lnTo>
                    <a:lnTo>
                      <a:pt x="65" y="49"/>
                    </a:lnTo>
                    <a:lnTo>
                      <a:pt x="55" y="59"/>
                    </a:lnTo>
                    <a:lnTo>
                      <a:pt x="51" y="72"/>
                    </a:lnTo>
                    <a:lnTo>
                      <a:pt x="47" y="95"/>
                    </a:lnTo>
                    <a:lnTo>
                      <a:pt x="44" y="127"/>
                    </a:lnTo>
                    <a:lnTo>
                      <a:pt x="40" y="183"/>
                    </a:lnTo>
                    <a:lnTo>
                      <a:pt x="54" y="183"/>
                    </a:lnTo>
                    <a:lnTo>
                      <a:pt x="62" y="182"/>
                    </a:lnTo>
                    <a:lnTo>
                      <a:pt x="73" y="175"/>
                    </a:lnTo>
                    <a:lnTo>
                      <a:pt x="86" y="165"/>
                    </a:lnTo>
                    <a:lnTo>
                      <a:pt x="102" y="150"/>
                    </a:lnTo>
                    <a:lnTo>
                      <a:pt x="120" y="130"/>
                    </a:lnTo>
                    <a:lnTo>
                      <a:pt x="133" y="113"/>
                    </a:lnTo>
                    <a:lnTo>
                      <a:pt x="137" y="99"/>
                    </a:lnTo>
                    <a:lnTo>
                      <a:pt x="140" y="79"/>
                    </a:lnTo>
                    <a:lnTo>
                      <a:pt x="137" y="64"/>
                    </a:lnTo>
                    <a:lnTo>
                      <a:pt x="131" y="54"/>
                    </a:lnTo>
                    <a:lnTo>
                      <a:pt x="121" y="47"/>
                    </a:lnTo>
                    <a:lnTo>
                      <a:pt x="103" y="42"/>
                    </a:lnTo>
                    <a:close/>
                    <a:moveTo>
                      <a:pt x="37" y="0"/>
                    </a:moveTo>
                    <a:lnTo>
                      <a:pt x="41" y="2"/>
                    </a:lnTo>
                    <a:lnTo>
                      <a:pt x="44" y="4"/>
                    </a:lnTo>
                    <a:lnTo>
                      <a:pt x="51" y="7"/>
                    </a:lnTo>
                    <a:lnTo>
                      <a:pt x="65" y="10"/>
                    </a:lnTo>
                    <a:lnTo>
                      <a:pt x="88" y="10"/>
                    </a:lnTo>
                    <a:lnTo>
                      <a:pt x="106" y="10"/>
                    </a:lnTo>
                    <a:lnTo>
                      <a:pt x="119" y="11"/>
                    </a:lnTo>
                    <a:lnTo>
                      <a:pt x="126" y="13"/>
                    </a:lnTo>
                    <a:lnTo>
                      <a:pt x="137" y="18"/>
                    </a:lnTo>
                    <a:lnTo>
                      <a:pt x="151" y="30"/>
                    </a:lnTo>
                    <a:lnTo>
                      <a:pt x="159" y="37"/>
                    </a:lnTo>
                    <a:lnTo>
                      <a:pt x="165" y="42"/>
                    </a:lnTo>
                    <a:lnTo>
                      <a:pt x="169" y="48"/>
                    </a:lnTo>
                    <a:lnTo>
                      <a:pt x="172" y="52"/>
                    </a:lnTo>
                    <a:lnTo>
                      <a:pt x="174" y="62"/>
                    </a:lnTo>
                    <a:lnTo>
                      <a:pt x="174" y="82"/>
                    </a:lnTo>
                    <a:lnTo>
                      <a:pt x="174" y="99"/>
                    </a:lnTo>
                    <a:lnTo>
                      <a:pt x="171" y="113"/>
                    </a:lnTo>
                    <a:lnTo>
                      <a:pt x="165" y="126"/>
                    </a:lnTo>
                    <a:lnTo>
                      <a:pt x="154" y="143"/>
                    </a:lnTo>
                    <a:lnTo>
                      <a:pt x="141" y="158"/>
                    </a:lnTo>
                    <a:lnTo>
                      <a:pt x="124" y="175"/>
                    </a:lnTo>
                    <a:lnTo>
                      <a:pt x="103" y="193"/>
                    </a:lnTo>
                    <a:lnTo>
                      <a:pt x="82" y="209"/>
                    </a:lnTo>
                    <a:lnTo>
                      <a:pt x="66" y="217"/>
                    </a:lnTo>
                    <a:lnTo>
                      <a:pt x="55" y="220"/>
                    </a:lnTo>
                    <a:lnTo>
                      <a:pt x="47" y="224"/>
                    </a:lnTo>
                    <a:lnTo>
                      <a:pt x="41" y="238"/>
                    </a:lnTo>
                    <a:lnTo>
                      <a:pt x="38" y="260"/>
                    </a:lnTo>
                    <a:lnTo>
                      <a:pt x="34" y="338"/>
                    </a:lnTo>
                    <a:lnTo>
                      <a:pt x="33" y="362"/>
                    </a:lnTo>
                    <a:lnTo>
                      <a:pt x="30" y="378"/>
                    </a:lnTo>
                    <a:lnTo>
                      <a:pt x="26" y="385"/>
                    </a:lnTo>
                    <a:lnTo>
                      <a:pt x="20" y="388"/>
                    </a:lnTo>
                    <a:lnTo>
                      <a:pt x="14" y="389"/>
                    </a:lnTo>
                    <a:lnTo>
                      <a:pt x="7" y="388"/>
                    </a:lnTo>
                    <a:lnTo>
                      <a:pt x="4" y="385"/>
                    </a:lnTo>
                    <a:lnTo>
                      <a:pt x="2" y="382"/>
                    </a:lnTo>
                    <a:lnTo>
                      <a:pt x="0" y="377"/>
                    </a:lnTo>
                    <a:lnTo>
                      <a:pt x="0" y="369"/>
                    </a:lnTo>
                    <a:lnTo>
                      <a:pt x="0" y="355"/>
                    </a:lnTo>
                    <a:lnTo>
                      <a:pt x="0" y="333"/>
                    </a:lnTo>
                    <a:lnTo>
                      <a:pt x="2" y="302"/>
                    </a:lnTo>
                    <a:lnTo>
                      <a:pt x="6" y="205"/>
                    </a:lnTo>
                    <a:lnTo>
                      <a:pt x="7" y="110"/>
                    </a:lnTo>
                    <a:lnTo>
                      <a:pt x="9" y="76"/>
                    </a:lnTo>
                    <a:lnTo>
                      <a:pt x="9" y="51"/>
                    </a:lnTo>
                    <a:lnTo>
                      <a:pt x="10" y="34"/>
                    </a:lnTo>
                    <a:lnTo>
                      <a:pt x="14" y="18"/>
                    </a:lnTo>
                    <a:lnTo>
                      <a:pt x="19" y="10"/>
                    </a:lnTo>
                    <a:lnTo>
                      <a:pt x="23" y="6"/>
                    </a:lnTo>
                    <a:lnTo>
                      <a:pt x="28" y="2"/>
                    </a:lnTo>
                    <a:lnTo>
                      <a:pt x="33" y="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48" name="Line 641"/>
              <p:cNvSpPr>
                <a:spLocks noChangeShapeType="1"/>
              </p:cNvSpPr>
              <p:nvPr userDrawn="1"/>
            </p:nvSpPr>
            <p:spPr bwMode="auto">
              <a:xfrm flipH="1" flipV="1">
                <a:off x="13049250" y="2219326"/>
                <a:ext cx="142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49" name="Line 642"/>
              <p:cNvSpPr>
                <a:spLocks noChangeShapeType="1"/>
              </p:cNvSpPr>
              <p:nvPr userDrawn="1"/>
            </p:nvSpPr>
            <p:spPr bwMode="auto">
              <a:xfrm flipH="1">
                <a:off x="13033375" y="2219326"/>
                <a:ext cx="158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50" name="Line 643"/>
              <p:cNvSpPr>
                <a:spLocks noChangeShapeType="1"/>
              </p:cNvSpPr>
              <p:nvPr userDrawn="1"/>
            </p:nvSpPr>
            <p:spPr bwMode="auto">
              <a:xfrm flipH="1">
                <a:off x="13019088" y="2219326"/>
                <a:ext cx="142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51" name="Line 644"/>
              <p:cNvSpPr>
                <a:spLocks noChangeShapeType="1"/>
              </p:cNvSpPr>
              <p:nvPr userDrawn="1"/>
            </p:nvSpPr>
            <p:spPr bwMode="auto">
              <a:xfrm flipH="1">
                <a:off x="13011150" y="2224088"/>
                <a:ext cx="793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52" name="Line 645"/>
              <p:cNvSpPr>
                <a:spLocks noChangeShapeType="1"/>
              </p:cNvSpPr>
              <p:nvPr userDrawn="1"/>
            </p:nvSpPr>
            <p:spPr bwMode="auto">
              <a:xfrm flipH="1">
                <a:off x="13007975" y="2232026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53" name="Line 646"/>
              <p:cNvSpPr>
                <a:spLocks noChangeShapeType="1"/>
              </p:cNvSpPr>
              <p:nvPr userDrawn="1"/>
            </p:nvSpPr>
            <p:spPr bwMode="auto">
              <a:xfrm flipH="1">
                <a:off x="13004800" y="2243138"/>
                <a:ext cx="3175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54" name="Line 647"/>
              <p:cNvSpPr>
                <a:spLocks noChangeShapeType="1"/>
              </p:cNvSpPr>
              <p:nvPr userDrawn="1"/>
            </p:nvSpPr>
            <p:spPr bwMode="auto">
              <a:xfrm flipH="1">
                <a:off x="13001625" y="2260601"/>
                <a:ext cx="3175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55" name="Line 648"/>
              <p:cNvSpPr>
                <a:spLocks noChangeShapeType="1"/>
              </p:cNvSpPr>
              <p:nvPr userDrawn="1"/>
            </p:nvSpPr>
            <p:spPr bwMode="auto">
              <a:xfrm flipH="1">
                <a:off x="12998450" y="2286001"/>
                <a:ext cx="3175" cy="444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56" name="Line 649"/>
              <p:cNvSpPr>
                <a:spLocks noChangeShapeType="1"/>
              </p:cNvSpPr>
              <p:nvPr userDrawn="1"/>
            </p:nvSpPr>
            <p:spPr bwMode="auto">
              <a:xfrm>
                <a:off x="12998450" y="2330451"/>
                <a:ext cx="1111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57" name="Line 650"/>
              <p:cNvSpPr>
                <a:spLocks noChangeShapeType="1"/>
              </p:cNvSpPr>
              <p:nvPr userDrawn="1"/>
            </p:nvSpPr>
            <p:spPr bwMode="auto">
              <a:xfrm flipV="1">
                <a:off x="13009563" y="2328863"/>
                <a:ext cx="793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58" name="Line 651"/>
              <p:cNvSpPr>
                <a:spLocks noChangeShapeType="1"/>
              </p:cNvSpPr>
              <p:nvPr userDrawn="1"/>
            </p:nvSpPr>
            <p:spPr bwMode="auto">
              <a:xfrm flipV="1">
                <a:off x="13017500" y="2324101"/>
                <a:ext cx="793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59" name="Line 652"/>
              <p:cNvSpPr>
                <a:spLocks noChangeShapeType="1"/>
              </p:cNvSpPr>
              <p:nvPr userDrawn="1"/>
            </p:nvSpPr>
            <p:spPr bwMode="auto">
              <a:xfrm flipV="1">
                <a:off x="13025438" y="2316163"/>
                <a:ext cx="1111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60" name="Line 653"/>
              <p:cNvSpPr>
                <a:spLocks noChangeShapeType="1"/>
              </p:cNvSpPr>
              <p:nvPr userDrawn="1"/>
            </p:nvSpPr>
            <p:spPr bwMode="auto">
              <a:xfrm flipV="1">
                <a:off x="13036550" y="2303463"/>
                <a:ext cx="11112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61" name="Line 654"/>
              <p:cNvSpPr>
                <a:spLocks noChangeShapeType="1"/>
              </p:cNvSpPr>
              <p:nvPr userDrawn="1"/>
            </p:nvSpPr>
            <p:spPr bwMode="auto">
              <a:xfrm flipV="1">
                <a:off x="13047663" y="2287588"/>
                <a:ext cx="14287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62" name="Line 655"/>
              <p:cNvSpPr>
                <a:spLocks noChangeShapeType="1"/>
              </p:cNvSpPr>
              <p:nvPr userDrawn="1"/>
            </p:nvSpPr>
            <p:spPr bwMode="auto">
              <a:xfrm flipV="1">
                <a:off x="13061950" y="2274888"/>
                <a:ext cx="11112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63" name="Line 656"/>
              <p:cNvSpPr>
                <a:spLocks noChangeShapeType="1"/>
              </p:cNvSpPr>
              <p:nvPr userDrawn="1"/>
            </p:nvSpPr>
            <p:spPr bwMode="auto">
              <a:xfrm flipV="1">
                <a:off x="13073063" y="2263776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64" name="Line 657"/>
              <p:cNvSpPr>
                <a:spLocks noChangeShapeType="1"/>
              </p:cNvSpPr>
              <p:nvPr userDrawn="1"/>
            </p:nvSpPr>
            <p:spPr bwMode="auto">
              <a:xfrm flipV="1">
                <a:off x="13076238" y="2247901"/>
                <a:ext cx="1587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65" name="Line 658"/>
              <p:cNvSpPr>
                <a:spLocks noChangeShapeType="1"/>
              </p:cNvSpPr>
              <p:nvPr userDrawn="1"/>
            </p:nvSpPr>
            <p:spPr bwMode="auto">
              <a:xfrm flipH="1" flipV="1">
                <a:off x="13076238" y="2235201"/>
                <a:ext cx="1587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66" name="Line 659"/>
              <p:cNvSpPr>
                <a:spLocks noChangeShapeType="1"/>
              </p:cNvSpPr>
              <p:nvPr userDrawn="1"/>
            </p:nvSpPr>
            <p:spPr bwMode="auto">
              <a:xfrm flipH="1" flipV="1">
                <a:off x="13071475" y="2227263"/>
                <a:ext cx="476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67" name="Line 660"/>
              <p:cNvSpPr>
                <a:spLocks noChangeShapeType="1"/>
              </p:cNvSpPr>
              <p:nvPr userDrawn="1"/>
            </p:nvSpPr>
            <p:spPr bwMode="auto">
              <a:xfrm flipH="1" flipV="1">
                <a:off x="13063538" y="2222501"/>
                <a:ext cx="793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68" name="Line 661"/>
              <p:cNvSpPr>
                <a:spLocks noChangeShapeType="1"/>
              </p:cNvSpPr>
              <p:nvPr userDrawn="1"/>
            </p:nvSpPr>
            <p:spPr bwMode="auto">
              <a:xfrm flipV="1">
                <a:off x="12982575" y="2189163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69" name="Line 662"/>
              <p:cNvSpPr>
                <a:spLocks noChangeShapeType="1"/>
              </p:cNvSpPr>
              <p:nvPr userDrawn="1"/>
            </p:nvSpPr>
            <p:spPr bwMode="auto">
              <a:xfrm flipV="1">
                <a:off x="12985750" y="218598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70" name="Line 663"/>
              <p:cNvSpPr>
                <a:spLocks noChangeShapeType="1"/>
              </p:cNvSpPr>
              <p:nvPr userDrawn="1"/>
            </p:nvSpPr>
            <p:spPr bwMode="auto">
              <a:xfrm flipV="1">
                <a:off x="12990513" y="218598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71" name="Line 664"/>
              <p:cNvSpPr>
                <a:spLocks noChangeShapeType="1"/>
              </p:cNvSpPr>
              <p:nvPr userDrawn="1"/>
            </p:nvSpPr>
            <p:spPr bwMode="auto">
              <a:xfrm>
                <a:off x="12993688" y="218598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72" name="Line 665"/>
              <p:cNvSpPr>
                <a:spLocks noChangeShapeType="1"/>
              </p:cNvSpPr>
              <p:nvPr userDrawn="1"/>
            </p:nvSpPr>
            <p:spPr bwMode="auto">
              <a:xfrm>
                <a:off x="12996863" y="218598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73" name="Line 666"/>
              <p:cNvSpPr>
                <a:spLocks noChangeShapeType="1"/>
              </p:cNvSpPr>
              <p:nvPr userDrawn="1"/>
            </p:nvSpPr>
            <p:spPr bwMode="auto">
              <a:xfrm>
                <a:off x="13000038" y="2185988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74" name="Line 667"/>
              <p:cNvSpPr>
                <a:spLocks noChangeShapeType="1"/>
              </p:cNvSpPr>
              <p:nvPr userDrawn="1"/>
            </p:nvSpPr>
            <p:spPr bwMode="auto">
              <a:xfrm>
                <a:off x="13001625" y="2189163"/>
                <a:ext cx="635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75" name="Line 668"/>
              <p:cNvSpPr>
                <a:spLocks noChangeShapeType="1"/>
              </p:cNvSpPr>
              <p:nvPr userDrawn="1"/>
            </p:nvSpPr>
            <p:spPr bwMode="auto">
              <a:xfrm>
                <a:off x="13007975" y="2190751"/>
                <a:ext cx="1111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76" name="Line 669"/>
              <p:cNvSpPr>
                <a:spLocks noChangeShapeType="1"/>
              </p:cNvSpPr>
              <p:nvPr userDrawn="1"/>
            </p:nvSpPr>
            <p:spPr bwMode="auto">
              <a:xfrm>
                <a:off x="13019088" y="2193926"/>
                <a:ext cx="174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77" name="Line 670"/>
              <p:cNvSpPr>
                <a:spLocks noChangeShapeType="1"/>
              </p:cNvSpPr>
              <p:nvPr userDrawn="1"/>
            </p:nvSpPr>
            <p:spPr bwMode="auto">
              <a:xfrm>
                <a:off x="13036550" y="2193926"/>
                <a:ext cx="1428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78" name="Line 671"/>
              <p:cNvSpPr>
                <a:spLocks noChangeShapeType="1"/>
              </p:cNvSpPr>
              <p:nvPr userDrawn="1"/>
            </p:nvSpPr>
            <p:spPr bwMode="auto">
              <a:xfrm>
                <a:off x="13050838" y="2193926"/>
                <a:ext cx="1111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79" name="Line 672"/>
              <p:cNvSpPr>
                <a:spLocks noChangeShapeType="1"/>
              </p:cNvSpPr>
              <p:nvPr userDrawn="1"/>
            </p:nvSpPr>
            <p:spPr bwMode="auto">
              <a:xfrm>
                <a:off x="13061950" y="2193926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80" name="Line 673"/>
              <p:cNvSpPr>
                <a:spLocks noChangeShapeType="1"/>
              </p:cNvSpPr>
              <p:nvPr userDrawn="1"/>
            </p:nvSpPr>
            <p:spPr bwMode="auto">
              <a:xfrm>
                <a:off x="13066713" y="2195513"/>
                <a:ext cx="952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81" name="Line 674"/>
              <p:cNvSpPr>
                <a:spLocks noChangeShapeType="1"/>
              </p:cNvSpPr>
              <p:nvPr userDrawn="1"/>
            </p:nvSpPr>
            <p:spPr bwMode="auto">
              <a:xfrm>
                <a:off x="13076238" y="2200276"/>
                <a:ext cx="1111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82" name="Line 675"/>
              <p:cNvSpPr>
                <a:spLocks noChangeShapeType="1"/>
              </p:cNvSpPr>
              <p:nvPr userDrawn="1"/>
            </p:nvSpPr>
            <p:spPr bwMode="auto">
              <a:xfrm>
                <a:off x="13087350" y="2208213"/>
                <a:ext cx="635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83" name="Line 676"/>
              <p:cNvSpPr>
                <a:spLocks noChangeShapeType="1"/>
              </p:cNvSpPr>
              <p:nvPr userDrawn="1"/>
            </p:nvSpPr>
            <p:spPr bwMode="auto">
              <a:xfrm>
                <a:off x="13093700" y="2214563"/>
                <a:ext cx="4762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84" name="Line 677"/>
              <p:cNvSpPr>
                <a:spLocks noChangeShapeType="1"/>
              </p:cNvSpPr>
              <p:nvPr userDrawn="1"/>
            </p:nvSpPr>
            <p:spPr bwMode="auto">
              <a:xfrm>
                <a:off x="13098463" y="2219326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85" name="Line 678"/>
              <p:cNvSpPr>
                <a:spLocks noChangeShapeType="1"/>
              </p:cNvSpPr>
              <p:nvPr userDrawn="1"/>
            </p:nvSpPr>
            <p:spPr bwMode="auto">
              <a:xfrm>
                <a:off x="13101638" y="222408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86" name="Line 679"/>
              <p:cNvSpPr>
                <a:spLocks noChangeShapeType="1"/>
              </p:cNvSpPr>
              <p:nvPr userDrawn="1"/>
            </p:nvSpPr>
            <p:spPr bwMode="auto">
              <a:xfrm>
                <a:off x="13104813" y="2227263"/>
                <a:ext cx="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87" name="Line 680"/>
              <p:cNvSpPr>
                <a:spLocks noChangeShapeType="1"/>
              </p:cNvSpPr>
              <p:nvPr userDrawn="1"/>
            </p:nvSpPr>
            <p:spPr bwMode="auto">
              <a:xfrm>
                <a:off x="13104813" y="2235201"/>
                <a:ext cx="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88" name="Line 681"/>
              <p:cNvSpPr>
                <a:spLocks noChangeShapeType="1"/>
              </p:cNvSpPr>
              <p:nvPr userDrawn="1"/>
            </p:nvSpPr>
            <p:spPr bwMode="auto">
              <a:xfrm>
                <a:off x="13104813" y="2249488"/>
                <a:ext cx="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89" name="Line 682"/>
              <p:cNvSpPr>
                <a:spLocks noChangeShapeType="1"/>
              </p:cNvSpPr>
              <p:nvPr userDrawn="1"/>
            </p:nvSpPr>
            <p:spPr bwMode="auto">
              <a:xfrm flipH="1">
                <a:off x="13103225" y="2263776"/>
                <a:ext cx="1587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90" name="Line 683"/>
              <p:cNvSpPr>
                <a:spLocks noChangeShapeType="1"/>
              </p:cNvSpPr>
              <p:nvPr userDrawn="1"/>
            </p:nvSpPr>
            <p:spPr bwMode="auto">
              <a:xfrm flipH="1">
                <a:off x="13098463" y="2274888"/>
                <a:ext cx="4762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91" name="Line 684"/>
              <p:cNvSpPr>
                <a:spLocks noChangeShapeType="1"/>
              </p:cNvSpPr>
              <p:nvPr userDrawn="1"/>
            </p:nvSpPr>
            <p:spPr bwMode="auto">
              <a:xfrm flipH="1">
                <a:off x="13088938" y="2284413"/>
                <a:ext cx="952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92" name="Line 685"/>
              <p:cNvSpPr>
                <a:spLocks noChangeShapeType="1"/>
              </p:cNvSpPr>
              <p:nvPr userDrawn="1"/>
            </p:nvSpPr>
            <p:spPr bwMode="auto">
              <a:xfrm flipH="1">
                <a:off x="13079413" y="2298701"/>
                <a:ext cx="952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93" name="Line 686"/>
              <p:cNvSpPr>
                <a:spLocks noChangeShapeType="1"/>
              </p:cNvSpPr>
              <p:nvPr userDrawn="1"/>
            </p:nvSpPr>
            <p:spPr bwMode="auto">
              <a:xfrm flipH="1">
                <a:off x="13066713" y="2311401"/>
                <a:ext cx="1270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94" name="Line 687"/>
              <p:cNvSpPr>
                <a:spLocks noChangeShapeType="1"/>
              </p:cNvSpPr>
              <p:nvPr userDrawn="1"/>
            </p:nvSpPr>
            <p:spPr bwMode="auto">
              <a:xfrm flipH="1">
                <a:off x="13049250" y="2324101"/>
                <a:ext cx="1746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95" name="Line 688"/>
              <p:cNvSpPr>
                <a:spLocks noChangeShapeType="1"/>
              </p:cNvSpPr>
              <p:nvPr userDrawn="1"/>
            </p:nvSpPr>
            <p:spPr bwMode="auto">
              <a:xfrm flipH="1">
                <a:off x="13031788" y="2338388"/>
                <a:ext cx="17462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96" name="Line 689"/>
              <p:cNvSpPr>
                <a:spLocks noChangeShapeType="1"/>
              </p:cNvSpPr>
              <p:nvPr userDrawn="1"/>
            </p:nvSpPr>
            <p:spPr bwMode="auto">
              <a:xfrm flipH="1">
                <a:off x="13020675" y="2351088"/>
                <a:ext cx="11112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97" name="Line 690"/>
              <p:cNvSpPr>
                <a:spLocks noChangeShapeType="1"/>
              </p:cNvSpPr>
              <p:nvPr userDrawn="1"/>
            </p:nvSpPr>
            <p:spPr bwMode="auto">
              <a:xfrm flipH="1">
                <a:off x="13011150" y="2357438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98" name="Line 691"/>
              <p:cNvSpPr>
                <a:spLocks noChangeShapeType="1"/>
              </p:cNvSpPr>
              <p:nvPr userDrawn="1"/>
            </p:nvSpPr>
            <p:spPr bwMode="auto">
              <a:xfrm flipH="1">
                <a:off x="13004800" y="2360613"/>
                <a:ext cx="63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99" name="Line 692"/>
              <p:cNvSpPr>
                <a:spLocks noChangeShapeType="1"/>
              </p:cNvSpPr>
              <p:nvPr userDrawn="1"/>
            </p:nvSpPr>
            <p:spPr bwMode="auto">
              <a:xfrm flipH="1">
                <a:off x="13000038" y="2363788"/>
                <a:ext cx="4762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00" name="Line 693"/>
              <p:cNvSpPr>
                <a:spLocks noChangeShapeType="1"/>
              </p:cNvSpPr>
              <p:nvPr userDrawn="1"/>
            </p:nvSpPr>
            <p:spPr bwMode="auto">
              <a:xfrm flipH="1">
                <a:off x="12998450" y="2374901"/>
                <a:ext cx="1587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01" name="Line 694"/>
              <p:cNvSpPr>
                <a:spLocks noChangeShapeType="1"/>
              </p:cNvSpPr>
              <p:nvPr userDrawn="1"/>
            </p:nvSpPr>
            <p:spPr bwMode="auto">
              <a:xfrm flipH="1">
                <a:off x="12995275" y="2390776"/>
                <a:ext cx="3175" cy="635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02" name="Line 695"/>
              <p:cNvSpPr>
                <a:spLocks noChangeShapeType="1"/>
              </p:cNvSpPr>
              <p:nvPr userDrawn="1"/>
            </p:nvSpPr>
            <p:spPr bwMode="auto">
              <a:xfrm flipH="1">
                <a:off x="12993688" y="2454276"/>
                <a:ext cx="1587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03" name="Line 696"/>
              <p:cNvSpPr>
                <a:spLocks noChangeShapeType="1"/>
              </p:cNvSpPr>
              <p:nvPr userDrawn="1"/>
            </p:nvSpPr>
            <p:spPr bwMode="auto">
              <a:xfrm flipH="1">
                <a:off x="12990513" y="2473326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04" name="Line 697"/>
              <p:cNvSpPr>
                <a:spLocks noChangeShapeType="1"/>
              </p:cNvSpPr>
              <p:nvPr userDrawn="1"/>
            </p:nvSpPr>
            <p:spPr bwMode="auto">
              <a:xfrm flipH="1">
                <a:off x="12987338" y="2484438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05" name="Line 698"/>
              <p:cNvSpPr>
                <a:spLocks noChangeShapeType="1"/>
              </p:cNvSpPr>
              <p:nvPr userDrawn="1"/>
            </p:nvSpPr>
            <p:spPr bwMode="auto">
              <a:xfrm flipH="1">
                <a:off x="12982575" y="2490788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06" name="Line 699"/>
              <p:cNvSpPr>
                <a:spLocks noChangeShapeType="1"/>
              </p:cNvSpPr>
              <p:nvPr userDrawn="1"/>
            </p:nvSpPr>
            <p:spPr bwMode="auto">
              <a:xfrm flipH="1">
                <a:off x="12979400" y="2492376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07" name="Line 700"/>
              <p:cNvSpPr>
                <a:spLocks noChangeShapeType="1"/>
              </p:cNvSpPr>
              <p:nvPr userDrawn="1"/>
            </p:nvSpPr>
            <p:spPr bwMode="auto">
              <a:xfrm flipH="1" flipV="1">
                <a:off x="12973050" y="2492376"/>
                <a:ext cx="635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08" name="Line 701"/>
              <p:cNvSpPr>
                <a:spLocks noChangeShapeType="1"/>
              </p:cNvSpPr>
              <p:nvPr userDrawn="1"/>
            </p:nvSpPr>
            <p:spPr bwMode="auto">
              <a:xfrm flipH="1" flipV="1">
                <a:off x="12971463" y="2490788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09" name="Line 702"/>
              <p:cNvSpPr>
                <a:spLocks noChangeShapeType="1"/>
              </p:cNvSpPr>
              <p:nvPr userDrawn="1"/>
            </p:nvSpPr>
            <p:spPr bwMode="auto">
              <a:xfrm flipH="1" flipV="1">
                <a:off x="12968288" y="2489201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10" name="Line 703"/>
              <p:cNvSpPr>
                <a:spLocks noChangeShapeType="1"/>
              </p:cNvSpPr>
              <p:nvPr userDrawn="1"/>
            </p:nvSpPr>
            <p:spPr bwMode="auto">
              <a:xfrm flipH="1" flipV="1">
                <a:off x="12968288" y="2484438"/>
                <a:ext cx="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11" name="Line 704"/>
              <p:cNvSpPr>
                <a:spLocks noChangeShapeType="1"/>
              </p:cNvSpPr>
              <p:nvPr userDrawn="1"/>
            </p:nvSpPr>
            <p:spPr bwMode="auto">
              <a:xfrm flipV="1">
                <a:off x="12968288" y="2478088"/>
                <a:ext cx="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12" name="Line 705"/>
              <p:cNvSpPr>
                <a:spLocks noChangeShapeType="1"/>
              </p:cNvSpPr>
              <p:nvPr userDrawn="1"/>
            </p:nvSpPr>
            <p:spPr bwMode="auto">
              <a:xfrm flipV="1">
                <a:off x="12968288" y="2466976"/>
                <a:ext cx="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13" name="Line 706"/>
              <p:cNvSpPr>
                <a:spLocks noChangeShapeType="1"/>
              </p:cNvSpPr>
              <p:nvPr userDrawn="1"/>
            </p:nvSpPr>
            <p:spPr bwMode="auto">
              <a:xfrm flipV="1">
                <a:off x="12968288" y="2449513"/>
                <a:ext cx="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14" name="Line 707"/>
              <p:cNvSpPr>
                <a:spLocks noChangeShapeType="1"/>
              </p:cNvSpPr>
              <p:nvPr userDrawn="1"/>
            </p:nvSpPr>
            <p:spPr bwMode="auto">
              <a:xfrm flipV="1">
                <a:off x="12968288" y="2424113"/>
                <a:ext cx="0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15" name="Line 708"/>
              <p:cNvSpPr>
                <a:spLocks noChangeShapeType="1"/>
              </p:cNvSpPr>
              <p:nvPr userDrawn="1"/>
            </p:nvSpPr>
            <p:spPr bwMode="auto">
              <a:xfrm flipV="1">
                <a:off x="12968288" y="2347913"/>
                <a:ext cx="3175" cy="762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16" name="Line 709"/>
              <p:cNvSpPr>
                <a:spLocks noChangeShapeType="1"/>
              </p:cNvSpPr>
              <p:nvPr userDrawn="1"/>
            </p:nvSpPr>
            <p:spPr bwMode="auto">
              <a:xfrm flipV="1">
                <a:off x="12971463" y="2273301"/>
                <a:ext cx="1587" cy="746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17" name="Line 710"/>
              <p:cNvSpPr>
                <a:spLocks noChangeShapeType="1"/>
              </p:cNvSpPr>
              <p:nvPr userDrawn="1"/>
            </p:nvSpPr>
            <p:spPr bwMode="auto">
              <a:xfrm flipV="1">
                <a:off x="12973050" y="2246313"/>
                <a:ext cx="1587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18" name="Line 711"/>
              <p:cNvSpPr>
                <a:spLocks noChangeShapeType="1"/>
              </p:cNvSpPr>
              <p:nvPr userDrawn="1"/>
            </p:nvSpPr>
            <p:spPr bwMode="auto">
              <a:xfrm flipV="1">
                <a:off x="12974638" y="2225676"/>
                <a:ext cx="0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19" name="Line 712"/>
              <p:cNvSpPr>
                <a:spLocks noChangeShapeType="1"/>
              </p:cNvSpPr>
              <p:nvPr userDrawn="1"/>
            </p:nvSpPr>
            <p:spPr bwMode="auto">
              <a:xfrm flipV="1">
                <a:off x="12974638" y="2211388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20" name="Line 713"/>
              <p:cNvSpPr>
                <a:spLocks noChangeShapeType="1"/>
              </p:cNvSpPr>
              <p:nvPr userDrawn="1"/>
            </p:nvSpPr>
            <p:spPr bwMode="auto">
              <a:xfrm flipV="1">
                <a:off x="12976225" y="2200276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21" name="Line 714"/>
              <p:cNvSpPr>
                <a:spLocks noChangeShapeType="1"/>
              </p:cNvSpPr>
              <p:nvPr userDrawn="1"/>
            </p:nvSpPr>
            <p:spPr bwMode="auto">
              <a:xfrm flipV="1">
                <a:off x="12979400" y="2193926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22" name="Freeform 715"/>
              <p:cNvSpPr>
                <a:spLocks/>
              </p:cNvSpPr>
              <p:nvPr userDrawn="1"/>
            </p:nvSpPr>
            <p:spPr bwMode="auto">
              <a:xfrm>
                <a:off x="13127038" y="2178051"/>
                <a:ext cx="144462" cy="219075"/>
              </a:xfrm>
              <a:custGeom>
                <a:avLst/>
                <a:gdLst>
                  <a:gd name="T0" fmla="*/ 27 w 182"/>
                  <a:gd name="T1" fmla="*/ 0 h 277"/>
                  <a:gd name="T2" fmla="*/ 36 w 182"/>
                  <a:gd name="T3" fmla="*/ 7 h 277"/>
                  <a:gd name="T4" fmla="*/ 38 w 182"/>
                  <a:gd name="T5" fmla="*/ 13 h 277"/>
                  <a:gd name="T6" fmla="*/ 40 w 182"/>
                  <a:gd name="T7" fmla="*/ 23 h 277"/>
                  <a:gd name="T8" fmla="*/ 40 w 182"/>
                  <a:gd name="T9" fmla="*/ 36 h 277"/>
                  <a:gd name="T10" fmla="*/ 40 w 182"/>
                  <a:gd name="T11" fmla="*/ 57 h 277"/>
                  <a:gd name="T12" fmla="*/ 37 w 182"/>
                  <a:gd name="T13" fmla="*/ 75 h 277"/>
                  <a:gd name="T14" fmla="*/ 37 w 182"/>
                  <a:gd name="T15" fmla="*/ 82 h 277"/>
                  <a:gd name="T16" fmla="*/ 37 w 182"/>
                  <a:gd name="T17" fmla="*/ 88 h 277"/>
                  <a:gd name="T18" fmla="*/ 38 w 182"/>
                  <a:gd name="T19" fmla="*/ 92 h 277"/>
                  <a:gd name="T20" fmla="*/ 40 w 182"/>
                  <a:gd name="T21" fmla="*/ 93 h 277"/>
                  <a:gd name="T22" fmla="*/ 44 w 182"/>
                  <a:gd name="T23" fmla="*/ 90 h 277"/>
                  <a:gd name="T24" fmla="*/ 54 w 182"/>
                  <a:gd name="T25" fmla="*/ 79 h 277"/>
                  <a:gd name="T26" fmla="*/ 67 w 182"/>
                  <a:gd name="T27" fmla="*/ 61 h 277"/>
                  <a:gd name="T28" fmla="*/ 89 w 182"/>
                  <a:gd name="T29" fmla="*/ 34 h 277"/>
                  <a:gd name="T30" fmla="*/ 113 w 182"/>
                  <a:gd name="T31" fmla="*/ 16 h 277"/>
                  <a:gd name="T32" fmla="*/ 129 w 182"/>
                  <a:gd name="T33" fmla="*/ 6 h 277"/>
                  <a:gd name="T34" fmla="*/ 143 w 182"/>
                  <a:gd name="T35" fmla="*/ 2 h 277"/>
                  <a:gd name="T36" fmla="*/ 154 w 182"/>
                  <a:gd name="T37" fmla="*/ 2 h 277"/>
                  <a:gd name="T38" fmla="*/ 168 w 182"/>
                  <a:gd name="T39" fmla="*/ 6 h 277"/>
                  <a:gd name="T40" fmla="*/ 176 w 182"/>
                  <a:gd name="T41" fmla="*/ 12 h 277"/>
                  <a:gd name="T42" fmla="*/ 181 w 182"/>
                  <a:gd name="T43" fmla="*/ 19 h 277"/>
                  <a:gd name="T44" fmla="*/ 182 w 182"/>
                  <a:gd name="T45" fmla="*/ 23 h 277"/>
                  <a:gd name="T46" fmla="*/ 181 w 182"/>
                  <a:gd name="T47" fmla="*/ 26 h 277"/>
                  <a:gd name="T48" fmla="*/ 179 w 182"/>
                  <a:gd name="T49" fmla="*/ 27 h 277"/>
                  <a:gd name="T50" fmla="*/ 175 w 182"/>
                  <a:gd name="T51" fmla="*/ 30 h 277"/>
                  <a:gd name="T52" fmla="*/ 169 w 182"/>
                  <a:gd name="T53" fmla="*/ 30 h 277"/>
                  <a:gd name="T54" fmla="*/ 168 w 182"/>
                  <a:gd name="T55" fmla="*/ 31 h 277"/>
                  <a:gd name="T56" fmla="*/ 165 w 182"/>
                  <a:gd name="T57" fmla="*/ 31 h 277"/>
                  <a:gd name="T58" fmla="*/ 148 w 182"/>
                  <a:gd name="T59" fmla="*/ 33 h 277"/>
                  <a:gd name="T60" fmla="*/ 131 w 182"/>
                  <a:gd name="T61" fmla="*/ 40 h 277"/>
                  <a:gd name="T62" fmla="*/ 114 w 182"/>
                  <a:gd name="T63" fmla="*/ 52 h 277"/>
                  <a:gd name="T64" fmla="*/ 93 w 182"/>
                  <a:gd name="T65" fmla="*/ 76 h 277"/>
                  <a:gd name="T66" fmla="*/ 75 w 182"/>
                  <a:gd name="T67" fmla="*/ 106 h 277"/>
                  <a:gd name="T68" fmla="*/ 61 w 182"/>
                  <a:gd name="T69" fmla="*/ 138 h 277"/>
                  <a:gd name="T70" fmla="*/ 51 w 182"/>
                  <a:gd name="T71" fmla="*/ 172 h 277"/>
                  <a:gd name="T72" fmla="*/ 44 w 182"/>
                  <a:gd name="T73" fmla="*/ 206 h 277"/>
                  <a:gd name="T74" fmla="*/ 41 w 182"/>
                  <a:gd name="T75" fmla="*/ 237 h 277"/>
                  <a:gd name="T76" fmla="*/ 41 w 182"/>
                  <a:gd name="T77" fmla="*/ 253 h 277"/>
                  <a:gd name="T78" fmla="*/ 38 w 182"/>
                  <a:gd name="T79" fmla="*/ 264 h 277"/>
                  <a:gd name="T80" fmla="*/ 34 w 182"/>
                  <a:gd name="T81" fmla="*/ 272 h 277"/>
                  <a:gd name="T82" fmla="*/ 31 w 182"/>
                  <a:gd name="T83" fmla="*/ 275 h 277"/>
                  <a:gd name="T84" fmla="*/ 28 w 182"/>
                  <a:gd name="T85" fmla="*/ 277 h 277"/>
                  <a:gd name="T86" fmla="*/ 24 w 182"/>
                  <a:gd name="T87" fmla="*/ 277 h 277"/>
                  <a:gd name="T88" fmla="*/ 19 w 182"/>
                  <a:gd name="T89" fmla="*/ 277 h 277"/>
                  <a:gd name="T90" fmla="*/ 13 w 182"/>
                  <a:gd name="T91" fmla="*/ 274 h 277"/>
                  <a:gd name="T92" fmla="*/ 0 w 182"/>
                  <a:gd name="T93" fmla="*/ 268 h 277"/>
                  <a:gd name="T94" fmla="*/ 0 w 182"/>
                  <a:gd name="T95" fmla="*/ 143 h 277"/>
                  <a:gd name="T96" fmla="*/ 2 w 182"/>
                  <a:gd name="T97" fmla="*/ 98 h 277"/>
                  <a:gd name="T98" fmla="*/ 3 w 182"/>
                  <a:gd name="T99" fmla="*/ 61 h 277"/>
                  <a:gd name="T100" fmla="*/ 5 w 182"/>
                  <a:gd name="T101" fmla="*/ 34 h 277"/>
                  <a:gd name="T102" fmla="*/ 6 w 182"/>
                  <a:gd name="T103" fmla="*/ 16 h 277"/>
                  <a:gd name="T104" fmla="*/ 9 w 182"/>
                  <a:gd name="T105" fmla="*/ 9 h 277"/>
                  <a:gd name="T106" fmla="*/ 19 w 182"/>
                  <a:gd name="T107" fmla="*/ 0 h 277"/>
                  <a:gd name="T108" fmla="*/ 27 w 182"/>
                  <a:gd name="T109" fmla="*/ 0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82" h="277">
                    <a:moveTo>
                      <a:pt x="27" y="0"/>
                    </a:moveTo>
                    <a:lnTo>
                      <a:pt x="36" y="7"/>
                    </a:lnTo>
                    <a:lnTo>
                      <a:pt x="38" y="13"/>
                    </a:lnTo>
                    <a:lnTo>
                      <a:pt x="40" y="23"/>
                    </a:lnTo>
                    <a:lnTo>
                      <a:pt x="40" y="36"/>
                    </a:lnTo>
                    <a:lnTo>
                      <a:pt x="40" y="57"/>
                    </a:lnTo>
                    <a:lnTo>
                      <a:pt x="37" y="75"/>
                    </a:lnTo>
                    <a:lnTo>
                      <a:pt x="37" y="82"/>
                    </a:lnTo>
                    <a:lnTo>
                      <a:pt x="37" y="88"/>
                    </a:lnTo>
                    <a:lnTo>
                      <a:pt x="38" y="92"/>
                    </a:lnTo>
                    <a:lnTo>
                      <a:pt x="40" y="93"/>
                    </a:lnTo>
                    <a:lnTo>
                      <a:pt x="44" y="90"/>
                    </a:lnTo>
                    <a:lnTo>
                      <a:pt x="54" y="79"/>
                    </a:lnTo>
                    <a:lnTo>
                      <a:pt x="67" y="61"/>
                    </a:lnTo>
                    <a:lnTo>
                      <a:pt x="89" y="34"/>
                    </a:lnTo>
                    <a:lnTo>
                      <a:pt x="113" y="16"/>
                    </a:lnTo>
                    <a:lnTo>
                      <a:pt x="129" y="6"/>
                    </a:lnTo>
                    <a:lnTo>
                      <a:pt x="143" y="2"/>
                    </a:lnTo>
                    <a:lnTo>
                      <a:pt x="154" y="2"/>
                    </a:lnTo>
                    <a:lnTo>
                      <a:pt x="168" y="6"/>
                    </a:lnTo>
                    <a:lnTo>
                      <a:pt x="176" y="12"/>
                    </a:lnTo>
                    <a:lnTo>
                      <a:pt x="181" y="19"/>
                    </a:lnTo>
                    <a:lnTo>
                      <a:pt x="182" y="23"/>
                    </a:lnTo>
                    <a:lnTo>
                      <a:pt x="181" y="26"/>
                    </a:lnTo>
                    <a:lnTo>
                      <a:pt x="179" y="27"/>
                    </a:lnTo>
                    <a:lnTo>
                      <a:pt x="175" y="30"/>
                    </a:lnTo>
                    <a:lnTo>
                      <a:pt x="169" y="30"/>
                    </a:lnTo>
                    <a:lnTo>
                      <a:pt x="168" y="31"/>
                    </a:lnTo>
                    <a:lnTo>
                      <a:pt x="165" y="31"/>
                    </a:lnTo>
                    <a:lnTo>
                      <a:pt x="148" y="33"/>
                    </a:lnTo>
                    <a:lnTo>
                      <a:pt x="131" y="40"/>
                    </a:lnTo>
                    <a:lnTo>
                      <a:pt x="114" y="52"/>
                    </a:lnTo>
                    <a:lnTo>
                      <a:pt x="93" y="76"/>
                    </a:lnTo>
                    <a:lnTo>
                      <a:pt x="75" y="106"/>
                    </a:lnTo>
                    <a:lnTo>
                      <a:pt x="61" y="138"/>
                    </a:lnTo>
                    <a:lnTo>
                      <a:pt x="51" y="172"/>
                    </a:lnTo>
                    <a:lnTo>
                      <a:pt x="44" y="206"/>
                    </a:lnTo>
                    <a:lnTo>
                      <a:pt x="41" y="237"/>
                    </a:lnTo>
                    <a:lnTo>
                      <a:pt x="41" y="253"/>
                    </a:lnTo>
                    <a:lnTo>
                      <a:pt x="38" y="264"/>
                    </a:lnTo>
                    <a:lnTo>
                      <a:pt x="34" y="272"/>
                    </a:lnTo>
                    <a:lnTo>
                      <a:pt x="31" y="275"/>
                    </a:lnTo>
                    <a:lnTo>
                      <a:pt x="28" y="277"/>
                    </a:lnTo>
                    <a:lnTo>
                      <a:pt x="24" y="277"/>
                    </a:lnTo>
                    <a:lnTo>
                      <a:pt x="19" y="277"/>
                    </a:lnTo>
                    <a:lnTo>
                      <a:pt x="13" y="274"/>
                    </a:lnTo>
                    <a:lnTo>
                      <a:pt x="0" y="268"/>
                    </a:lnTo>
                    <a:lnTo>
                      <a:pt x="0" y="143"/>
                    </a:lnTo>
                    <a:lnTo>
                      <a:pt x="2" y="98"/>
                    </a:lnTo>
                    <a:lnTo>
                      <a:pt x="3" y="61"/>
                    </a:lnTo>
                    <a:lnTo>
                      <a:pt x="5" y="34"/>
                    </a:lnTo>
                    <a:lnTo>
                      <a:pt x="6" y="16"/>
                    </a:lnTo>
                    <a:lnTo>
                      <a:pt x="9" y="9"/>
                    </a:lnTo>
                    <a:lnTo>
                      <a:pt x="19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23" name="Line 716"/>
              <p:cNvSpPr>
                <a:spLocks noChangeShapeType="1"/>
              </p:cNvSpPr>
              <p:nvPr userDrawn="1"/>
            </p:nvSpPr>
            <p:spPr bwMode="auto">
              <a:xfrm flipH="1">
                <a:off x="13244513" y="2201863"/>
                <a:ext cx="1270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24" name="Line 717"/>
              <p:cNvSpPr>
                <a:spLocks noChangeShapeType="1"/>
              </p:cNvSpPr>
              <p:nvPr userDrawn="1"/>
            </p:nvSpPr>
            <p:spPr bwMode="auto">
              <a:xfrm flipH="1">
                <a:off x="13230225" y="2203451"/>
                <a:ext cx="142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25" name="Line 718"/>
              <p:cNvSpPr>
                <a:spLocks noChangeShapeType="1"/>
              </p:cNvSpPr>
              <p:nvPr userDrawn="1"/>
            </p:nvSpPr>
            <p:spPr bwMode="auto">
              <a:xfrm flipH="1">
                <a:off x="13217525" y="2208213"/>
                <a:ext cx="1270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26" name="Line 719"/>
              <p:cNvSpPr>
                <a:spLocks noChangeShapeType="1"/>
              </p:cNvSpPr>
              <p:nvPr userDrawn="1"/>
            </p:nvSpPr>
            <p:spPr bwMode="auto">
              <a:xfrm flipH="1">
                <a:off x="13200063" y="2219326"/>
                <a:ext cx="1746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27" name="Line 720"/>
              <p:cNvSpPr>
                <a:spLocks noChangeShapeType="1"/>
              </p:cNvSpPr>
              <p:nvPr userDrawn="1"/>
            </p:nvSpPr>
            <p:spPr bwMode="auto">
              <a:xfrm flipH="1">
                <a:off x="13185775" y="2238376"/>
                <a:ext cx="14287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28" name="Line 721"/>
              <p:cNvSpPr>
                <a:spLocks noChangeShapeType="1"/>
              </p:cNvSpPr>
              <p:nvPr userDrawn="1"/>
            </p:nvSpPr>
            <p:spPr bwMode="auto">
              <a:xfrm flipH="1">
                <a:off x="13174663" y="2262188"/>
                <a:ext cx="11112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29" name="Line 722"/>
              <p:cNvSpPr>
                <a:spLocks noChangeShapeType="1"/>
              </p:cNvSpPr>
              <p:nvPr userDrawn="1"/>
            </p:nvSpPr>
            <p:spPr bwMode="auto">
              <a:xfrm flipH="1">
                <a:off x="13166725" y="2287588"/>
                <a:ext cx="7937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30" name="Line 723"/>
              <p:cNvSpPr>
                <a:spLocks noChangeShapeType="1"/>
              </p:cNvSpPr>
              <p:nvPr userDrawn="1"/>
            </p:nvSpPr>
            <p:spPr bwMode="auto">
              <a:xfrm flipH="1">
                <a:off x="13160375" y="2314576"/>
                <a:ext cx="6350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31" name="Line 724"/>
              <p:cNvSpPr>
                <a:spLocks noChangeShapeType="1"/>
              </p:cNvSpPr>
              <p:nvPr userDrawn="1"/>
            </p:nvSpPr>
            <p:spPr bwMode="auto">
              <a:xfrm flipH="1">
                <a:off x="13158788" y="2341563"/>
                <a:ext cx="1587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32" name="Line 725"/>
              <p:cNvSpPr>
                <a:spLocks noChangeShapeType="1"/>
              </p:cNvSpPr>
              <p:nvPr userDrawn="1"/>
            </p:nvSpPr>
            <p:spPr bwMode="auto">
              <a:xfrm>
                <a:off x="13158788" y="2365376"/>
                <a:ext cx="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33" name="Line 726"/>
              <p:cNvSpPr>
                <a:spLocks noChangeShapeType="1"/>
              </p:cNvSpPr>
              <p:nvPr userDrawn="1"/>
            </p:nvSpPr>
            <p:spPr bwMode="auto">
              <a:xfrm flipH="1">
                <a:off x="13157200" y="2378076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34" name="Line 727"/>
              <p:cNvSpPr>
                <a:spLocks noChangeShapeType="1"/>
              </p:cNvSpPr>
              <p:nvPr userDrawn="1"/>
            </p:nvSpPr>
            <p:spPr bwMode="auto">
              <a:xfrm flipH="1">
                <a:off x="13154025" y="2386013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35" name="Line 728"/>
              <p:cNvSpPr>
                <a:spLocks noChangeShapeType="1"/>
              </p:cNvSpPr>
              <p:nvPr userDrawn="1"/>
            </p:nvSpPr>
            <p:spPr bwMode="auto">
              <a:xfrm flipH="1">
                <a:off x="13150850" y="2393951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36" name="Line 729"/>
              <p:cNvSpPr>
                <a:spLocks noChangeShapeType="1"/>
              </p:cNvSpPr>
              <p:nvPr userDrawn="1"/>
            </p:nvSpPr>
            <p:spPr bwMode="auto">
              <a:xfrm flipH="1">
                <a:off x="13149263" y="2395538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37" name="Line 730"/>
              <p:cNvSpPr>
                <a:spLocks noChangeShapeType="1"/>
              </p:cNvSpPr>
              <p:nvPr userDrawn="1"/>
            </p:nvSpPr>
            <p:spPr bwMode="auto">
              <a:xfrm flipH="1">
                <a:off x="13146088" y="2397126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38" name="Line 731"/>
              <p:cNvSpPr>
                <a:spLocks noChangeShapeType="1"/>
              </p:cNvSpPr>
              <p:nvPr userDrawn="1"/>
            </p:nvSpPr>
            <p:spPr bwMode="auto">
              <a:xfrm flipH="1">
                <a:off x="13141325" y="2397126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39" name="Line 732"/>
              <p:cNvSpPr>
                <a:spLocks noChangeShapeType="1"/>
              </p:cNvSpPr>
              <p:nvPr userDrawn="1"/>
            </p:nvSpPr>
            <p:spPr bwMode="auto">
              <a:xfrm flipH="1" flipV="1">
                <a:off x="13136563" y="2393951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40" name="Line 733"/>
              <p:cNvSpPr>
                <a:spLocks noChangeShapeType="1"/>
              </p:cNvSpPr>
              <p:nvPr userDrawn="1"/>
            </p:nvSpPr>
            <p:spPr bwMode="auto">
              <a:xfrm flipH="1" flipV="1">
                <a:off x="13127038" y="2390776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41" name="Line 734"/>
              <p:cNvSpPr>
                <a:spLocks noChangeShapeType="1"/>
              </p:cNvSpPr>
              <p:nvPr userDrawn="1"/>
            </p:nvSpPr>
            <p:spPr bwMode="auto">
              <a:xfrm flipV="1">
                <a:off x="13127038" y="2290763"/>
                <a:ext cx="0" cy="1000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42" name="Line 735"/>
              <p:cNvSpPr>
                <a:spLocks noChangeShapeType="1"/>
              </p:cNvSpPr>
              <p:nvPr userDrawn="1"/>
            </p:nvSpPr>
            <p:spPr bwMode="auto">
              <a:xfrm flipV="1">
                <a:off x="13127038" y="2254251"/>
                <a:ext cx="0" cy="365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43" name="Line 736"/>
              <p:cNvSpPr>
                <a:spLocks noChangeShapeType="1"/>
              </p:cNvSpPr>
              <p:nvPr userDrawn="1"/>
            </p:nvSpPr>
            <p:spPr bwMode="auto">
              <a:xfrm flipV="1">
                <a:off x="13127038" y="2225676"/>
                <a:ext cx="1587" cy="285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44" name="Line 737"/>
              <p:cNvSpPr>
                <a:spLocks noChangeShapeType="1"/>
              </p:cNvSpPr>
              <p:nvPr userDrawn="1"/>
            </p:nvSpPr>
            <p:spPr bwMode="auto">
              <a:xfrm flipV="1">
                <a:off x="13128625" y="2205038"/>
                <a:ext cx="1587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45" name="Line 738"/>
              <p:cNvSpPr>
                <a:spLocks noChangeShapeType="1"/>
              </p:cNvSpPr>
              <p:nvPr userDrawn="1"/>
            </p:nvSpPr>
            <p:spPr bwMode="auto">
              <a:xfrm flipV="1">
                <a:off x="13130213" y="2189163"/>
                <a:ext cx="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46" name="Line 739"/>
              <p:cNvSpPr>
                <a:spLocks noChangeShapeType="1"/>
              </p:cNvSpPr>
              <p:nvPr userDrawn="1"/>
            </p:nvSpPr>
            <p:spPr bwMode="auto">
              <a:xfrm flipV="1">
                <a:off x="13130213" y="2184401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47" name="Line 740"/>
              <p:cNvSpPr>
                <a:spLocks noChangeShapeType="1"/>
              </p:cNvSpPr>
              <p:nvPr userDrawn="1"/>
            </p:nvSpPr>
            <p:spPr bwMode="auto">
              <a:xfrm flipV="1">
                <a:off x="13133388" y="2178051"/>
                <a:ext cx="793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48" name="Line 741"/>
              <p:cNvSpPr>
                <a:spLocks noChangeShapeType="1"/>
              </p:cNvSpPr>
              <p:nvPr userDrawn="1"/>
            </p:nvSpPr>
            <p:spPr bwMode="auto">
              <a:xfrm>
                <a:off x="13141325" y="2178051"/>
                <a:ext cx="635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49" name="Line 742"/>
              <p:cNvSpPr>
                <a:spLocks noChangeShapeType="1"/>
              </p:cNvSpPr>
              <p:nvPr userDrawn="1"/>
            </p:nvSpPr>
            <p:spPr bwMode="auto">
              <a:xfrm>
                <a:off x="13147675" y="2178051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50" name="Line 743"/>
              <p:cNvSpPr>
                <a:spLocks noChangeShapeType="1"/>
              </p:cNvSpPr>
              <p:nvPr userDrawn="1"/>
            </p:nvSpPr>
            <p:spPr bwMode="auto">
              <a:xfrm>
                <a:off x="13154025" y="2182813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51" name="Line 744"/>
              <p:cNvSpPr>
                <a:spLocks noChangeShapeType="1"/>
              </p:cNvSpPr>
              <p:nvPr userDrawn="1"/>
            </p:nvSpPr>
            <p:spPr bwMode="auto">
              <a:xfrm>
                <a:off x="13157200" y="2187576"/>
                <a:ext cx="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52" name="Line 745"/>
              <p:cNvSpPr>
                <a:spLocks noChangeShapeType="1"/>
              </p:cNvSpPr>
              <p:nvPr userDrawn="1"/>
            </p:nvSpPr>
            <p:spPr bwMode="auto">
              <a:xfrm>
                <a:off x="13157200" y="2195513"/>
                <a:ext cx="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53" name="Line 746"/>
              <p:cNvSpPr>
                <a:spLocks noChangeShapeType="1"/>
              </p:cNvSpPr>
              <p:nvPr userDrawn="1"/>
            </p:nvSpPr>
            <p:spPr bwMode="auto">
              <a:xfrm>
                <a:off x="13157200" y="2205038"/>
                <a:ext cx="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54" name="Line 747"/>
              <p:cNvSpPr>
                <a:spLocks noChangeShapeType="1"/>
              </p:cNvSpPr>
              <p:nvPr userDrawn="1"/>
            </p:nvSpPr>
            <p:spPr bwMode="auto">
              <a:xfrm flipH="1">
                <a:off x="13155613" y="2222501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55" name="Line 748"/>
              <p:cNvSpPr>
                <a:spLocks noChangeShapeType="1"/>
              </p:cNvSpPr>
              <p:nvPr userDrawn="1"/>
            </p:nvSpPr>
            <p:spPr bwMode="auto">
              <a:xfrm>
                <a:off x="13155613" y="2236788"/>
                <a:ext cx="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56" name="Line 749"/>
              <p:cNvSpPr>
                <a:spLocks noChangeShapeType="1"/>
              </p:cNvSpPr>
              <p:nvPr userDrawn="1"/>
            </p:nvSpPr>
            <p:spPr bwMode="auto">
              <a:xfrm>
                <a:off x="13155613" y="224313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57" name="Line 750"/>
              <p:cNvSpPr>
                <a:spLocks noChangeShapeType="1"/>
              </p:cNvSpPr>
              <p:nvPr userDrawn="1"/>
            </p:nvSpPr>
            <p:spPr bwMode="auto">
              <a:xfrm>
                <a:off x="13155613" y="2246313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58" name="Line 751"/>
              <p:cNvSpPr>
                <a:spLocks noChangeShapeType="1"/>
              </p:cNvSpPr>
              <p:nvPr userDrawn="1"/>
            </p:nvSpPr>
            <p:spPr bwMode="auto">
              <a:xfrm>
                <a:off x="13157200" y="2249488"/>
                <a:ext cx="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59" name="Line 752"/>
              <p:cNvSpPr>
                <a:spLocks noChangeShapeType="1"/>
              </p:cNvSpPr>
              <p:nvPr userDrawn="1"/>
            </p:nvSpPr>
            <p:spPr bwMode="auto">
              <a:xfrm flipV="1">
                <a:off x="13157200" y="22494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60" name="Line 753"/>
              <p:cNvSpPr>
                <a:spLocks noChangeShapeType="1"/>
              </p:cNvSpPr>
              <p:nvPr userDrawn="1"/>
            </p:nvSpPr>
            <p:spPr bwMode="auto">
              <a:xfrm flipV="1">
                <a:off x="13160375" y="2239963"/>
                <a:ext cx="793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61" name="Line 754"/>
              <p:cNvSpPr>
                <a:spLocks noChangeShapeType="1"/>
              </p:cNvSpPr>
              <p:nvPr userDrawn="1"/>
            </p:nvSpPr>
            <p:spPr bwMode="auto">
              <a:xfrm flipV="1">
                <a:off x="13168313" y="2225676"/>
                <a:ext cx="1111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62" name="Line 755"/>
              <p:cNvSpPr>
                <a:spLocks noChangeShapeType="1"/>
              </p:cNvSpPr>
              <p:nvPr userDrawn="1"/>
            </p:nvSpPr>
            <p:spPr bwMode="auto">
              <a:xfrm flipV="1">
                <a:off x="13179425" y="2205038"/>
                <a:ext cx="17462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63" name="Line 756"/>
              <p:cNvSpPr>
                <a:spLocks noChangeShapeType="1"/>
              </p:cNvSpPr>
              <p:nvPr userDrawn="1"/>
            </p:nvSpPr>
            <p:spPr bwMode="auto">
              <a:xfrm flipV="1">
                <a:off x="13196888" y="2189163"/>
                <a:ext cx="1905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64" name="Line 757"/>
              <p:cNvSpPr>
                <a:spLocks noChangeShapeType="1"/>
              </p:cNvSpPr>
              <p:nvPr userDrawn="1"/>
            </p:nvSpPr>
            <p:spPr bwMode="auto">
              <a:xfrm flipV="1">
                <a:off x="13215938" y="2181226"/>
                <a:ext cx="1270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65" name="Line 758"/>
              <p:cNvSpPr>
                <a:spLocks noChangeShapeType="1"/>
              </p:cNvSpPr>
              <p:nvPr userDrawn="1"/>
            </p:nvSpPr>
            <p:spPr bwMode="auto">
              <a:xfrm flipV="1">
                <a:off x="13228638" y="2178051"/>
                <a:ext cx="1111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66" name="Line 759"/>
              <p:cNvSpPr>
                <a:spLocks noChangeShapeType="1"/>
              </p:cNvSpPr>
              <p:nvPr userDrawn="1"/>
            </p:nvSpPr>
            <p:spPr bwMode="auto">
              <a:xfrm>
                <a:off x="13239750" y="2178051"/>
                <a:ext cx="793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67" name="Line 760"/>
              <p:cNvSpPr>
                <a:spLocks noChangeShapeType="1"/>
              </p:cNvSpPr>
              <p:nvPr userDrawn="1"/>
            </p:nvSpPr>
            <p:spPr bwMode="auto">
              <a:xfrm>
                <a:off x="13247688" y="2178051"/>
                <a:ext cx="1111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68" name="Line 761"/>
              <p:cNvSpPr>
                <a:spLocks noChangeShapeType="1"/>
              </p:cNvSpPr>
              <p:nvPr userDrawn="1"/>
            </p:nvSpPr>
            <p:spPr bwMode="auto">
              <a:xfrm>
                <a:off x="13258800" y="2181226"/>
                <a:ext cx="793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69" name="Line 762"/>
              <p:cNvSpPr>
                <a:spLocks noChangeShapeType="1"/>
              </p:cNvSpPr>
              <p:nvPr userDrawn="1"/>
            </p:nvSpPr>
            <p:spPr bwMode="auto">
              <a:xfrm>
                <a:off x="13266738" y="2185988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70" name="Line 763"/>
              <p:cNvSpPr>
                <a:spLocks noChangeShapeType="1"/>
              </p:cNvSpPr>
              <p:nvPr userDrawn="1"/>
            </p:nvSpPr>
            <p:spPr bwMode="auto">
              <a:xfrm>
                <a:off x="13269913" y="2192338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71" name="Line 764"/>
              <p:cNvSpPr>
                <a:spLocks noChangeShapeType="1"/>
              </p:cNvSpPr>
              <p:nvPr userDrawn="1"/>
            </p:nvSpPr>
            <p:spPr bwMode="auto">
              <a:xfrm flipH="1">
                <a:off x="13269913" y="2195513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72" name="Line 765"/>
              <p:cNvSpPr>
                <a:spLocks noChangeShapeType="1"/>
              </p:cNvSpPr>
              <p:nvPr userDrawn="1"/>
            </p:nvSpPr>
            <p:spPr bwMode="auto">
              <a:xfrm flipH="1">
                <a:off x="13268325" y="2197101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73" name="Line 766"/>
              <p:cNvSpPr>
                <a:spLocks noChangeShapeType="1"/>
              </p:cNvSpPr>
              <p:nvPr userDrawn="1"/>
            </p:nvSpPr>
            <p:spPr bwMode="auto">
              <a:xfrm flipH="1">
                <a:off x="13265150" y="21986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74" name="Line 767"/>
              <p:cNvSpPr>
                <a:spLocks noChangeShapeType="1"/>
              </p:cNvSpPr>
              <p:nvPr userDrawn="1"/>
            </p:nvSpPr>
            <p:spPr bwMode="auto">
              <a:xfrm flipH="1">
                <a:off x="13260388" y="2200276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75" name="Line 768"/>
              <p:cNvSpPr>
                <a:spLocks noChangeShapeType="1"/>
              </p:cNvSpPr>
              <p:nvPr userDrawn="1"/>
            </p:nvSpPr>
            <p:spPr bwMode="auto">
              <a:xfrm flipH="1">
                <a:off x="13258800" y="2200276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76" name="Line 769"/>
              <p:cNvSpPr>
                <a:spLocks noChangeShapeType="1"/>
              </p:cNvSpPr>
              <p:nvPr userDrawn="1"/>
            </p:nvSpPr>
            <p:spPr bwMode="auto">
              <a:xfrm flipH="1">
                <a:off x="13257213" y="2201863"/>
                <a:ext cx="158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77" name="Freeform 770"/>
              <p:cNvSpPr>
                <a:spLocks noEditPoints="1"/>
              </p:cNvSpPr>
              <p:nvPr userDrawn="1"/>
            </p:nvSpPr>
            <p:spPr bwMode="auto">
              <a:xfrm>
                <a:off x="13282613" y="2189163"/>
                <a:ext cx="166687" cy="201613"/>
              </a:xfrm>
              <a:custGeom>
                <a:avLst/>
                <a:gdLst>
                  <a:gd name="T0" fmla="*/ 97 w 212"/>
                  <a:gd name="T1" fmla="*/ 33 h 256"/>
                  <a:gd name="T2" fmla="*/ 88 w 212"/>
                  <a:gd name="T3" fmla="*/ 37 h 256"/>
                  <a:gd name="T4" fmla="*/ 71 w 212"/>
                  <a:gd name="T5" fmla="*/ 50 h 256"/>
                  <a:gd name="T6" fmla="*/ 52 w 212"/>
                  <a:gd name="T7" fmla="*/ 74 h 256"/>
                  <a:gd name="T8" fmla="*/ 54 w 212"/>
                  <a:gd name="T9" fmla="*/ 84 h 256"/>
                  <a:gd name="T10" fmla="*/ 58 w 212"/>
                  <a:gd name="T11" fmla="*/ 85 h 256"/>
                  <a:gd name="T12" fmla="*/ 72 w 212"/>
                  <a:gd name="T13" fmla="*/ 76 h 256"/>
                  <a:gd name="T14" fmla="*/ 96 w 212"/>
                  <a:gd name="T15" fmla="*/ 53 h 256"/>
                  <a:gd name="T16" fmla="*/ 104 w 212"/>
                  <a:gd name="T17" fmla="*/ 38 h 256"/>
                  <a:gd name="T18" fmla="*/ 103 w 212"/>
                  <a:gd name="T19" fmla="*/ 33 h 256"/>
                  <a:gd name="T20" fmla="*/ 106 w 212"/>
                  <a:gd name="T21" fmla="*/ 0 h 256"/>
                  <a:gd name="T22" fmla="*/ 120 w 212"/>
                  <a:gd name="T23" fmla="*/ 2 h 256"/>
                  <a:gd name="T24" fmla="*/ 128 w 212"/>
                  <a:gd name="T25" fmla="*/ 3 h 256"/>
                  <a:gd name="T26" fmla="*/ 134 w 212"/>
                  <a:gd name="T27" fmla="*/ 9 h 256"/>
                  <a:gd name="T28" fmla="*/ 140 w 212"/>
                  <a:gd name="T29" fmla="*/ 33 h 256"/>
                  <a:gd name="T30" fmla="*/ 126 w 212"/>
                  <a:gd name="T31" fmla="*/ 69 h 256"/>
                  <a:gd name="T32" fmla="*/ 92 w 212"/>
                  <a:gd name="T33" fmla="*/ 105 h 256"/>
                  <a:gd name="T34" fmla="*/ 65 w 212"/>
                  <a:gd name="T35" fmla="*/ 120 h 256"/>
                  <a:gd name="T36" fmla="*/ 48 w 212"/>
                  <a:gd name="T37" fmla="*/ 124 h 256"/>
                  <a:gd name="T38" fmla="*/ 37 w 212"/>
                  <a:gd name="T39" fmla="*/ 129 h 256"/>
                  <a:gd name="T40" fmla="*/ 31 w 212"/>
                  <a:gd name="T41" fmla="*/ 147 h 256"/>
                  <a:gd name="T42" fmla="*/ 35 w 212"/>
                  <a:gd name="T43" fmla="*/ 179 h 256"/>
                  <a:gd name="T44" fmla="*/ 52 w 212"/>
                  <a:gd name="T45" fmla="*/ 203 h 256"/>
                  <a:gd name="T46" fmla="*/ 92 w 212"/>
                  <a:gd name="T47" fmla="*/ 226 h 256"/>
                  <a:gd name="T48" fmla="*/ 140 w 212"/>
                  <a:gd name="T49" fmla="*/ 226 h 256"/>
                  <a:gd name="T50" fmla="*/ 169 w 212"/>
                  <a:gd name="T51" fmla="*/ 206 h 256"/>
                  <a:gd name="T52" fmla="*/ 179 w 212"/>
                  <a:gd name="T53" fmla="*/ 181 h 256"/>
                  <a:gd name="T54" fmla="*/ 189 w 212"/>
                  <a:gd name="T55" fmla="*/ 157 h 256"/>
                  <a:gd name="T56" fmla="*/ 197 w 212"/>
                  <a:gd name="T57" fmla="*/ 153 h 256"/>
                  <a:gd name="T58" fmla="*/ 204 w 212"/>
                  <a:gd name="T59" fmla="*/ 157 h 256"/>
                  <a:gd name="T60" fmla="*/ 212 w 212"/>
                  <a:gd name="T61" fmla="*/ 185 h 256"/>
                  <a:gd name="T62" fmla="*/ 197 w 212"/>
                  <a:gd name="T63" fmla="*/ 219 h 256"/>
                  <a:gd name="T64" fmla="*/ 165 w 212"/>
                  <a:gd name="T65" fmla="*/ 248 h 256"/>
                  <a:gd name="T66" fmla="*/ 135 w 212"/>
                  <a:gd name="T67" fmla="*/ 254 h 256"/>
                  <a:gd name="T68" fmla="*/ 90 w 212"/>
                  <a:gd name="T69" fmla="*/ 254 h 256"/>
                  <a:gd name="T70" fmla="*/ 62 w 212"/>
                  <a:gd name="T71" fmla="*/ 248 h 256"/>
                  <a:gd name="T72" fmla="*/ 28 w 212"/>
                  <a:gd name="T73" fmla="*/ 227 h 256"/>
                  <a:gd name="T74" fmla="*/ 7 w 212"/>
                  <a:gd name="T75" fmla="*/ 202 h 256"/>
                  <a:gd name="T76" fmla="*/ 2 w 212"/>
                  <a:gd name="T77" fmla="*/ 188 h 256"/>
                  <a:gd name="T78" fmla="*/ 0 w 212"/>
                  <a:gd name="T79" fmla="*/ 150 h 256"/>
                  <a:gd name="T80" fmla="*/ 3 w 212"/>
                  <a:gd name="T81" fmla="*/ 108 h 256"/>
                  <a:gd name="T82" fmla="*/ 11 w 212"/>
                  <a:gd name="T83" fmla="*/ 85 h 256"/>
                  <a:gd name="T84" fmla="*/ 31 w 212"/>
                  <a:gd name="T85" fmla="*/ 48 h 256"/>
                  <a:gd name="T86" fmla="*/ 58 w 212"/>
                  <a:gd name="T87" fmla="*/ 17 h 256"/>
                  <a:gd name="T88" fmla="*/ 106 w 212"/>
                  <a:gd name="T89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12" h="256">
                    <a:moveTo>
                      <a:pt x="100" y="31"/>
                    </a:moveTo>
                    <a:lnTo>
                      <a:pt x="97" y="33"/>
                    </a:lnTo>
                    <a:lnTo>
                      <a:pt x="93" y="34"/>
                    </a:lnTo>
                    <a:lnTo>
                      <a:pt x="88" y="37"/>
                    </a:lnTo>
                    <a:lnTo>
                      <a:pt x="79" y="43"/>
                    </a:lnTo>
                    <a:lnTo>
                      <a:pt x="71" y="50"/>
                    </a:lnTo>
                    <a:lnTo>
                      <a:pt x="59" y="64"/>
                    </a:lnTo>
                    <a:lnTo>
                      <a:pt x="52" y="74"/>
                    </a:lnTo>
                    <a:lnTo>
                      <a:pt x="52" y="82"/>
                    </a:lnTo>
                    <a:lnTo>
                      <a:pt x="54" y="84"/>
                    </a:lnTo>
                    <a:lnTo>
                      <a:pt x="55" y="85"/>
                    </a:lnTo>
                    <a:lnTo>
                      <a:pt x="58" y="85"/>
                    </a:lnTo>
                    <a:lnTo>
                      <a:pt x="64" y="82"/>
                    </a:lnTo>
                    <a:lnTo>
                      <a:pt x="72" y="76"/>
                    </a:lnTo>
                    <a:lnTo>
                      <a:pt x="85" y="65"/>
                    </a:lnTo>
                    <a:lnTo>
                      <a:pt x="96" y="53"/>
                    </a:lnTo>
                    <a:lnTo>
                      <a:pt x="103" y="44"/>
                    </a:lnTo>
                    <a:lnTo>
                      <a:pt x="104" y="38"/>
                    </a:lnTo>
                    <a:lnTo>
                      <a:pt x="104" y="34"/>
                    </a:lnTo>
                    <a:lnTo>
                      <a:pt x="103" y="33"/>
                    </a:lnTo>
                    <a:lnTo>
                      <a:pt x="100" y="31"/>
                    </a:lnTo>
                    <a:close/>
                    <a:moveTo>
                      <a:pt x="106" y="0"/>
                    </a:moveTo>
                    <a:lnTo>
                      <a:pt x="114" y="0"/>
                    </a:lnTo>
                    <a:lnTo>
                      <a:pt x="120" y="2"/>
                    </a:lnTo>
                    <a:lnTo>
                      <a:pt x="124" y="2"/>
                    </a:lnTo>
                    <a:lnTo>
                      <a:pt x="128" y="3"/>
                    </a:lnTo>
                    <a:lnTo>
                      <a:pt x="131" y="6"/>
                    </a:lnTo>
                    <a:lnTo>
                      <a:pt x="134" y="9"/>
                    </a:lnTo>
                    <a:lnTo>
                      <a:pt x="137" y="14"/>
                    </a:lnTo>
                    <a:lnTo>
                      <a:pt x="140" y="33"/>
                    </a:lnTo>
                    <a:lnTo>
                      <a:pt x="137" y="51"/>
                    </a:lnTo>
                    <a:lnTo>
                      <a:pt x="126" y="69"/>
                    </a:lnTo>
                    <a:lnTo>
                      <a:pt x="109" y="91"/>
                    </a:lnTo>
                    <a:lnTo>
                      <a:pt x="92" y="105"/>
                    </a:lnTo>
                    <a:lnTo>
                      <a:pt x="78" y="115"/>
                    </a:lnTo>
                    <a:lnTo>
                      <a:pt x="65" y="120"/>
                    </a:lnTo>
                    <a:lnTo>
                      <a:pt x="54" y="123"/>
                    </a:lnTo>
                    <a:lnTo>
                      <a:pt x="48" y="124"/>
                    </a:lnTo>
                    <a:lnTo>
                      <a:pt x="42" y="126"/>
                    </a:lnTo>
                    <a:lnTo>
                      <a:pt x="37" y="129"/>
                    </a:lnTo>
                    <a:lnTo>
                      <a:pt x="33" y="136"/>
                    </a:lnTo>
                    <a:lnTo>
                      <a:pt x="31" y="147"/>
                    </a:lnTo>
                    <a:lnTo>
                      <a:pt x="31" y="161"/>
                    </a:lnTo>
                    <a:lnTo>
                      <a:pt x="35" y="179"/>
                    </a:lnTo>
                    <a:lnTo>
                      <a:pt x="42" y="192"/>
                    </a:lnTo>
                    <a:lnTo>
                      <a:pt x="52" y="203"/>
                    </a:lnTo>
                    <a:lnTo>
                      <a:pt x="66" y="215"/>
                    </a:lnTo>
                    <a:lnTo>
                      <a:pt x="92" y="226"/>
                    </a:lnTo>
                    <a:lnTo>
                      <a:pt x="116" y="230"/>
                    </a:lnTo>
                    <a:lnTo>
                      <a:pt x="140" y="226"/>
                    </a:lnTo>
                    <a:lnTo>
                      <a:pt x="159" y="216"/>
                    </a:lnTo>
                    <a:lnTo>
                      <a:pt x="169" y="206"/>
                    </a:lnTo>
                    <a:lnTo>
                      <a:pt x="176" y="193"/>
                    </a:lnTo>
                    <a:lnTo>
                      <a:pt x="179" y="181"/>
                    </a:lnTo>
                    <a:lnTo>
                      <a:pt x="182" y="167"/>
                    </a:lnTo>
                    <a:lnTo>
                      <a:pt x="189" y="157"/>
                    </a:lnTo>
                    <a:lnTo>
                      <a:pt x="193" y="154"/>
                    </a:lnTo>
                    <a:lnTo>
                      <a:pt x="197" y="153"/>
                    </a:lnTo>
                    <a:lnTo>
                      <a:pt x="202" y="154"/>
                    </a:lnTo>
                    <a:lnTo>
                      <a:pt x="204" y="157"/>
                    </a:lnTo>
                    <a:lnTo>
                      <a:pt x="212" y="168"/>
                    </a:lnTo>
                    <a:lnTo>
                      <a:pt x="212" y="185"/>
                    </a:lnTo>
                    <a:lnTo>
                      <a:pt x="207" y="203"/>
                    </a:lnTo>
                    <a:lnTo>
                      <a:pt x="197" y="219"/>
                    </a:lnTo>
                    <a:lnTo>
                      <a:pt x="181" y="239"/>
                    </a:lnTo>
                    <a:lnTo>
                      <a:pt x="165" y="248"/>
                    </a:lnTo>
                    <a:lnTo>
                      <a:pt x="152" y="253"/>
                    </a:lnTo>
                    <a:lnTo>
                      <a:pt x="135" y="254"/>
                    </a:lnTo>
                    <a:lnTo>
                      <a:pt x="114" y="256"/>
                    </a:lnTo>
                    <a:lnTo>
                      <a:pt x="90" y="254"/>
                    </a:lnTo>
                    <a:lnTo>
                      <a:pt x="73" y="253"/>
                    </a:lnTo>
                    <a:lnTo>
                      <a:pt x="62" y="248"/>
                    </a:lnTo>
                    <a:lnTo>
                      <a:pt x="48" y="241"/>
                    </a:lnTo>
                    <a:lnTo>
                      <a:pt x="28" y="227"/>
                    </a:lnTo>
                    <a:lnTo>
                      <a:pt x="13" y="210"/>
                    </a:lnTo>
                    <a:lnTo>
                      <a:pt x="7" y="202"/>
                    </a:lnTo>
                    <a:lnTo>
                      <a:pt x="4" y="195"/>
                    </a:lnTo>
                    <a:lnTo>
                      <a:pt x="2" y="188"/>
                    </a:lnTo>
                    <a:lnTo>
                      <a:pt x="0" y="174"/>
                    </a:lnTo>
                    <a:lnTo>
                      <a:pt x="0" y="150"/>
                    </a:lnTo>
                    <a:lnTo>
                      <a:pt x="0" y="124"/>
                    </a:lnTo>
                    <a:lnTo>
                      <a:pt x="3" y="108"/>
                    </a:lnTo>
                    <a:lnTo>
                      <a:pt x="6" y="98"/>
                    </a:lnTo>
                    <a:lnTo>
                      <a:pt x="11" y="85"/>
                    </a:lnTo>
                    <a:lnTo>
                      <a:pt x="18" y="69"/>
                    </a:lnTo>
                    <a:lnTo>
                      <a:pt x="31" y="48"/>
                    </a:lnTo>
                    <a:lnTo>
                      <a:pt x="45" y="30"/>
                    </a:lnTo>
                    <a:lnTo>
                      <a:pt x="58" y="17"/>
                    </a:lnTo>
                    <a:lnTo>
                      <a:pt x="80" y="5"/>
                    </a:lnTo>
                    <a:lnTo>
                      <a:pt x="10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78" name="Line 771"/>
              <p:cNvSpPr>
                <a:spLocks noChangeShapeType="1"/>
              </p:cNvSpPr>
              <p:nvPr userDrawn="1"/>
            </p:nvSpPr>
            <p:spPr bwMode="auto">
              <a:xfrm flipV="1">
                <a:off x="13365163" y="2216151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79" name="Line 772"/>
              <p:cNvSpPr>
                <a:spLocks noChangeShapeType="1"/>
              </p:cNvSpPr>
              <p:nvPr userDrawn="1"/>
            </p:nvSpPr>
            <p:spPr bwMode="auto">
              <a:xfrm flipH="1" flipV="1">
                <a:off x="13363575" y="2214563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80" name="Line 773"/>
              <p:cNvSpPr>
                <a:spLocks noChangeShapeType="1"/>
              </p:cNvSpPr>
              <p:nvPr userDrawn="1"/>
            </p:nvSpPr>
            <p:spPr bwMode="auto">
              <a:xfrm flipH="1" flipV="1">
                <a:off x="13361988" y="2212976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81" name="Line 774"/>
              <p:cNvSpPr>
                <a:spLocks noChangeShapeType="1"/>
              </p:cNvSpPr>
              <p:nvPr userDrawn="1"/>
            </p:nvSpPr>
            <p:spPr bwMode="auto">
              <a:xfrm flipH="1">
                <a:off x="13358813" y="2212976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82" name="Line 775"/>
              <p:cNvSpPr>
                <a:spLocks noChangeShapeType="1"/>
              </p:cNvSpPr>
              <p:nvPr userDrawn="1"/>
            </p:nvSpPr>
            <p:spPr bwMode="auto">
              <a:xfrm flipH="1">
                <a:off x="13355638" y="221456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83" name="Line 776"/>
              <p:cNvSpPr>
                <a:spLocks noChangeShapeType="1"/>
              </p:cNvSpPr>
              <p:nvPr userDrawn="1"/>
            </p:nvSpPr>
            <p:spPr bwMode="auto">
              <a:xfrm flipH="1">
                <a:off x="13350875" y="2216151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84" name="Line 777"/>
              <p:cNvSpPr>
                <a:spLocks noChangeShapeType="1"/>
              </p:cNvSpPr>
              <p:nvPr userDrawn="1"/>
            </p:nvSpPr>
            <p:spPr bwMode="auto">
              <a:xfrm flipH="1">
                <a:off x="13344525" y="2217738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85" name="Line 778"/>
              <p:cNvSpPr>
                <a:spLocks noChangeShapeType="1"/>
              </p:cNvSpPr>
              <p:nvPr userDrawn="1"/>
            </p:nvSpPr>
            <p:spPr bwMode="auto">
              <a:xfrm flipH="1">
                <a:off x="13338175" y="2222501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86" name="Line 779"/>
              <p:cNvSpPr>
                <a:spLocks noChangeShapeType="1"/>
              </p:cNvSpPr>
              <p:nvPr userDrawn="1"/>
            </p:nvSpPr>
            <p:spPr bwMode="auto">
              <a:xfrm flipH="1">
                <a:off x="13328650" y="2227263"/>
                <a:ext cx="952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87" name="Line 780"/>
              <p:cNvSpPr>
                <a:spLocks noChangeShapeType="1"/>
              </p:cNvSpPr>
              <p:nvPr userDrawn="1"/>
            </p:nvSpPr>
            <p:spPr bwMode="auto">
              <a:xfrm flipH="1">
                <a:off x="13323888" y="2238376"/>
                <a:ext cx="476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88" name="Line 781"/>
              <p:cNvSpPr>
                <a:spLocks noChangeShapeType="1"/>
              </p:cNvSpPr>
              <p:nvPr userDrawn="1"/>
            </p:nvSpPr>
            <p:spPr bwMode="auto">
              <a:xfrm>
                <a:off x="13323888" y="2246313"/>
                <a:ext cx="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89" name="Line 782"/>
              <p:cNvSpPr>
                <a:spLocks noChangeShapeType="1"/>
              </p:cNvSpPr>
              <p:nvPr userDrawn="1"/>
            </p:nvSpPr>
            <p:spPr bwMode="auto">
              <a:xfrm>
                <a:off x="13323888" y="2254251"/>
                <a:ext cx="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90" name="Line 783"/>
              <p:cNvSpPr>
                <a:spLocks noChangeShapeType="1"/>
              </p:cNvSpPr>
              <p:nvPr userDrawn="1"/>
            </p:nvSpPr>
            <p:spPr bwMode="auto">
              <a:xfrm>
                <a:off x="13323888" y="2254251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91" name="Line 784"/>
              <p:cNvSpPr>
                <a:spLocks noChangeShapeType="1"/>
              </p:cNvSpPr>
              <p:nvPr userDrawn="1"/>
            </p:nvSpPr>
            <p:spPr bwMode="auto">
              <a:xfrm>
                <a:off x="13325475" y="2255838"/>
                <a:ext cx="158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92" name="Line 785"/>
              <p:cNvSpPr>
                <a:spLocks noChangeShapeType="1"/>
              </p:cNvSpPr>
              <p:nvPr userDrawn="1"/>
            </p:nvSpPr>
            <p:spPr bwMode="auto">
              <a:xfrm flipV="1">
                <a:off x="13327063" y="2254251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93" name="Line 786"/>
              <p:cNvSpPr>
                <a:spLocks noChangeShapeType="1"/>
              </p:cNvSpPr>
              <p:nvPr userDrawn="1"/>
            </p:nvSpPr>
            <p:spPr bwMode="auto">
              <a:xfrm flipV="1">
                <a:off x="13331825" y="2249488"/>
                <a:ext cx="793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94" name="Line 787"/>
              <p:cNvSpPr>
                <a:spLocks noChangeShapeType="1"/>
              </p:cNvSpPr>
              <p:nvPr userDrawn="1"/>
            </p:nvSpPr>
            <p:spPr bwMode="auto">
              <a:xfrm flipV="1">
                <a:off x="13339763" y="2239963"/>
                <a:ext cx="952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95" name="Line 788"/>
              <p:cNvSpPr>
                <a:spLocks noChangeShapeType="1"/>
              </p:cNvSpPr>
              <p:nvPr userDrawn="1"/>
            </p:nvSpPr>
            <p:spPr bwMode="auto">
              <a:xfrm flipV="1">
                <a:off x="13349288" y="2230438"/>
                <a:ext cx="793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96" name="Line 789"/>
              <p:cNvSpPr>
                <a:spLocks noChangeShapeType="1"/>
              </p:cNvSpPr>
              <p:nvPr userDrawn="1"/>
            </p:nvSpPr>
            <p:spPr bwMode="auto">
              <a:xfrm flipV="1">
                <a:off x="13357225" y="2224088"/>
                <a:ext cx="635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97" name="Line 790"/>
              <p:cNvSpPr>
                <a:spLocks noChangeShapeType="1"/>
              </p:cNvSpPr>
              <p:nvPr userDrawn="1"/>
            </p:nvSpPr>
            <p:spPr bwMode="auto">
              <a:xfrm flipV="1">
                <a:off x="13363575" y="2219326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98" name="Line 791"/>
              <p:cNvSpPr>
                <a:spLocks noChangeShapeType="1"/>
              </p:cNvSpPr>
              <p:nvPr userDrawn="1"/>
            </p:nvSpPr>
            <p:spPr bwMode="auto">
              <a:xfrm flipV="1">
                <a:off x="13296900" y="2227263"/>
                <a:ext cx="9525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499" name="Line 792"/>
              <p:cNvSpPr>
                <a:spLocks noChangeShapeType="1"/>
              </p:cNvSpPr>
              <p:nvPr userDrawn="1"/>
            </p:nvSpPr>
            <p:spPr bwMode="auto">
              <a:xfrm flipV="1">
                <a:off x="13306425" y="2211388"/>
                <a:ext cx="11112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00" name="Line 793"/>
              <p:cNvSpPr>
                <a:spLocks noChangeShapeType="1"/>
              </p:cNvSpPr>
              <p:nvPr userDrawn="1"/>
            </p:nvSpPr>
            <p:spPr bwMode="auto">
              <a:xfrm flipV="1">
                <a:off x="13317538" y="2201863"/>
                <a:ext cx="952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01" name="Line 794"/>
              <p:cNvSpPr>
                <a:spLocks noChangeShapeType="1"/>
              </p:cNvSpPr>
              <p:nvPr userDrawn="1"/>
            </p:nvSpPr>
            <p:spPr bwMode="auto">
              <a:xfrm flipV="1">
                <a:off x="13327063" y="2192338"/>
                <a:ext cx="1905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02" name="Line 795"/>
              <p:cNvSpPr>
                <a:spLocks noChangeShapeType="1"/>
              </p:cNvSpPr>
              <p:nvPr userDrawn="1"/>
            </p:nvSpPr>
            <p:spPr bwMode="auto">
              <a:xfrm flipV="1">
                <a:off x="13346113" y="2189163"/>
                <a:ext cx="190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03" name="Line 796"/>
              <p:cNvSpPr>
                <a:spLocks noChangeShapeType="1"/>
              </p:cNvSpPr>
              <p:nvPr userDrawn="1"/>
            </p:nvSpPr>
            <p:spPr bwMode="auto">
              <a:xfrm>
                <a:off x="13365163" y="2189163"/>
                <a:ext cx="793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04" name="Line 797"/>
              <p:cNvSpPr>
                <a:spLocks noChangeShapeType="1"/>
              </p:cNvSpPr>
              <p:nvPr userDrawn="1"/>
            </p:nvSpPr>
            <p:spPr bwMode="auto">
              <a:xfrm>
                <a:off x="13373100" y="218916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05" name="Line 798"/>
              <p:cNvSpPr>
                <a:spLocks noChangeShapeType="1"/>
              </p:cNvSpPr>
              <p:nvPr userDrawn="1"/>
            </p:nvSpPr>
            <p:spPr bwMode="auto">
              <a:xfrm>
                <a:off x="13376275" y="2189163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06" name="Line 799"/>
              <p:cNvSpPr>
                <a:spLocks noChangeShapeType="1"/>
              </p:cNvSpPr>
              <p:nvPr userDrawn="1"/>
            </p:nvSpPr>
            <p:spPr bwMode="auto">
              <a:xfrm>
                <a:off x="13381038" y="218916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07" name="Line 800"/>
              <p:cNvSpPr>
                <a:spLocks noChangeShapeType="1"/>
              </p:cNvSpPr>
              <p:nvPr userDrawn="1"/>
            </p:nvSpPr>
            <p:spPr bwMode="auto">
              <a:xfrm>
                <a:off x="13384213" y="2190751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08" name="Line 801"/>
              <p:cNvSpPr>
                <a:spLocks noChangeShapeType="1"/>
              </p:cNvSpPr>
              <p:nvPr userDrawn="1"/>
            </p:nvSpPr>
            <p:spPr bwMode="auto">
              <a:xfrm>
                <a:off x="13385800" y="2193926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09" name="Line 802"/>
              <p:cNvSpPr>
                <a:spLocks noChangeShapeType="1"/>
              </p:cNvSpPr>
              <p:nvPr userDrawn="1"/>
            </p:nvSpPr>
            <p:spPr bwMode="auto">
              <a:xfrm>
                <a:off x="13388975" y="2195513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10" name="Line 803"/>
              <p:cNvSpPr>
                <a:spLocks noChangeShapeType="1"/>
              </p:cNvSpPr>
              <p:nvPr userDrawn="1"/>
            </p:nvSpPr>
            <p:spPr bwMode="auto">
              <a:xfrm>
                <a:off x="13390563" y="2200276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11" name="Line 804"/>
              <p:cNvSpPr>
                <a:spLocks noChangeShapeType="1"/>
              </p:cNvSpPr>
              <p:nvPr userDrawn="1"/>
            </p:nvSpPr>
            <p:spPr bwMode="auto">
              <a:xfrm flipH="1">
                <a:off x="13390563" y="2214563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12" name="Line 805"/>
              <p:cNvSpPr>
                <a:spLocks noChangeShapeType="1"/>
              </p:cNvSpPr>
              <p:nvPr userDrawn="1"/>
            </p:nvSpPr>
            <p:spPr bwMode="auto">
              <a:xfrm flipH="1">
                <a:off x="13381038" y="2228851"/>
                <a:ext cx="952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13" name="Line 806"/>
              <p:cNvSpPr>
                <a:spLocks noChangeShapeType="1"/>
              </p:cNvSpPr>
              <p:nvPr userDrawn="1"/>
            </p:nvSpPr>
            <p:spPr bwMode="auto">
              <a:xfrm flipH="1">
                <a:off x="13368338" y="2243138"/>
                <a:ext cx="1270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14" name="Line 807"/>
              <p:cNvSpPr>
                <a:spLocks noChangeShapeType="1"/>
              </p:cNvSpPr>
              <p:nvPr userDrawn="1"/>
            </p:nvSpPr>
            <p:spPr bwMode="auto">
              <a:xfrm flipH="1">
                <a:off x="13354050" y="2260601"/>
                <a:ext cx="14287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15" name="Line 809"/>
              <p:cNvSpPr>
                <a:spLocks noChangeShapeType="1"/>
              </p:cNvSpPr>
              <p:nvPr userDrawn="1"/>
            </p:nvSpPr>
            <p:spPr bwMode="auto">
              <a:xfrm flipH="1">
                <a:off x="13342938" y="2271713"/>
                <a:ext cx="11113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16" name="Line 810"/>
              <p:cNvSpPr>
                <a:spLocks noChangeShapeType="1"/>
              </p:cNvSpPr>
              <p:nvPr userDrawn="1"/>
            </p:nvSpPr>
            <p:spPr bwMode="auto">
              <a:xfrm flipH="1">
                <a:off x="13333413" y="2279650"/>
                <a:ext cx="952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17" name="Line 811"/>
              <p:cNvSpPr>
                <a:spLocks noChangeShapeType="1"/>
              </p:cNvSpPr>
              <p:nvPr userDrawn="1"/>
            </p:nvSpPr>
            <p:spPr bwMode="auto">
              <a:xfrm flipH="1">
                <a:off x="13323888" y="2284413"/>
                <a:ext cx="952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18" name="Line 812"/>
              <p:cNvSpPr>
                <a:spLocks noChangeShapeType="1"/>
              </p:cNvSpPr>
              <p:nvPr userDrawn="1"/>
            </p:nvSpPr>
            <p:spPr bwMode="auto">
              <a:xfrm flipH="1">
                <a:off x="13320713" y="228600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19" name="Line 813"/>
              <p:cNvSpPr>
                <a:spLocks noChangeShapeType="1"/>
              </p:cNvSpPr>
              <p:nvPr userDrawn="1"/>
            </p:nvSpPr>
            <p:spPr bwMode="auto">
              <a:xfrm flipH="1">
                <a:off x="13315951" y="2287588"/>
                <a:ext cx="4763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20" name="Line 814"/>
              <p:cNvSpPr>
                <a:spLocks noChangeShapeType="1"/>
              </p:cNvSpPr>
              <p:nvPr userDrawn="1"/>
            </p:nvSpPr>
            <p:spPr bwMode="auto">
              <a:xfrm flipH="1">
                <a:off x="13311188" y="2287588"/>
                <a:ext cx="4763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21" name="Line 815"/>
              <p:cNvSpPr>
                <a:spLocks noChangeShapeType="1"/>
              </p:cNvSpPr>
              <p:nvPr userDrawn="1"/>
            </p:nvSpPr>
            <p:spPr bwMode="auto">
              <a:xfrm flipH="1">
                <a:off x="13308013" y="2290763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22" name="Line 816"/>
              <p:cNvSpPr>
                <a:spLocks noChangeShapeType="1"/>
              </p:cNvSpPr>
              <p:nvPr userDrawn="1"/>
            </p:nvSpPr>
            <p:spPr bwMode="auto">
              <a:xfrm flipH="1">
                <a:off x="13306426" y="2295525"/>
                <a:ext cx="1588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23" name="Line 817"/>
              <p:cNvSpPr>
                <a:spLocks noChangeShapeType="1"/>
              </p:cNvSpPr>
              <p:nvPr userDrawn="1"/>
            </p:nvSpPr>
            <p:spPr bwMode="auto">
              <a:xfrm>
                <a:off x="13306426" y="2305050"/>
                <a:ext cx="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24" name="Line 818"/>
              <p:cNvSpPr>
                <a:spLocks noChangeShapeType="1"/>
              </p:cNvSpPr>
              <p:nvPr userDrawn="1"/>
            </p:nvSpPr>
            <p:spPr bwMode="auto">
              <a:xfrm>
                <a:off x="13306426" y="2316163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25" name="Line 819"/>
              <p:cNvSpPr>
                <a:spLocks noChangeShapeType="1"/>
              </p:cNvSpPr>
              <p:nvPr userDrawn="1"/>
            </p:nvSpPr>
            <p:spPr bwMode="auto">
              <a:xfrm>
                <a:off x="13309601" y="2330450"/>
                <a:ext cx="635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26" name="Line 820"/>
              <p:cNvSpPr>
                <a:spLocks noChangeShapeType="1"/>
              </p:cNvSpPr>
              <p:nvPr userDrawn="1"/>
            </p:nvSpPr>
            <p:spPr bwMode="auto">
              <a:xfrm>
                <a:off x="13315951" y="2341563"/>
                <a:ext cx="7938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27" name="Line 821"/>
              <p:cNvSpPr>
                <a:spLocks noChangeShapeType="1"/>
              </p:cNvSpPr>
              <p:nvPr userDrawn="1"/>
            </p:nvSpPr>
            <p:spPr bwMode="auto">
              <a:xfrm>
                <a:off x="13323888" y="2349500"/>
                <a:ext cx="11113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28" name="Line 822"/>
              <p:cNvSpPr>
                <a:spLocks noChangeShapeType="1"/>
              </p:cNvSpPr>
              <p:nvPr userDrawn="1"/>
            </p:nvSpPr>
            <p:spPr bwMode="auto">
              <a:xfrm>
                <a:off x="13335001" y="2359025"/>
                <a:ext cx="1905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29" name="Line 823"/>
              <p:cNvSpPr>
                <a:spLocks noChangeShapeType="1"/>
              </p:cNvSpPr>
              <p:nvPr userDrawn="1"/>
            </p:nvSpPr>
            <p:spPr bwMode="auto">
              <a:xfrm>
                <a:off x="13354051" y="2366963"/>
                <a:ext cx="190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30" name="Line 824"/>
              <p:cNvSpPr>
                <a:spLocks noChangeShapeType="1"/>
              </p:cNvSpPr>
              <p:nvPr userDrawn="1"/>
            </p:nvSpPr>
            <p:spPr bwMode="auto">
              <a:xfrm flipV="1">
                <a:off x="13373101" y="2366963"/>
                <a:ext cx="190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31" name="Line 825"/>
              <p:cNvSpPr>
                <a:spLocks noChangeShapeType="1"/>
              </p:cNvSpPr>
              <p:nvPr userDrawn="1"/>
            </p:nvSpPr>
            <p:spPr bwMode="auto">
              <a:xfrm flipV="1">
                <a:off x="13392151" y="2360613"/>
                <a:ext cx="158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32" name="Line 826"/>
              <p:cNvSpPr>
                <a:spLocks noChangeShapeType="1"/>
              </p:cNvSpPr>
              <p:nvPr userDrawn="1"/>
            </p:nvSpPr>
            <p:spPr bwMode="auto">
              <a:xfrm flipV="1">
                <a:off x="13408026" y="2352675"/>
                <a:ext cx="7938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33" name="Line 827"/>
              <p:cNvSpPr>
                <a:spLocks noChangeShapeType="1"/>
              </p:cNvSpPr>
              <p:nvPr userDrawn="1"/>
            </p:nvSpPr>
            <p:spPr bwMode="auto">
              <a:xfrm flipV="1">
                <a:off x="13415963" y="2341563"/>
                <a:ext cx="635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34" name="Line 828"/>
              <p:cNvSpPr>
                <a:spLocks noChangeShapeType="1"/>
              </p:cNvSpPr>
              <p:nvPr userDrawn="1"/>
            </p:nvSpPr>
            <p:spPr bwMode="auto">
              <a:xfrm flipV="1">
                <a:off x="13422313" y="2332038"/>
                <a:ext cx="1588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35" name="Line 829"/>
              <p:cNvSpPr>
                <a:spLocks noChangeShapeType="1"/>
              </p:cNvSpPr>
              <p:nvPr userDrawn="1"/>
            </p:nvSpPr>
            <p:spPr bwMode="auto">
              <a:xfrm flipV="1">
                <a:off x="13423901" y="2320925"/>
                <a:ext cx="1588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36" name="Line 830"/>
              <p:cNvSpPr>
                <a:spLocks noChangeShapeType="1"/>
              </p:cNvSpPr>
              <p:nvPr userDrawn="1"/>
            </p:nvSpPr>
            <p:spPr bwMode="auto">
              <a:xfrm flipV="1">
                <a:off x="13425488" y="2312988"/>
                <a:ext cx="635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37" name="Line 831"/>
              <p:cNvSpPr>
                <a:spLocks noChangeShapeType="1"/>
              </p:cNvSpPr>
              <p:nvPr userDrawn="1"/>
            </p:nvSpPr>
            <p:spPr bwMode="auto">
              <a:xfrm flipV="1">
                <a:off x="13431838" y="231140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38" name="Line 832"/>
              <p:cNvSpPr>
                <a:spLocks noChangeShapeType="1"/>
              </p:cNvSpPr>
              <p:nvPr userDrawn="1"/>
            </p:nvSpPr>
            <p:spPr bwMode="auto">
              <a:xfrm flipV="1">
                <a:off x="13435013" y="230981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39" name="Line 833"/>
              <p:cNvSpPr>
                <a:spLocks noChangeShapeType="1"/>
              </p:cNvSpPr>
              <p:nvPr userDrawn="1"/>
            </p:nvSpPr>
            <p:spPr bwMode="auto">
              <a:xfrm>
                <a:off x="13438188" y="230981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0" name="Line 834"/>
              <p:cNvSpPr>
                <a:spLocks noChangeShapeType="1"/>
              </p:cNvSpPr>
              <p:nvPr userDrawn="1"/>
            </p:nvSpPr>
            <p:spPr bwMode="auto">
              <a:xfrm>
                <a:off x="13441363" y="231140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1" name="Line 835"/>
              <p:cNvSpPr>
                <a:spLocks noChangeShapeType="1"/>
              </p:cNvSpPr>
              <p:nvPr userDrawn="1"/>
            </p:nvSpPr>
            <p:spPr bwMode="auto">
              <a:xfrm>
                <a:off x="13444538" y="2312988"/>
                <a:ext cx="4763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2" name="Line 836"/>
              <p:cNvSpPr>
                <a:spLocks noChangeShapeType="1"/>
              </p:cNvSpPr>
              <p:nvPr userDrawn="1"/>
            </p:nvSpPr>
            <p:spPr bwMode="auto">
              <a:xfrm>
                <a:off x="13449301" y="2322513"/>
                <a:ext cx="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3" name="Line 837"/>
              <p:cNvSpPr>
                <a:spLocks noChangeShapeType="1"/>
              </p:cNvSpPr>
              <p:nvPr userDrawn="1"/>
            </p:nvSpPr>
            <p:spPr bwMode="auto">
              <a:xfrm flipH="1">
                <a:off x="13446126" y="2335213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4" name="Line 838"/>
              <p:cNvSpPr>
                <a:spLocks noChangeShapeType="1"/>
              </p:cNvSpPr>
              <p:nvPr userDrawn="1"/>
            </p:nvSpPr>
            <p:spPr bwMode="auto">
              <a:xfrm flipH="1">
                <a:off x="13438188" y="2349500"/>
                <a:ext cx="7938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5" name="Line 839"/>
              <p:cNvSpPr>
                <a:spLocks noChangeShapeType="1"/>
              </p:cNvSpPr>
              <p:nvPr userDrawn="1"/>
            </p:nvSpPr>
            <p:spPr bwMode="auto">
              <a:xfrm flipH="1">
                <a:off x="13425488" y="2362200"/>
                <a:ext cx="1270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6" name="Line 840"/>
              <p:cNvSpPr>
                <a:spLocks noChangeShapeType="1"/>
              </p:cNvSpPr>
              <p:nvPr userDrawn="1"/>
            </p:nvSpPr>
            <p:spPr bwMode="auto">
              <a:xfrm flipH="1">
                <a:off x="13412788" y="2378075"/>
                <a:ext cx="1270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7" name="Line 841"/>
              <p:cNvSpPr>
                <a:spLocks noChangeShapeType="1"/>
              </p:cNvSpPr>
              <p:nvPr userDrawn="1"/>
            </p:nvSpPr>
            <p:spPr bwMode="auto">
              <a:xfrm flipH="1">
                <a:off x="13403263" y="2386013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8" name="Line 842"/>
              <p:cNvSpPr>
                <a:spLocks noChangeShapeType="1"/>
              </p:cNvSpPr>
              <p:nvPr userDrawn="1"/>
            </p:nvSpPr>
            <p:spPr bwMode="auto">
              <a:xfrm flipH="1">
                <a:off x="13388976" y="2389188"/>
                <a:ext cx="14288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9" name="Line 843"/>
              <p:cNvSpPr>
                <a:spLocks noChangeShapeType="1"/>
              </p:cNvSpPr>
              <p:nvPr userDrawn="1"/>
            </p:nvSpPr>
            <p:spPr bwMode="auto">
              <a:xfrm flipH="1">
                <a:off x="13373101" y="2390775"/>
                <a:ext cx="158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50" name="Line 844"/>
              <p:cNvSpPr>
                <a:spLocks noChangeShapeType="1"/>
              </p:cNvSpPr>
              <p:nvPr userDrawn="1"/>
            </p:nvSpPr>
            <p:spPr bwMode="auto">
              <a:xfrm flipH="1" flipV="1">
                <a:off x="13354051" y="2390775"/>
                <a:ext cx="1905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51" name="Line 845"/>
              <p:cNvSpPr>
                <a:spLocks noChangeShapeType="1"/>
              </p:cNvSpPr>
              <p:nvPr userDrawn="1"/>
            </p:nvSpPr>
            <p:spPr bwMode="auto">
              <a:xfrm flipH="1" flipV="1">
                <a:off x="13339763" y="2389188"/>
                <a:ext cx="14288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52" name="Line 846"/>
              <p:cNvSpPr>
                <a:spLocks noChangeShapeType="1"/>
              </p:cNvSpPr>
              <p:nvPr userDrawn="1"/>
            </p:nvSpPr>
            <p:spPr bwMode="auto">
              <a:xfrm flipH="1" flipV="1">
                <a:off x="13331826" y="2386013"/>
                <a:ext cx="7938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53" name="Line 847"/>
              <p:cNvSpPr>
                <a:spLocks noChangeShapeType="1"/>
              </p:cNvSpPr>
              <p:nvPr userDrawn="1"/>
            </p:nvSpPr>
            <p:spPr bwMode="auto">
              <a:xfrm flipH="1" flipV="1">
                <a:off x="13320713" y="2379663"/>
                <a:ext cx="11113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54" name="Line 848"/>
              <p:cNvSpPr>
                <a:spLocks noChangeShapeType="1"/>
              </p:cNvSpPr>
              <p:nvPr userDrawn="1"/>
            </p:nvSpPr>
            <p:spPr bwMode="auto">
              <a:xfrm flipH="1" flipV="1">
                <a:off x="13304838" y="2368550"/>
                <a:ext cx="158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55" name="Line 849"/>
              <p:cNvSpPr>
                <a:spLocks noChangeShapeType="1"/>
              </p:cNvSpPr>
              <p:nvPr userDrawn="1"/>
            </p:nvSpPr>
            <p:spPr bwMode="auto">
              <a:xfrm flipH="1" flipV="1">
                <a:off x="13292138" y="2355850"/>
                <a:ext cx="1270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56" name="Line 850"/>
              <p:cNvSpPr>
                <a:spLocks noChangeShapeType="1"/>
              </p:cNvSpPr>
              <p:nvPr userDrawn="1"/>
            </p:nvSpPr>
            <p:spPr bwMode="auto">
              <a:xfrm flipH="1" flipV="1">
                <a:off x="13287376" y="2347913"/>
                <a:ext cx="4763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57" name="Line 851"/>
              <p:cNvSpPr>
                <a:spLocks noChangeShapeType="1"/>
              </p:cNvSpPr>
              <p:nvPr userDrawn="1"/>
            </p:nvSpPr>
            <p:spPr bwMode="auto">
              <a:xfrm flipH="1" flipV="1">
                <a:off x="13285788" y="2343150"/>
                <a:ext cx="1588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58" name="Line 852"/>
              <p:cNvSpPr>
                <a:spLocks noChangeShapeType="1"/>
              </p:cNvSpPr>
              <p:nvPr userDrawn="1"/>
            </p:nvSpPr>
            <p:spPr bwMode="auto">
              <a:xfrm flipH="1" flipV="1">
                <a:off x="13282613" y="2336800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59" name="Line 853"/>
              <p:cNvSpPr>
                <a:spLocks noChangeShapeType="1"/>
              </p:cNvSpPr>
              <p:nvPr userDrawn="1"/>
            </p:nvSpPr>
            <p:spPr bwMode="auto">
              <a:xfrm flipH="1" flipV="1">
                <a:off x="13282613" y="2325688"/>
                <a:ext cx="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60" name="Line 854"/>
              <p:cNvSpPr>
                <a:spLocks noChangeShapeType="1"/>
              </p:cNvSpPr>
              <p:nvPr userDrawn="1"/>
            </p:nvSpPr>
            <p:spPr bwMode="auto">
              <a:xfrm flipV="1">
                <a:off x="13282613" y="2306638"/>
                <a:ext cx="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61" name="Line 855"/>
              <p:cNvSpPr>
                <a:spLocks noChangeShapeType="1"/>
              </p:cNvSpPr>
              <p:nvPr userDrawn="1"/>
            </p:nvSpPr>
            <p:spPr bwMode="auto">
              <a:xfrm flipV="1">
                <a:off x="13282613" y="2287588"/>
                <a:ext cx="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62" name="Line 856"/>
              <p:cNvSpPr>
                <a:spLocks noChangeShapeType="1"/>
              </p:cNvSpPr>
              <p:nvPr userDrawn="1"/>
            </p:nvSpPr>
            <p:spPr bwMode="auto">
              <a:xfrm flipV="1">
                <a:off x="13282613" y="2273300"/>
                <a:ext cx="1588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63" name="Line 857"/>
              <p:cNvSpPr>
                <a:spLocks noChangeShapeType="1"/>
              </p:cNvSpPr>
              <p:nvPr userDrawn="1"/>
            </p:nvSpPr>
            <p:spPr bwMode="auto">
              <a:xfrm flipV="1">
                <a:off x="13284201" y="2265363"/>
                <a:ext cx="1588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64" name="Line 858"/>
              <p:cNvSpPr>
                <a:spLocks noChangeShapeType="1"/>
              </p:cNvSpPr>
              <p:nvPr userDrawn="1"/>
            </p:nvSpPr>
            <p:spPr bwMode="auto">
              <a:xfrm flipV="1">
                <a:off x="13285788" y="2255838"/>
                <a:ext cx="4763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65" name="Line 859"/>
              <p:cNvSpPr>
                <a:spLocks noChangeShapeType="1"/>
              </p:cNvSpPr>
              <p:nvPr userDrawn="1"/>
            </p:nvSpPr>
            <p:spPr bwMode="auto">
              <a:xfrm flipV="1">
                <a:off x="13290551" y="2243138"/>
                <a:ext cx="635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66" name="Freeform 860"/>
              <p:cNvSpPr>
                <a:spLocks noEditPoints="1"/>
              </p:cNvSpPr>
              <p:nvPr userDrawn="1"/>
            </p:nvSpPr>
            <p:spPr bwMode="auto">
              <a:xfrm>
                <a:off x="13460413" y="2185988"/>
                <a:ext cx="138113" cy="307975"/>
              </a:xfrm>
              <a:custGeom>
                <a:avLst/>
                <a:gdLst>
                  <a:gd name="T0" fmla="*/ 83 w 175"/>
                  <a:gd name="T1" fmla="*/ 44 h 389"/>
                  <a:gd name="T2" fmla="*/ 55 w 175"/>
                  <a:gd name="T3" fmla="*/ 59 h 389"/>
                  <a:gd name="T4" fmla="*/ 48 w 175"/>
                  <a:gd name="T5" fmla="*/ 95 h 389"/>
                  <a:gd name="T6" fmla="*/ 41 w 175"/>
                  <a:gd name="T7" fmla="*/ 183 h 389"/>
                  <a:gd name="T8" fmla="*/ 62 w 175"/>
                  <a:gd name="T9" fmla="*/ 182 h 389"/>
                  <a:gd name="T10" fmla="*/ 88 w 175"/>
                  <a:gd name="T11" fmla="*/ 165 h 389"/>
                  <a:gd name="T12" fmla="*/ 121 w 175"/>
                  <a:gd name="T13" fmla="*/ 130 h 389"/>
                  <a:gd name="T14" fmla="*/ 138 w 175"/>
                  <a:gd name="T15" fmla="*/ 99 h 389"/>
                  <a:gd name="T16" fmla="*/ 138 w 175"/>
                  <a:gd name="T17" fmla="*/ 64 h 389"/>
                  <a:gd name="T18" fmla="*/ 123 w 175"/>
                  <a:gd name="T19" fmla="*/ 47 h 389"/>
                  <a:gd name="T20" fmla="*/ 38 w 175"/>
                  <a:gd name="T21" fmla="*/ 0 h 389"/>
                  <a:gd name="T22" fmla="*/ 44 w 175"/>
                  <a:gd name="T23" fmla="*/ 4 h 389"/>
                  <a:gd name="T24" fmla="*/ 66 w 175"/>
                  <a:gd name="T25" fmla="*/ 10 h 389"/>
                  <a:gd name="T26" fmla="*/ 106 w 175"/>
                  <a:gd name="T27" fmla="*/ 10 h 389"/>
                  <a:gd name="T28" fmla="*/ 127 w 175"/>
                  <a:gd name="T29" fmla="*/ 13 h 389"/>
                  <a:gd name="T30" fmla="*/ 152 w 175"/>
                  <a:gd name="T31" fmla="*/ 30 h 389"/>
                  <a:gd name="T32" fmla="*/ 165 w 175"/>
                  <a:gd name="T33" fmla="*/ 42 h 389"/>
                  <a:gd name="T34" fmla="*/ 172 w 175"/>
                  <a:gd name="T35" fmla="*/ 52 h 389"/>
                  <a:gd name="T36" fmla="*/ 175 w 175"/>
                  <a:gd name="T37" fmla="*/ 82 h 389"/>
                  <a:gd name="T38" fmla="*/ 171 w 175"/>
                  <a:gd name="T39" fmla="*/ 113 h 389"/>
                  <a:gd name="T40" fmla="*/ 154 w 175"/>
                  <a:gd name="T41" fmla="*/ 143 h 389"/>
                  <a:gd name="T42" fmla="*/ 126 w 175"/>
                  <a:gd name="T43" fmla="*/ 175 h 389"/>
                  <a:gd name="T44" fmla="*/ 83 w 175"/>
                  <a:gd name="T45" fmla="*/ 209 h 389"/>
                  <a:gd name="T46" fmla="*/ 55 w 175"/>
                  <a:gd name="T47" fmla="*/ 220 h 389"/>
                  <a:gd name="T48" fmla="*/ 42 w 175"/>
                  <a:gd name="T49" fmla="*/ 238 h 389"/>
                  <a:gd name="T50" fmla="*/ 35 w 175"/>
                  <a:gd name="T51" fmla="*/ 338 h 389"/>
                  <a:gd name="T52" fmla="*/ 31 w 175"/>
                  <a:gd name="T53" fmla="*/ 378 h 389"/>
                  <a:gd name="T54" fmla="*/ 20 w 175"/>
                  <a:gd name="T55" fmla="*/ 388 h 389"/>
                  <a:gd name="T56" fmla="*/ 9 w 175"/>
                  <a:gd name="T57" fmla="*/ 388 h 389"/>
                  <a:gd name="T58" fmla="*/ 3 w 175"/>
                  <a:gd name="T59" fmla="*/ 382 h 389"/>
                  <a:gd name="T60" fmla="*/ 0 w 175"/>
                  <a:gd name="T61" fmla="*/ 369 h 389"/>
                  <a:gd name="T62" fmla="*/ 2 w 175"/>
                  <a:gd name="T63" fmla="*/ 333 h 389"/>
                  <a:gd name="T64" fmla="*/ 6 w 175"/>
                  <a:gd name="T65" fmla="*/ 205 h 389"/>
                  <a:gd name="T66" fmla="*/ 9 w 175"/>
                  <a:gd name="T67" fmla="*/ 76 h 389"/>
                  <a:gd name="T68" fmla="*/ 11 w 175"/>
                  <a:gd name="T69" fmla="*/ 34 h 389"/>
                  <a:gd name="T70" fmla="*/ 19 w 175"/>
                  <a:gd name="T71" fmla="*/ 10 h 389"/>
                  <a:gd name="T72" fmla="*/ 28 w 175"/>
                  <a:gd name="T73" fmla="*/ 2 h 389"/>
                  <a:gd name="T74" fmla="*/ 38 w 175"/>
                  <a:gd name="T75" fmla="*/ 0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5" h="389">
                    <a:moveTo>
                      <a:pt x="104" y="42"/>
                    </a:moveTo>
                    <a:lnTo>
                      <a:pt x="83" y="44"/>
                    </a:lnTo>
                    <a:lnTo>
                      <a:pt x="66" y="49"/>
                    </a:lnTo>
                    <a:lnTo>
                      <a:pt x="55" y="59"/>
                    </a:lnTo>
                    <a:lnTo>
                      <a:pt x="51" y="72"/>
                    </a:lnTo>
                    <a:lnTo>
                      <a:pt x="48" y="95"/>
                    </a:lnTo>
                    <a:lnTo>
                      <a:pt x="44" y="127"/>
                    </a:lnTo>
                    <a:lnTo>
                      <a:pt x="41" y="183"/>
                    </a:lnTo>
                    <a:lnTo>
                      <a:pt x="54" y="183"/>
                    </a:lnTo>
                    <a:lnTo>
                      <a:pt x="62" y="182"/>
                    </a:lnTo>
                    <a:lnTo>
                      <a:pt x="73" y="175"/>
                    </a:lnTo>
                    <a:lnTo>
                      <a:pt x="88" y="165"/>
                    </a:lnTo>
                    <a:lnTo>
                      <a:pt x="102" y="150"/>
                    </a:lnTo>
                    <a:lnTo>
                      <a:pt x="121" y="130"/>
                    </a:lnTo>
                    <a:lnTo>
                      <a:pt x="133" y="113"/>
                    </a:lnTo>
                    <a:lnTo>
                      <a:pt x="138" y="99"/>
                    </a:lnTo>
                    <a:lnTo>
                      <a:pt x="140" y="79"/>
                    </a:lnTo>
                    <a:lnTo>
                      <a:pt x="138" y="64"/>
                    </a:lnTo>
                    <a:lnTo>
                      <a:pt x="133" y="54"/>
                    </a:lnTo>
                    <a:lnTo>
                      <a:pt x="123" y="47"/>
                    </a:lnTo>
                    <a:lnTo>
                      <a:pt x="104" y="42"/>
                    </a:lnTo>
                    <a:close/>
                    <a:moveTo>
                      <a:pt x="38" y="0"/>
                    </a:moveTo>
                    <a:lnTo>
                      <a:pt x="41" y="2"/>
                    </a:lnTo>
                    <a:lnTo>
                      <a:pt x="44" y="4"/>
                    </a:lnTo>
                    <a:lnTo>
                      <a:pt x="51" y="7"/>
                    </a:lnTo>
                    <a:lnTo>
                      <a:pt x="66" y="10"/>
                    </a:lnTo>
                    <a:lnTo>
                      <a:pt x="89" y="10"/>
                    </a:lnTo>
                    <a:lnTo>
                      <a:pt x="106" y="10"/>
                    </a:lnTo>
                    <a:lnTo>
                      <a:pt x="119" y="11"/>
                    </a:lnTo>
                    <a:lnTo>
                      <a:pt x="127" y="13"/>
                    </a:lnTo>
                    <a:lnTo>
                      <a:pt x="137" y="18"/>
                    </a:lnTo>
                    <a:lnTo>
                      <a:pt x="152" y="30"/>
                    </a:lnTo>
                    <a:lnTo>
                      <a:pt x="159" y="37"/>
                    </a:lnTo>
                    <a:lnTo>
                      <a:pt x="165" y="42"/>
                    </a:lnTo>
                    <a:lnTo>
                      <a:pt x="169" y="48"/>
                    </a:lnTo>
                    <a:lnTo>
                      <a:pt x="172" y="52"/>
                    </a:lnTo>
                    <a:lnTo>
                      <a:pt x="175" y="62"/>
                    </a:lnTo>
                    <a:lnTo>
                      <a:pt x="175" y="82"/>
                    </a:lnTo>
                    <a:lnTo>
                      <a:pt x="174" y="99"/>
                    </a:lnTo>
                    <a:lnTo>
                      <a:pt x="171" y="113"/>
                    </a:lnTo>
                    <a:lnTo>
                      <a:pt x="165" y="126"/>
                    </a:lnTo>
                    <a:lnTo>
                      <a:pt x="154" y="143"/>
                    </a:lnTo>
                    <a:lnTo>
                      <a:pt x="143" y="158"/>
                    </a:lnTo>
                    <a:lnTo>
                      <a:pt x="126" y="175"/>
                    </a:lnTo>
                    <a:lnTo>
                      <a:pt x="104" y="193"/>
                    </a:lnTo>
                    <a:lnTo>
                      <a:pt x="83" y="209"/>
                    </a:lnTo>
                    <a:lnTo>
                      <a:pt x="66" y="217"/>
                    </a:lnTo>
                    <a:lnTo>
                      <a:pt x="55" y="220"/>
                    </a:lnTo>
                    <a:lnTo>
                      <a:pt x="48" y="224"/>
                    </a:lnTo>
                    <a:lnTo>
                      <a:pt x="42" y="238"/>
                    </a:lnTo>
                    <a:lnTo>
                      <a:pt x="38" y="260"/>
                    </a:lnTo>
                    <a:lnTo>
                      <a:pt x="35" y="338"/>
                    </a:lnTo>
                    <a:lnTo>
                      <a:pt x="34" y="362"/>
                    </a:lnTo>
                    <a:lnTo>
                      <a:pt x="31" y="378"/>
                    </a:lnTo>
                    <a:lnTo>
                      <a:pt x="26" y="385"/>
                    </a:lnTo>
                    <a:lnTo>
                      <a:pt x="20" y="388"/>
                    </a:lnTo>
                    <a:lnTo>
                      <a:pt x="14" y="389"/>
                    </a:lnTo>
                    <a:lnTo>
                      <a:pt x="9" y="388"/>
                    </a:lnTo>
                    <a:lnTo>
                      <a:pt x="6" y="385"/>
                    </a:lnTo>
                    <a:lnTo>
                      <a:pt x="3" y="382"/>
                    </a:lnTo>
                    <a:lnTo>
                      <a:pt x="2" y="377"/>
                    </a:lnTo>
                    <a:lnTo>
                      <a:pt x="0" y="369"/>
                    </a:lnTo>
                    <a:lnTo>
                      <a:pt x="0" y="355"/>
                    </a:lnTo>
                    <a:lnTo>
                      <a:pt x="2" y="333"/>
                    </a:lnTo>
                    <a:lnTo>
                      <a:pt x="3" y="302"/>
                    </a:lnTo>
                    <a:lnTo>
                      <a:pt x="6" y="205"/>
                    </a:lnTo>
                    <a:lnTo>
                      <a:pt x="9" y="110"/>
                    </a:lnTo>
                    <a:lnTo>
                      <a:pt x="9" y="76"/>
                    </a:lnTo>
                    <a:lnTo>
                      <a:pt x="10" y="51"/>
                    </a:lnTo>
                    <a:lnTo>
                      <a:pt x="11" y="34"/>
                    </a:lnTo>
                    <a:lnTo>
                      <a:pt x="14" y="18"/>
                    </a:lnTo>
                    <a:lnTo>
                      <a:pt x="19" y="10"/>
                    </a:lnTo>
                    <a:lnTo>
                      <a:pt x="24" y="6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67" name="Line 861"/>
              <p:cNvSpPr>
                <a:spLocks noChangeShapeType="1"/>
              </p:cNvSpPr>
              <p:nvPr userDrawn="1"/>
            </p:nvSpPr>
            <p:spPr bwMode="auto">
              <a:xfrm flipH="1" flipV="1">
                <a:off x="13542963" y="2219325"/>
                <a:ext cx="14288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68" name="Line 862"/>
              <p:cNvSpPr>
                <a:spLocks noChangeShapeType="1"/>
              </p:cNvSpPr>
              <p:nvPr userDrawn="1"/>
            </p:nvSpPr>
            <p:spPr bwMode="auto">
              <a:xfrm flipH="1">
                <a:off x="13525501" y="2219325"/>
                <a:ext cx="17463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69" name="Line 863"/>
              <p:cNvSpPr>
                <a:spLocks noChangeShapeType="1"/>
              </p:cNvSpPr>
              <p:nvPr userDrawn="1"/>
            </p:nvSpPr>
            <p:spPr bwMode="auto">
              <a:xfrm flipH="1">
                <a:off x="13512801" y="2219325"/>
                <a:ext cx="1270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70" name="Line 864"/>
              <p:cNvSpPr>
                <a:spLocks noChangeShapeType="1"/>
              </p:cNvSpPr>
              <p:nvPr userDrawn="1"/>
            </p:nvSpPr>
            <p:spPr bwMode="auto">
              <a:xfrm flipH="1">
                <a:off x="13503276" y="2224088"/>
                <a:ext cx="952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71" name="Line 865"/>
              <p:cNvSpPr>
                <a:spLocks noChangeShapeType="1"/>
              </p:cNvSpPr>
              <p:nvPr userDrawn="1"/>
            </p:nvSpPr>
            <p:spPr bwMode="auto">
              <a:xfrm flipH="1">
                <a:off x="13500101" y="2232025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72" name="Line 866"/>
              <p:cNvSpPr>
                <a:spLocks noChangeShapeType="1"/>
              </p:cNvSpPr>
              <p:nvPr userDrawn="1"/>
            </p:nvSpPr>
            <p:spPr bwMode="auto">
              <a:xfrm flipH="1">
                <a:off x="13498513" y="2243138"/>
                <a:ext cx="1588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73" name="Line 867"/>
              <p:cNvSpPr>
                <a:spLocks noChangeShapeType="1"/>
              </p:cNvSpPr>
              <p:nvPr userDrawn="1"/>
            </p:nvSpPr>
            <p:spPr bwMode="auto">
              <a:xfrm flipH="1">
                <a:off x="13493751" y="2260600"/>
                <a:ext cx="4763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74" name="Line 868"/>
              <p:cNvSpPr>
                <a:spLocks noChangeShapeType="1"/>
              </p:cNvSpPr>
              <p:nvPr userDrawn="1"/>
            </p:nvSpPr>
            <p:spPr bwMode="auto">
              <a:xfrm flipH="1">
                <a:off x="13492163" y="2286000"/>
                <a:ext cx="1588" cy="444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75" name="Line 869"/>
              <p:cNvSpPr>
                <a:spLocks noChangeShapeType="1"/>
              </p:cNvSpPr>
              <p:nvPr userDrawn="1"/>
            </p:nvSpPr>
            <p:spPr bwMode="auto">
              <a:xfrm>
                <a:off x="13492163" y="2330450"/>
                <a:ext cx="952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76" name="Line 870"/>
              <p:cNvSpPr>
                <a:spLocks noChangeShapeType="1"/>
              </p:cNvSpPr>
              <p:nvPr userDrawn="1"/>
            </p:nvSpPr>
            <p:spPr bwMode="auto">
              <a:xfrm flipV="1">
                <a:off x="13501688" y="2328863"/>
                <a:ext cx="7938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77" name="Line 871"/>
              <p:cNvSpPr>
                <a:spLocks noChangeShapeType="1"/>
              </p:cNvSpPr>
              <p:nvPr userDrawn="1"/>
            </p:nvSpPr>
            <p:spPr bwMode="auto">
              <a:xfrm flipV="1">
                <a:off x="13509626" y="2324100"/>
                <a:ext cx="7938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78" name="Line 872"/>
              <p:cNvSpPr>
                <a:spLocks noChangeShapeType="1"/>
              </p:cNvSpPr>
              <p:nvPr userDrawn="1"/>
            </p:nvSpPr>
            <p:spPr bwMode="auto">
              <a:xfrm flipV="1">
                <a:off x="13517563" y="2316163"/>
                <a:ext cx="11113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79" name="Line 873"/>
              <p:cNvSpPr>
                <a:spLocks noChangeShapeType="1"/>
              </p:cNvSpPr>
              <p:nvPr userDrawn="1"/>
            </p:nvSpPr>
            <p:spPr bwMode="auto">
              <a:xfrm flipV="1">
                <a:off x="13528676" y="2303463"/>
                <a:ext cx="11113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80" name="Line 874"/>
              <p:cNvSpPr>
                <a:spLocks noChangeShapeType="1"/>
              </p:cNvSpPr>
              <p:nvPr userDrawn="1"/>
            </p:nvSpPr>
            <p:spPr bwMode="auto">
              <a:xfrm flipV="1">
                <a:off x="13539788" y="2287588"/>
                <a:ext cx="15875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81" name="Line 875"/>
              <p:cNvSpPr>
                <a:spLocks noChangeShapeType="1"/>
              </p:cNvSpPr>
              <p:nvPr userDrawn="1"/>
            </p:nvSpPr>
            <p:spPr bwMode="auto">
              <a:xfrm flipV="1">
                <a:off x="13555663" y="2274888"/>
                <a:ext cx="952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82" name="Line 876"/>
              <p:cNvSpPr>
                <a:spLocks noChangeShapeType="1"/>
              </p:cNvSpPr>
              <p:nvPr userDrawn="1"/>
            </p:nvSpPr>
            <p:spPr bwMode="auto">
              <a:xfrm flipV="1">
                <a:off x="13565188" y="2263775"/>
                <a:ext cx="4763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83" name="Line 877"/>
              <p:cNvSpPr>
                <a:spLocks noChangeShapeType="1"/>
              </p:cNvSpPr>
              <p:nvPr userDrawn="1"/>
            </p:nvSpPr>
            <p:spPr bwMode="auto">
              <a:xfrm flipV="1">
                <a:off x="13569951" y="2247900"/>
                <a:ext cx="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84" name="Line 878"/>
              <p:cNvSpPr>
                <a:spLocks noChangeShapeType="1"/>
              </p:cNvSpPr>
              <p:nvPr userDrawn="1"/>
            </p:nvSpPr>
            <p:spPr bwMode="auto">
              <a:xfrm flipH="1" flipV="1">
                <a:off x="13569951" y="2235200"/>
                <a:ext cx="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85" name="Line 879"/>
              <p:cNvSpPr>
                <a:spLocks noChangeShapeType="1"/>
              </p:cNvSpPr>
              <p:nvPr userDrawn="1"/>
            </p:nvSpPr>
            <p:spPr bwMode="auto">
              <a:xfrm flipH="1" flipV="1">
                <a:off x="13565188" y="2227263"/>
                <a:ext cx="4763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86" name="Line 880"/>
              <p:cNvSpPr>
                <a:spLocks noChangeShapeType="1"/>
              </p:cNvSpPr>
              <p:nvPr userDrawn="1"/>
            </p:nvSpPr>
            <p:spPr bwMode="auto">
              <a:xfrm flipH="1" flipV="1">
                <a:off x="13557251" y="2222500"/>
                <a:ext cx="7938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87" name="Line 881"/>
              <p:cNvSpPr>
                <a:spLocks noChangeShapeType="1"/>
              </p:cNvSpPr>
              <p:nvPr userDrawn="1"/>
            </p:nvSpPr>
            <p:spPr bwMode="auto">
              <a:xfrm flipV="1">
                <a:off x="13474701" y="2189163"/>
                <a:ext cx="4763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88" name="Line 882"/>
              <p:cNvSpPr>
                <a:spLocks noChangeShapeType="1"/>
              </p:cNvSpPr>
              <p:nvPr userDrawn="1"/>
            </p:nvSpPr>
            <p:spPr bwMode="auto">
              <a:xfrm flipV="1">
                <a:off x="13479463" y="218598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89" name="Line 883"/>
              <p:cNvSpPr>
                <a:spLocks noChangeShapeType="1"/>
              </p:cNvSpPr>
              <p:nvPr userDrawn="1"/>
            </p:nvSpPr>
            <p:spPr bwMode="auto">
              <a:xfrm flipV="1">
                <a:off x="13482638" y="2185988"/>
                <a:ext cx="4763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90" name="Line 884"/>
              <p:cNvSpPr>
                <a:spLocks noChangeShapeType="1"/>
              </p:cNvSpPr>
              <p:nvPr userDrawn="1"/>
            </p:nvSpPr>
            <p:spPr bwMode="auto">
              <a:xfrm>
                <a:off x="13487401" y="218598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91" name="Line 885"/>
              <p:cNvSpPr>
                <a:spLocks noChangeShapeType="1"/>
              </p:cNvSpPr>
              <p:nvPr userDrawn="1"/>
            </p:nvSpPr>
            <p:spPr bwMode="auto">
              <a:xfrm>
                <a:off x="13490576" y="2185988"/>
                <a:ext cx="1588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92" name="Line 886"/>
              <p:cNvSpPr>
                <a:spLocks noChangeShapeType="1"/>
              </p:cNvSpPr>
              <p:nvPr userDrawn="1"/>
            </p:nvSpPr>
            <p:spPr bwMode="auto">
              <a:xfrm>
                <a:off x="13492163" y="2185988"/>
                <a:ext cx="1588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93" name="Line 887"/>
              <p:cNvSpPr>
                <a:spLocks noChangeShapeType="1"/>
              </p:cNvSpPr>
              <p:nvPr userDrawn="1"/>
            </p:nvSpPr>
            <p:spPr bwMode="auto">
              <a:xfrm>
                <a:off x="13493751" y="2189163"/>
                <a:ext cx="635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94" name="Line 888"/>
              <p:cNvSpPr>
                <a:spLocks noChangeShapeType="1"/>
              </p:cNvSpPr>
              <p:nvPr userDrawn="1"/>
            </p:nvSpPr>
            <p:spPr bwMode="auto">
              <a:xfrm>
                <a:off x="13500101" y="2190750"/>
                <a:ext cx="1270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95" name="Line 889"/>
              <p:cNvSpPr>
                <a:spLocks noChangeShapeType="1"/>
              </p:cNvSpPr>
              <p:nvPr userDrawn="1"/>
            </p:nvSpPr>
            <p:spPr bwMode="auto">
              <a:xfrm>
                <a:off x="13512801" y="2193925"/>
                <a:ext cx="17463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96" name="Line 890"/>
              <p:cNvSpPr>
                <a:spLocks noChangeShapeType="1"/>
              </p:cNvSpPr>
              <p:nvPr userDrawn="1"/>
            </p:nvSpPr>
            <p:spPr bwMode="auto">
              <a:xfrm>
                <a:off x="13530263" y="2193925"/>
                <a:ext cx="1270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97" name="Line 891"/>
              <p:cNvSpPr>
                <a:spLocks noChangeShapeType="1"/>
              </p:cNvSpPr>
              <p:nvPr userDrawn="1"/>
            </p:nvSpPr>
            <p:spPr bwMode="auto">
              <a:xfrm>
                <a:off x="13542963" y="2193925"/>
                <a:ext cx="11113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98" name="Line 892"/>
              <p:cNvSpPr>
                <a:spLocks noChangeShapeType="1"/>
              </p:cNvSpPr>
              <p:nvPr userDrawn="1"/>
            </p:nvSpPr>
            <p:spPr bwMode="auto">
              <a:xfrm>
                <a:off x="13554076" y="2193925"/>
                <a:ext cx="635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99" name="Line 893"/>
              <p:cNvSpPr>
                <a:spLocks noChangeShapeType="1"/>
              </p:cNvSpPr>
              <p:nvPr userDrawn="1"/>
            </p:nvSpPr>
            <p:spPr bwMode="auto">
              <a:xfrm>
                <a:off x="13560426" y="2195513"/>
                <a:ext cx="7938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00" name="Line 894"/>
              <p:cNvSpPr>
                <a:spLocks noChangeShapeType="1"/>
              </p:cNvSpPr>
              <p:nvPr userDrawn="1"/>
            </p:nvSpPr>
            <p:spPr bwMode="auto">
              <a:xfrm>
                <a:off x="13568363" y="2200275"/>
                <a:ext cx="1270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01" name="Line 895"/>
              <p:cNvSpPr>
                <a:spLocks noChangeShapeType="1"/>
              </p:cNvSpPr>
              <p:nvPr userDrawn="1"/>
            </p:nvSpPr>
            <p:spPr bwMode="auto">
              <a:xfrm>
                <a:off x="13581063" y="2208213"/>
                <a:ext cx="4763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02" name="Line 896"/>
              <p:cNvSpPr>
                <a:spLocks noChangeShapeType="1"/>
              </p:cNvSpPr>
              <p:nvPr userDrawn="1"/>
            </p:nvSpPr>
            <p:spPr bwMode="auto">
              <a:xfrm>
                <a:off x="13585826" y="2214563"/>
                <a:ext cx="4763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03" name="Line 897"/>
              <p:cNvSpPr>
                <a:spLocks noChangeShapeType="1"/>
              </p:cNvSpPr>
              <p:nvPr userDrawn="1"/>
            </p:nvSpPr>
            <p:spPr bwMode="auto">
              <a:xfrm>
                <a:off x="13590588" y="2219325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04" name="Line 898"/>
              <p:cNvSpPr>
                <a:spLocks noChangeShapeType="1"/>
              </p:cNvSpPr>
              <p:nvPr userDrawn="1"/>
            </p:nvSpPr>
            <p:spPr bwMode="auto">
              <a:xfrm>
                <a:off x="13593763" y="222408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05" name="Line 899"/>
              <p:cNvSpPr>
                <a:spLocks noChangeShapeType="1"/>
              </p:cNvSpPr>
              <p:nvPr userDrawn="1"/>
            </p:nvSpPr>
            <p:spPr bwMode="auto">
              <a:xfrm>
                <a:off x="13596938" y="2227263"/>
                <a:ext cx="1588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06" name="Line 900"/>
              <p:cNvSpPr>
                <a:spLocks noChangeShapeType="1"/>
              </p:cNvSpPr>
              <p:nvPr userDrawn="1"/>
            </p:nvSpPr>
            <p:spPr bwMode="auto">
              <a:xfrm>
                <a:off x="13598526" y="2235200"/>
                <a:ext cx="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07" name="Line 901"/>
              <p:cNvSpPr>
                <a:spLocks noChangeShapeType="1"/>
              </p:cNvSpPr>
              <p:nvPr userDrawn="1"/>
            </p:nvSpPr>
            <p:spPr bwMode="auto">
              <a:xfrm flipH="1">
                <a:off x="13596938" y="2249488"/>
                <a:ext cx="1588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08" name="Line 902"/>
              <p:cNvSpPr>
                <a:spLocks noChangeShapeType="1"/>
              </p:cNvSpPr>
              <p:nvPr userDrawn="1"/>
            </p:nvSpPr>
            <p:spPr bwMode="auto">
              <a:xfrm flipH="1">
                <a:off x="13595351" y="2263775"/>
                <a:ext cx="1588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09" name="Line 903"/>
              <p:cNvSpPr>
                <a:spLocks noChangeShapeType="1"/>
              </p:cNvSpPr>
              <p:nvPr userDrawn="1"/>
            </p:nvSpPr>
            <p:spPr bwMode="auto">
              <a:xfrm flipH="1">
                <a:off x="13590588" y="2274888"/>
                <a:ext cx="4763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10" name="Line 904"/>
              <p:cNvSpPr>
                <a:spLocks noChangeShapeType="1"/>
              </p:cNvSpPr>
              <p:nvPr userDrawn="1"/>
            </p:nvSpPr>
            <p:spPr bwMode="auto">
              <a:xfrm flipH="1">
                <a:off x="13581063" y="2284413"/>
                <a:ext cx="952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11" name="Line 905"/>
              <p:cNvSpPr>
                <a:spLocks noChangeShapeType="1"/>
              </p:cNvSpPr>
              <p:nvPr userDrawn="1"/>
            </p:nvSpPr>
            <p:spPr bwMode="auto">
              <a:xfrm flipH="1">
                <a:off x="13573126" y="2298700"/>
                <a:ext cx="7938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12" name="Line 906"/>
              <p:cNvSpPr>
                <a:spLocks noChangeShapeType="1"/>
              </p:cNvSpPr>
              <p:nvPr userDrawn="1"/>
            </p:nvSpPr>
            <p:spPr bwMode="auto">
              <a:xfrm flipH="1">
                <a:off x="13558838" y="2311400"/>
                <a:ext cx="14288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13" name="Line 907"/>
              <p:cNvSpPr>
                <a:spLocks noChangeShapeType="1"/>
              </p:cNvSpPr>
              <p:nvPr userDrawn="1"/>
            </p:nvSpPr>
            <p:spPr bwMode="auto">
              <a:xfrm flipH="1">
                <a:off x="13542963" y="2324100"/>
                <a:ext cx="158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14" name="Line 908"/>
              <p:cNvSpPr>
                <a:spLocks noChangeShapeType="1"/>
              </p:cNvSpPr>
              <p:nvPr userDrawn="1"/>
            </p:nvSpPr>
            <p:spPr bwMode="auto">
              <a:xfrm flipH="1">
                <a:off x="13525501" y="2338388"/>
                <a:ext cx="17463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15" name="Line 909"/>
              <p:cNvSpPr>
                <a:spLocks noChangeShapeType="1"/>
              </p:cNvSpPr>
              <p:nvPr userDrawn="1"/>
            </p:nvSpPr>
            <p:spPr bwMode="auto">
              <a:xfrm flipH="1">
                <a:off x="13512801" y="2351088"/>
                <a:ext cx="1270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16" name="Line 910"/>
              <p:cNvSpPr>
                <a:spLocks noChangeShapeType="1"/>
              </p:cNvSpPr>
              <p:nvPr userDrawn="1"/>
            </p:nvSpPr>
            <p:spPr bwMode="auto">
              <a:xfrm flipH="1">
                <a:off x="13503276" y="2357438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17" name="Line 911"/>
              <p:cNvSpPr>
                <a:spLocks noChangeShapeType="1"/>
              </p:cNvSpPr>
              <p:nvPr userDrawn="1"/>
            </p:nvSpPr>
            <p:spPr bwMode="auto">
              <a:xfrm flipH="1">
                <a:off x="13498513" y="2360613"/>
                <a:ext cx="4763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18" name="Line 912"/>
              <p:cNvSpPr>
                <a:spLocks noChangeShapeType="1"/>
              </p:cNvSpPr>
              <p:nvPr userDrawn="1"/>
            </p:nvSpPr>
            <p:spPr bwMode="auto">
              <a:xfrm flipH="1">
                <a:off x="13493751" y="2363788"/>
                <a:ext cx="4763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19" name="Line 913"/>
              <p:cNvSpPr>
                <a:spLocks noChangeShapeType="1"/>
              </p:cNvSpPr>
              <p:nvPr userDrawn="1"/>
            </p:nvSpPr>
            <p:spPr bwMode="auto">
              <a:xfrm flipH="1">
                <a:off x="13490576" y="2374900"/>
                <a:ext cx="3175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20" name="Line 914"/>
              <p:cNvSpPr>
                <a:spLocks noChangeShapeType="1"/>
              </p:cNvSpPr>
              <p:nvPr userDrawn="1"/>
            </p:nvSpPr>
            <p:spPr bwMode="auto">
              <a:xfrm flipH="1">
                <a:off x="13487401" y="2390775"/>
                <a:ext cx="3175" cy="635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21" name="Line 915"/>
              <p:cNvSpPr>
                <a:spLocks noChangeShapeType="1"/>
              </p:cNvSpPr>
              <p:nvPr userDrawn="1"/>
            </p:nvSpPr>
            <p:spPr bwMode="auto">
              <a:xfrm flipH="1">
                <a:off x="13487401" y="2454275"/>
                <a:ext cx="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22" name="Line 916"/>
              <p:cNvSpPr>
                <a:spLocks noChangeShapeType="1"/>
              </p:cNvSpPr>
              <p:nvPr userDrawn="1"/>
            </p:nvSpPr>
            <p:spPr bwMode="auto">
              <a:xfrm flipH="1">
                <a:off x="13484226" y="2473325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23" name="Line 917"/>
              <p:cNvSpPr>
                <a:spLocks noChangeShapeType="1"/>
              </p:cNvSpPr>
              <p:nvPr userDrawn="1"/>
            </p:nvSpPr>
            <p:spPr bwMode="auto">
              <a:xfrm flipH="1">
                <a:off x="13479463" y="2484438"/>
                <a:ext cx="4763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24" name="Line 918"/>
              <p:cNvSpPr>
                <a:spLocks noChangeShapeType="1"/>
              </p:cNvSpPr>
              <p:nvPr userDrawn="1"/>
            </p:nvSpPr>
            <p:spPr bwMode="auto">
              <a:xfrm flipH="1">
                <a:off x="13474701" y="2490788"/>
                <a:ext cx="4763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25" name="Line 919"/>
              <p:cNvSpPr>
                <a:spLocks noChangeShapeType="1"/>
              </p:cNvSpPr>
              <p:nvPr userDrawn="1"/>
            </p:nvSpPr>
            <p:spPr bwMode="auto">
              <a:xfrm flipH="1">
                <a:off x="13471526" y="2492375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26" name="Line 920"/>
              <p:cNvSpPr>
                <a:spLocks noChangeShapeType="1"/>
              </p:cNvSpPr>
              <p:nvPr userDrawn="1"/>
            </p:nvSpPr>
            <p:spPr bwMode="auto">
              <a:xfrm flipH="1" flipV="1">
                <a:off x="13466763" y="2492375"/>
                <a:ext cx="4763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27" name="Line 921"/>
              <p:cNvSpPr>
                <a:spLocks noChangeShapeType="1"/>
              </p:cNvSpPr>
              <p:nvPr userDrawn="1"/>
            </p:nvSpPr>
            <p:spPr bwMode="auto">
              <a:xfrm flipH="1" flipV="1">
                <a:off x="13463588" y="24907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28" name="Line 922"/>
              <p:cNvSpPr>
                <a:spLocks noChangeShapeType="1"/>
              </p:cNvSpPr>
              <p:nvPr userDrawn="1"/>
            </p:nvSpPr>
            <p:spPr bwMode="auto">
              <a:xfrm flipH="1" flipV="1">
                <a:off x="13462001" y="2489200"/>
                <a:ext cx="1588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29" name="Line 923"/>
              <p:cNvSpPr>
                <a:spLocks noChangeShapeType="1"/>
              </p:cNvSpPr>
              <p:nvPr userDrawn="1"/>
            </p:nvSpPr>
            <p:spPr bwMode="auto">
              <a:xfrm flipH="1" flipV="1">
                <a:off x="13460413" y="2484438"/>
                <a:ext cx="1588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30" name="Line 924"/>
              <p:cNvSpPr>
                <a:spLocks noChangeShapeType="1"/>
              </p:cNvSpPr>
              <p:nvPr userDrawn="1"/>
            </p:nvSpPr>
            <p:spPr bwMode="auto">
              <a:xfrm flipH="1" flipV="1">
                <a:off x="13460413" y="2478088"/>
                <a:ext cx="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31" name="Line 925"/>
              <p:cNvSpPr>
                <a:spLocks noChangeShapeType="1"/>
              </p:cNvSpPr>
              <p:nvPr userDrawn="1"/>
            </p:nvSpPr>
            <p:spPr bwMode="auto">
              <a:xfrm flipV="1">
                <a:off x="13460413" y="2466975"/>
                <a:ext cx="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32" name="Line 926"/>
              <p:cNvSpPr>
                <a:spLocks noChangeShapeType="1"/>
              </p:cNvSpPr>
              <p:nvPr userDrawn="1"/>
            </p:nvSpPr>
            <p:spPr bwMode="auto">
              <a:xfrm flipV="1">
                <a:off x="13460413" y="2449513"/>
                <a:ext cx="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33" name="Line 927"/>
              <p:cNvSpPr>
                <a:spLocks noChangeShapeType="1"/>
              </p:cNvSpPr>
              <p:nvPr userDrawn="1"/>
            </p:nvSpPr>
            <p:spPr bwMode="auto">
              <a:xfrm flipV="1">
                <a:off x="13460413" y="2424113"/>
                <a:ext cx="1588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34" name="Line 928"/>
              <p:cNvSpPr>
                <a:spLocks noChangeShapeType="1"/>
              </p:cNvSpPr>
              <p:nvPr userDrawn="1"/>
            </p:nvSpPr>
            <p:spPr bwMode="auto">
              <a:xfrm flipV="1">
                <a:off x="13462001" y="2347913"/>
                <a:ext cx="1588" cy="762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35" name="Line 929"/>
              <p:cNvSpPr>
                <a:spLocks noChangeShapeType="1"/>
              </p:cNvSpPr>
              <p:nvPr userDrawn="1"/>
            </p:nvSpPr>
            <p:spPr bwMode="auto">
              <a:xfrm flipV="1">
                <a:off x="13463588" y="2273300"/>
                <a:ext cx="3175" cy="746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36" name="Line 930"/>
              <p:cNvSpPr>
                <a:spLocks noChangeShapeType="1"/>
              </p:cNvSpPr>
              <p:nvPr userDrawn="1"/>
            </p:nvSpPr>
            <p:spPr bwMode="auto">
              <a:xfrm flipV="1">
                <a:off x="13466763" y="2246313"/>
                <a:ext cx="0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37" name="Line 931"/>
              <p:cNvSpPr>
                <a:spLocks noChangeShapeType="1"/>
              </p:cNvSpPr>
              <p:nvPr userDrawn="1"/>
            </p:nvSpPr>
            <p:spPr bwMode="auto">
              <a:xfrm flipV="1">
                <a:off x="13466763" y="2225675"/>
                <a:ext cx="1588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38" name="Line 932"/>
              <p:cNvSpPr>
                <a:spLocks noChangeShapeType="1"/>
              </p:cNvSpPr>
              <p:nvPr userDrawn="1"/>
            </p:nvSpPr>
            <p:spPr bwMode="auto">
              <a:xfrm flipV="1">
                <a:off x="13468351" y="2211388"/>
                <a:ext cx="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39" name="Line 933"/>
              <p:cNvSpPr>
                <a:spLocks noChangeShapeType="1"/>
              </p:cNvSpPr>
              <p:nvPr userDrawn="1"/>
            </p:nvSpPr>
            <p:spPr bwMode="auto">
              <a:xfrm flipV="1">
                <a:off x="13468351" y="2200275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40" name="Line 934"/>
              <p:cNvSpPr>
                <a:spLocks noChangeShapeType="1"/>
              </p:cNvSpPr>
              <p:nvPr userDrawn="1"/>
            </p:nvSpPr>
            <p:spPr bwMode="auto">
              <a:xfrm flipV="1">
                <a:off x="13471526" y="2193925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41" name="Freeform 935"/>
              <p:cNvSpPr>
                <a:spLocks noEditPoints="1"/>
              </p:cNvSpPr>
              <p:nvPr userDrawn="1"/>
            </p:nvSpPr>
            <p:spPr bwMode="auto">
              <a:xfrm>
                <a:off x="13609638" y="2168525"/>
                <a:ext cx="206375" cy="215900"/>
              </a:xfrm>
              <a:custGeom>
                <a:avLst/>
                <a:gdLst>
                  <a:gd name="T0" fmla="*/ 128 w 259"/>
                  <a:gd name="T1" fmla="*/ 34 h 272"/>
                  <a:gd name="T2" fmla="*/ 120 w 259"/>
                  <a:gd name="T3" fmla="*/ 39 h 272"/>
                  <a:gd name="T4" fmla="*/ 109 w 259"/>
                  <a:gd name="T5" fmla="*/ 51 h 272"/>
                  <a:gd name="T6" fmla="*/ 78 w 259"/>
                  <a:gd name="T7" fmla="*/ 100 h 272"/>
                  <a:gd name="T8" fmla="*/ 48 w 259"/>
                  <a:gd name="T9" fmla="*/ 168 h 272"/>
                  <a:gd name="T10" fmla="*/ 35 w 259"/>
                  <a:gd name="T11" fmla="*/ 210 h 272"/>
                  <a:gd name="T12" fmla="*/ 35 w 259"/>
                  <a:gd name="T13" fmla="*/ 227 h 272"/>
                  <a:gd name="T14" fmla="*/ 41 w 259"/>
                  <a:gd name="T15" fmla="*/ 233 h 272"/>
                  <a:gd name="T16" fmla="*/ 49 w 259"/>
                  <a:gd name="T17" fmla="*/ 235 h 272"/>
                  <a:gd name="T18" fmla="*/ 61 w 259"/>
                  <a:gd name="T19" fmla="*/ 234 h 272"/>
                  <a:gd name="T20" fmla="*/ 76 w 259"/>
                  <a:gd name="T21" fmla="*/ 221 h 272"/>
                  <a:gd name="T22" fmla="*/ 114 w 259"/>
                  <a:gd name="T23" fmla="*/ 179 h 272"/>
                  <a:gd name="T24" fmla="*/ 141 w 259"/>
                  <a:gd name="T25" fmla="*/ 124 h 272"/>
                  <a:gd name="T26" fmla="*/ 152 w 259"/>
                  <a:gd name="T27" fmla="*/ 75 h 272"/>
                  <a:gd name="T28" fmla="*/ 154 w 259"/>
                  <a:gd name="T29" fmla="*/ 56 h 272"/>
                  <a:gd name="T30" fmla="*/ 151 w 259"/>
                  <a:gd name="T31" fmla="*/ 47 h 272"/>
                  <a:gd name="T32" fmla="*/ 142 w 259"/>
                  <a:gd name="T33" fmla="*/ 37 h 272"/>
                  <a:gd name="T34" fmla="*/ 134 w 259"/>
                  <a:gd name="T35" fmla="*/ 32 h 272"/>
                  <a:gd name="T36" fmla="*/ 127 w 259"/>
                  <a:gd name="T37" fmla="*/ 0 h 272"/>
                  <a:gd name="T38" fmla="*/ 156 w 259"/>
                  <a:gd name="T39" fmla="*/ 8 h 272"/>
                  <a:gd name="T40" fmla="*/ 187 w 259"/>
                  <a:gd name="T41" fmla="*/ 37 h 272"/>
                  <a:gd name="T42" fmla="*/ 202 w 259"/>
                  <a:gd name="T43" fmla="*/ 58 h 272"/>
                  <a:gd name="T44" fmla="*/ 194 w 259"/>
                  <a:gd name="T45" fmla="*/ 89 h 272"/>
                  <a:gd name="T46" fmla="*/ 187 w 259"/>
                  <a:gd name="T47" fmla="*/ 118 h 272"/>
                  <a:gd name="T48" fmla="*/ 189 w 259"/>
                  <a:gd name="T49" fmla="*/ 175 h 272"/>
                  <a:gd name="T50" fmla="*/ 204 w 259"/>
                  <a:gd name="T51" fmla="*/ 221 h 272"/>
                  <a:gd name="T52" fmla="*/ 228 w 259"/>
                  <a:gd name="T53" fmla="*/ 240 h 272"/>
                  <a:gd name="T54" fmla="*/ 245 w 259"/>
                  <a:gd name="T55" fmla="*/ 234 h 272"/>
                  <a:gd name="T56" fmla="*/ 254 w 259"/>
                  <a:gd name="T57" fmla="*/ 234 h 272"/>
                  <a:gd name="T58" fmla="*/ 258 w 259"/>
                  <a:gd name="T59" fmla="*/ 238 h 272"/>
                  <a:gd name="T60" fmla="*/ 259 w 259"/>
                  <a:gd name="T61" fmla="*/ 247 h 272"/>
                  <a:gd name="T62" fmla="*/ 252 w 259"/>
                  <a:gd name="T63" fmla="*/ 262 h 272"/>
                  <a:gd name="T64" fmla="*/ 231 w 259"/>
                  <a:gd name="T65" fmla="*/ 268 h 272"/>
                  <a:gd name="T66" fmla="*/ 207 w 259"/>
                  <a:gd name="T67" fmla="*/ 259 h 272"/>
                  <a:gd name="T68" fmla="*/ 176 w 259"/>
                  <a:gd name="T69" fmla="*/ 233 h 272"/>
                  <a:gd name="T70" fmla="*/ 165 w 259"/>
                  <a:gd name="T71" fmla="*/ 207 h 272"/>
                  <a:gd name="T72" fmla="*/ 159 w 259"/>
                  <a:gd name="T73" fmla="*/ 196 h 272"/>
                  <a:gd name="T74" fmla="*/ 152 w 259"/>
                  <a:gd name="T75" fmla="*/ 195 h 272"/>
                  <a:gd name="T76" fmla="*/ 145 w 259"/>
                  <a:gd name="T77" fmla="*/ 199 h 272"/>
                  <a:gd name="T78" fmla="*/ 137 w 259"/>
                  <a:gd name="T79" fmla="*/ 210 h 272"/>
                  <a:gd name="T80" fmla="*/ 125 w 259"/>
                  <a:gd name="T81" fmla="*/ 224 h 272"/>
                  <a:gd name="T82" fmla="*/ 120 w 259"/>
                  <a:gd name="T83" fmla="*/ 230 h 272"/>
                  <a:gd name="T84" fmla="*/ 113 w 259"/>
                  <a:gd name="T85" fmla="*/ 234 h 272"/>
                  <a:gd name="T86" fmla="*/ 87 w 259"/>
                  <a:gd name="T87" fmla="*/ 252 h 272"/>
                  <a:gd name="T88" fmla="*/ 45 w 259"/>
                  <a:gd name="T89" fmla="*/ 272 h 272"/>
                  <a:gd name="T90" fmla="*/ 13 w 259"/>
                  <a:gd name="T91" fmla="*/ 259 h 272"/>
                  <a:gd name="T92" fmla="*/ 4 w 259"/>
                  <a:gd name="T93" fmla="*/ 250 h 272"/>
                  <a:gd name="T94" fmla="*/ 0 w 259"/>
                  <a:gd name="T95" fmla="*/ 234 h 272"/>
                  <a:gd name="T96" fmla="*/ 3 w 259"/>
                  <a:gd name="T97" fmla="*/ 193 h 272"/>
                  <a:gd name="T98" fmla="*/ 25 w 259"/>
                  <a:gd name="T99" fmla="*/ 128 h 272"/>
                  <a:gd name="T100" fmla="*/ 58 w 259"/>
                  <a:gd name="T101" fmla="*/ 63 h 272"/>
                  <a:gd name="T102" fmla="*/ 89 w 259"/>
                  <a:gd name="T103" fmla="*/ 21 h 272"/>
                  <a:gd name="T104" fmla="*/ 109 w 259"/>
                  <a:gd name="T105" fmla="*/ 4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72">
                    <a:moveTo>
                      <a:pt x="131" y="32"/>
                    </a:moveTo>
                    <a:lnTo>
                      <a:pt x="128" y="34"/>
                    </a:lnTo>
                    <a:lnTo>
                      <a:pt x="124" y="35"/>
                    </a:lnTo>
                    <a:lnTo>
                      <a:pt x="120" y="39"/>
                    </a:lnTo>
                    <a:lnTo>
                      <a:pt x="114" y="44"/>
                    </a:lnTo>
                    <a:lnTo>
                      <a:pt x="109" y="51"/>
                    </a:lnTo>
                    <a:lnTo>
                      <a:pt x="94" y="70"/>
                    </a:lnTo>
                    <a:lnTo>
                      <a:pt x="78" y="100"/>
                    </a:lnTo>
                    <a:lnTo>
                      <a:pt x="59" y="138"/>
                    </a:lnTo>
                    <a:lnTo>
                      <a:pt x="48" y="168"/>
                    </a:lnTo>
                    <a:lnTo>
                      <a:pt x="39" y="192"/>
                    </a:lnTo>
                    <a:lnTo>
                      <a:pt x="35" y="210"/>
                    </a:lnTo>
                    <a:lnTo>
                      <a:pt x="35" y="223"/>
                    </a:lnTo>
                    <a:lnTo>
                      <a:pt x="35" y="227"/>
                    </a:lnTo>
                    <a:lnTo>
                      <a:pt x="38" y="230"/>
                    </a:lnTo>
                    <a:lnTo>
                      <a:pt x="41" y="233"/>
                    </a:lnTo>
                    <a:lnTo>
                      <a:pt x="45" y="234"/>
                    </a:lnTo>
                    <a:lnTo>
                      <a:pt x="49" y="235"/>
                    </a:lnTo>
                    <a:lnTo>
                      <a:pt x="55" y="235"/>
                    </a:lnTo>
                    <a:lnTo>
                      <a:pt x="61" y="234"/>
                    </a:lnTo>
                    <a:lnTo>
                      <a:pt x="66" y="231"/>
                    </a:lnTo>
                    <a:lnTo>
                      <a:pt x="76" y="221"/>
                    </a:lnTo>
                    <a:lnTo>
                      <a:pt x="90" y="207"/>
                    </a:lnTo>
                    <a:lnTo>
                      <a:pt x="114" y="179"/>
                    </a:lnTo>
                    <a:lnTo>
                      <a:pt x="130" y="152"/>
                    </a:lnTo>
                    <a:lnTo>
                      <a:pt x="141" y="124"/>
                    </a:lnTo>
                    <a:lnTo>
                      <a:pt x="149" y="90"/>
                    </a:lnTo>
                    <a:lnTo>
                      <a:pt x="152" y="75"/>
                    </a:lnTo>
                    <a:lnTo>
                      <a:pt x="154" y="63"/>
                    </a:lnTo>
                    <a:lnTo>
                      <a:pt x="154" y="56"/>
                    </a:lnTo>
                    <a:lnTo>
                      <a:pt x="152" y="52"/>
                    </a:lnTo>
                    <a:lnTo>
                      <a:pt x="151" y="47"/>
                    </a:lnTo>
                    <a:lnTo>
                      <a:pt x="147" y="42"/>
                    </a:lnTo>
                    <a:lnTo>
                      <a:pt x="142" y="37"/>
                    </a:lnTo>
                    <a:lnTo>
                      <a:pt x="138" y="34"/>
                    </a:lnTo>
                    <a:lnTo>
                      <a:pt x="134" y="32"/>
                    </a:lnTo>
                    <a:lnTo>
                      <a:pt x="131" y="32"/>
                    </a:lnTo>
                    <a:close/>
                    <a:moveTo>
                      <a:pt x="127" y="0"/>
                    </a:moveTo>
                    <a:lnTo>
                      <a:pt x="141" y="1"/>
                    </a:lnTo>
                    <a:lnTo>
                      <a:pt x="156" y="8"/>
                    </a:lnTo>
                    <a:lnTo>
                      <a:pt x="175" y="24"/>
                    </a:lnTo>
                    <a:lnTo>
                      <a:pt x="187" y="37"/>
                    </a:lnTo>
                    <a:lnTo>
                      <a:pt x="196" y="48"/>
                    </a:lnTo>
                    <a:lnTo>
                      <a:pt x="202" y="58"/>
                    </a:lnTo>
                    <a:lnTo>
                      <a:pt x="202" y="72"/>
                    </a:lnTo>
                    <a:lnTo>
                      <a:pt x="194" y="89"/>
                    </a:lnTo>
                    <a:lnTo>
                      <a:pt x="190" y="101"/>
                    </a:lnTo>
                    <a:lnTo>
                      <a:pt x="187" y="118"/>
                    </a:lnTo>
                    <a:lnTo>
                      <a:pt x="186" y="141"/>
                    </a:lnTo>
                    <a:lnTo>
                      <a:pt x="189" y="175"/>
                    </a:lnTo>
                    <a:lnTo>
                      <a:pt x="194" y="202"/>
                    </a:lnTo>
                    <a:lnTo>
                      <a:pt x="204" y="221"/>
                    </a:lnTo>
                    <a:lnTo>
                      <a:pt x="216" y="234"/>
                    </a:lnTo>
                    <a:lnTo>
                      <a:pt x="228" y="240"/>
                    </a:lnTo>
                    <a:lnTo>
                      <a:pt x="240" y="237"/>
                    </a:lnTo>
                    <a:lnTo>
                      <a:pt x="245" y="234"/>
                    </a:lnTo>
                    <a:lnTo>
                      <a:pt x="249" y="233"/>
                    </a:lnTo>
                    <a:lnTo>
                      <a:pt x="254" y="234"/>
                    </a:lnTo>
                    <a:lnTo>
                      <a:pt x="256" y="235"/>
                    </a:lnTo>
                    <a:lnTo>
                      <a:pt x="258" y="238"/>
                    </a:lnTo>
                    <a:lnTo>
                      <a:pt x="259" y="241"/>
                    </a:lnTo>
                    <a:lnTo>
                      <a:pt x="259" y="247"/>
                    </a:lnTo>
                    <a:lnTo>
                      <a:pt x="258" y="255"/>
                    </a:lnTo>
                    <a:lnTo>
                      <a:pt x="252" y="262"/>
                    </a:lnTo>
                    <a:lnTo>
                      <a:pt x="244" y="266"/>
                    </a:lnTo>
                    <a:lnTo>
                      <a:pt x="231" y="268"/>
                    </a:lnTo>
                    <a:lnTo>
                      <a:pt x="220" y="266"/>
                    </a:lnTo>
                    <a:lnTo>
                      <a:pt x="207" y="259"/>
                    </a:lnTo>
                    <a:lnTo>
                      <a:pt x="193" y="250"/>
                    </a:lnTo>
                    <a:lnTo>
                      <a:pt x="176" y="233"/>
                    </a:lnTo>
                    <a:lnTo>
                      <a:pt x="168" y="216"/>
                    </a:lnTo>
                    <a:lnTo>
                      <a:pt x="165" y="207"/>
                    </a:lnTo>
                    <a:lnTo>
                      <a:pt x="162" y="200"/>
                    </a:lnTo>
                    <a:lnTo>
                      <a:pt x="159" y="196"/>
                    </a:lnTo>
                    <a:lnTo>
                      <a:pt x="155" y="195"/>
                    </a:lnTo>
                    <a:lnTo>
                      <a:pt x="152" y="195"/>
                    </a:lnTo>
                    <a:lnTo>
                      <a:pt x="149" y="196"/>
                    </a:lnTo>
                    <a:lnTo>
                      <a:pt x="145" y="199"/>
                    </a:lnTo>
                    <a:lnTo>
                      <a:pt x="141" y="204"/>
                    </a:lnTo>
                    <a:lnTo>
                      <a:pt x="137" y="210"/>
                    </a:lnTo>
                    <a:lnTo>
                      <a:pt x="131" y="217"/>
                    </a:lnTo>
                    <a:lnTo>
                      <a:pt x="125" y="224"/>
                    </a:lnTo>
                    <a:lnTo>
                      <a:pt x="123" y="228"/>
                    </a:lnTo>
                    <a:lnTo>
                      <a:pt x="120" y="230"/>
                    </a:lnTo>
                    <a:lnTo>
                      <a:pt x="118" y="231"/>
                    </a:lnTo>
                    <a:lnTo>
                      <a:pt x="113" y="234"/>
                    </a:lnTo>
                    <a:lnTo>
                      <a:pt x="103" y="241"/>
                    </a:lnTo>
                    <a:lnTo>
                      <a:pt x="87" y="252"/>
                    </a:lnTo>
                    <a:lnTo>
                      <a:pt x="65" y="266"/>
                    </a:lnTo>
                    <a:lnTo>
                      <a:pt x="45" y="272"/>
                    </a:lnTo>
                    <a:lnTo>
                      <a:pt x="27" y="271"/>
                    </a:lnTo>
                    <a:lnTo>
                      <a:pt x="13" y="259"/>
                    </a:lnTo>
                    <a:lnTo>
                      <a:pt x="7" y="254"/>
                    </a:lnTo>
                    <a:lnTo>
                      <a:pt x="4" y="250"/>
                    </a:lnTo>
                    <a:lnTo>
                      <a:pt x="1" y="244"/>
                    </a:lnTo>
                    <a:lnTo>
                      <a:pt x="0" y="234"/>
                    </a:lnTo>
                    <a:lnTo>
                      <a:pt x="0" y="221"/>
                    </a:lnTo>
                    <a:lnTo>
                      <a:pt x="3" y="193"/>
                    </a:lnTo>
                    <a:lnTo>
                      <a:pt x="11" y="162"/>
                    </a:lnTo>
                    <a:lnTo>
                      <a:pt x="25" y="128"/>
                    </a:lnTo>
                    <a:lnTo>
                      <a:pt x="44" y="87"/>
                    </a:lnTo>
                    <a:lnTo>
                      <a:pt x="58" y="63"/>
                    </a:lnTo>
                    <a:lnTo>
                      <a:pt x="76" y="37"/>
                    </a:lnTo>
                    <a:lnTo>
                      <a:pt x="89" y="21"/>
                    </a:lnTo>
                    <a:lnTo>
                      <a:pt x="100" y="10"/>
                    </a:lnTo>
                    <a:lnTo>
                      <a:pt x="109" y="4"/>
                    </a:lnTo>
                    <a:lnTo>
                      <a:pt x="12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42" name="Line 936"/>
              <p:cNvSpPr>
                <a:spLocks noChangeShapeType="1"/>
              </p:cNvSpPr>
              <p:nvPr userDrawn="1"/>
            </p:nvSpPr>
            <p:spPr bwMode="auto">
              <a:xfrm flipH="1" flipV="1">
                <a:off x="13722351" y="2197100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43" name="Line 937"/>
              <p:cNvSpPr>
                <a:spLocks noChangeShapeType="1"/>
              </p:cNvSpPr>
              <p:nvPr userDrawn="1"/>
            </p:nvSpPr>
            <p:spPr bwMode="auto">
              <a:xfrm flipH="1" flipV="1">
                <a:off x="13719176" y="219551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44" name="Line 938"/>
              <p:cNvSpPr>
                <a:spLocks noChangeShapeType="1"/>
              </p:cNvSpPr>
              <p:nvPr userDrawn="1"/>
            </p:nvSpPr>
            <p:spPr bwMode="auto">
              <a:xfrm flipH="1" flipV="1">
                <a:off x="13716001" y="2193925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45" name="Line 939"/>
              <p:cNvSpPr>
                <a:spLocks noChangeShapeType="1"/>
              </p:cNvSpPr>
              <p:nvPr userDrawn="1"/>
            </p:nvSpPr>
            <p:spPr bwMode="auto">
              <a:xfrm flipH="1">
                <a:off x="13714413" y="2193925"/>
                <a:ext cx="1588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46" name="Line 940"/>
              <p:cNvSpPr>
                <a:spLocks noChangeShapeType="1"/>
              </p:cNvSpPr>
              <p:nvPr userDrawn="1"/>
            </p:nvSpPr>
            <p:spPr bwMode="auto">
              <a:xfrm flipH="1">
                <a:off x="13711238" y="2193925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47" name="Line 941"/>
              <p:cNvSpPr>
                <a:spLocks noChangeShapeType="1"/>
              </p:cNvSpPr>
              <p:nvPr userDrawn="1"/>
            </p:nvSpPr>
            <p:spPr bwMode="auto">
              <a:xfrm flipH="1">
                <a:off x="13708063" y="219551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48" name="Line 942"/>
              <p:cNvSpPr>
                <a:spLocks noChangeShapeType="1"/>
              </p:cNvSpPr>
              <p:nvPr userDrawn="1"/>
            </p:nvSpPr>
            <p:spPr bwMode="auto">
              <a:xfrm flipH="1">
                <a:off x="13704888" y="2197100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49" name="Line 943"/>
              <p:cNvSpPr>
                <a:spLocks noChangeShapeType="1"/>
              </p:cNvSpPr>
              <p:nvPr userDrawn="1"/>
            </p:nvSpPr>
            <p:spPr bwMode="auto">
              <a:xfrm flipH="1">
                <a:off x="13700126" y="2200275"/>
                <a:ext cx="4763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50" name="Line 944"/>
              <p:cNvSpPr>
                <a:spLocks noChangeShapeType="1"/>
              </p:cNvSpPr>
              <p:nvPr userDrawn="1"/>
            </p:nvSpPr>
            <p:spPr bwMode="auto">
              <a:xfrm flipH="1">
                <a:off x="13695363" y="2203450"/>
                <a:ext cx="4763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51" name="Line 945"/>
              <p:cNvSpPr>
                <a:spLocks noChangeShapeType="1"/>
              </p:cNvSpPr>
              <p:nvPr userDrawn="1"/>
            </p:nvSpPr>
            <p:spPr bwMode="auto">
              <a:xfrm flipH="1">
                <a:off x="13684251" y="2208213"/>
                <a:ext cx="11113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52" name="Line 946"/>
              <p:cNvSpPr>
                <a:spLocks noChangeShapeType="1"/>
              </p:cNvSpPr>
              <p:nvPr userDrawn="1"/>
            </p:nvSpPr>
            <p:spPr bwMode="auto">
              <a:xfrm flipH="1">
                <a:off x="13671551" y="2224088"/>
                <a:ext cx="12700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53" name="Line 947"/>
              <p:cNvSpPr>
                <a:spLocks noChangeShapeType="1"/>
              </p:cNvSpPr>
              <p:nvPr userDrawn="1"/>
            </p:nvSpPr>
            <p:spPr bwMode="auto">
              <a:xfrm flipH="1">
                <a:off x="13657263" y="2247900"/>
                <a:ext cx="14288" cy="301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54" name="Line 948"/>
              <p:cNvSpPr>
                <a:spLocks noChangeShapeType="1"/>
              </p:cNvSpPr>
              <p:nvPr userDrawn="1"/>
            </p:nvSpPr>
            <p:spPr bwMode="auto">
              <a:xfrm flipH="1">
                <a:off x="13647738" y="2278063"/>
                <a:ext cx="9525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55" name="Line 949"/>
              <p:cNvSpPr>
                <a:spLocks noChangeShapeType="1"/>
              </p:cNvSpPr>
              <p:nvPr userDrawn="1"/>
            </p:nvSpPr>
            <p:spPr bwMode="auto">
              <a:xfrm flipH="1">
                <a:off x="13641388" y="2301875"/>
                <a:ext cx="635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56" name="Line 950"/>
              <p:cNvSpPr>
                <a:spLocks noChangeShapeType="1"/>
              </p:cNvSpPr>
              <p:nvPr userDrawn="1"/>
            </p:nvSpPr>
            <p:spPr bwMode="auto">
              <a:xfrm flipH="1">
                <a:off x="13638213" y="2320925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57" name="Line 951"/>
              <p:cNvSpPr>
                <a:spLocks noChangeShapeType="1"/>
              </p:cNvSpPr>
              <p:nvPr userDrawn="1"/>
            </p:nvSpPr>
            <p:spPr bwMode="auto">
              <a:xfrm>
                <a:off x="13638213" y="2335213"/>
                <a:ext cx="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58" name="Line 952"/>
              <p:cNvSpPr>
                <a:spLocks noChangeShapeType="1"/>
              </p:cNvSpPr>
              <p:nvPr userDrawn="1"/>
            </p:nvSpPr>
            <p:spPr bwMode="auto">
              <a:xfrm>
                <a:off x="13638213" y="234473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59" name="Line 953"/>
              <p:cNvSpPr>
                <a:spLocks noChangeShapeType="1"/>
              </p:cNvSpPr>
              <p:nvPr userDrawn="1"/>
            </p:nvSpPr>
            <p:spPr bwMode="auto">
              <a:xfrm>
                <a:off x="13638213" y="2347913"/>
                <a:ext cx="1588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60" name="Line 954"/>
              <p:cNvSpPr>
                <a:spLocks noChangeShapeType="1"/>
              </p:cNvSpPr>
              <p:nvPr userDrawn="1"/>
            </p:nvSpPr>
            <p:spPr bwMode="auto">
              <a:xfrm>
                <a:off x="13639801" y="2351088"/>
                <a:ext cx="1588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61" name="Line 955"/>
              <p:cNvSpPr>
                <a:spLocks noChangeShapeType="1"/>
              </p:cNvSpPr>
              <p:nvPr userDrawn="1"/>
            </p:nvSpPr>
            <p:spPr bwMode="auto">
              <a:xfrm>
                <a:off x="13641388" y="2352675"/>
                <a:ext cx="4763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62" name="Line 956"/>
              <p:cNvSpPr>
                <a:spLocks noChangeShapeType="1"/>
              </p:cNvSpPr>
              <p:nvPr userDrawn="1"/>
            </p:nvSpPr>
            <p:spPr bwMode="auto">
              <a:xfrm>
                <a:off x="13646151" y="235426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63" name="Line 957"/>
              <p:cNvSpPr>
                <a:spLocks noChangeShapeType="1"/>
              </p:cNvSpPr>
              <p:nvPr userDrawn="1"/>
            </p:nvSpPr>
            <p:spPr bwMode="auto">
              <a:xfrm>
                <a:off x="13649326" y="2355850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64" name="Line 958"/>
              <p:cNvSpPr>
                <a:spLocks noChangeShapeType="1"/>
              </p:cNvSpPr>
              <p:nvPr userDrawn="1"/>
            </p:nvSpPr>
            <p:spPr bwMode="auto">
              <a:xfrm flipV="1">
                <a:off x="13652501" y="2354263"/>
                <a:ext cx="4763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65" name="Line 959"/>
              <p:cNvSpPr>
                <a:spLocks noChangeShapeType="1"/>
              </p:cNvSpPr>
              <p:nvPr userDrawn="1"/>
            </p:nvSpPr>
            <p:spPr bwMode="auto">
              <a:xfrm flipV="1">
                <a:off x="13657263" y="2352675"/>
                <a:ext cx="4763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66" name="Line 960"/>
              <p:cNvSpPr>
                <a:spLocks noChangeShapeType="1"/>
              </p:cNvSpPr>
              <p:nvPr userDrawn="1"/>
            </p:nvSpPr>
            <p:spPr bwMode="auto">
              <a:xfrm flipV="1">
                <a:off x="13662026" y="2344738"/>
                <a:ext cx="7938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67" name="Line 961"/>
              <p:cNvSpPr>
                <a:spLocks noChangeShapeType="1"/>
              </p:cNvSpPr>
              <p:nvPr userDrawn="1"/>
            </p:nvSpPr>
            <p:spPr bwMode="auto">
              <a:xfrm flipV="1">
                <a:off x="13669963" y="2333625"/>
                <a:ext cx="11113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68" name="Line 962"/>
              <p:cNvSpPr>
                <a:spLocks noChangeShapeType="1"/>
              </p:cNvSpPr>
              <p:nvPr userDrawn="1"/>
            </p:nvSpPr>
            <p:spPr bwMode="auto">
              <a:xfrm flipV="1">
                <a:off x="13681076" y="2311400"/>
                <a:ext cx="19050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69" name="Line 963"/>
              <p:cNvSpPr>
                <a:spLocks noChangeShapeType="1"/>
              </p:cNvSpPr>
              <p:nvPr userDrawn="1"/>
            </p:nvSpPr>
            <p:spPr bwMode="auto">
              <a:xfrm flipV="1">
                <a:off x="13700126" y="2289175"/>
                <a:ext cx="12700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70" name="Line 964"/>
              <p:cNvSpPr>
                <a:spLocks noChangeShapeType="1"/>
              </p:cNvSpPr>
              <p:nvPr userDrawn="1"/>
            </p:nvSpPr>
            <p:spPr bwMode="auto">
              <a:xfrm flipV="1">
                <a:off x="13712826" y="2266950"/>
                <a:ext cx="7938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71" name="Line 965"/>
              <p:cNvSpPr>
                <a:spLocks noChangeShapeType="1"/>
              </p:cNvSpPr>
              <p:nvPr userDrawn="1"/>
            </p:nvSpPr>
            <p:spPr bwMode="auto">
              <a:xfrm flipV="1">
                <a:off x="13720763" y="2239963"/>
                <a:ext cx="7938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72" name="Line 966"/>
              <p:cNvSpPr>
                <a:spLocks noChangeShapeType="1"/>
              </p:cNvSpPr>
              <p:nvPr userDrawn="1"/>
            </p:nvSpPr>
            <p:spPr bwMode="auto">
              <a:xfrm flipV="1">
                <a:off x="13728701" y="2227263"/>
                <a:ext cx="1588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73" name="Line 967"/>
              <p:cNvSpPr>
                <a:spLocks noChangeShapeType="1"/>
              </p:cNvSpPr>
              <p:nvPr userDrawn="1"/>
            </p:nvSpPr>
            <p:spPr bwMode="auto">
              <a:xfrm flipV="1">
                <a:off x="13730288" y="2219325"/>
                <a:ext cx="1588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74" name="Line 968"/>
              <p:cNvSpPr>
                <a:spLocks noChangeShapeType="1"/>
              </p:cNvSpPr>
              <p:nvPr userDrawn="1"/>
            </p:nvSpPr>
            <p:spPr bwMode="auto">
              <a:xfrm flipV="1">
                <a:off x="13731876" y="2212975"/>
                <a:ext cx="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75" name="Line 969"/>
              <p:cNvSpPr>
                <a:spLocks noChangeShapeType="1"/>
              </p:cNvSpPr>
              <p:nvPr userDrawn="1"/>
            </p:nvSpPr>
            <p:spPr bwMode="auto">
              <a:xfrm flipH="1" flipV="1">
                <a:off x="13730288" y="2209800"/>
                <a:ext cx="1588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76" name="Line 970"/>
              <p:cNvSpPr>
                <a:spLocks noChangeShapeType="1"/>
              </p:cNvSpPr>
              <p:nvPr userDrawn="1"/>
            </p:nvSpPr>
            <p:spPr bwMode="auto">
              <a:xfrm flipH="1" flipV="1">
                <a:off x="13728701" y="2205038"/>
                <a:ext cx="1588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77" name="Line 971"/>
              <p:cNvSpPr>
                <a:spLocks noChangeShapeType="1"/>
              </p:cNvSpPr>
              <p:nvPr userDrawn="1"/>
            </p:nvSpPr>
            <p:spPr bwMode="auto">
              <a:xfrm flipH="1" flipV="1">
                <a:off x="13725526" y="220186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78" name="Line 972"/>
              <p:cNvSpPr>
                <a:spLocks noChangeShapeType="1"/>
              </p:cNvSpPr>
              <p:nvPr userDrawn="1"/>
            </p:nvSpPr>
            <p:spPr bwMode="auto">
              <a:xfrm flipV="1">
                <a:off x="13695363" y="2168525"/>
                <a:ext cx="14288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79" name="Line 973"/>
              <p:cNvSpPr>
                <a:spLocks noChangeShapeType="1"/>
              </p:cNvSpPr>
              <p:nvPr userDrawn="1"/>
            </p:nvSpPr>
            <p:spPr bwMode="auto">
              <a:xfrm>
                <a:off x="13709651" y="2168525"/>
                <a:ext cx="11113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80" name="Line 974"/>
              <p:cNvSpPr>
                <a:spLocks noChangeShapeType="1"/>
              </p:cNvSpPr>
              <p:nvPr userDrawn="1"/>
            </p:nvSpPr>
            <p:spPr bwMode="auto">
              <a:xfrm>
                <a:off x="13720763" y="2170113"/>
                <a:ext cx="1270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81" name="Line 975"/>
              <p:cNvSpPr>
                <a:spLocks noChangeShapeType="1"/>
              </p:cNvSpPr>
              <p:nvPr userDrawn="1"/>
            </p:nvSpPr>
            <p:spPr bwMode="auto">
              <a:xfrm>
                <a:off x="13733463" y="2174875"/>
                <a:ext cx="14288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82" name="Line 976"/>
              <p:cNvSpPr>
                <a:spLocks noChangeShapeType="1"/>
              </p:cNvSpPr>
              <p:nvPr userDrawn="1"/>
            </p:nvSpPr>
            <p:spPr bwMode="auto">
              <a:xfrm>
                <a:off x="13747751" y="2187575"/>
                <a:ext cx="11113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83" name="Line 977"/>
              <p:cNvSpPr>
                <a:spLocks noChangeShapeType="1"/>
              </p:cNvSpPr>
              <p:nvPr userDrawn="1"/>
            </p:nvSpPr>
            <p:spPr bwMode="auto">
              <a:xfrm>
                <a:off x="13758863" y="2197100"/>
                <a:ext cx="635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84" name="Line 978"/>
              <p:cNvSpPr>
                <a:spLocks noChangeShapeType="1"/>
              </p:cNvSpPr>
              <p:nvPr userDrawn="1"/>
            </p:nvSpPr>
            <p:spPr bwMode="auto">
              <a:xfrm>
                <a:off x="13765213" y="2206625"/>
                <a:ext cx="4763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85" name="Line 979"/>
              <p:cNvSpPr>
                <a:spLocks noChangeShapeType="1"/>
              </p:cNvSpPr>
              <p:nvPr userDrawn="1"/>
            </p:nvSpPr>
            <p:spPr bwMode="auto">
              <a:xfrm>
                <a:off x="13769976" y="2214563"/>
                <a:ext cx="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86" name="Line 980"/>
              <p:cNvSpPr>
                <a:spLocks noChangeShapeType="1"/>
              </p:cNvSpPr>
              <p:nvPr userDrawn="1"/>
            </p:nvSpPr>
            <p:spPr bwMode="auto">
              <a:xfrm flipH="1">
                <a:off x="13763626" y="2225675"/>
                <a:ext cx="635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87" name="Line 981"/>
              <p:cNvSpPr>
                <a:spLocks noChangeShapeType="1"/>
              </p:cNvSpPr>
              <p:nvPr userDrawn="1"/>
            </p:nvSpPr>
            <p:spPr bwMode="auto">
              <a:xfrm flipH="1">
                <a:off x="13760451" y="2238375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88" name="Line 982"/>
              <p:cNvSpPr>
                <a:spLocks noChangeShapeType="1"/>
              </p:cNvSpPr>
              <p:nvPr userDrawn="1"/>
            </p:nvSpPr>
            <p:spPr bwMode="auto">
              <a:xfrm flipH="1">
                <a:off x="13758863" y="2249488"/>
                <a:ext cx="1588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89" name="Line 983"/>
              <p:cNvSpPr>
                <a:spLocks noChangeShapeType="1"/>
              </p:cNvSpPr>
              <p:nvPr userDrawn="1"/>
            </p:nvSpPr>
            <p:spPr bwMode="auto">
              <a:xfrm flipH="1">
                <a:off x="13757276" y="2262188"/>
                <a:ext cx="1588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90" name="Line 984"/>
              <p:cNvSpPr>
                <a:spLocks noChangeShapeType="1"/>
              </p:cNvSpPr>
              <p:nvPr userDrawn="1"/>
            </p:nvSpPr>
            <p:spPr bwMode="auto">
              <a:xfrm>
                <a:off x="13757276" y="2279650"/>
                <a:ext cx="1588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91" name="Line 985"/>
              <p:cNvSpPr>
                <a:spLocks noChangeShapeType="1"/>
              </p:cNvSpPr>
              <p:nvPr userDrawn="1"/>
            </p:nvSpPr>
            <p:spPr bwMode="auto">
              <a:xfrm>
                <a:off x="13758863" y="2306638"/>
                <a:ext cx="4763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92" name="Line 986"/>
              <p:cNvSpPr>
                <a:spLocks noChangeShapeType="1"/>
              </p:cNvSpPr>
              <p:nvPr userDrawn="1"/>
            </p:nvSpPr>
            <p:spPr bwMode="auto">
              <a:xfrm>
                <a:off x="13763626" y="2328863"/>
                <a:ext cx="7938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93" name="Line 987"/>
              <p:cNvSpPr>
                <a:spLocks noChangeShapeType="1"/>
              </p:cNvSpPr>
              <p:nvPr userDrawn="1"/>
            </p:nvSpPr>
            <p:spPr bwMode="auto">
              <a:xfrm>
                <a:off x="13771563" y="2344738"/>
                <a:ext cx="952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94" name="Line 988"/>
              <p:cNvSpPr>
                <a:spLocks noChangeShapeType="1"/>
              </p:cNvSpPr>
              <p:nvPr userDrawn="1"/>
            </p:nvSpPr>
            <p:spPr bwMode="auto">
              <a:xfrm>
                <a:off x="13781088" y="2354263"/>
                <a:ext cx="952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95" name="Line 989"/>
              <p:cNvSpPr>
                <a:spLocks noChangeShapeType="1"/>
              </p:cNvSpPr>
              <p:nvPr userDrawn="1"/>
            </p:nvSpPr>
            <p:spPr bwMode="auto">
              <a:xfrm flipV="1">
                <a:off x="13790613" y="2355850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96" name="Line 990"/>
              <p:cNvSpPr>
                <a:spLocks noChangeShapeType="1"/>
              </p:cNvSpPr>
              <p:nvPr userDrawn="1"/>
            </p:nvSpPr>
            <p:spPr bwMode="auto">
              <a:xfrm flipV="1">
                <a:off x="13800138" y="2354263"/>
                <a:ext cx="4763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97" name="Line 991"/>
              <p:cNvSpPr>
                <a:spLocks noChangeShapeType="1"/>
              </p:cNvSpPr>
              <p:nvPr userDrawn="1"/>
            </p:nvSpPr>
            <p:spPr bwMode="auto">
              <a:xfrm flipV="1">
                <a:off x="13804901" y="2352675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98" name="Line 992"/>
              <p:cNvSpPr>
                <a:spLocks noChangeShapeType="1"/>
              </p:cNvSpPr>
              <p:nvPr userDrawn="1"/>
            </p:nvSpPr>
            <p:spPr bwMode="auto">
              <a:xfrm>
                <a:off x="13808076" y="2352675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299" name="Line 993"/>
              <p:cNvSpPr>
                <a:spLocks noChangeShapeType="1"/>
              </p:cNvSpPr>
              <p:nvPr userDrawn="1"/>
            </p:nvSpPr>
            <p:spPr bwMode="auto">
              <a:xfrm>
                <a:off x="13811251" y="2354263"/>
                <a:ext cx="1588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00" name="Line 994"/>
              <p:cNvSpPr>
                <a:spLocks noChangeShapeType="1"/>
              </p:cNvSpPr>
              <p:nvPr userDrawn="1"/>
            </p:nvSpPr>
            <p:spPr bwMode="auto">
              <a:xfrm>
                <a:off x="13812838" y="2355850"/>
                <a:ext cx="1588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01" name="Line 995"/>
              <p:cNvSpPr>
                <a:spLocks noChangeShapeType="1"/>
              </p:cNvSpPr>
              <p:nvPr userDrawn="1"/>
            </p:nvSpPr>
            <p:spPr bwMode="auto">
              <a:xfrm>
                <a:off x="13814426" y="2357438"/>
                <a:ext cx="1588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02" name="Line 996"/>
              <p:cNvSpPr>
                <a:spLocks noChangeShapeType="1"/>
              </p:cNvSpPr>
              <p:nvPr userDrawn="1"/>
            </p:nvSpPr>
            <p:spPr bwMode="auto">
              <a:xfrm>
                <a:off x="13816013" y="2360613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03" name="Line 997"/>
              <p:cNvSpPr>
                <a:spLocks noChangeShapeType="1"/>
              </p:cNvSpPr>
              <p:nvPr userDrawn="1"/>
            </p:nvSpPr>
            <p:spPr bwMode="auto">
              <a:xfrm flipH="1">
                <a:off x="13814426" y="2363788"/>
                <a:ext cx="1588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04" name="Line 998"/>
              <p:cNvSpPr>
                <a:spLocks noChangeShapeType="1"/>
              </p:cNvSpPr>
              <p:nvPr userDrawn="1"/>
            </p:nvSpPr>
            <p:spPr bwMode="auto">
              <a:xfrm flipH="1">
                <a:off x="13809663" y="2371725"/>
                <a:ext cx="4763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05" name="Line 999"/>
              <p:cNvSpPr>
                <a:spLocks noChangeShapeType="1"/>
              </p:cNvSpPr>
              <p:nvPr userDrawn="1"/>
            </p:nvSpPr>
            <p:spPr bwMode="auto">
              <a:xfrm flipH="1">
                <a:off x="13803313" y="2376488"/>
                <a:ext cx="63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06" name="Line 1000"/>
              <p:cNvSpPr>
                <a:spLocks noChangeShapeType="1"/>
              </p:cNvSpPr>
              <p:nvPr userDrawn="1"/>
            </p:nvSpPr>
            <p:spPr bwMode="auto">
              <a:xfrm flipH="1">
                <a:off x="13793788" y="2379663"/>
                <a:ext cx="952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07" name="Line 1001"/>
              <p:cNvSpPr>
                <a:spLocks noChangeShapeType="1"/>
              </p:cNvSpPr>
              <p:nvPr userDrawn="1"/>
            </p:nvSpPr>
            <p:spPr bwMode="auto">
              <a:xfrm flipH="1" flipV="1">
                <a:off x="13784263" y="2379663"/>
                <a:ext cx="952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08" name="Line 1002"/>
              <p:cNvSpPr>
                <a:spLocks noChangeShapeType="1"/>
              </p:cNvSpPr>
              <p:nvPr userDrawn="1"/>
            </p:nvSpPr>
            <p:spPr bwMode="auto">
              <a:xfrm flipH="1" flipV="1">
                <a:off x="13774738" y="2374900"/>
                <a:ext cx="952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09" name="Line 1003"/>
              <p:cNvSpPr>
                <a:spLocks noChangeShapeType="1"/>
              </p:cNvSpPr>
              <p:nvPr userDrawn="1"/>
            </p:nvSpPr>
            <p:spPr bwMode="auto">
              <a:xfrm flipH="1" flipV="1">
                <a:off x="13763626" y="2366963"/>
                <a:ext cx="11113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10" name="Line 1004"/>
              <p:cNvSpPr>
                <a:spLocks noChangeShapeType="1"/>
              </p:cNvSpPr>
              <p:nvPr userDrawn="1"/>
            </p:nvSpPr>
            <p:spPr bwMode="auto">
              <a:xfrm flipH="1" flipV="1">
                <a:off x="13749338" y="2352675"/>
                <a:ext cx="14288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11" name="Line 1005"/>
              <p:cNvSpPr>
                <a:spLocks noChangeShapeType="1"/>
              </p:cNvSpPr>
              <p:nvPr userDrawn="1"/>
            </p:nvSpPr>
            <p:spPr bwMode="auto">
              <a:xfrm flipH="1" flipV="1">
                <a:off x="13742988" y="2339975"/>
                <a:ext cx="635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12" name="Line 1006"/>
              <p:cNvSpPr>
                <a:spLocks noChangeShapeType="1"/>
              </p:cNvSpPr>
              <p:nvPr userDrawn="1"/>
            </p:nvSpPr>
            <p:spPr bwMode="auto">
              <a:xfrm flipH="1" flipV="1">
                <a:off x="13739813" y="2333625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13" name="Line 1007"/>
              <p:cNvSpPr>
                <a:spLocks noChangeShapeType="1"/>
              </p:cNvSpPr>
              <p:nvPr userDrawn="1"/>
            </p:nvSpPr>
            <p:spPr bwMode="auto">
              <a:xfrm flipH="1" flipV="1">
                <a:off x="13738226" y="2327275"/>
                <a:ext cx="1588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14" name="Line 1008"/>
              <p:cNvSpPr>
                <a:spLocks noChangeShapeType="1"/>
              </p:cNvSpPr>
              <p:nvPr userDrawn="1"/>
            </p:nvSpPr>
            <p:spPr bwMode="auto">
              <a:xfrm flipH="1" flipV="1">
                <a:off x="13736638" y="2324100"/>
                <a:ext cx="1588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15" name="Line 1010"/>
              <p:cNvSpPr>
                <a:spLocks noChangeShapeType="1"/>
              </p:cNvSpPr>
              <p:nvPr userDrawn="1"/>
            </p:nvSpPr>
            <p:spPr bwMode="auto">
              <a:xfrm flipH="1" flipV="1">
                <a:off x="13733463" y="232251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16" name="Line 1011"/>
              <p:cNvSpPr>
                <a:spLocks noChangeShapeType="1"/>
              </p:cNvSpPr>
              <p:nvPr userDrawn="1"/>
            </p:nvSpPr>
            <p:spPr bwMode="auto">
              <a:xfrm flipH="1">
                <a:off x="13730288" y="232251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17" name="Line 1012"/>
              <p:cNvSpPr>
                <a:spLocks noChangeShapeType="1"/>
              </p:cNvSpPr>
              <p:nvPr userDrawn="1"/>
            </p:nvSpPr>
            <p:spPr bwMode="auto">
              <a:xfrm flipH="1">
                <a:off x="13728700" y="2322513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18" name="Line 1013"/>
              <p:cNvSpPr>
                <a:spLocks noChangeShapeType="1"/>
              </p:cNvSpPr>
              <p:nvPr userDrawn="1"/>
            </p:nvSpPr>
            <p:spPr bwMode="auto">
              <a:xfrm flipH="1">
                <a:off x="13725525" y="232410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19" name="Line 1014"/>
              <p:cNvSpPr>
                <a:spLocks noChangeShapeType="1"/>
              </p:cNvSpPr>
              <p:nvPr userDrawn="1"/>
            </p:nvSpPr>
            <p:spPr bwMode="auto">
              <a:xfrm flipH="1">
                <a:off x="13720763" y="2325688"/>
                <a:ext cx="4762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20" name="Line 1015"/>
              <p:cNvSpPr>
                <a:spLocks noChangeShapeType="1"/>
              </p:cNvSpPr>
              <p:nvPr userDrawn="1"/>
            </p:nvSpPr>
            <p:spPr bwMode="auto">
              <a:xfrm flipH="1">
                <a:off x="13717588" y="2330450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21" name="Line 1016"/>
              <p:cNvSpPr>
                <a:spLocks noChangeShapeType="1"/>
              </p:cNvSpPr>
              <p:nvPr userDrawn="1"/>
            </p:nvSpPr>
            <p:spPr bwMode="auto">
              <a:xfrm flipH="1">
                <a:off x="13714413" y="2335213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22" name="Line 1017"/>
              <p:cNvSpPr>
                <a:spLocks noChangeShapeType="1"/>
              </p:cNvSpPr>
              <p:nvPr userDrawn="1"/>
            </p:nvSpPr>
            <p:spPr bwMode="auto">
              <a:xfrm flipH="1">
                <a:off x="13709650" y="2341563"/>
                <a:ext cx="4762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23" name="Line 1018"/>
              <p:cNvSpPr>
                <a:spLocks noChangeShapeType="1"/>
              </p:cNvSpPr>
              <p:nvPr userDrawn="1"/>
            </p:nvSpPr>
            <p:spPr bwMode="auto">
              <a:xfrm flipH="1">
                <a:off x="13706475" y="2346325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24" name="Line 1019"/>
              <p:cNvSpPr>
                <a:spLocks noChangeShapeType="1"/>
              </p:cNvSpPr>
              <p:nvPr userDrawn="1"/>
            </p:nvSpPr>
            <p:spPr bwMode="auto">
              <a:xfrm flipH="1">
                <a:off x="13704888" y="2349500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25" name="Line 1020"/>
              <p:cNvSpPr>
                <a:spLocks noChangeShapeType="1"/>
              </p:cNvSpPr>
              <p:nvPr userDrawn="1"/>
            </p:nvSpPr>
            <p:spPr bwMode="auto">
              <a:xfrm flipH="1">
                <a:off x="13703300" y="2351088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26" name="Line 1021"/>
              <p:cNvSpPr>
                <a:spLocks noChangeShapeType="1"/>
              </p:cNvSpPr>
              <p:nvPr userDrawn="1"/>
            </p:nvSpPr>
            <p:spPr bwMode="auto">
              <a:xfrm flipH="1">
                <a:off x="13698538" y="2352675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27" name="Line 1022"/>
              <p:cNvSpPr>
                <a:spLocks noChangeShapeType="1"/>
              </p:cNvSpPr>
              <p:nvPr userDrawn="1"/>
            </p:nvSpPr>
            <p:spPr bwMode="auto">
              <a:xfrm flipH="1">
                <a:off x="13690600" y="2354263"/>
                <a:ext cx="793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28" name="Line 1023"/>
              <p:cNvSpPr>
                <a:spLocks noChangeShapeType="1"/>
              </p:cNvSpPr>
              <p:nvPr userDrawn="1"/>
            </p:nvSpPr>
            <p:spPr bwMode="auto">
              <a:xfrm flipH="1">
                <a:off x="13679488" y="2360613"/>
                <a:ext cx="1111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29" name="Line 1024"/>
              <p:cNvSpPr>
                <a:spLocks noChangeShapeType="1"/>
              </p:cNvSpPr>
              <p:nvPr userDrawn="1"/>
            </p:nvSpPr>
            <p:spPr bwMode="auto">
              <a:xfrm flipH="1">
                <a:off x="13660438" y="2368550"/>
                <a:ext cx="1905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30" name="Line 1025"/>
              <p:cNvSpPr>
                <a:spLocks noChangeShapeType="1"/>
              </p:cNvSpPr>
              <p:nvPr userDrawn="1"/>
            </p:nvSpPr>
            <p:spPr bwMode="auto">
              <a:xfrm flipH="1">
                <a:off x="13646150" y="2379663"/>
                <a:ext cx="142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31" name="Line 1026"/>
              <p:cNvSpPr>
                <a:spLocks noChangeShapeType="1"/>
              </p:cNvSpPr>
              <p:nvPr userDrawn="1"/>
            </p:nvSpPr>
            <p:spPr bwMode="auto">
              <a:xfrm flipH="1" flipV="1">
                <a:off x="13630275" y="2382838"/>
                <a:ext cx="158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32" name="Line 1027"/>
              <p:cNvSpPr>
                <a:spLocks noChangeShapeType="1"/>
              </p:cNvSpPr>
              <p:nvPr userDrawn="1"/>
            </p:nvSpPr>
            <p:spPr bwMode="auto">
              <a:xfrm flipH="1" flipV="1">
                <a:off x="13619163" y="2374900"/>
                <a:ext cx="1111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33" name="Line 1028"/>
              <p:cNvSpPr>
                <a:spLocks noChangeShapeType="1"/>
              </p:cNvSpPr>
              <p:nvPr userDrawn="1"/>
            </p:nvSpPr>
            <p:spPr bwMode="auto">
              <a:xfrm flipH="1" flipV="1">
                <a:off x="13615988" y="2370138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34" name="Line 1029"/>
              <p:cNvSpPr>
                <a:spLocks noChangeShapeType="1"/>
              </p:cNvSpPr>
              <p:nvPr userDrawn="1"/>
            </p:nvSpPr>
            <p:spPr bwMode="auto">
              <a:xfrm flipH="1" flipV="1">
                <a:off x="13612813" y="236696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35" name="Line 1030"/>
              <p:cNvSpPr>
                <a:spLocks noChangeShapeType="1"/>
              </p:cNvSpPr>
              <p:nvPr userDrawn="1"/>
            </p:nvSpPr>
            <p:spPr bwMode="auto">
              <a:xfrm flipH="1" flipV="1">
                <a:off x="13611225" y="2362200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36" name="Line 1031"/>
              <p:cNvSpPr>
                <a:spLocks noChangeShapeType="1"/>
              </p:cNvSpPr>
              <p:nvPr userDrawn="1"/>
            </p:nvSpPr>
            <p:spPr bwMode="auto">
              <a:xfrm flipH="1" flipV="1">
                <a:off x="13609638" y="2354263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37" name="Line 1032"/>
              <p:cNvSpPr>
                <a:spLocks noChangeShapeType="1"/>
              </p:cNvSpPr>
              <p:nvPr userDrawn="1"/>
            </p:nvSpPr>
            <p:spPr bwMode="auto">
              <a:xfrm flipV="1">
                <a:off x="13609638" y="2344738"/>
                <a:ext cx="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38" name="Line 1033"/>
              <p:cNvSpPr>
                <a:spLocks noChangeShapeType="1"/>
              </p:cNvSpPr>
              <p:nvPr userDrawn="1"/>
            </p:nvSpPr>
            <p:spPr bwMode="auto">
              <a:xfrm flipV="1">
                <a:off x="13609638" y="2322513"/>
                <a:ext cx="1587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39" name="Line 1034"/>
              <p:cNvSpPr>
                <a:spLocks noChangeShapeType="1"/>
              </p:cNvSpPr>
              <p:nvPr userDrawn="1"/>
            </p:nvSpPr>
            <p:spPr bwMode="auto">
              <a:xfrm flipV="1">
                <a:off x="13611225" y="2297113"/>
                <a:ext cx="7937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40" name="Line 1035"/>
              <p:cNvSpPr>
                <a:spLocks noChangeShapeType="1"/>
              </p:cNvSpPr>
              <p:nvPr userDrawn="1"/>
            </p:nvSpPr>
            <p:spPr bwMode="auto">
              <a:xfrm flipV="1">
                <a:off x="13619163" y="2270125"/>
                <a:ext cx="11112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41" name="Line 1036"/>
              <p:cNvSpPr>
                <a:spLocks noChangeShapeType="1"/>
              </p:cNvSpPr>
              <p:nvPr userDrawn="1"/>
            </p:nvSpPr>
            <p:spPr bwMode="auto">
              <a:xfrm flipV="1">
                <a:off x="13630275" y="2238375"/>
                <a:ext cx="14287" cy="317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42" name="Line 1037"/>
              <p:cNvSpPr>
                <a:spLocks noChangeShapeType="1"/>
              </p:cNvSpPr>
              <p:nvPr userDrawn="1"/>
            </p:nvSpPr>
            <p:spPr bwMode="auto">
              <a:xfrm flipV="1">
                <a:off x="13644563" y="2219325"/>
                <a:ext cx="1111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43" name="Line 1038"/>
              <p:cNvSpPr>
                <a:spLocks noChangeShapeType="1"/>
              </p:cNvSpPr>
              <p:nvPr userDrawn="1"/>
            </p:nvSpPr>
            <p:spPr bwMode="auto">
              <a:xfrm flipV="1">
                <a:off x="13655675" y="2197100"/>
                <a:ext cx="14287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44" name="Line 1039"/>
              <p:cNvSpPr>
                <a:spLocks noChangeShapeType="1"/>
              </p:cNvSpPr>
              <p:nvPr userDrawn="1"/>
            </p:nvSpPr>
            <p:spPr bwMode="auto">
              <a:xfrm flipV="1">
                <a:off x="13669963" y="2185988"/>
                <a:ext cx="952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45" name="Line 1040"/>
              <p:cNvSpPr>
                <a:spLocks noChangeShapeType="1"/>
              </p:cNvSpPr>
              <p:nvPr userDrawn="1"/>
            </p:nvSpPr>
            <p:spPr bwMode="auto">
              <a:xfrm flipV="1">
                <a:off x="13679488" y="2176463"/>
                <a:ext cx="952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46" name="Line 1041"/>
              <p:cNvSpPr>
                <a:spLocks noChangeShapeType="1"/>
              </p:cNvSpPr>
              <p:nvPr userDrawn="1"/>
            </p:nvSpPr>
            <p:spPr bwMode="auto">
              <a:xfrm flipV="1">
                <a:off x="13689013" y="2171700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47" name="Freeform 1042"/>
              <p:cNvSpPr>
                <a:spLocks/>
              </p:cNvSpPr>
              <p:nvPr userDrawn="1"/>
            </p:nvSpPr>
            <p:spPr bwMode="auto">
              <a:xfrm>
                <a:off x="13831888" y="2178050"/>
                <a:ext cx="142875" cy="219075"/>
              </a:xfrm>
              <a:custGeom>
                <a:avLst/>
                <a:gdLst>
                  <a:gd name="T0" fmla="*/ 27 w 182"/>
                  <a:gd name="T1" fmla="*/ 0 h 277"/>
                  <a:gd name="T2" fmla="*/ 35 w 182"/>
                  <a:gd name="T3" fmla="*/ 7 h 277"/>
                  <a:gd name="T4" fmla="*/ 38 w 182"/>
                  <a:gd name="T5" fmla="*/ 13 h 277"/>
                  <a:gd name="T6" fmla="*/ 39 w 182"/>
                  <a:gd name="T7" fmla="*/ 23 h 277"/>
                  <a:gd name="T8" fmla="*/ 39 w 182"/>
                  <a:gd name="T9" fmla="*/ 36 h 277"/>
                  <a:gd name="T10" fmla="*/ 39 w 182"/>
                  <a:gd name="T11" fmla="*/ 57 h 277"/>
                  <a:gd name="T12" fmla="*/ 38 w 182"/>
                  <a:gd name="T13" fmla="*/ 75 h 277"/>
                  <a:gd name="T14" fmla="*/ 37 w 182"/>
                  <a:gd name="T15" fmla="*/ 82 h 277"/>
                  <a:gd name="T16" fmla="*/ 37 w 182"/>
                  <a:gd name="T17" fmla="*/ 88 h 277"/>
                  <a:gd name="T18" fmla="*/ 38 w 182"/>
                  <a:gd name="T19" fmla="*/ 92 h 277"/>
                  <a:gd name="T20" fmla="*/ 39 w 182"/>
                  <a:gd name="T21" fmla="*/ 93 h 277"/>
                  <a:gd name="T22" fmla="*/ 44 w 182"/>
                  <a:gd name="T23" fmla="*/ 90 h 277"/>
                  <a:gd name="T24" fmla="*/ 54 w 182"/>
                  <a:gd name="T25" fmla="*/ 79 h 277"/>
                  <a:gd name="T26" fmla="*/ 68 w 182"/>
                  <a:gd name="T27" fmla="*/ 61 h 277"/>
                  <a:gd name="T28" fmla="*/ 89 w 182"/>
                  <a:gd name="T29" fmla="*/ 34 h 277"/>
                  <a:gd name="T30" fmla="*/ 113 w 182"/>
                  <a:gd name="T31" fmla="*/ 16 h 277"/>
                  <a:gd name="T32" fmla="*/ 128 w 182"/>
                  <a:gd name="T33" fmla="*/ 6 h 277"/>
                  <a:gd name="T34" fmla="*/ 142 w 182"/>
                  <a:gd name="T35" fmla="*/ 2 h 277"/>
                  <a:gd name="T36" fmla="*/ 154 w 182"/>
                  <a:gd name="T37" fmla="*/ 2 h 277"/>
                  <a:gd name="T38" fmla="*/ 168 w 182"/>
                  <a:gd name="T39" fmla="*/ 6 h 277"/>
                  <a:gd name="T40" fmla="*/ 176 w 182"/>
                  <a:gd name="T41" fmla="*/ 12 h 277"/>
                  <a:gd name="T42" fmla="*/ 182 w 182"/>
                  <a:gd name="T43" fmla="*/ 19 h 277"/>
                  <a:gd name="T44" fmla="*/ 182 w 182"/>
                  <a:gd name="T45" fmla="*/ 23 h 277"/>
                  <a:gd name="T46" fmla="*/ 180 w 182"/>
                  <a:gd name="T47" fmla="*/ 26 h 277"/>
                  <a:gd name="T48" fmla="*/ 179 w 182"/>
                  <a:gd name="T49" fmla="*/ 27 h 277"/>
                  <a:gd name="T50" fmla="*/ 175 w 182"/>
                  <a:gd name="T51" fmla="*/ 30 h 277"/>
                  <a:gd name="T52" fmla="*/ 169 w 182"/>
                  <a:gd name="T53" fmla="*/ 30 h 277"/>
                  <a:gd name="T54" fmla="*/ 168 w 182"/>
                  <a:gd name="T55" fmla="*/ 31 h 277"/>
                  <a:gd name="T56" fmla="*/ 165 w 182"/>
                  <a:gd name="T57" fmla="*/ 31 h 277"/>
                  <a:gd name="T58" fmla="*/ 148 w 182"/>
                  <a:gd name="T59" fmla="*/ 33 h 277"/>
                  <a:gd name="T60" fmla="*/ 131 w 182"/>
                  <a:gd name="T61" fmla="*/ 40 h 277"/>
                  <a:gd name="T62" fmla="*/ 114 w 182"/>
                  <a:gd name="T63" fmla="*/ 52 h 277"/>
                  <a:gd name="T64" fmla="*/ 93 w 182"/>
                  <a:gd name="T65" fmla="*/ 76 h 277"/>
                  <a:gd name="T66" fmla="*/ 75 w 182"/>
                  <a:gd name="T67" fmla="*/ 106 h 277"/>
                  <a:gd name="T68" fmla="*/ 61 w 182"/>
                  <a:gd name="T69" fmla="*/ 138 h 277"/>
                  <a:gd name="T70" fmla="*/ 51 w 182"/>
                  <a:gd name="T71" fmla="*/ 172 h 277"/>
                  <a:gd name="T72" fmla="*/ 44 w 182"/>
                  <a:gd name="T73" fmla="*/ 206 h 277"/>
                  <a:gd name="T74" fmla="*/ 41 w 182"/>
                  <a:gd name="T75" fmla="*/ 237 h 277"/>
                  <a:gd name="T76" fmla="*/ 41 w 182"/>
                  <a:gd name="T77" fmla="*/ 253 h 277"/>
                  <a:gd name="T78" fmla="*/ 38 w 182"/>
                  <a:gd name="T79" fmla="*/ 264 h 277"/>
                  <a:gd name="T80" fmla="*/ 35 w 182"/>
                  <a:gd name="T81" fmla="*/ 272 h 277"/>
                  <a:gd name="T82" fmla="*/ 31 w 182"/>
                  <a:gd name="T83" fmla="*/ 275 h 277"/>
                  <a:gd name="T84" fmla="*/ 28 w 182"/>
                  <a:gd name="T85" fmla="*/ 277 h 277"/>
                  <a:gd name="T86" fmla="*/ 24 w 182"/>
                  <a:gd name="T87" fmla="*/ 277 h 277"/>
                  <a:gd name="T88" fmla="*/ 18 w 182"/>
                  <a:gd name="T89" fmla="*/ 277 h 277"/>
                  <a:gd name="T90" fmla="*/ 13 w 182"/>
                  <a:gd name="T91" fmla="*/ 274 h 277"/>
                  <a:gd name="T92" fmla="*/ 0 w 182"/>
                  <a:gd name="T93" fmla="*/ 268 h 277"/>
                  <a:gd name="T94" fmla="*/ 1 w 182"/>
                  <a:gd name="T95" fmla="*/ 143 h 277"/>
                  <a:gd name="T96" fmla="*/ 1 w 182"/>
                  <a:gd name="T97" fmla="*/ 98 h 277"/>
                  <a:gd name="T98" fmla="*/ 3 w 182"/>
                  <a:gd name="T99" fmla="*/ 61 h 277"/>
                  <a:gd name="T100" fmla="*/ 4 w 182"/>
                  <a:gd name="T101" fmla="*/ 34 h 277"/>
                  <a:gd name="T102" fmla="*/ 6 w 182"/>
                  <a:gd name="T103" fmla="*/ 16 h 277"/>
                  <a:gd name="T104" fmla="*/ 8 w 182"/>
                  <a:gd name="T105" fmla="*/ 9 h 277"/>
                  <a:gd name="T106" fmla="*/ 18 w 182"/>
                  <a:gd name="T107" fmla="*/ 0 h 277"/>
                  <a:gd name="T108" fmla="*/ 27 w 182"/>
                  <a:gd name="T109" fmla="*/ 0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82" h="277">
                    <a:moveTo>
                      <a:pt x="27" y="0"/>
                    </a:moveTo>
                    <a:lnTo>
                      <a:pt x="35" y="7"/>
                    </a:lnTo>
                    <a:lnTo>
                      <a:pt x="38" y="13"/>
                    </a:lnTo>
                    <a:lnTo>
                      <a:pt x="39" y="23"/>
                    </a:lnTo>
                    <a:lnTo>
                      <a:pt x="39" y="36"/>
                    </a:lnTo>
                    <a:lnTo>
                      <a:pt x="39" y="57"/>
                    </a:lnTo>
                    <a:lnTo>
                      <a:pt x="38" y="75"/>
                    </a:lnTo>
                    <a:lnTo>
                      <a:pt x="37" y="82"/>
                    </a:lnTo>
                    <a:lnTo>
                      <a:pt x="37" y="88"/>
                    </a:lnTo>
                    <a:lnTo>
                      <a:pt x="38" y="92"/>
                    </a:lnTo>
                    <a:lnTo>
                      <a:pt x="39" y="93"/>
                    </a:lnTo>
                    <a:lnTo>
                      <a:pt x="44" y="90"/>
                    </a:lnTo>
                    <a:lnTo>
                      <a:pt x="54" y="79"/>
                    </a:lnTo>
                    <a:lnTo>
                      <a:pt x="68" y="61"/>
                    </a:lnTo>
                    <a:lnTo>
                      <a:pt x="89" y="34"/>
                    </a:lnTo>
                    <a:lnTo>
                      <a:pt x="113" y="16"/>
                    </a:lnTo>
                    <a:lnTo>
                      <a:pt x="128" y="6"/>
                    </a:lnTo>
                    <a:lnTo>
                      <a:pt x="142" y="2"/>
                    </a:lnTo>
                    <a:lnTo>
                      <a:pt x="154" y="2"/>
                    </a:lnTo>
                    <a:lnTo>
                      <a:pt x="168" y="6"/>
                    </a:lnTo>
                    <a:lnTo>
                      <a:pt x="176" y="12"/>
                    </a:lnTo>
                    <a:lnTo>
                      <a:pt x="182" y="19"/>
                    </a:lnTo>
                    <a:lnTo>
                      <a:pt x="182" y="23"/>
                    </a:lnTo>
                    <a:lnTo>
                      <a:pt x="180" y="26"/>
                    </a:lnTo>
                    <a:lnTo>
                      <a:pt x="179" y="27"/>
                    </a:lnTo>
                    <a:lnTo>
                      <a:pt x="175" y="30"/>
                    </a:lnTo>
                    <a:lnTo>
                      <a:pt x="169" y="30"/>
                    </a:lnTo>
                    <a:lnTo>
                      <a:pt x="168" y="31"/>
                    </a:lnTo>
                    <a:lnTo>
                      <a:pt x="165" y="31"/>
                    </a:lnTo>
                    <a:lnTo>
                      <a:pt x="148" y="33"/>
                    </a:lnTo>
                    <a:lnTo>
                      <a:pt x="131" y="40"/>
                    </a:lnTo>
                    <a:lnTo>
                      <a:pt x="114" y="52"/>
                    </a:lnTo>
                    <a:lnTo>
                      <a:pt x="93" y="76"/>
                    </a:lnTo>
                    <a:lnTo>
                      <a:pt x="75" y="106"/>
                    </a:lnTo>
                    <a:lnTo>
                      <a:pt x="61" y="138"/>
                    </a:lnTo>
                    <a:lnTo>
                      <a:pt x="51" y="172"/>
                    </a:lnTo>
                    <a:lnTo>
                      <a:pt x="44" y="206"/>
                    </a:lnTo>
                    <a:lnTo>
                      <a:pt x="41" y="237"/>
                    </a:lnTo>
                    <a:lnTo>
                      <a:pt x="41" y="253"/>
                    </a:lnTo>
                    <a:lnTo>
                      <a:pt x="38" y="264"/>
                    </a:lnTo>
                    <a:lnTo>
                      <a:pt x="35" y="272"/>
                    </a:lnTo>
                    <a:lnTo>
                      <a:pt x="31" y="275"/>
                    </a:lnTo>
                    <a:lnTo>
                      <a:pt x="28" y="277"/>
                    </a:lnTo>
                    <a:lnTo>
                      <a:pt x="24" y="277"/>
                    </a:lnTo>
                    <a:lnTo>
                      <a:pt x="18" y="277"/>
                    </a:lnTo>
                    <a:lnTo>
                      <a:pt x="13" y="274"/>
                    </a:lnTo>
                    <a:lnTo>
                      <a:pt x="0" y="268"/>
                    </a:lnTo>
                    <a:lnTo>
                      <a:pt x="1" y="143"/>
                    </a:lnTo>
                    <a:lnTo>
                      <a:pt x="1" y="98"/>
                    </a:lnTo>
                    <a:lnTo>
                      <a:pt x="3" y="61"/>
                    </a:lnTo>
                    <a:lnTo>
                      <a:pt x="4" y="34"/>
                    </a:lnTo>
                    <a:lnTo>
                      <a:pt x="6" y="16"/>
                    </a:lnTo>
                    <a:lnTo>
                      <a:pt x="8" y="9"/>
                    </a:lnTo>
                    <a:lnTo>
                      <a:pt x="18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48" name="Line 1043"/>
              <p:cNvSpPr>
                <a:spLocks noChangeShapeType="1"/>
              </p:cNvSpPr>
              <p:nvPr userDrawn="1"/>
            </p:nvSpPr>
            <p:spPr bwMode="auto">
              <a:xfrm flipH="1">
                <a:off x="13947775" y="2201863"/>
                <a:ext cx="142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49" name="Line 1044"/>
              <p:cNvSpPr>
                <a:spLocks noChangeShapeType="1"/>
              </p:cNvSpPr>
              <p:nvPr userDrawn="1"/>
            </p:nvSpPr>
            <p:spPr bwMode="auto">
              <a:xfrm flipH="1">
                <a:off x="13935075" y="2203450"/>
                <a:ext cx="1270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50" name="Line 1045"/>
              <p:cNvSpPr>
                <a:spLocks noChangeShapeType="1"/>
              </p:cNvSpPr>
              <p:nvPr userDrawn="1"/>
            </p:nvSpPr>
            <p:spPr bwMode="auto">
              <a:xfrm flipH="1">
                <a:off x="13922375" y="2208213"/>
                <a:ext cx="1270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51" name="Line 1046"/>
              <p:cNvSpPr>
                <a:spLocks noChangeShapeType="1"/>
              </p:cNvSpPr>
              <p:nvPr userDrawn="1"/>
            </p:nvSpPr>
            <p:spPr bwMode="auto">
              <a:xfrm flipH="1">
                <a:off x="13904913" y="2219325"/>
                <a:ext cx="1746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52" name="Line 1047"/>
              <p:cNvSpPr>
                <a:spLocks noChangeShapeType="1"/>
              </p:cNvSpPr>
              <p:nvPr userDrawn="1"/>
            </p:nvSpPr>
            <p:spPr bwMode="auto">
              <a:xfrm flipH="1">
                <a:off x="13890625" y="2238375"/>
                <a:ext cx="14287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53" name="Line 1048"/>
              <p:cNvSpPr>
                <a:spLocks noChangeShapeType="1"/>
              </p:cNvSpPr>
              <p:nvPr userDrawn="1"/>
            </p:nvSpPr>
            <p:spPr bwMode="auto">
              <a:xfrm flipH="1">
                <a:off x="13879513" y="2262188"/>
                <a:ext cx="11112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54" name="Line 1049"/>
              <p:cNvSpPr>
                <a:spLocks noChangeShapeType="1"/>
              </p:cNvSpPr>
              <p:nvPr userDrawn="1"/>
            </p:nvSpPr>
            <p:spPr bwMode="auto">
              <a:xfrm flipH="1">
                <a:off x="13871575" y="2287588"/>
                <a:ext cx="7937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55" name="Line 1050"/>
              <p:cNvSpPr>
                <a:spLocks noChangeShapeType="1"/>
              </p:cNvSpPr>
              <p:nvPr userDrawn="1"/>
            </p:nvSpPr>
            <p:spPr bwMode="auto">
              <a:xfrm flipH="1">
                <a:off x="13865225" y="2314575"/>
                <a:ext cx="6350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56" name="Line 1051"/>
              <p:cNvSpPr>
                <a:spLocks noChangeShapeType="1"/>
              </p:cNvSpPr>
              <p:nvPr userDrawn="1"/>
            </p:nvSpPr>
            <p:spPr bwMode="auto">
              <a:xfrm flipH="1">
                <a:off x="13863638" y="2341563"/>
                <a:ext cx="1587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57" name="Line 1052"/>
              <p:cNvSpPr>
                <a:spLocks noChangeShapeType="1"/>
              </p:cNvSpPr>
              <p:nvPr userDrawn="1"/>
            </p:nvSpPr>
            <p:spPr bwMode="auto">
              <a:xfrm>
                <a:off x="13863638" y="2365375"/>
                <a:ext cx="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58" name="Line 1053"/>
              <p:cNvSpPr>
                <a:spLocks noChangeShapeType="1"/>
              </p:cNvSpPr>
              <p:nvPr userDrawn="1"/>
            </p:nvSpPr>
            <p:spPr bwMode="auto">
              <a:xfrm flipH="1">
                <a:off x="13862050" y="2378075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59" name="Line 1054"/>
              <p:cNvSpPr>
                <a:spLocks noChangeShapeType="1"/>
              </p:cNvSpPr>
              <p:nvPr userDrawn="1"/>
            </p:nvSpPr>
            <p:spPr bwMode="auto">
              <a:xfrm flipH="1">
                <a:off x="13858875" y="2386013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60" name="Line 1055"/>
              <p:cNvSpPr>
                <a:spLocks noChangeShapeType="1"/>
              </p:cNvSpPr>
              <p:nvPr userDrawn="1"/>
            </p:nvSpPr>
            <p:spPr bwMode="auto">
              <a:xfrm flipH="1">
                <a:off x="13855700" y="239395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61" name="Line 1056"/>
              <p:cNvSpPr>
                <a:spLocks noChangeShapeType="1"/>
              </p:cNvSpPr>
              <p:nvPr userDrawn="1"/>
            </p:nvSpPr>
            <p:spPr bwMode="auto">
              <a:xfrm flipH="1">
                <a:off x="13854113" y="2395538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62" name="Line 1057"/>
              <p:cNvSpPr>
                <a:spLocks noChangeShapeType="1"/>
              </p:cNvSpPr>
              <p:nvPr userDrawn="1"/>
            </p:nvSpPr>
            <p:spPr bwMode="auto">
              <a:xfrm flipH="1">
                <a:off x="13849350" y="2397125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63" name="Line 1058"/>
              <p:cNvSpPr>
                <a:spLocks noChangeShapeType="1"/>
              </p:cNvSpPr>
              <p:nvPr userDrawn="1"/>
            </p:nvSpPr>
            <p:spPr bwMode="auto">
              <a:xfrm flipH="1">
                <a:off x="13846175" y="2397125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64" name="Line 1059"/>
              <p:cNvSpPr>
                <a:spLocks noChangeShapeType="1"/>
              </p:cNvSpPr>
              <p:nvPr userDrawn="1"/>
            </p:nvSpPr>
            <p:spPr bwMode="auto">
              <a:xfrm flipH="1" flipV="1">
                <a:off x="13841413" y="2393950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65" name="Line 1060"/>
              <p:cNvSpPr>
                <a:spLocks noChangeShapeType="1"/>
              </p:cNvSpPr>
              <p:nvPr userDrawn="1"/>
            </p:nvSpPr>
            <p:spPr bwMode="auto">
              <a:xfrm flipH="1" flipV="1">
                <a:off x="13831888" y="2390775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66" name="Line 1061"/>
              <p:cNvSpPr>
                <a:spLocks noChangeShapeType="1"/>
              </p:cNvSpPr>
              <p:nvPr userDrawn="1"/>
            </p:nvSpPr>
            <p:spPr bwMode="auto">
              <a:xfrm flipV="1">
                <a:off x="13831888" y="2290763"/>
                <a:ext cx="0" cy="1000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67" name="Line 1062"/>
              <p:cNvSpPr>
                <a:spLocks noChangeShapeType="1"/>
              </p:cNvSpPr>
              <p:nvPr userDrawn="1"/>
            </p:nvSpPr>
            <p:spPr bwMode="auto">
              <a:xfrm flipV="1">
                <a:off x="13831888" y="2254250"/>
                <a:ext cx="0" cy="365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68" name="Line 1063"/>
              <p:cNvSpPr>
                <a:spLocks noChangeShapeType="1"/>
              </p:cNvSpPr>
              <p:nvPr userDrawn="1"/>
            </p:nvSpPr>
            <p:spPr bwMode="auto">
              <a:xfrm flipV="1">
                <a:off x="13831888" y="2225675"/>
                <a:ext cx="1587" cy="285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69" name="Line 1064"/>
              <p:cNvSpPr>
                <a:spLocks noChangeShapeType="1"/>
              </p:cNvSpPr>
              <p:nvPr userDrawn="1"/>
            </p:nvSpPr>
            <p:spPr bwMode="auto">
              <a:xfrm flipV="1">
                <a:off x="13833475" y="2205038"/>
                <a:ext cx="1587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70" name="Line 1065"/>
              <p:cNvSpPr>
                <a:spLocks noChangeShapeType="1"/>
              </p:cNvSpPr>
              <p:nvPr userDrawn="1"/>
            </p:nvSpPr>
            <p:spPr bwMode="auto">
              <a:xfrm flipV="1">
                <a:off x="13835063" y="2189163"/>
                <a:ext cx="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71" name="Line 1066"/>
              <p:cNvSpPr>
                <a:spLocks noChangeShapeType="1"/>
              </p:cNvSpPr>
              <p:nvPr userDrawn="1"/>
            </p:nvSpPr>
            <p:spPr bwMode="auto">
              <a:xfrm flipV="1">
                <a:off x="13835063" y="2184400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72" name="Line 1067"/>
              <p:cNvSpPr>
                <a:spLocks noChangeShapeType="1"/>
              </p:cNvSpPr>
              <p:nvPr userDrawn="1"/>
            </p:nvSpPr>
            <p:spPr bwMode="auto">
              <a:xfrm flipV="1">
                <a:off x="13838238" y="2178050"/>
                <a:ext cx="793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73" name="Line 1068"/>
              <p:cNvSpPr>
                <a:spLocks noChangeShapeType="1"/>
              </p:cNvSpPr>
              <p:nvPr userDrawn="1"/>
            </p:nvSpPr>
            <p:spPr bwMode="auto">
              <a:xfrm>
                <a:off x="13846175" y="2178050"/>
                <a:ext cx="635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74" name="Line 1069"/>
              <p:cNvSpPr>
                <a:spLocks noChangeShapeType="1"/>
              </p:cNvSpPr>
              <p:nvPr userDrawn="1"/>
            </p:nvSpPr>
            <p:spPr bwMode="auto">
              <a:xfrm>
                <a:off x="13852525" y="2178050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75" name="Line 1070"/>
              <p:cNvSpPr>
                <a:spLocks noChangeShapeType="1"/>
              </p:cNvSpPr>
              <p:nvPr userDrawn="1"/>
            </p:nvSpPr>
            <p:spPr bwMode="auto">
              <a:xfrm>
                <a:off x="13858875" y="2182813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76" name="Line 1071"/>
              <p:cNvSpPr>
                <a:spLocks noChangeShapeType="1"/>
              </p:cNvSpPr>
              <p:nvPr userDrawn="1"/>
            </p:nvSpPr>
            <p:spPr bwMode="auto">
              <a:xfrm>
                <a:off x="13862050" y="2187575"/>
                <a:ext cx="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77" name="Line 1072"/>
              <p:cNvSpPr>
                <a:spLocks noChangeShapeType="1"/>
              </p:cNvSpPr>
              <p:nvPr userDrawn="1"/>
            </p:nvSpPr>
            <p:spPr bwMode="auto">
              <a:xfrm>
                <a:off x="13862050" y="2195513"/>
                <a:ext cx="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78" name="Line 1073"/>
              <p:cNvSpPr>
                <a:spLocks noChangeShapeType="1"/>
              </p:cNvSpPr>
              <p:nvPr userDrawn="1"/>
            </p:nvSpPr>
            <p:spPr bwMode="auto">
              <a:xfrm>
                <a:off x="13862050" y="2205038"/>
                <a:ext cx="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79" name="Line 1074"/>
              <p:cNvSpPr>
                <a:spLocks noChangeShapeType="1"/>
              </p:cNvSpPr>
              <p:nvPr userDrawn="1"/>
            </p:nvSpPr>
            <p:spPr bwMode="auto">
              <a:xfrm flipH="1">
                <a:off x="13862050" y="2222500"/>
                <a:ext cx="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80" name="Line 1075"/>
              <p:cNvSpPr>
                <a:spLocks noChangeShapeType="1"/>
              </p:cNvSpPr>
              <p:nvPr userDrawn="1"/>
            </p:nvSpPr>
            <p:spPr bwMode="auto">
              <a:xfrm flipH="1">
                <a:off x="13860463" y="2236788"/>
                <a:ext cx="158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81" name="Line 1076"/>
              <p:cNvSpPr>
                <a:spLocks noChangeShapeType="1"/>
              </p:cNvSpPr>
              <p:nvPr userDrawn="1"/>
            </p:nvSpPr>
            <p:spPr bwMode="auto">
              <a:xfrm>
                <a:off x="13860463" y="224313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82" name="Line 1077"/>
              <p:cNvSpPr>
                <a:spLocks noChangeShapeType="1"/>
              </p:cNvSpPr>
              <p:nvPr userDrawn="1"/>
            </p:nvSpPr>
            <p:spPr bwMode="auto">
              <a:xfrm>
                <a:off x="13860463" y="2246313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83" name="Line 1078"/>
              <p:cNvSpPr>
                <a:spLocks noChangeShapeType="1"/>
              </p:cNvSpPr>
              <p:nvPr userDrawn="1"/>
            </p:nvSpPr>
            <p:spPr bwMode="auto">
              <a:xfrm>
                <a:off x="13862050" y="2249488"/>
                <a:ext cx="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84" name="Line 1079"/>
              <p:cNvSpPr>
                <a:spLocks noChangeShapeType="1"/>
              </p:cNvSpPr>
              <p:nvPr userDrawn="1"/>
            </p:nvSpPr>
            <p:spPr bwMode="auto">
              <a:xfrm flipV="1">
                <a:off x="13862050" y="22494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85" name="Line 1080"/>
              <p:cNvSpPr>
                <a:spLocks noChangeShapeType="1"/>
              </p:cNvSpPr>
              <p:nvPr userDrawn="1"/>
            </p:nvSpPr>
            <p:spPr bwMode="auto">
              <a:xfrm flipV="1">
                <a:off x="13865225" y="2239963"/>
                <a:ext cx="793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86" name="Line 1081"/>
              <p:cNvSpPr>
                <a:spLocks noChangeShapeType="1"/>
              </p:cNvSpPr>
              <p:nvPr userDrawn="1"/>
            </p:nvSpPr>
            <p:spPr bwMode="auto">
              <a:xfrm flipV="1">
                <a:off x="13873163" y="2225675"/>
                <a:ext cx="1111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87" name="Line 1082"/>
              <p:cNvSpPr>
                <a:spLocks noChangeShapeType="1"/>
              </p:cNvSpPr>
              <p:nvPr userDrawn="1"/>
            </p:nvSpPr>
            <p:spPr bwMode="auto">
              <a:xfrm flipV="1">
                <a:off x="13884275" y="2205038"/>
                <a:ext cx="17462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88" name="Line 1083"/>
              <p:cNvSpPr>
                <a:spLocks noChangeShapeType="1"/>
              </p:cNvSpPr>
              <p:nvPr userDrawn="1"/>
            </p:nvSpPr>
            <p:spPr bwMode="auto">
              <a:xfrm flipV="1">
                <a:off x="13901738" y="2189163"/>
                <a:ext cx="1905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89" name="Line 1084"/>
              <p:cNvSpPr>
                <a:spLocks noChangeShapeType="1"/>
              </p:cNvSpPr>
              <p:nvPr userDrawn="1"/>
            </p:nvSpPr>
            <p:spPr bwMode="auto">
              <a:xfrm flipV="1">
                <a:off x="13920788" y="2181225"/>
                <a:ext cx="1270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90" name="Line 1085"/>
              <p:cNvSpPr>
                <a:spLocks noChangeShapeType="1"/>
              </p:cNvSpPr>
              <p:nvPr userDrawn="1"/>
            </p:nvSpPr>
            <p:spPr bwMode="auto">
              <a:xfrm flipV="1">
                <a:off x="13933488" y="2178050"/>
                <a:ext cx="1111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91" name="Line 1086"/>
              <p:cNvSpPr>
                <a:spLocks noChangeShapeType="1"/>
              </p:cNvSpPr>
              <p:nvPr userDrawn="1"/>
            </p:nvSpPr>
            <p:spPr bwMode="auto">
              <a:xfrm>
                <a:off x="13944600" y="2178050"/>
                <a:ext cx="793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92" name="Line 1087"/>
              <p:cNvSpPr>
                <a:spLocks noChangeShapeType="1"/>
              </p:cNvSpPr>
              <p:nvPr userDrawn="1"/>
            </p:nvSpPr>
            <p:spPr bwMode="auto">
              <a:xfrm>
                <a:off x="13952538" y="2178050"/>
                <a:ext cx="1111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93" name="Line 1088"/>
              <p:cNvSpPr>
                <a:spLocks noChangeShapeType="1"/>
              </p:cNvSpPr>
              <p:nvPr userDrawn="1"/>
            </p:nvSpPr>
            <p:spPr bwMode="auto">
              <a:xfrm>
                <a:off x="13963650" y="2181225"/>
                <a:ext cx="793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94" name="Line 1089"/>
              <p:cNvSpPr>
                <a:spLocks noChangeShapeType="1"/>
              </p:cNvSpPr>
              <p:nvPr userDrawn="1"/>
            </p:nvSpPr>
            <p:spPr bwMode="auto">
              <a:xfrm>
                <a:off x="13971588" y="2185988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95" name="Line 1090"/>
              <p:cNvSpPr>
                <a:spLocks noChangeShapeType="1"/>
              </p:cNvSpPr>
              <p:nvPr userDrawn="1"/>
            </p:nvSpPr>
            <p:spPr bwMode="auto">
              <a:xfrm>
                <a:off x="13974763" y="219233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96" name="Line 1091"/>
              <p:cNvSpPr>
                <a:spLocks noChangeShapeType="1"/>
              </p:cNvSpPr>
              <p:nvPr userDrawn="1"/>
            </p:nvSpPr>
            <p:spPr bwMode="auto">
              <a:xfrm flipH="1">
                <a:off x="13974763" y="2195513"/>
                <a:ext cx="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97" name="Line 1092"/>
              <p:cNvSpPr>
                <a:spLocks noChangeShapeType="1"/>
              </p:cNvSpPr>
              <p:nvPr userDrawn="1"/>
            </p:nvSpPr>
            <p:spPr bwMode="auto">
              <a:xfrm flipH="1">
                <a:off x="13973175" y="2197100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98" name="Line 1093"/>
              <p:cNvSpPr>
                <a:spLocks noChangeShapeType="1"/>
              </p:cNvSpPr>
              <p:nvPr userDrawn="1"/>
            </p:nvSpPr>
            <p:spPr bwMode="auto">
              <a:xfrm flipH="1">
                <a:off x="13970000" y="21986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99" name="Line 1094"/>
              <p:cNvSpPr>
                <a:spLocks noChangeShapeType="1"/>
              </p:cNvSpPr>
              <p:nvPr userDrawn="1"/>
            </p:nvSpPr>
            <p:spPr bwMode="auto">
              <a:xfrm flipH="1">
                <a:off x="13965238" y="2200275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00" name="Line 1095"/>
              <p:cNvSpPr>
                <a:spLocks noChangeShapeType="1"/>
              </p:cNvSpPr>
              <p:nvPr userDrawn="1"/>
            </p:nvSpPr>
            <p:spPr bwMode="auto">
              <a:xfrm flipH="1">
                <a:off x="13963650" y="2200275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01" name="Line 1096"/>
              <p:cNvSpPr>
                <a:spLocks noChangeShapeType="1"/>
              </p:cNvSpPr>
              <p:nvPr userDrawn="1"/>
            </p:nvSpPr>
            <p:spPr bwMode="auto">
              <a:xfrm flipH="1">
                <a:off x="13962063" y="2201863"/>
                <a:ext cx="158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02" name="Freeform 1097"/>
              <p:cNvSpPr>
                <a:spLocks noEditPoints="1"/>
              </p:cNvSpPr>
              <p:nvPr userDrawn="1"/>
            </p:nvSpPr>
            <p:spPr bwMode="auto">
              <a:xfrm>
                <a:off x="13985875" y="2189163"/>
                <a:ext cx="168275" cy="201613"/>
              </a:xfrm>
              <a:custGeom>
                <a:avLst/>
                <a:gdLst>
                  <a:gd name="T0" fmla="*/ 97 w 211"/>
                  <a:gd name="T1" fmla="*/ 33 h 256"/>
                  <a:gd name="T2" fmla="*/ 87 w 211"/>
                  <a:gd name="T3" fmla="*/ 37 h 256"/>
                  <a:gd name="T4" fmla="*/ 70 w 211"/>
                  <a:gd name="T5" fmla="*/ 50 h 256"/>
                  <a:gd name="T6" fmla="*/ 53 w 211"/>
                  <a:gd name="T7" fmla="*/ 74 h 256"/>
                  <a:gd name="T8" fmla="*/ 53 w 211"/>
                  <a:gd name="T9" fmla="*/ 84 h 256"/>
                  <a:gd name="T10" fmla="*/ 58 w 211"/>
                  <a:gd name="T11" fmla="*/ 85 h 256"/>
                  <a:gd name="T12" fmla="*/ 72 w 211"/>
                  <a:gd name="T13" fmla="*/ 76 h 256"/>
                  <a:gd name="T14" fmla="*/ 96 w 211"/>
                  <a:gd name="T15" fmla="*/ 53 h 256"/>
                  <a:gd name="T16" fmla="*/ 104 w 211"/>
                  <a:gd name="T17" fmla="*/ 38 h 256"/>
                  <a:gd name="T18" fmla="*/ 103 w 211"/>
                  <a:gd name="T19" fmla="*/ 33 h 256"/>
                  <a:gd name="T20" fmla="*/ 106 w 211"/>
                  <a:gd name="T21" fmla="*/ 0 h 256"/>
                  <a:gd name="T22" fmla="*/ 120 w 211"/>
                  <a:gd name="T23" fmla="*/ 2 h 256"/>
                  <a:gd name="T24" fmla="*/ 128 w 211"/>
                  <a:gd name="T25" fmla="*/ 3 h 256"/>
                  <a:gd name="T26" fmla="*/ 134 w 211"/>
                  <a:gd name="T27" fmla="*/ 9 h 256"/>
                  <a:gd name="T28" fmla="*/ 139 w 211"/>
                  <a:gd name="T29" fmla="*/ 33 h 256"/>
                  <a:gd name="T30" fmla="*/ 125 w 211"/>
                  <a:gd name="T31" fmla="*/ 69 h 256"/>
                  <a:gd name="T32" fmla="*/ 93 w 211"/>
                  <a:gd name="T33" fmla="*/ 105 h 256"/>
                  <a:gd name="T34" fmla="*/ 65 w 211"/>
                  <a:gd name="T35" fmla="*/ 120 h 256"/>
                  <a:gd name="T36" fmla="*/ 48 w 211"/>
                  <a:gd name="T37" fmla="*/ 124 h 256"/>
                  <a:gd name="T38" fmla="*/ 37 w 211"/>
                  <a:gd name="T39" fmla="*/ 129 h 256"/>
                  <a:gd name="T40" fmla="*/ 31 w 211"/>
                  <a:gd name="T41" fmla="*/ 147 h 256"/>
                  <a:gd name="T42" fmla="*/ 37 w 211"/>
                  <a:gd name="T43" fmla="*/ 179 h 256"/>
                  <a:gd name="T44" fmla="*/ 52 w 211"/>
                  <a:gd name="T45" fmla="*/ 203 h 256"/>
                  <a:gd name="T46" fmla="*/ 91 w 211"/>
                  <a:gd name="T47" fmla="*/ 226 h 256"/>
                  <a:gd name="T48" fmla="*/ 139 w 211"/>
                  <a:gd name="T49" fmla="*/ 226 h 256"/>
                  <a:gd name="T50" fmla="*/ 169 w 211"/>
                  <a:gd name="T51" fmla="*/ 206 h 256"/>
                  <a:gd name="T52" fmla="*/ 179 w 211"/>
                  <a:gd name="T53" fmla="*/ 181 h 256"/>
                  <a:gd name="T54" fmla="*/ 189 w 211"/>
                  <a:gd name="T55" fmla="*/ 157 h 256"/>
                  <a:gd name="T56" fmla="*/ 197 w 211"/>
                  <a:gd name="T57" fmla="*/ 153 h 256"/>
                  <a:gd name="T58" fmla="*/ 204 w 211"/>
                  <a:gd name="T59" fmla="*/ 157 h 256"/>
                  <a:gd name="T60" fmla="*/ 211 w 211"/>
                  <a:gd name="T61" fmla="*/ 185 h 256"/>
                  <a:gd name="T62" fmla="*/ 197 w 211"/>
                  <a:gd name="T63" fmla="*/ 219 h 256"/>
                  <a:gd name="T64" fmla="*/ 165 w 211"/>
                  <a:gd name="T65" fmla="*/ 248 h 256"/>
                  <a:gd name="T66" fmla="*/ 135 w 211"/>
                  <a:gd name="T67" fmla="*/ 254 h 256"/>
                  <a:gd name="T68" fmla="*/ 90 w 211"/>
                  <a:gd name="T69" fmla="*/ 254 h 256"/>
                  <a:gd name="T70" fmla="*/ 62 w 211"/>
                  <a:gd name="T71" fmla="*/ 248 h 256"/>
                  <a:gd name="T72" fmla="*/ 28 w 211"/>
                  <a:gd name="T73" fmla="*/ 227 h 256"/>
                  <a:gd name="T74" fmla="*/ 7 w 211"/>
                  <a:gd name="T75" fmla="*/ 202 h 256"/>
                  <a:gd name="T76" fmla="*/ 1 w 211"/>
                  <a:gd name="T77" fmla="*/ 188 h 256"/>
                  <a:gd name="T78" fmla="*/ 0 w 211"/>
                  <a:gd name="T79" fmla="*/ 150 h 256"/>
                  <a:gd name="T80" fmla="*/ 3 w 211"/>
                  <a:gd name="T81" fmla="*/ 108 h 256"/>
                  <a:gd name="T82" fmla="*/ 11 w 211"/>
                  <a:gd name="T83" fmla="*/ 85 h 256"/>
                  <a:gd name="T84" fmla="*/ 31 w 211"/>
                  <a:gd name="T85" fmla="*/ 48 h 256"/>
                  <a:gd name="T86" fmla="*/ 58 w 211"/>
                  <a:gd name="T87" fmla="*/ 17 h 256"/>
                  <a:gd name="T88" fmla="*/ 106 w 211"/>
                  <a:gd name="T89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11" h="256">
                    <a:moveTo>
                      <a:pt x="100" y="31"/>
                    </a:moveTo>
                    <a:lnTo>
                      <a:pt x="97" y="33"/>
                    </a:lnTo>
                    <a:lnTo>
                      <a:pt x="93" y="34"/>
                    </a:lnTo>
                    <a:lnTo>
                      <a:pt x="87" y="37"/>
                    </a:lnTo>
                    <a:lnTo>
                      <a:pt x="79" y="43"/>
                    </a:lnTo>
                    <a:lnTo>
                      <a:pt x="70" y="50"/>
                    </a:lnTo>
                    <a:lnTo>
                      <a:pt x="59" y="64"/>
                    </a:lnTo>
                    <a:lnTo>
                      <a:pt x="53" y="74"/>
                    </a:lnTo>
                    <a:lnTo>
                      <a:pt x="52" y="82"/>
                    </a:lnTo>
                    <a:lnTo>
                      <a:pt x="53" y="84"/>
                    </a:lnTo>
                    <a:lnTo>
                      <a:pt x="55" y="85"/>
                    </a:lnTo>
                    <a:lnTo>
                      <a:pt x="58" y="85"/>
                    </a:lnTo>
                    <a:lnTo>
                      <a:pt x="63" y="82"/>
                    </a:lnTo>
                    <a:lnTo>
                      <a:pt x="72" y="76"/>
                    </a:lnTo>
                    <a:lnTo>
                      <a:pt x="84" y="65"/>
                    </a:lnTo>
                    <a:lnTo>
                      <a:pt x="96" y="53"/>
                    </a:lnTo>
                    <a:lnTo>
                      <a:pt x="103" y="44"/>
                    </a:lnTo>
                    <a:lnTo>
                      <a:pt x="104" y="38"/>
                    </a:lnTo>
                    <a:lnTo>
                      <a:pt x="104" y="34"/>
                    </a:lnTo>
                    <a:lnTo>
                      <a:pt x="103" y="33"/>
                    </a:lnTo>
                    <a:lnTo>
                      <a:pt x="100" y="31"/>
                    </a:lnTo>
                    <a:close/>
                    <a:moveTo>
                      <a:pt x="106" y="0"/>
                    </a:moveTo>
                    <a:lnTo>
                      <a:pt x="114" y="0"/>
                    </a:lnTo>
                    <a:lnTo>
                      <a:pt x="120" y="2"/>
                    </a:lnTo>
                    <a:lnTo>
                      <a:pt x="124" y="2"/>
                    </a:lnTo>
                    <a:lnTo>
                      <a:pt x="128" y="3"/>
                    </a:lnTo>
                    <a:lnTo>
                      <a:pt x="131" y="6"/>
                    </a:lnTo>
                    <a:lnTo>
                      <a:pt x="134" y="9"/>
                    </a:lnTo>
                    <a:lnTo>
                      <a:pt x="137" y="14"/>
                    </a:lnTo>
                    <a:lnTo>
                      <a:pt x="139" y="33"/>
                    </a:lnTo>
                    <a:lnTo>
                      <a:pt x="137" y="51"/>
                    </a:lnTo>
                    <a:lnTo>
                      <a:pt x="125" y="69"/>
                    </a:lnTo>
                    <a:lnTo>
                      <a:pt x="110" y="91"/>
                    </a:lnTo>
                    <a:lnTo>
                      <a:pt x="93" y="105"/>
                    </a:lnTo>
                    <a:lnTo>
                      <a:pt x="77" y="115"/>
                    </a:lnTo>
                    <a:lnTo>
                      <a:pt x="65" y="120"/>
                    </a:lnTo>
                    <a:lnTo>
                      <a:pt x="53" y="123"/>
                    </a:lnTo>
                    <a:lnTo>
                      <a:pt x="48" y="124"/>
                    </a:lnTo>
                    <a:lnTo>
                      <a:pt x="42" y="126"/>
                    </a:lnTo>
                    <a:lnTo>
                      <a:pt x="37" y="129"/>
                    </a:lnTo>
                    <a:lnTo>
                      <a:pt x="32" y="136"/>
                    </a:lnTo>
                    <a:lnTo>
                      <a:pt x="31" y="147"/>
                    </a:lnTo>
                    <a:lnTo>
                      <a:pt x="32" y="161"/>
                    </a:lnTo>
                    <a:lnTo>
                      <a:pt x="37" y="179"/>
                    </a:lnTo>
                    <a:lnTo>
                      <a:pt x="42" y="192"/>
                    </a:lnTo>
                    <a:lnTo>
                      <a:pt x="52" y="203"/>
                    </a:lnTo>
                    <a:lnTo>
                      <a:pt x="66" y="215"/>
                    </a:lnTo>
                    <a:lnTo>
                      <a:pt x="91" y="226"/>
                    </a:lnTo>
                    <a:lnTo>
                      <a:pt x="117" y="230"/>
                    </a:lnTo>
                    <a:lnTo>
                      <a:pt x="139" y="226"/>
                    </a:lnTo>
                    <a:lnTo>
                      <a:pt x="159" y="216"/>
                    </a:lnTo>
                    <a:lnTo>
                      <a:pt x="169" y="206"/>
                    </a:lnTo>
                    <a:lnTo>
                      <a:pt x="176" y="193"/>
                    </a:lnTo>
                    <a:lnTo>
                      <a:pt x="179" y="181"/>
                    </a:lnTo>
                    <a:lnTo>
                      <a:pt x="182" y="167"/>
                    </a:lnTo>
                    <a:lnTo>
                      <a:pt x="189" y="157"/>
                    </a:lnTo>
                    <a:lnTo>
                      <a:pt x="193" y="154"/>
                    </a:lnTo>
                    <a:lnTo>
                      <a:pt x="197" y="153"/>
                    </a:lnTo>
                    <a:lnTo>
                      <a:pt x="201" y="154"/>
                    </a:lnTo>
                    <a:lnTo>
                      <a:pt x="204" y="157"/>
                    </a:lnTo>
                    <a:lnTo>
                      <a:pt x="211" y="168"/>
                    </a:lnTo>
                    <a:lnTo>
                      <a:pt x="211" y="185"/>
                    </a:lnTo>
                    <a:lnTo>
                      <a:pt x="207" y="203"/>
                    </a:lnTo>
                    <a:lnTo>
                      <a:pt x="197" y="219"/>
                    </a:lnTo>
                    <a:lnTo>
                      <a:pt x="180" y="239"/>
                    </a:lnTo>
                    <a:lnTo>
                      <a:pt x="165" y="248"/>
                    </a:lnTo>
                    <a:lnTo>
                      <a:pt x="152" y="253"/>
                    </a:lnTo>
                    <a:lnTo>
                      <a:pt x="135" y="254"/>
                    </a:lnTo>
                    <a:lnTo>
                      <a:pt x="114" y="256"/>
                    </a:lnTo>
                    <a:lnTo>
                      <a:pt x="90" y="254"/>
                    </a:lnTo>
                    <a:lnTo>
                      <a:pt x="73" y="253"/>
                    </a:lnTo>
                    <a:lnTo>
                      <a:pt x="62" y="248"/>
                    </a:lnTo>
                    <a:lnTo>
                      <a:pt x="48" y="241"/>
                    </a:lnTo>
                    <a:lnTo>
                      <a:pt x="28" y="227"/>
                    </a:lnTo>
                    <a:lnTo>
                      <a:pt x="13" y="210"/>
                    </a:lnTo>
                    <a:lnTo>
                      <a:pt x="7" y="202"/>
                    </a:lnTo>
                    <a:lnTo>
                      <a:pt x="4" y="195"/>
                    </a:lnTo>
                    <a:lnTo>
                      <a:pt x="1" y="188"/>
                    </a:lnTo>
                    <a:lnTo>
                      <a:pt x="0" y="174"/>
                    </a:lnTo>
                    <a:lnTo>
                      <a:pt x="0" y="150"/>
                    </a:lnTo>
                    <a:lnTo>
                      <a:pt x="0" y="124"/>
                    </a:lnTo>
                    <a:lnTo>
                      <a:pt x="3" y="108"/>
                    </a:lnTo>
                    <a:lnTo>
                      <a:pt x="6" y="98"/>
                    </a:lnTo>
                    <a:lnTo>
                      <a:pt x="11" y="85"/>
                    </a:lnTo>
                    <a:lnTo>
                      <a:pt x="18" y="69"/>
                    </a:lnTo>
                    <a:lnTo>
                      <a:pt x="31" y="48"/>
                    </a:lnTo>
                    <a:lnTo>
                      <a:pt x="45" y="30"/>
                    </a:lnTo>
                    <a:lnTo>
                      <a:pt x="58" y="17"/>
                    </a:lnTo>
                    <a:lnTo>
                      <a:pt x="80" y="5"/>
                    </a:lnTo>
                    <a:lnTo>
                      <a:pt x="10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03" name="Line 1098"/>
              <p:cNvSpPr>
                <a:spLocks noChangeShapeType="1"/>
              </p:cNvSpPr>
              <p:nvPr userDrawn="1"/>
            </p:nvSpPr>
            <p:spPr bwMode="auto">
              <a:xfrm flipV="1">
                <a:off x="14070013" y="2216150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04" name="Line 1099"/>
              <p:cNvSpPr>
                <a:spLocks noChangeShapeType="1"/>
              </p:cNvSpPr>
              <p:nvPr userDrawn="1"/>
            </p:nvSpPr>
            <p:spPr bwMode="auto">
              <a:xfrm flipH="1" flipV="1">
                <a:off x="14068425" y="2214563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05" name="Line 1100"/>
              <p:cNvSpPr>
                <a:spLocks noChangeShapeType="1"/>
              </p:cNvSpPr>
              <p:nvPr userDrawn="1"/>
            </p:nvSpPr>
            <p:spPr bwMode="auto">
              <a:xfrm flipH="1" flipV="1">
                <a:off x="14065250" y="2212975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06" name="Line 1101"/>
              <p:cNvSpPr>
                <a:spLocks noChangeShapeType="1"/>
              </p:cNvSpPr>
              <p:nvPr userDrawn="1"/>
            </p:nvSpPr>
            <p:spPr bwMode="auto">
              <a:xfrm flipH="1">
                <a:off x="14063663" y="2212975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07" name="Line 1102"/>
              <p:cNvSpPr>
                <a:spLocks noChangeShapeType="1"/>
              </p:cNvSpPr>
              <p:nvPr userDrawn="1"/>
            </p:nvSpPr>
            <p:spPr bwMode="auto">
              <a:xfrm flipH="1">
                <a:off x="14060488" y="221456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08" name="Line 1103"/>
              <p:cNvSpPr>
                <a:spLocks noChangeShapeType="1"/>
              </p:cNvSpPr>
              <p:nvPr userDrawn="1"/>
            </p:nvSpPr>
            <p:spPr bwMode="auto">
              <a:xfrm flipH="1">
                <a:off x="14055725" y="2216150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09" name="Line 1104"/>
              <p:cNvSpPr>
                <a:spLocks noChangeShapeType="1"/>
              </p:cNvSpPr>
              <p:nvPr userDrawn="1"/>
            </p:nvSpPr>
            <p:spPr bwMode="auto">
              <a:xfrm flipH="1">
                <a:off x="14049375" y="2217738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10" name="Line 1105"/>
              <p:cNvSpPr>
                <a:spLocks noChangeShapeType="1"/>
              </p:cNvSpPr>
              <p:nvPr userDrawn="1"/>
            </p:nvSpPr>
            <p:spPr bwMode="auto">
              <a:xfrm flipH="1">
                <a:off x="14043025" y="2222500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11" name="Line 1106"/>
              <p:cNvSpPr>
                <a:spLocks noChangeShapeType="1"/>
              </p:cNvSpPr>
              <p:nvPr userDrawn="1"/>
            </p:nvSpPr>
            <p:spPr bwMode="auto">
              <a:xfrm flipH="1">
                <a:off x="14033500" y="2227263"/>
                <a:ext cx="952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12" name="Line 1107"/>
              <p:cNvSpPr>
                <a:spLocks noChangeShapeType="1"/>
              </p:cNvSpPr>
              <p:nvPr userDrawn="1"/>
            </p:nvSpPr>
            <p:spPr bwMode="auto">
              <a:xfrm flipH="1">
                <a:off x="14028738" y="2238375"/>
                <a:ext cx="476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13" name="Line 1108"/>
              <p:cNvSpPr>
                <a:spLocks noChangeShapeType="1"/>
              </p:cNvSpPr>
              <p:nvPr userDrawn="1"/>
            </p:nvSpPr>
            <p:spPr bwMode="auto">
              <a:xfrm flipH="1">
                <a:off x="14028738" y="2246313"/>
                <a:ext cx="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14" name="Line 1109"/>
              <p:cNvSpPr>
                <a:spLocks noChangeShapeType="1"/>
              </p:cNvSpPr>
              <p:nvPr userDrawn="1"/>
            </p:nvSpPr>
            <p:spPr bwMode="auto">
              <a:xfrm>
                <a:off x="14028738" y="2254250"/>
                <a:ext cx="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15" name="Line 1110"/>
              <p:cNvSpPr>
                <a:spLocks noChangeShapeType="1"/>
              </p:cNvSpPr>
              <p:nvPr userDrawn="1"/>
            </p:nvSpPr>
            <p:spPr bwMode="auto">
              <a:xfrm>
                <a:off x="14028738" y="2254250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16" name="Line 1111"/>
              <p:cNvSpPr>
                <a:spLocks noChangeShapeType="1"/>
              </p:cNvSpPr>
              <p:nvPr userDrawn="1"/>
            </p:nvSpPr>
            <p:spPr bwMode="auto">
              <a:xfrm>
                <a:off x="14030325" y="2255838"/>
                <a:ext cx="158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17" name="Line 1112"/>
              <p:cNvSpPr>
                <a:spLocks noChangeShapeType="1"/>
              </p:cNvSpPr>
              <p:nvPr userDrawn="1"/>
            </p:nvSpPr>
            <p:spPr bwMode="auto">
              <a:xfrm flipV="1">
                <a:off x="14031913" y="2254250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18" name="Line 1113"/>
              <p:cNvSpPr>
                <a:spLocks noChangeShapeType="1"/>
              </p:cNvSpPr>
              <p:nvPr userDrawn="1"/>
            </p:nvSpPr>
            <p:spPr bwMode="auto">
              <a:xfrm flipV="1">
                <a:off x="14036675" y="2249488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19" name="Line 1114"/>
              <p:cNvSpPr>
                <a:spLocks noChangeShapeType="1"/>
              </p:cNvSpPr>
              <p:nvPr userDrawn="1"/>
            </p:nvSpPr>
            <p:spPr bwMode="auto">
              <a:xfrm flipV="1">
                <a:off x="14043025" y="2239963"/>
                <a:ext cx="11112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20" name="Line 1115"/>
              <p:cNvSpPr>
                <a:spLocks noChangeShapeType="1"/>
              </p:cNvSpPr>
              <p:nvPr userDrawn="1"/>
            </p:nvSpPr>
            <p:spPr bwMode="auto">
              <a:xfrm flipV="1">
                <a:off x="14054138" y="2230438"/>
                <a:ext cx="793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21" name="Line 1116"/>
              <p:cNvSpPr>
                <a:spLocks noChangeShapeType="1"/>
              </p:cNvSpPr>
              <p:nvPr userDrawn="1"/>
            </p:nvSpPr>
            <p:spPr bwMode="auto">
              <a:xfrm flipV="1">
                <a:off x="14062075" y="2224088"/>
                <a:ext cx="635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22" name="Line 1117"/>
              <p:cNvSpPr>
                <a:spLocks noChangeShapeType="1"/>
              </p:cNvSpPr>
              <p:nvPr userDrawn="1"/>
            </p:nvSpPr>
            <p:spPr bwMode="auto">
              <a:xfrm flipV="1">
                <a:off x="14068425" y="2219325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23" name="Line 1118"/>
              <p:cNvSpPr>
                <a:spLocks noChangeShapeType="1"/>
              </p:cNvSpPr>
              <p:nvPr userDrawn="1"/>
            </p:nvSpPr>
            <p:spPr bwMode="auto">
              <a:xfrm flipV="1">
                <a:off x="14001750" y="2227263"/>
                <a:ext cx="9525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24" name="Line 1119"/>
              <p:cNvSpPr>
                <a:spLocks noChangeShapeType="1"/>
              </p:cNvSpPr>
              <p:nvPr userDrawn="1"/>
            </p:nvSpPr>
            <p:spPr bwMode="auto">
              <a:xfrm flipV="1">
                <a:off x="14011275" y="2211388"/>
                <a:ext cx="11112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25" name="Line 1120"/>
              <p:cNvSpPr>
                <a:spLocks noChangeShapeType="1"/>
              </p:cNvSpPr>
              <p:nvPr userDrawn="1"/>
            </p:nvSpPr>
            <p:spPr bwMode="auto">
              <a:xfrm flipV="1">
                <a:off x="14022388" y="2201863"/>
                <a:ext cx="952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26" name="Line 1121"/>
              <p:cNvSpPr>
                <a:spLocks noChangeShapeType="1"/>
              </p:cNvSpPr>
              <p:nvPr userDrawn="1"/>
            </p:nvSpPr>
            <p:spPr bwMode="auto">
              <a:xfrm flipV="1">
                <a:off x="14031913" y="2192338"/>
                <a:ext cx="1905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27" name="Line 1122"/>
              <p:cNvSpPr>
                <a:spLocks noChangeShapeType="1"/>
              </p:cNvSpPr>
              <p:nvPr userDrawn="1"/>
            </p:nvSpPr>
            <p:spPr bwMode="auto">
              <a:xfrm flipV="1">
                <a:off x="14050963" y="2189163"/>
                <a:ext cx="190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28" name="Line 1123"/>
              <p:cNvSpPr>
                <a:spLocks noChangeShapeType="1"/>
              </p:cNvSpPr>
              <p:nvPr userDrawn="1"/>
            </p:nvSpPr>
            <p:spPr bwMode="auto">
              <a:xfrm>
                <a:off x="14070013" y="2189163"/>
                <a:ext cx="793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29" name="Line 1124"/>
              <p:cNvSpPr>
                <a:spLocks noChangeShapeType="1"/>
              </p:cNvSpPr>
              <p:nvPr userDrawn="1"/>
            </p:nvSpPr>
            <p:spPr bwMode="auto">
              <a:xfrm>
                <a:off x="14077950" y="218916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30" name="Line 1125"/>
              <p:cNvSpPr>
                <a:spLocks noChangeShapeType="1"/>
              </p:cNvSpPr>
              <p:nvPr userDrawn="1"/>
            </p:nvSpPr>
            <p:spPr bwMode="auto">
              <a:xfrm>
                <a:off x="14081125" y="218916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31" name="Line 1126"/>
              <p:cNvSpPr>
                <a:spLocks noChangeShapeType="1"/>
              </p:cNvSpPr>
              <p:nvPr userDrawn="1"/>
            </p:nvSpPr>
            <p:spPr bwMode="auto">
              <a:xfrm>
                <a:off x="14084300" y="2189163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32" name="Line 1127"/>
              <p:cNvSpPr>
                <a:spLocks noChangeShapeType="1"/>
              </p:cNvSpPr>
              <p:nvPr userDrawn="1"/>
            </p:nvSpPr>
            <p:spPr bwMode="auto">
              <a:xfrm>
                <a:off x="14089063" y="2190750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33" name="Line 1128"/>
              <p:cNvSpPr>
                <a:spLocks noChangeShapeType="1"/>
              </p:cNvSpPr>
              <p:nvPr userDrawn="1"/>
            </p:nvSpPr>
            <p:spPr bwMode="auto">
              <a:xfrm>
                <a:off x="14090650" y="2193925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34" name="Line 1129"/>
              <p:cNvSpPr>
                <a:spLocks noChangeShapeType="1"/>
              </p:cNvSpPr>
              <p:nvPr userDrawn="1"/>
            </p:nvSpPr>
            <p:spPr bwMode="auto">
              <a:xfrm>
                <a:off x="14092238" y="2195513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35" name="Line 1130"/>
              <p:cNvSpPr>
                <a:spLocks noChangeShapeType="1"/>
              </p:cNvSpPr>
              <p:nvPr userDrawn="1"/>
            </p:nvSpPr>
            <p:spPr bwMode="auto">
              <a:xfrm>
                <a:off x="14095413" y="2200275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36" name="Line 1131"/>
              <p:cNvSpPr>
                <a:spLocks noChangeShapeType="1"/>
              </p:cNvSpPr>
              <p:nvPr userDrawn="1"/>
            </p:nvSpPr>
            <p:spPr bwMode="auto">
              <a:xfrm flipH="1">
                <a:off x="14095413" y="2214563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37" name="Line 1132"/>
              <p:cNvSpPr>
                <a:spLocks noChangeShapeType="1"/>
              </p:cNvSpPr>
              <p:nvPr userDrawn="1"/>
            </p:nvSpPr>
            <p:spPr bwMode="auto">
              <a:xfrm flipH="1">
                <a:off x="14085888" y="2228850"/>
                <a:ext cx="952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38" name="Line 1133"/>
              <p:cNvSpPr>
                <a:spLocks noChangeShapeType="1"/>
              </p:cNvSpPr>
              <p:nvPr userDrawn="1"/>
            </p:nvSpPr>
            <p:spPr bwMode="auto">
              <a:xfrm flipH="1">
                <a:off x="14073188" y="2243138"/>
                <a:ext cx="1270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39" name="Line 1134"/>
              <p:cNvSpPr>
                <a:spLocks noChangeShapeType="1"/>
              </p:cNvSpPr>
              <p:nvPr userDrawn="1"/>
            </p:nvSpPr>
            <p:spPr bwMode="auto">
              <a:xfrm flipH="1">
                <a:off x="14060488" y="2260600"/>
                <a:ext cx="1270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40" name="Line 1135"/>
              <p:cNvSpPr>
                <a:spLocks noChangeShapeType="1"/>
              </p:cNvSpPr>
              <p:nvPr userDrawn="1"/>
            </p:nvSpPr>
            <p:spPr bwMode="auto">
              <a:xfrm flipH="1">
                <a:off x="14047788" y="2271713"/>
                <a:ext cx="1270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41" name="Line 1136"/>
              <p:cNvSpPr>
                <a:spLocks noChangeShapeType="1"/>
              </p:cNvSpPr>
              <p:nvPr userDrawn="1"/>
            </p:nvSpPr>
            <p:spPr bwMode="auto">
              <a:xfrm flipH="1">
                <a:off x="14038263" y="2279650"/>
                <a:ext cx="952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42" name="Line 1137"/>
              <p:cNvSpPr>
                <a:spLocks noChangeShapeType="1"/>
              </p:cNvSpPr>
              <p:nvPr userDrawn="1"/>
            </p:nvSpPr>
            <p:spPr bwMode="auto">
              <a:xfrm flipH="1">
                <a:off x="14028738" y="2284413"/>
                <a:ext cx="952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43" name="Line 1138"/>
              <p:cNvSpPr>
                <a:spLocks noChangeShapeType="1"/>
              </p:cNvSpPr>
              <p:nvPr userDrawn="1"/>
            </p:nvSpPr>
            <p:spPr bwMode="auto">
              <a:xfrm flipH="1">
                <a:off x="14023975" y="2286000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44" name="Line 1139"/>
              <p:cNvSpPr>
                <a:spLocks noChangeShapeType="1"/>
              </p:cNvSpPr>
              <p:nvPr userDrawn="1"/>
            </p:nvSpPr>
            <p:spPr bwMode="auto">
              <a:xfrm flipH="1">
                <a:off x="14020800" y="228758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45" name="Line 1140"/>
              <p:cNvSpPr>
                <a:spLocks noChangeShapeType="1"/>
              </p:cNvSpPr>
              <p:nvPr userDrawn="1"/>
            </p:nvSpPr>
            <p:spPr bwMode="auto">
              <a:xfrm flipH="1">
                <a:off x="14016038" y="228758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46" name="Line 1141"/>
              <p:cNvSpPr>
                <a:spLocks noChangeShapeType="1"/>
              </p:cNvSpPr>
              <p:nvPr userDrawn="1"/>
            </p:nvSpPr>
            <p:spPr bwMode="auto">
              <a:xfrm flipH="1">
                <a:off x="14012863" y="2290763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47" name="Line 1142"/>
              <p:cNvSpPr>
                <a:spLocks noChangeShapeType="1"/>
              </p:cNvSpPr>
              <p:nvPr userDrawn="1"/>
            </p:nvSpPr>
            <p:spPr bwMode="auto">
              <a:xfrm flipH="1">
                <a:off x="14011275" y="2295525"/>
                <a:ext cx="158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48" name="Line 1143"/>
              <p:cNvSpPr>
                <a:spLocks noChangeShapeType="1"/>
              </p:cNvSpPr>
              <p:nvPr userDrawn="1"/>
            </p:nvSpPr>
            <p:spPr bwMode="auto">
              <a:xfrm>
                <a:off x="14011275" y="2305050"/>
                <a:ext cx="1587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49" name="Line 1144"/>
              <p:cNvSpPr>
                <a:spLocks noChangeShapeType="1"/>
              </p:cNvSpPr>
              <p:nvPr userDrawn="1"/>
            </p:nvSpPr>
            <p:spPr bwMode="auto">
              <a:xfrm>
                <a:off x="14012863" y="2316163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50" name="Line 1145"/>
              <p:cNvSpPr>
                <a:spLocks noChangeShapeType="1"/>
              </p:cNvSpPr>
              <p:nvPr userDrawn="1"/>
            </p:nvSpPr>
            <p:spPr bwMode="auto">
              <a:xfrm>
                <a:off x="14016038" y="2330450"/>
                <a:ext cx="4762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51" name="Line 1146"/>
              <p:cNvSpPr>
                <a:spLocks noChangeShapeType="1"/>
              </p:cNvSpPr>
              <p:nvPr userDrawn="1"/>
            </p:nvSpPr>
            <p:spPr bwMode="auto">
              <a:xfrm>
                <a:off x="14020800" y="2341563"/>
                <a:ext cx="793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52" name="Line 1147"/>
              <p:cNvSpPr>
                <a:spLocks noChangeShapeType="1"/>
              </p:cNvSpPr>
              <p:nvPr userDrawn="1"/>
            </p:nvSpPr>
            <p:spPr bwMode="auto">
              <a:xfrm>
                <a:off x="14028738" y="2349500"/>
                <a:ext cx="11112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53" name="Line 1148"/>
              <p:cNvSpPr>
                <a:spLocks noChangeShapeType="1"/>
              </p:cNvSpPr>
              <p:nvPr userDrawn="1"/>
            </p:nvSpPr>
            <p:spPr bwMode="auto">
              <a:xfrm>
                <a:off x="14039850" y="2359025"/>
                <a:ext cx="1905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54" name="Line 1149"/>
              <p:cNvSpPr>
                <a:spLocks noChangeShapeType="1"/>
              </p:cNvSpPr>
              <p:nvPr userDrawn="1"/>
            </p:nvSpPr>
            <p:spPr bwMode="auto">
              <a:xfrm>
                <a:off x="14058900" y="2366963"/>
                <a:ext cx="2063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55" name="Line 1150"/>
              <p:cNvSpPr>
                <a:spLocks noChangeShapeType="1"/>
              </p:cNvSpPr>
              <p:nvPr userDrawn="1"/>
            </p:nvSpPr>
            <p:spPr bwMode="auto">
              <a:xfrm flipV="1">
                <a:off x="14079538" y="2366963"/>
                <a:ext cx="17462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56" name="Line 1151"/>
              <p:cNvSpPr>
                <a:spLocks noChangeShapeType="1"/>
              </p:cNvSpPr>
              <p:nvPr userDrawn="1"/>
            </p:nvSpPr>
            <p:spPr bwMode="auto">
              <a:xfrm flipV="1">
                <a:off x="14097000" y="2360613"/>
                <a:ext cx="158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57" name="Line 1152"/>
              <p:cNvSpPr>
                <a:spLocks noChangeShapeType="1"/>
              </p:cNvSpPr>
              <p:nvPr userDrawn="1"/>
            </p:nvSpPr>
            <p:spPr bwMode="auto">
              <a:xfrm flipV="1">
                <a:off x="14112875" y="2352675"/>
                <a:ext cx="793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58" name="Line 1153"/>
              <p:cNvSpPr>
                <a:spLocks noChangeShapeType="1"/>
              </p:cNvSpPr>
              <p:nvPr userDrawn="1"/>
            </p:nvSpPr>
            <p:spPr bwMode="auto">
              <a:xfrm flipV="1">
                <a:off x="14120813" y="2341563"/>
                <a:ext cx="635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59" name="Line 1154"/>
              <p:cNvSpPr>
                <a:spLocks noChangeShapeType="1"/>
              </p:cNvSpPr>
              <p:nvPr userDrawn="1"/>
            </p:nvSpPr>
            <p:spPr bwMode="auto">
              <a:xfrm flipV="1">
                <a:off x="14127163" y="2332038"/>
                <a:ext cx="158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60" name="Line 1155"/>
              <p:cNvSpPr>
                <a:spLocks noChangeShapeType="1"/>
              </p:cNvSpPr>
              <p:nvPr userDrawn="1"/>
            </p:nvSpPr>
            <p:spPr bwMode="auto">
              <a:xfrm flipV="1">
                <a:off x="14128750" y="2320925"/>
                <a:ext cx="1587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61" name="Line 1156"/>
              <p:cNvSpPr>
                <a:spLocks noChangeShapeType="1"/>
              </p:cNvSpPr>
              <p:nvPr userDrawn="1"/>
            </p:nvSpPr>
            <p:spPr bwMode="auto">
              <a:xfrm flipV="1">
                <a:off x="14130338" y="2312988"/>
                <a:ext cx="635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62" name="Line 1157"/>
              <p:cNvSpPr>
                <a:spLocks noChangeShapeType="1"/>
              </p:cNvSpPr>
              <p:nvPr userDrawn="1"/>
            </p:nvSpPr>
            <p:spPr bwMode="auto">
              <a:xfrm flipV="1">
                <a:off x="14136688" y="231140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63" name="Line 1158"/>
              <p:cNvSpPr>
                <a:spLocks noChangeShapeType="1"/>
              </p:cNvSpPr>
              <p:nvPr userDrawn="1"/>
            </p:nvSpPr>
            <p:spPr bwMode="auto">
              <a:xfrm flipV="1">
                <a:off x="14139863" y="230981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64" name="Line 1159"/>
              <p:cNvSpPr>
                <a:spLocks noChangeShapeType="1"/>
              </p:cNvSpPr>
              <p:nvPr userDrawn="1"/>
            </p:nvSpPr>
            <p:spPr bwMode="auto">
              <a:xfrm>
                <a:off x="14143038" y="230981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65" name="Line 1160"/>
              <p:cNvSpPr>
                <a:spLocks noChangeShapeType="1"/>
              </p:cNvSpPr>
              <p:nvPr userDrawn="1"/>
            </p:nvSpPr>
            <p:spPr bwMode="auto">
              <a:xfrm>
                <a:off x="14146213" y="231140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66" name="Line 1161"/>
              <p:cNvSpPr>
                <a:spLocks noChangeShapeType="1"/>
              </p:cNvSpPr>
              <p:nvPr userDrawn="1"/>
            </p:nvSpPr>
            <p:spPr bwMode="auto">
              <a:xfrm>
                <a:off x="14149388" y="2312988"/>
                <a:ext cx="4762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67" name="Line 1162"/>
              <p:cNvSpPr>
                <a:spLocks noChangeShapeType="1"/>
              </p:cNvSpPr>
              <p:nvPr userDrawn="1"/>
            </p:nvSpPr>
            <p:spPr bwMode="auto">
              <a:xfrm>
                <a:off x="14154150" y="2322513"/>
                <a:ext cx="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68" name="Line 1163"/>
              <p:cNvSpPr>
                <a:spLocks noChangeShapeType="1"/>
              </p:cNvSpPr>
              <p:nvPr userDrawn="1"/>
            </p:nvSpPr>
            <p:spPr bwMode="auto">
              <a:xfrm flipH="1">
                <a:off x="14150975" y="2335213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69" name="Line 1164"/>
              <p:cNvSpPr>
                <a:spLocks noChangeShapeType="1"/>
              </p:cNvSpPr>
              <p:nvPr userDrawn="1"/>
            </p:nvSpPr>
            <p:spPr bwMode="auto">
              <a:xfrm flipH="1">
                <a:off x="14143038" y="2349500"/>
                <a:ext cx="7937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70" name="Line 1165"/>
              <p:cNvSpPr>
                <a:spLocks noChangeShapeType="1"/>
              </p:cNvSpPr>
              <p:nvPr userDrawn="1"/>
            </p:nvSpPr>
            <p:spPr bwMode="auto">
              <a:xfrm flipH="1">
                <a:off x="14130338" y="2362200"/>
                <a:ext cx="1270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71" name="Line 1166"/>
              <p:cNvSpPr>
                <a:spLocks noChangeShapeType="1"/>
              </p:cNvSpPr>
              <p:nvPr userDrawn="1"/>
            </p:nvSpPr>
            <p:spPr bwMode="auto">
              <a:xfrm flipH="1">
                <a:off x="14117638" y="2378075"/>
                <a:ext cx="1270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72" name="Line 1167"/>
              <p:cNvSpPr>
                <a:spLocks noChangeShapeType="1"/>
              </p:cNvSpPr>
              <p:nvPr userDrawn="1"/>
            </p:nvSpPr>
            <p:spPr bwMode="auto">
              <a:xfrm flipH="1">
                <a:off x="14108113" y="2386013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73" name="Line 1168"/>
              <p:cNvSpPr>
                <a:spLocks noChangeShapeType="1"/>
              </p:cNvSpPr>
              <p:nvPr userDrawn="1"/>
            </p:nvSpPr>
            <p:spPr bwMode="auto">
              <a:xfrm flipH="1">
                <a:off x="14093825" y="2389188"/>
                <a:ext cx="142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74" name="Line 1169"/>
              <p:cNvSpPr>
                <a:spLocks noChangeShapeType="1"/>
              </p:cNvSpPr>
              <p:nvPr userDrawn="1"/>
            </p:nvSpPr>
            <p:spPr bwMode="auto">
              <a:xfrm flipH="1">
                <a:off x="14077950" y="2390775"/>
                <a:ext cx="158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75" name="Line 1170"/>
              <p:cNvSpPr>
                <a:spLocks noChangeShapeType="1"/>
              </p:cNvSpPr>
              <p:nvPr userDrawn="1"/>
            </p:nvSpPr>
            <p:spPr bwMode="auto">
              <a:xfrm flipH="1" flipV="1">
                <a:off x="14058900" y="2390775"/>
                <a:ext cx="1905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76" name="Line 1171"/>
              <p:cNvSpPr>
                <a:spLocks noChangeShapeType="1"/>
              </p:cNvSpPr>
              <p:nvPr userDrawn="1"/>
            </p:nvSpPr>
            <p:spPr bwMode="auto">
              <a:xfrm flipH="1" flipV="1">
                <a:off x="14044613" y="2389188"/>
                <a:ext cx="142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77" name="Line 1172"/>
              <p:cNvSpPr>
                <a:spLocks noChangeShapeType="1"/>
              </p:cNvSpPr>
              <p:nvPr userDrawn="1"/>
            </p:nvSpPr>
            <p:spPr bwMode="auto">
              <a:xfrm flipH="1" flipV="1">
                <a:off x="14035088" y="2386013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78" name="Line 1173"/>
              <p:cNvSpPr>
                <a:spLocks noChangeShapeType="1"/>
              </p:cNvSpPr>
              <p:nvPr userDrawn="1"/>
            </p:nvSpPr>
            <p:spPr bwMode="auto">
              <a:xfrm flipH="1" flipV="1">
                <a:off x="14023975" y="2379663"/>
                <a:ext cx="11112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79" name="Line 1174"/>
              <p:cNvSpPr>
                <a:spLocks noChangeShapeType="1"/>
              </p:cNvSpPr>
              <p:nvPr userDrawn="1"/>
            </p:nvSpPr>
            <p:spPr bwMode="auto">
              <a:xfrm flipH="1" flipV="1">
                <a:off x="14009688" y="2368550"/>
                <a:ext cx="14287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80" name="Line 1175"/>
              <p:cNvSpPr>
                <a:spLocks noChangeShapeType="1"/>
              </p:cNvSpPr>
              <p:nvPr userDrawn="1"/>
            </p:nvSpPr>
            <p:spPr bwMode="auto">
              <a:xfrm flipH="1" flipV="1">
                <a:off x="13996988" y="2355850"/>
                <a:ext cx="1270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81" name="Line 1176"/>
              <p:cNvSpPr>
                <a:spLocks noChangeShapeType="1"/>
              </p:cNvSpPr>
              <p:nvPr userDrawn="1"/>
            </p:nvSpPr>
            <p:spPr bwMode="auto">
              <a:xfrm flipH="1" flipV="1">
                <a:off x="13992225" y="2347913"/>
                <a:ext cx="476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82" name="Line 1177"/>
              <p:cNvSpPr>
                <a:spLocks noChangeShapeType="1"/>
              </p:cNvSpPr>
              <p:nvPr userDrawn="1"/>
            </p:nvSpPr>
            <p:spPr bwMode="auto">
              <a:xfrm flipH="1" flipV="1">
                <a:off x="13990638" y="2343150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83" name="Line 1178"/>
              <p:cNvSpPr>
                <a:spLocks noChangeShapeType="1"/>
              </p:cNvSpPr>
              <p:nvPr userDrawn="1"/>
            </p:nvSpPr>
            <p:spPr bwMode="auto">
              <a:xfrm flipH="1" flipV="1">
                <a:off x="13987463" y="2336800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84" name="Line 1179"/>
              <p:cNvSpPr>
                <a:spLocks noChangeShapeType="1"/>
              </p:cNvSpPr>
              <p:nvPr userDrawn="1"/>
            </p:nvSpPr>
            <p:spPr bwMode="auto">
              <a:xfrm flipH="1" flipV="1">
                <a:off x="13985875" y="2325688"/>
                <a:ext cx="1587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85" name="Line 1180"/>
              <p:cNvSpPr>
                <a:spLocks noChangeShapeType="1"/>
              </p:cNvSpPr>
              <p:nvPr userDrawn="1"/>
            </p:nvSpPr>
            <p:spPr bwMode="auto">
              <a:xfrm flipV="1">
                <a:off x="13985875" y="2306638"/>
                <a:ext cx="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86" name="Line 1181"/>
              <p:cNvSpPr>
                <a:spLocks noChangeShapeType="1"/>
              </p:cNvSpPr>
              <p:nvPr userDrawn="1"/>
            </p:nvSpPr>
            <p:spPr bwMode="auto">
              <a:xfrm flipV="1">
                <a:off x="13985875" y="2287588"/>
                <a:ext cx="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87" name="Line 1182"/>
              <p:cNvSpPr>
                <a:spLocks noChangeShapeType="1"/>
              </p:cNvSpPr>
              <p:nvPr userDrawn="1"/>
            </p:nvSpPr>
            <p:spPr bwMode="auto">
              <a:xfrm flipV="1">
                <a:off x="13985875" y="2273300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88" name="Line 1183"/>
              <p:cNvSpPr>
                <a:spLocks noChangeShapeType="1"/>
              </p:cNvSpPr>
              <p:nvPr userDrawn="1"/>
            </p:nvSpPr>
            <p:spPr bwMode="auto">
              <a:xfrm flipV="1">
                <a:off x="13989050" y="2265363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89" name="Line 1184"/>
              <p:cNvSpPr>
                <a:spLocks noChangeShapeType="1"/>
              </p:cNvSpPr>
              <p:nvPr userDrawn="1"/>
            </p:nvSpPr>
            <p:spPr bwMode="auto">
              <a:xfrm flipV="1">
                <a:off x="13990638" y="2255838"/>
                <a:ext cx="4762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90" name="Line 1185"/>
              <p:cNvSpPr>
                <a:spLocks noChangeShapeType="1"/>
              </p:cNvSpPr>
              <p:nvPr userDrawn="1"/>
            </p:nvSpPr>
            <p:spPr bwMode="auto">
              <a:xfrm flipV="1">
                <a:off x="13995400" y="2243138"/>
                <a:ext cx="635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91" name="Freeform 1186"/>
              <p:cNvSpPr>
                <a:spLocks/>
              </p:cNvSpPr>
              <p:nvPr userDrawn="1"/>
            </p:nvSpPr>
            <p:spPr bwMode="auto">
              <a:xfrm>
                <a:off x="14328775" y="2117725"/>
                <a:ext cx="231775" cy="250825"/>
              </a:xfrm>
              <a:custGeom>
                <a:avLst/>
                <a:gdLst>
                  <a:gd name="T0" fmla="*/ 134 w 292"/>
                  <a:gd name="T1" fmla="*/ 0 h 315"/>
                  <a:gd name="T2" fmla="*/ 144 w 292"/>
                  <a:gd name="T3" fmla="*/ 5 h 315"/>
                  <a:gd name="T4" fmla="*/ 152 w 292"/>
                  <a:gd name="T5" fmla="*/ 15 h 315"/>
                  <a:gd name="T6" fmla="*/ 156 w 292"/>
                  <a:gd name="T7" fmla="*/ 26 h 315"/>
                  <a:gd name="T8" fmla="*/ 156 w 292"/>
                  <a:gd name="T9" fmla="*/ 46 h 315"/>
                  <a:gd name="T10" fmla="*/ 152 w 292"/>
                  <a:gd name="T11" fmla="*/ 77 h 315"/>
                  <a:gd name="T12" fmla="*/ 149 w 292"/>
                  <a:gd name="T13" fmla="*/ 139 h 315"/>
                  <a:gd name="T14" fmla="*/ 203 w 292"/>
                  <a:gd name="T15" fmla="*/ 138 h 315"/>
                  <a:gd name="T16" fmla="*/ 264 w 292"/>
                  <a:gd name="T17" fmla="*/ 135 h 315"/>
                  <a:gd name="T18" fmla="*/ 285 w 292"/>
                  <a:gd name="T19" fmla="*/ 136 h 315"/>
                  <a:gd name="T20" fmla="*/ 292 w 292"/>
                  <a:gd name="T21" fmla="*/ 139 h 315"/>
                  <a:gd name="T22" fmla="*/ 292 w 292"/>
                  <a:gd name="T23" fmla="*/ 145 h 315"/>
                  <a:gd name="T24" fmla="*/ 286 w 292"/>
                  <a:gd name="T25" fmla="*/ 149 h 315"/>
                  <a:gd name="T26" fmla="*/ 280 w 292"/>
                  <a:gd name="T27" fmla="*/ 150 h 315"/>
                  <a:gd name="T28" fmla="*/ 269 w 292"/>
                  <a:gd name="T29" fmla="*/ 153 h 315"/>
                  <a:gd name="T30" fmla="*/ 252 w 292"/>
                  <a:gd name="T31" fmla="*/ 156 h 315"/>
                  <a:gd name="T32" fmla="*/ 238 w 292"/>
                  <a:gd name="T33" fmla="*/ 159 h 315"/>
                  <a:gd name="T34" fmla="*/ 193 w 292"/>
                  <a:gd name="T35" fmla="*/ 169 h 315"/>
                  <a:gd name="T36" fmla="*/ 161 w 292"/>
                  <a:gd name="T37" fmla="*/ 173 h 315"/>
                  <a:gd name="T38" fmla="*/ 149 w 292"/>
                  <a:gd name="T39" fmla="*/ 176 h 315"/>
                  <a:gd name="T40" fmla="*/ 142 w 292"/>
                  <a:gd name="T41" fmla="*/ 183 h 315"/>
                  <a:gd name="T42" fmla="*/ 138 w 292"/>
                  <a:gd name="T43" fmla="*/ 224 h 315"/>
                  <a:gd name="T44" fmla="*/ 138 w 292"/>
                  <a:gd name="T45" fmla="*/ 298 h 315"/>
                  <a:gd name="T46" fmla="*/ 133 w 292"/>
                  <a:gd name="T47" fmla="*/ 314 h 315"/>
                  <a:gd name="T48" fmla="*/ 121 w 292"/>
                  <a:gd name="T49" fmla="*/ 314 h 315"/>
                  <a:gd name="T50" fmla="*/ 114 w 292"/>
                  <a:gd name="T51" fmla="*/ 310 h 315"/>
                  <a:gd name="T52" fmla="*/ 110 w 292"/>
                  <a:gd name="T53" fmla="*/ 301 h 315"/>
                  <a:gd name="T54" fmla="*/ 107 w 292"/>
                  <a:gd name="T55" fmla="*/ 283 h 315"/>
                  <a:gd name="T56" fmla="*/ 104 w 292"/>
                  <a:gd name="T57" fmla="*/ 245 h 315"/>
                  <a:gd name="T58" fmla="*/ 58 w 292"/>
                  <a:gd name="T59" fmla="*/ 183 h 315"/>
                  <a:gd name="T60" fmla="*/ 20 w 292"/>
                  <a:gd name="T61" fmla="*/ 183 h 315"/>
                  <a:gd name="T62" fmla="*/ 9 w 292"/>
                  <a:gd name="T63" fmla="*/ 179 h 315"/>
                  <a:gd name="T64" fmla="*/ 1 w 292"/>
                  <a:gd name="T65" fmla="*/ 172 h 315"/>
                  <a:gd name="T66" fmla="*/ 0 w 292"/>
                  <a:gd name="T67" fmla="*/ 163 h 315"/>
                  <a:gd name="T68" fmla="*/ 7 w 292"/>
                  <a:gd name="T69" fmla="*/ 157 h 315"/>
                  <a:gd name="T70" fmla="*/ 28 w 292"/>
                  <a:gd name="T71" fmla="*/ 153 h 315"/>
                  <a:gd name="T72" fmla="*/ 75 w 292"/>
                  <a:gd name="T73" fmla="*/ 149 h 315"/>
                  <a:gd name="T74" fmla="*/ 100 w 292"/>
                  <a:gd name="T75" fmla="*/ 143 h 315"/>
                  <a:gd name="T76" fmla="*/ 106 w 292"/>
                  <a:gd name="T77" fmla="*/ 124 h 315"/>
                  <a:gd name="T78" fmla="*/ 114 w 292"/>
                  <a:gd name="T79" fmla="*/ 74 h 315"/>
                  <a:gd name="T80" fmla="*/ 120 w 292"/>
                  <a:gd name="T81" fmla="*/ 25 h 315"/>
                  <a:gd name="T82" fmla="*/ 123 w 292"/>
                  <a:gd name="T83" fmla="*/ 7 h 315"/>
                  <a:gd name="T84" fmla="*/ 127 w 292"/>
                  <a:gd name="T85" fmla="*/ 1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2" h="315">
                    <a:moveTo>
                      <a:pt x="130" y="0"/>
                    </a:moveTo>
                    <a:lnTo>
                      <a:pt x="134" y="0"/>
                    </a:lnTo>
                    <a:lnTo>
                      <a:pt x="140" y="2"/>
                    </a:lnTo>
                    <a:lnTo>
                      <a:pt x="144" y="5"/>
                    </a:lnTo>
                    <a:lnTo>
                      <a:pt x="149" y="9"/>
                    </a:lnTo>
                    <a:lnTo>
                      <a:pt x="152" y="15"/>
                    </a:lnTo>
                    <a:lnTo>
                      <a:pt x="155" y="19"/>
                    </a:lnTo>
                    <a:lnTo>
                      <a:pt x="156" y="26"/>
                    </a:lnTo>
                    <a:lnTo>
                      <a:pt x="156" y="36"/>
                    </a:lnTo>
                    <a:lnTo>
                      <a:pt x="156" y="46"/>
                    </a:lnTo>
                    <a:lnTo>
                      <a:pt x="155" y="59"/>
                    </a:lnTo>
                    <a:lnTo>
                      <a:pt x="152" y="77"/>
                    </a:lnTo>
                    <a:lnTo>
                      <a:pt x="149" y="118"/>
                    </a:lnTo>
                    <a:lnTo>
                      <a:pt x="149" y="139"/>
                    </a:lnTo>
                    <a:lnTo>
                      <a:pt x="173" y="138"/>
                    </a:lnTo>
                    <a:lnTo>
                      <a:pt x="203" y="138"/>
                    </a:lnTo>
                    <a:lnTo>
                      <a:pt x="238" y="136"/>
                    </a:lnTo>
                    <a:lnTo>
                      <a:pt x="264" y="135"/>
                    </a:lnTo>
                    <a:lnTo>
                      <a:pt x="280" y="135"/>
                    </a:lnTo>
                    <a:lnTo>
                      <a:pt x="285" y="136"/>
                    </a:lnTo>
                    <a:lnTo>
                      <a:pt x="289" y="138"/>
                    </a:lnTo>
                    <a:lnTo>
                      <a:pt x="292" y="139"/>
                    </a:lnTo>
                    <a:lnTo>
                      <a:pt x="292" y="142"/>
                    </a:lnTo>
                    <a:lnTo>
                      <a:pt x="292" y="145"/>
                    </a:lnTo>
                    <a:lnTo>
                      <a:pt x="289" y="148"/>
                    </a:lnTo>
                    <a:lnTo>
                      <a:pt x="286" y="149"/>
                    </a:lnTo>
                    <a:lnTo>
                      <a:pt x="283" y="149"/>
                    </a:lnTo>
                    <a:lnTo>
                      <a:pt x="280" y="150"/>
                    </a:lnTo>
                    <a:lnTo>
                      <a:pt x="273" y="152"/>
                    </a:lnTo>
                    <a:lnTo>
                      <a:pt x="269" y="153"/>
                    </a:lnTo>
                    <a:lnTo>
                      <a:pt x="264" y="153"/>
                    </a:lnTo>
                    <a:lnTo>
                      <a:pt x="252" y="156"/>
                    </a:lnTo>
                    <a:lnTo>
                      <a:pt x="245" y="157"/>
                    </a:lnTo>
                    <a:lnTo>
                      <a:pt x="238" y="159"/>
                    </a:lnTo>
                    <a:lnTo>
                      <a:pt x="220" y="163"/>
                    </a:lnTo>
                    <a:lnTo>
                      <a:pt x="193" y="169"/>
                    </a:lnTo>
                    <a:lnTo>
                      <a:pt x="173" y="172"/>
                    </a:lnTo>
                    <a:lnTo>
                      <a:pt x="161" y="173"/>
                    </a:lnTo>
                    <a:lnTo>
                      <a:pt x="155" y="173"/>
                    </a:lnTo>
                    <a:lnTo>
                      <a:pt x="149" y="176"/>
                    </a:lnTo>
                    <a:lnTo>
                      <a:pt x="145" y="179"/>
                    </a:lnTo>
                    <a:lnTo>
                      <a:pt x="142" y="183"/>
                    </a:lnTo>
                    <a:lnTo>
                      <a:pt x="138" y="200"/>
                    </a:lnTo>
                    <a:lnTo>
                      <a:pt x="138" y="224"/>
                    </a:lnTo>
                    <a:lnTo>
                      <a:pt x="140" y="281"/>
                    </a:lnTo>
                    <a:lnTo>
                      <a:pt x="138" y="298"/>
                    </a:lnTo>
                    <a:lnTo>
                      <a:pt x="137" y="310"/>
                    </a:lnTo>
                    <a:lnTo>
                      <a:pt x="133" y="314"/>
                    </a:lnTo>
                    <a:lnTo>
                      <a:pt x="127" y="315"/>
                    </a:lnTo>
                    <a:lnTo>
                      <a:pt x="121" y="314"/>
                    </a:lnTo>
                    <a:lnTo>
                      <a:pt x="116" y="311"/>
                    </a:lnTo>
                    <a:lnTo>
                      <a:pt x="114" y="310"/>
                    </a:lnTo>
                    <a:lnTo>
                      <a:pt x="111" y="305"/>
                    </a:lnTo>
                    <a:lnTo>
                      <a:pt x="110" y="301"/>
                    </a:lnTo>
                    <a:lnTo>
                      <a:pt x="109" y="294"/>
                    </a:lnTo>
                    <a:lnTo>
                      <a:pt x="107" y="283"/>
                    </a:lnTo>
                    <a:lnTo>
                      <a:pt x="106" y="266"/>
                    </a:lnTo>
                    <a:lnTo>
                      <a:pt x="104" y="245"/>
                    </a:lnTo>
                    <a:lnTo>
                      <a:pt x="103" y="181"/>
                    </a:lnTo>
                    <a:lnTo>
                      <a:pt x="58" y="183"/>
                    </a:lnTo>
                    <a:lnTo>
                      <a:pt x="35" y="183"/>
                    </a:lnTo>
                    <a:lnTo>
                      <a:pt x="20" y="183"/>
                    </a:lnTo>
                    <a:lnTo>
                      <a:pt x="14" y="181"/>
                    </a:lnTo>
                    <a:lnTo>
                      <a:pt x="9" y="179"/>
                    </a:lnTo>
                    <a:lnTo>
                      <a:pt x="6" y="176"/>
                    </a:lnTo>
                    <a:lnTo>
                      <a:pt x="1" y="172"/>
                    </a:lnTo>
                    <a:lnTo>
                      <a:pt x="0" y="167"/>
                    </a:lnTo>
                    <a:lnTo>
                      <a:pt x="0" y="163"/>
                    </a:lnTo>
                    <a:lnTo>
                      <a:pt x="3" y="159"/>
                    </a:lnTo>
                    <a:lnTo>
                      <a:pt x="7" y="157"/>
                    </a:lnTo>
                    <a:lnTo>
                      <a:pt x="13" y="155"/>
                    </a:lnTo>
                    <a:lnTo>
                      <a:pt x="28" y="153"/>
                    </a:lnTo>
                    <a:lnTo>
                      <a:pt x="49" y="150"/>
                    </a:lnTo>
                    <a:lnTo>
                      <a:pt x="75" y="149"/>
                    </a:lnTo>
                    <a:lnTo>
                      <a:pt x="92" y="148"/>
                    </a:lnTo>
                    <a:lnTo>
                      <a:pt x="100" y="143"/>
                    </a:lnTo>
                    <a:lnTo>
                      <a:pt x="103" y="138"/>
                    </a:lnTo>
                    <a:lnTo>
                      <a:pt x="106" y="124"/>
                    </a:lnTo>
                    <a:lnTo>
                      <a:pt x="110" y="102"/>
                    </a:lnTo>
                    <a:lnTo>
                      <a:pt x="114" y="74"/>
                    </a:lnTo>
                    <a:lnTo>
                      <a:pt x="117" y="46"/>
                    </a:lnTo>
                    <a:lnTo>
                      <a:pt x="120" y="25"/>
                    </a:lnTo>
                    <a:lnTo>
                      <a:pt x="123" y="12"/>
                    </a:lnTo>
                    <a:lnTo>
                      <a:pt x="123" y="7"/>
                    </a:lnTo>
                    <a:lnTo>
                      <a:pt x="124" y="4"/>
                    </a:lnTo>
                    <a:lnTo>
                      <a:pt x="127" y="1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92" name="Line 1187"/>
              <p:cNvSpPr>
                <a:spLocks noChangeShapeType="1"/>
              </p:cNvSpPr>
              <p:nvPr userDrawn="1"/>
            </p:nvSpPr>
            <p:spPr bwMode="auto">
              <a:xfrm flipV="1">
                <a:off x="14425613" y="2120900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93" name="Line 1188"/>
              <p:cNvSpPr>
                <a:spLocks noChangeShapeType="1"/>
              </p:cNvSpPr>
              <p:nvPr userDrawn="1"/>
            </p:nvSpPr>
            <p:spPr bwMode="auto">
              <a:xfrm flipV="1">
                <a:off x="14427200" y="2119313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94" name="Line 1189"/>
              <p:cNvSpPr>
                <a:spLocks noChangeShapeType="1"/>
              </p:cNvSpPr>
              <p:nvPr userDrawn="1"/>
            </p:nvSpPr>
            <p:spPr bwMode="auto">
              <a:xfrm flipV="1">
                <a:off x="14428788" y="2117725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95" name="Line 1190"/>
              <p:cNvSpPr>
                <a:spLocks noChangeShapeType="1"/>
              </p:cNvSpPr>
              <p:nvPr userDrawn="1"/>
            </p:nvSpPr>
            <p:spPr bwMode="auto">
              <a:xfrm>
                <a:off x="14431963" y="2117725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96" name="Line 1191"/>
              <p:cNvSpPr>
                <a:spLocks noChangeShapeType="1"/>
              </p:cNvSpPr>
              <p:nvPr userDrawn="1"/>
            </p:nvSpPr>
            <p:spPr bwMode="auto">
              <a:xfrm>
                <a:off x="14435138" y="2117725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97" name="Line 1192"/>
              <p:cNvSpPr>
                <a:spLocks noChangeShapeType="1"/>
              </p:cNvSpPr>
              <p:nvPr userDrawn="1"/>
            </p:nvSpPr>
            <p:spPr bwMode="auto">
              <a:xfrm>
                <a:off x="14439900" y="212090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98" name="Line 1193"/>
              <p:cNvSpPr>
                <a:spLocks noChangeShapeType="1"/>
              </p:cNvSpPr>
              <p:nvPr userDrawn="1"/>
            </p:nvSpPr>
            <p:spPr bwMode="auto">
              <a:xfrm>
                <a:off x="14443075" y="212248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99" name="Line 1194"/>
              <p:cNvSpPr>
                <a:spLocks noChangeShapeType="1"/>
              </p:cNvSpPr>
              <p:nvPr userDrawn="1"/>
            </p:nvSpPr>
            <p:spPr bwMode="auto">
              <a:xfrm>
                <a:off x="14447838" y="2125663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00" name="Line 1195"/>
              <p:cNvSpPr>
                <a:spLocks noChangeShapeType="1"/>
              </p:cNvSpPr>
              <p:nvPr userDrawn="1"/>
            </p:nvSpPr>
            <p:spPr bwMode="auto">
              <a:xfrm>
                <a:off x="14449425" y="2130425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01" name="Line 1196"/>
              <p:cNvSpPr>
                <a:spLocks noChangeShapeType="1"/>
              </p:cNvSpPr>
              <p:nvPr userDrawn="1"/>
            </p:nvSpPr>
            <p:spPr bwMode="auto">
              <a:xfrm>
                <a:off x="14452600" y="2133600"/>
                <a:ext cx="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02" name="Line 1197"/>
              <p:cNvSpPr>
                <a:spLocks noChangeShapeType="1"/>
              </p:cNvSpPr>
              <p:nvPr userDrawn="1"/>
            </p:nvSpPr>
            <p:spPr bwMode="auto">
              <a:xfrm>
                <a:off x="14452600" y="2139950"/>
                <a:ext cx="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03" name="Line 1198"/>
              <p:cNvSpPr>
                <a:spLocks noChangeShapeType="1"/>
              </p:cNvSpPr>
              <p:nvPr userDrawn="1"/>
            </p:nvSpPr>
            <p:spPr bwMode="auto">
              <a:xfrm>
                <a:off x="14452600" y="2147888"/>
                <a:ext cx="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04" name="Line 1199"/>
              <p:cNvSpPr>
                <a:spLocks noChangeShapeType="1"/>
              </p:cNvSpPr>
              <p:nvPr userDrawn="1"/>
            </p:nvSpPr>
            <p:spPr bwMode="auto">
              <a:xfrm flipH="1">
                <a:off x="14452600" y="2155825"/>
                <a:ext cx="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05" name="Line 1200"/>
              <p:cNvSpPr>
                <a:spLocks noChangeShapeType="1"/>
              </p:cNvSpPr>
              <p:nvPr userDrawn="1"/>
            </p:nvSpPr>
            <p:spPr bwMode="auto">
              <a:xfrm flipH="1">
                <a:off x="14449425" y="2165350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06" name="Line 1201"/>
              <p:cNvSpPr>
                <a:spLocks noChangeShapeType="1"/>
              </p:cNvSpPr>
              <p:nvPr userDrawn="1"/>
            </p:nvSpPr>
            <p:spPr bwMode="auto">
              <a:xfrm flipH="1">
                <a:off x="14447838" y="2179638"/>
                <a:ext cx="1587" cy="317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07" name="Line 1202"/>
              <p:cNvSpPr>
                <a:spLocks noChangeShapeType="1"/>
              </p:cNvSpPr>
              <p:nvPr userDrawn="1"/>
            </p:nvSpPr>
            <p:spPr bwMode="auto">
              <a:xfrm>
                <a:off x="14447838" y="2211388"/>
                <a:ext cx="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08" name="Line 1203"/>
              <p:cNvSpPr>
                <a:spLocks noChangeShapeType="1"/>
              </p:cNvSpPr>
              <p:nvPr userDrawn="1"/>
            </p:nvSpPr>
            <p:spPr bwMode="auto">
              <a:xfrm flipV="1">
                <a:off x="14447838" y="2227263"/>
                <a:ext cx="1905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09" name="Line 1204"/>
              <p:cNvSpPr>
                <a:spLocks noChangeShapeType="1"/>
              </p:cNvSpPr>
              <p:nvPr userDrawn="1"/>
            </p:nvSpPr>
            <p:spPr bwMode="auto">
              <a:xfrm>
                <a:off x="14466888" y="2227263"/>
                <a:ext cx="2222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10" name="Line 1205"/>
              <p:cNvSpPr>
                <a:spLocks noChangeShapeType="1"/>
              </p:cNvSpPr>
              <p:nvPr userDrawn="1"/>
            </p:nvSpPr>
            <p:spPr bwMode="auto">
              <a:xfrm flipV="1">
                <a:off x="14489113" y="2227263"/>
                <a:ext cx="285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11" name="Line 1206"/>
              <p:cNvSpPr>
                <a:spLocks noChangeShapeType="1"/>
              </p:cNvSpPr>
              <p:nvPr userDrawn="1"/>
            </p:nvSpPr>
            <p:spPr bwMode="auto">
              <a:xfrm flipV="1">
                <a:off x="14517688" y="2225675"/>
                <a:ext cx="2063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12" name="Line 1207"/>
              <p:cNvSpPr>
                <a:spLocks noChangeShapeType="1"/>
              </p:cNvSpPr>
              <p:nvPr userDrawn="1"/>
            </p:nvSpPr>
            <p:spPr bwMode="auto">
              <a:xfrm>
                <a:off x="14538325" y="2225675"/>
                <a:ext cx="1270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13" name="Line 1208"/>
              <p:cNvSpPr>
                <a:spLocks noChangeShapeType="1"/>
              </p:cNvSpPr>
              <p:nvPr userDrawn="1"/>
            </p:nvSpPr>
            <p:spPr bwMode="auto">
              <a:xfrm>
                <a:off x="14551025" y="2225675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14" name="Line 1209"/>
              <p:cNvSpPr>
                <a:spLocks noChangeShapeType="1"/>
              </p:cNvSpPr>
              <p:nvPr userDrawn="1"/>
            </p:nvSpPr>
            <p:spPr bwMode="auto">
              <a:xfrm>
                <a:off x="14554200" y="222726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5" name="Line 1211"/>
              <p:cNvSpPr>
                <a:spLocks noChangeShapeType="1"/>
              </p:cNvSpPr>
              <p:nvPr userDrawn="1"/>
            </p:nvSpPr>
            <p:spPr bwMode="auto">
              <a:xfrm>
                <a:off x="14557375" y="222726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6" name="Line 1212"/>
              <p:cNvSpPr>
                <a:spLocks noChangeShapeType="1"/>
              </p:cNvSpPr>
              <p:nvPr userDrawn="1"/>
            </p:nvSpPr>
            <p:spPr bwMode="auto">
              <a:xfrm>
                <a:off x="14560550" y="2228850"/>
                <a:ext cx="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7" name="Line 1213"/>
              <p:cNvSpPr>
                <a:spLocks noChangeShapeType="1"/>
              </p:cNvSpPr>
              <p:nvPr userDrawn="1"/>
            </p:nvSpPr>
            <p:spPr bwMode="auto">
              <a:xfrm>
                <a:off x="14560550" y="223043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8" name="Line 1214"/>
              <p:cNvSpPr>
                <a:spLocks noChangeShapeType="1"/>
              </p:cNvSpPr>
              <p:nvPr userDrawn="1"/>
            </p:nvSpPr>
            <p:spPr bwMode="auto">
              <a:xfrm flipH="1">
                <a:off x="14557375" y="223361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9" name="Line 1215"/>
              <p:cNvSpPr>
                <a:spLocks noChangeShapeType="1"/>
              </p:cNvSpPr>
              <p:nvPr userDrawn="1"/>
            </p:nvSpPr>
            <p:spPr bwMode="auto">
              <a:xfrm flipH="1">
                <a:off x="14555787" y="2235200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0" name="Line 1216"/>
              <p:cNvSpPr>
                <a:spLocks noChangeShapeType="1"/>
              </p:cNvSpPr>
              <p:nvPr userDrawn="1"/>
            </p:nvSpPr>
            <p:spPr bwMode="auto">
              <a:xfrm flipH="1">
                <a:off x="14554200" y="2236788"/>
                <a:ext cx="158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1" name="Line 1217"/>
              <p:cNvSpPr>
                <a:spLocks noChangeShapeType="1"/>
              </p:cNvSpPr>
              <p:nvPr userDrawn="1"/>
            </p:nvSpPr>
            <p:spPr bwMode="auto">
              <a:xfrm flipH="1">
                <a:off x="14551025" y="22367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2" name="Line 1218"/>
              <p:cNvSpPr>
                <a:spLocks noChangeShapeType="1"/>
              </p:cNvSpPr>
              <p:nvPr userDrawn="1"/>
            </p:nvSpPr>
            <p:spPr bwMode="auto">
              <a:xfrm flipH="1">
                <a:off x="14546262" y="2238375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3" name="Line 1219"/>
              <p:cNvSpPr>
                <a:spLocks noChangeShapeType="1"/>
              </p:cNvSpPr>
              <p:nvPr userDrawn="1"/>
            </p:nvSpPr>
            <p:spPr bwMode="auto">
              <a:xfrm flipH="1">
                <a:off x="14543087" y="2238375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4" name="Line 1220"/>
              <p:cNvSpPr>
                <a:spLocks noChangeShapeType="1"/>
              </p:cNvSpPr>
              <p:nvPr userDrawn="1"/>
            </p:nvSpPr>
            <p:spPr bwMode="auto">
              <a:xfrm flipH="1">
                <a:off x="14538325" y="2239963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5" name="Line 1221"/>
              <p:cNvSpPr>
                <a:spLocks noChangeShapeType="1"/>
              </p:cNvSpPr>
              <p:nvPr userDrawn="1"/>
            </p:nvSpPr>
            <p:spPr bwMode="auto">
              <a:xfrm flipH="1">
                <a:off x="14528800" y="2239963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6" name="Line 1222"/>
              <p:cNvSpPr>
                <a:spLocks noChangeShapeType="1"/>
              </p:cNvSpPr>
              <p:nvPr userDrawn="1"/>
            </p:nvSpPr>
            <p:spPr bwMode="auto">
              <a:xfrm flipH="1">
                <a:off x="14524037" y="2243138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7" name="Line 1223"/>
              <p:cNvSpPr>
                <a:spLocks noChangeShapeType="1"/>
              </p:cNvSpPr>
              <p:nvPr userDrawn="1"/>
            </p:nvSpPr>
            <p:spPr bwMode="auto">
              <a:xfrm flipH="1">
                <a:off x="14517687" y="2243138"/>
                <a:ext cx="635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8" name="Line 1224"/>
              <p:cNvSpPr>
                <a:spLocks noChangeShapeType="1"/>
              </p:cNvSpPr>
              <p:nvPr userDrawn="1"/>
            </p:nvSpPr>
            <p:spPr bwMode="auto">
              <a:xfrm flipH="1">
                <a:off x="14503400" y="2244725"/>
                <a:ext cx="142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9" name="Line 1225"/>
              <p:cNvSpPr>
                <a:spLocks noChangeShapeType="1"/>
              </p:cNvSpPr>
              <p:nvPr userDrawn="1"/>
            </p:nvSpPr>
            <p:spPr bwMode="auto">
              <a:xfrm flipH="1">
                <a:off x="14482762" y="2247900"/>
                <a:ext cx="2063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30" name="Line 1226"/>
              <p:cNvSpPr>
                <a:spLocks noChangeShapeType="1"/>
              </p:cNvSpPr>
              <p:nvPr userDrawn="1"/>
            </p:nvSpPr>
            <p:spPr bwMode="auto">
              <a:xfrm flipH="1">
                <a:off x="14466887" y="2252663"/>
                <a:ext cx="158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31" name="Line 1227"/>
              <p:cNvSpPr>
                <a:spLocks noChangeShapeType="1"/>
              </p:cNvSpPr>
              <p:nvPr userDrawn="1"/>
            </p:nvSpPr>
            <p:spPr bwMode="auto">
              <a:xfrm flipH="1">
                <a:off x="14455775" y="2254250"/>
                <a:ext cx="1111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32" name="Line 1228"/>
              <p:cNvSpPr>
                <a:spLocks noChangeShapeType="1"/>
              </p:cNvSpPr>
              <p:nvPr userDrawn="1"/>
            </p:nvSpPr>
            <p:spPr bwMode="auto">
              <a:xfrm flipH="1">
                <a:off x="14452600" y="225583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33" name="Line 1229"/>
              <p:cNvSpPr>
                <a:spLocks noChangeShapeType="1"/>
              </p:cNvSpPr>
              <p:nvPr userDrawn="1"/>
            </p:nvSpPr>
            <p:spPr bwMode="auto">
              <a:xfrm flipH="1">
                <a:off x="14447837" y="2255838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34" name="Line 1230"/>
              <p:cNvSpPr>
                <a:spLocks noChangeShapeType="1"/>
              </p:cNvSpPr>
              <p:nvPr userDrawn="1"/>
            </p:nvSpPr>
            <p:spPr bwMode="auto">
              <a:xfrm flipH="1">
                <a:off x="14444662" y="2257425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35" name="Line 1231"/>
              <p:cNvSpPr>
                <a:spLocks noChangeShapeType="1"/>
              </p:cNvSpPr>
              <p:nvPr userDrawn="1"/>
            </p:nvSpPr>
            <p:spPr bwMode="auto">
              <a:xfrm flipH="1">
                <a:off x="14441487" y="2260600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36" name="Line 1232"/>
              <p:cNvSpPr>
                <a:spLocks noChangeShapeType="1"/>
              </p:cNvSpPr>
              <p:nvPr userDrawn="1"/>
            </p:nvSpPr>
            <p:spPr bwMode="auto">
              <a:xfrm flipH="1">
                <a:off x="14438312" y="2263775"/>
                <a:ext cx="317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37" name="Line 1233"/>
              <p:cNvSpPr>
                <a:spLocks noChangeShapeType="1"/>
              </p:cNvSpPr>
              <p:nvPr userDrawn="1"/>
            </p:nvSpPr>
            <p:spPr bwMode="auto">
              <a:xfrm>
                <a:off x="14438312" y="2276475"/>
                <a:ext cx="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38" name="Line 1234"/>
              <p:cNvSpPr>
                <a:spLocks noChangeShapeType="1"/>
              </p:cNvSpPr>
              <p:nvPr userDrawn="1"/>
            </p:nvSpPr>
            <p:spPr bwMode="auto">
              <a:xfrm>
                <a:off x="14438312" y="2295525"/>
                <a:ext cx="1587" cy="460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39" name="Line 1235"/>
              <p:cNvSpPr>
                <a:spLocks noChangeShapeType="1"/>
              </p:cNvSpPr>
              <p:nvPr userDrawn="1"/>
            </p:nvSpPr>
            <p:spPr bwMode="auto">
              <a:xfrm flipH="1">
                <a:off x="14438312" y="2341563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40" name="Line 1236"/>
              <p:cNvSpPr>
                <a:spLocks noChangeShapeType="1"/>
              </p:cNvSpPr>
              <p:nvPr userDrawn="1"/>
            </p:nvSpPr>
            <p:spPr bwMode="auto">
              <a:xfrm flipH="1">
                <a:off x="14436725" y="2355850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41" name="Line 1237"/>
              <p:cNvSpPr>
                <a:spLocks noChangeShapeType="1"/>
              </p:cNvSpPr>
              <p:nvPr userDrawn="1"/>
            </p:nvSpPr>
            <p:spPr bwMode="auto">
              <a:xfrm flipH="1">
                <a:off x="14433550" y="236378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42" name="Line 1238"/>
              <p:cNvSpPr>
                <a:spLocks noChangeShapeType="1"/>
              </p:cNvSpPr>
              <p:nvPr userDrawn="1"/>
            </p:nvSpPr>
            <p:spPr bwMode="auto">
              <a:xfrm flipH="1">
                <a:off x="14428787" y="2366963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43" name="Line 1239"/>
              <p:cNvSpPr>
                <a:spLocks noChangeShapeType="1"/>
              </p:cNvSpPr>
              <p:nvPr userDrawn="1"/>
            </p:nvSpPr>
            <p:spPr bwMode="auto">
              <a:xfrm flipH="1" flipV="1">
                <a:off x="14425612" y="236696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44" name="Line 1240"/>
              <p:cNvSpPr>
                <a:spLocks noChangeShapeType="1"/>
              </p:cNvSpPr>
              <p:nvPr userDrawn="1"/>
            </p:nvSpPr>
            <p:spPr bwMode="auto">
              <a:xfrm flipH="1" flipV="1">
                <a:off x="14420850" y="2365375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45" name="Line 1241"/>
              <p:cNvSpPr>
                <a:spLocks noChangeShapeType="1"/>
              </p:cNvSpPr>
              <p:nvPr userDrawn="1"/>
            </p:nvSpPr>
            <p:spPr bwMode="auto">
              <a:xfrm flipH="1" flipV="1">
                <a:off x="14419262" y="2363788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46" name="Line 1242"/>
              <p:cNvSpPr>
                <a:spLocks noChangeShapeType="1"/>
              </p:cNvSpPr>
              <p:nvPr userDrawn="1"/>
            </p:nvSpPr>
            <p:spPr bwMode="auto">
              <a:xfrm flipH="1" flipV="1">
                <a:off x="14417675" y="2360613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47" name="Line 1243"/>
              <p:cNvSpPr>
                <a:spLocks noChangeShapeType="1"/>
              </p:cNvSpPr>
              <p:nvPr userDrawn="1"/>
            </p:nvSpPr>
            <p:spPr bwMode="auto">
              <a:xfrm flipH="1" flipV="1">
                <a:off x="14416087" y="2357438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48" name="Line 1244"/>
              <p:cNvSpPr>
                <a:spLocks noChangeShapeType="1"/>
              </p:cNvSpPr>
              <p:nvPr userDrawn="1"/>
            </p:nvSpPr>
            <p:spPr bwMode="auto">
              <a:xfrm flipH="1" flipV="1">
                <a:off x="14414500" y="2352675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49" name="Line 1245"/>
              <p:cNvSpPr>
                <a:spLocks noChangeShapeType="1"/>
              </p:cNvSpPr>
              <p:nvPr userDrawn="1"/>
            </p:nvSpPr>
            <p:spPr bwMode="auto">
              <a:xfrm flipH="1" flipV="1">
                <a:off x="14414500" y="2343150"/>
                <a:ext cx="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50" name="Line 1246"/>
              <p:cNvSpPr>
                <a:spLocks noChangeShapeType="1"/>
              </p:cNvSpPr>
              <p:nvPr userDrawn="1"/>
            </p:nvSpPr>
            <p:spPr bwMode="auto">
              <a:xfrm flipH="1" flipV="1">
                <a:off x="14412912" y="2328863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51" name="Line 1247"/>
              <p:cNvSpPr>
                <a:spLocks noChangeShapeType="1"/>
              </p:cNvSpPr>
              <p:nvPr userDrawn="1"/>
            </p:nvSpPr>
            <p:spPr bwMode="auto">
              <a:xfrm flipH="1" flipV="1">
                <a:off x="14411325" y="2312988"/>
                <a:ext cx="1587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52" name="Line 1248"/>
              <p:cNvSpPr>
                <a:spLocks noChangeShapeType="1"/>
              </p:cNvSpPr>
              <p:nvPr userDrawn="1"/>
            </p:nvSpPr>
            <p:spPr bwMode="auto">
              <a:xfrm flipH="1" flipV="1">
                <a:off x="14409737" y="2262188"/>
                <a:ext cx="1587" cy="508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53" name="Line 1249"/>
              <p:cNvSpPr>
                <a:spLocks noChangeShapeType="1"/>
              </p:cNvSpPr>
              <p:nvPr userDrawn="1"/>
            </p:nvSpPr>
            <p:spPr bwMode="auto">
              <a:xfrm flipH="1">
                <a:off x="14374812" y="2262188"/>
                <a:ext cx="3492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54" name="Line 1250"/>
              <p:cNvSpPr>
                <a:spLocks noChangeShapeType="1"/>
              </p:cNvSpPr>
              <p:nvPr userDrawn="1"/>
            </p:nvSpPr>
            <p:spPr bwMode="auto">
              <a:xfrm flipH="1">
                <a:off x="14357350" y="2263775"/>
                <a:ext cx="174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55" name="Line 1251"/>
              <p:cNvSpPr>
                <a:spLocks noChangeShapeType="1"/>
              </p:cNvSpPr>
              <p:nvPr userDrawn="1"/>
            </p:nvSpPr>
            <p:spPr bwMode="auto">
              <a:xfrm flipH="1">
                <a:off x="14344650" y="2263775"/>
                <a:ext cx="1270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56" name="Line 1252"/>
              <p:cNvSpPr>
                <a:spLocks noChangeShapeType="1"/>
              </p:cNvSpPr>
              <p:nvPr userDrawn="1"/>
            </p:nvSpPr>
            <p:spPr bwMode="auto">
              <a:xfrm flipH="1" flipV="1">
                <a:off x="14339887" y="2262188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57" name="Line 1253"/>
              <p:cNvSpPr>
                <a:spLocks noChangeShapeType="1"/>
              </p:cNvSpPr>
              <p:nvPr userDrawn="1"/>
            </p:nvSpPr>
            <p:spPr bwMode="auto">
              <a:xfrm flipH="1" flipV="1">
                <a:off x="14335125" y="2260600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58" name="Line 1254"/>
              <p:cNvSpPr>
                <a:spLocks noChangeShapeType="1"/>
              </p:cNvSpPr>
              <p:nvPr userDrawn="1"/>
            </p:nvSpPr>
            <p:spPr bwMode="auto">
              <a:xfrm flipH="1" flipV="1">
                <a:off x="14333537" y="2257425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59" name="Line 1255"/>
              <p:cNvSpPr>
                <a:spLocks noChangeShapeType="1"/>
              </p:cNvSpPr>
              <p:nvPr userDrawn="1"/>
            </p:nvSpPr>
            <p:spPr bwMode="auto">
              <a:xfrm flipH="1" flipV="1">
                <a:off x="14330362" y="2254250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60" name="Line 1256"/>
              <p:cNvSpPr>
                <a:spLocks noChangeShapeType="1"/>
              </p:cNvSpPr>
              <p:nvPr userDrawn="1"/>
            </p:nvSpPr>
            <p:spPr bwMode="auto">
              <a:xfrm flipH="1" flipV="1">
                <a:off x="14328775" y="2251075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61" name="Line 1257"/>
              <p:cNvSpPr>
                <a:spLocks noChangeShapeType="1"/>
              </p:cNvSpPr>
              <p:nvPr userDrawn="1"/>
            </p:nvSpPr>
            <p:spPr bwMode="auto">
              <a:xfrm flipV="1">
                <a:off x="14328775" y="2247900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62" name="Line 1258"/>
              <p:cNvSpPr>
                <a:spLocks noChangeShapeType="1"/>
              </p:cNvSpPr>
              <p:nvPr userDrawn="1"/>
            </p:nvSpPr>
            <p:spPr bwMode="auto">
              <a:xfrm flipV="1">
                <a:off x="14328775" y="2244725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63" name="Line 1259"/>
              <p:cNvSpPr>
                <a:spLocks noChangeShapeType="1"/>
              </p:cNvSpPr>
              <p:nvPr userDrawn="1"/>
            </p:nvSpPr>
            <p:spPr bwMode="auto">
              <a:xfrm flipV="1">
                <a:off x="14330362" y="2243138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64" name="Line 1260"/>
              <p:cNvSpPr>
                <a:spLocks noChangeShapeType="1"/>
              </p:cNvSpPr>
              <p:nvPr userDrawn="1"/>
            </p:nvSpPr>
            <p:spPr bwMode="auto">
              <a:xfrm flipV="1">
                <a:off x="14335125" y="224155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65" name="Line 1261"/>
              <p:cNvSpPr>
                <a:spLocks noChangeShapeType="1"/>
              </p:cNvSpPr>
              <p:nvPr userDrawn="1"/>
            </p:nvSpPr>
            <p:spPr bwMode="auto">
              <a:xfrm flipV="1">
                <a:off x="14338300" y="2239963"/>
                <a:ext cx="1270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66" name="Line 1262"/>
              <p:cNvSpPr>
                <a:spLocks noChangeShapeType="1"/>
              </p:cNvSpPr>
              <p:nvPr userDrawn="1"/>
            </p:nvSpPr>
            <p:spPr bwMode="auto">
              <a:xfrm flipV="1">
                <a:off x="14351000" y="2238375"/>
                <a:ext cx="174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67" name="Line 1263"/>
              <p:cNvSpPr>
                <a:spLocks noChangeShapeType="1"/>
              </p:cNvSpPr>
              <p:nvPr userDrawn="1"/>
            </p:nvSpPr>
            <p:spPr bwMode="auto">
              <a:xfrm flipV="1">
                <a:off x="14368462" y="2236788"/>
                <a:ext cx="1905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68" name="Line 1264"/>
              <p:cNvSpPr>
                <a:spLocks noChangeShapeType="1"/>
              </p:cNvSpPr>
              <p:nvPr userDrawn="1"/>
            </p:nvSpPr>
            <p:spPr bwMode="auto">
              <a:xfrm flipV="1">
                <a:off x="14387512" y="2235200"/>
                <a:ext cx="142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69" name="Line 1265"/>
              <p:cNvSpPr>
                <a:spLocks noChangeShapeType="1"/>
              </p:cNvSpPr>
              <p:nvPr userDrawn="1"/>
            </p:nvSpPr>
            <p:spPr bwMode="auto">
              <a:xfrm flipV="1">
                <a:off x="14401800" y="2232025"/>
                <a:ext cx="63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70" name="Line 1266"/>
              <p:cNvSpPr>
                <a:spLocks noChangeShapeType="1"/>
              </p:cNvSpPr>
              <p:nvPr userDrawn="1"/>
            </p:nvSpPr>
            <p:spPr bwMode="auto">
              <a:xfrm flipV="1">
                <a:off x="14408150" y="2227263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71" name="Line 1267"/>
              <p:cNvSpPr>
                <a:spLocks noChangeShapeType="1"/>
              </p:cNvSpPr>
              <p:nvPr userDrawn="1"/>
            </p:nvSpPr>
            <p:spPr bwMode="auto">
              <a:xfrm flipV="1">
                <a:off x="14409737" y="2216150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72" name="Line 1268"/>
              <p:cNvSpPr>
                <a:spLocks noChangeShapeType="1"/>
              </p:cNvSpPr>
              <p:nvPr userDrawn="1"/>
            </p:nvSpPr>
            <p:spPr bwMode="auto">
              <a:xfrm flipV="1">
                <a:off x="14412912" y="2200275"/>
                <a:ext cx="3175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73" name="Line 1269"/>
              <p:cNvSpPr>
                <a:spLocks noChangeShapeType="1"/>
              </p:cNvSpPr>
              <p:nvPr userDrawn="1"/>
            </p:nvSpPr>
            <p:spPr bwMode="auto">
              <a:xfrm flipV="1">
                <a:off x="14416087" y="2178050"/>
                <a:ext cx="3175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74" name="Line 1270"/>
              <p:cNvSpPr>
                <a:spLocks noChangeShapeType="1"/>
              </p:cNvSpPr>
              <p:nvPr userDrawn="1"/>
            </p:nvSpPr>
            <p:spPr bwMode="auto">
              <a:xfrm flipV="1">
                <a:off x="14419262" y="2155825"/>
                <a:ext cx="3175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75" name="Line 1271"/>
              <p:cNvSpPr>
                <a:spLocks noChangeShapeType="1"/>
              </p:cNvSpPr>
              <p:nvPr userDrawn="1"/>
            </p:nvSpPr>
            <p:spPr bwMode="auto">
              <a:xfrm flipV="1">
                <a:off x="14422437" y="2138363"/>
                <a:ext cx="1587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76" name="Line 1272"/>
              <p:cNvSpPr>
                <a:spLocks noChangeShapeType="1"/>
              </p:cNvSpPr>
              <p:nvPr userDrawn="1"/>
            </p:nvSpPr>
            <p:spPr bwMode="auto">
              <a:xfrm flipV="1">
                <a:off x="14424025" y="2128838"/>
                <a:ext cx="158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77" name="Line 1273"/>
              <p:cNvSpPr>
                <a:spLocks noChangeShapeType="1"/>
              </p:cNvSpPr>
              <p:nvPr userDrawn="1"/>
            </p:nvSpPr>
            <p:spPr bwMode="auto">
              <a:xfrm flipV="1">
                <a:off x="14425612" y="2124075"/>
                <a:ext cx="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78" name="Freeform 1274"/>
              <p:cNvSpPr>
                <a:spLocks noEditPoints="1"/>
              </p:cNvSpPr>
              <p:nvPr userDrawn="1"/>
            </p:nvSpPr>
            <p:spPr bwMode="auto">
              <a:xfrm>
                <a:off x="14539912" y="2163763"/>
                <a:ext cx="131762" cy="217488"/>
              </a:xfrm>
              <a:custGeom>
                <a:avLst/>
                <a:gdLst>
                  <a:gd name="T0" fmla="*/ 85 w 165"/>
                  <a:gd name="T1" fmla="*/ 50 h 274"/>
                  <a:gd name="T2" fmla="*/ 75 w 165"/>
                  <a:gd name="T3" fmla="*/ 53 h 274"/>
                  <a:gd name="T4" fmla="*/ 65 w 165"/>
                  <a:gd name="T5" fmla="*/ 60 h 274"/>
                  <a:gd name="T6" fmla="*/ 51 w 165"/>
                  <a:gd name="T7" fmla="*/ 82 h 274"/>
                  <a:gd name="T8" fmla="*/ 37 w 165"/>
                  <a:gd name="T9" fmla="*/ 130 h 274"/>
                  <a:gd name="T10" fmla="*/ 34 w 165"/>
                  <a:gd name="T11" fmla="*/ 182 h 274"/>
                  <a:gd name="T12" fmla="*/ 44 w 165"/>
                  <a:gd name="T13" fmla="*/ 222 h 274"/>
                  <a:gd name="T14" fmla="*/ 64 w 165"/>
                  <a:gd name="T15" fmla="*/ 241 h 274"/>
                  <a:gd name="T16" fmla="*/ 89 w 165"/>
                  <a:gd name="T17" fmla="*/ 233 h 274"/>
                  <a:gd name="T18" fmla="*/ 119 w 165"/>
                  <a:gd name="T19" fmla="*/ 195 h 274"/>
                  <a:gd name="T20" fmla="*/ 133 w 165"/>
                  <a:gd name="T21" fmla="*/ 139 h 274"/>
                  <a:gd name="T22" fmla="*/ 126 w 165"/>
                  <a:gd name="T23" fmla="*/ 85 h 274"/>
                  <a:gd name="T24" fmla="*/ 117 w 165"/>
                  <a:gd name="T25" fmla="*/ 60 h 274"/>
                  <a:gd name="T26" fmla="*/ 92 w 165"/>
                  <a:gd name="T27" fmla="*/ 50 h 274"/>
                  <a:gd name="T28" fmla="*/ 102 w 165"/>
                  <a:gd name="T29" fmla="*/ 2 h 274"/>
                  <a:gd name="T30" fmla="*/ 112 w 165"/>
                  <a:gd name="T31" fmla="*/ 5 h 274"/>
                  <a:gd name="T32" fmla="*/ 123 w 165"/>
                  <a:gd name="T33" fmla="*/ 13 h 274"/>
                  <a:gd name="T34" fmla="*/ 155 w 165"/>
                  <a:gd name="T35" fmla="*/ 57 h 274"/>
                  <a:gd name="T36" fmla="*/ 164 w 165"/>
                  <a:gd name="T37" fmla="*/ 99 h 274"/>
                  <a:gd name="T38" fmla="*/ 165 w 165"/>
                  <a:gd name="T39" fmla="*/ 147 h 274"/>
                  <a:gd name="T40" fmla="*/ 162 w 165"/>
                  <a:gd name="T41" fmla="*/ 174 h 274"/>
                  <a:gd name="T42" fmla="*/ 148 w 165"/>
                  <a:gd name="T43" fmla="*/ 209 h 274"/>
                  <a:gd name="T44" fmla="*/ 124 w 165"/>
                  <a:gd name="T45" fmla="*/ 246 h 274"/>
                  <a:gd name="T46" fmla="*/ 96 w 165"/>
                  <a:gd name="T47" fmla="*/ 268 h 274"/>
                  <a:gd name="T48" fmla="*/ 60 w 165"/>
                  <a:gd name="T49" fmla="*/ 274 h 274"/>
                  <a:gd name="T50" fmla="*/ 47 w 165"/>
                  <a:gd name="T51" fmla="*/ 271 h 274"/>
                  <a:gd name="T52" fmla="*/ 37 w 165"/>
                  <a:gd name="T53" fmla="*/ 264 h 274"/>
                  <a:gd name="T54" fmla="*/ 20 w 165"/>
                  <a:gd name="T55" fmla="*/ 246 h 274"/>
                  <a:gd name="T56" fmla="*/ 5 w 165"/>
                  <a:gd name="T57" fmla="*/ 209 h 274"/>
                  <a:gd name="T58" fmla="*/ 2 w 165"/>
                  <a:gd name="T59" fmla="*/ 147 h 274"/>
                  <a:gd name="T60" fmla="*/ 12 w 165"/>
                  <a:gd name="T61" fmla="*/ 93 h 274"/>
                  <a:gd name="T62" fmla="*/ 22 w 165"/>
                  <a:gd name="T63" fmla="*/ 67 h 274"/>
                  <a:gd name="T64" fmla="*/ 26 w 165"/>
                  <a:gd name="T65" fmla="*/ 58 h 274"/>
                  <a:gd name="T66" fmla="*/ 27 w 165"/>
                  <a:gd name="T67" fmla="*/ 48 h 274"/>
                  <a:gd name="T68" fmla="*/ 43 w 165"/>
                  <a:gd name="T69" fmla="*/ 31 h 274"/>
                  <a:gd name="T70" fmla="*/ 61 w 165"/>
                  <a:gd name="T71" fmla="*/ 19 h 274"/>
                  <a:gd name="T72" fmla="*/ 74 w 165"/>
                  <a:gd name="T73" fmla="*/ 16 h 274"/>
                  <a:gd name="T74" fmla="*/ 85 w 165"/>
                  <a:gd name="T75" fmla="*/ 7 h 274"/>
                  <a:gd name="T76" fmla="*/ 92 w 165"/>
                  <a:gd name="T77" fmla="*/ 2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5" h="274">
                    <a:moveTo>
                      <a:pt x="92" y="50"/>
                    </a:moveTo>
                    <a:lnTo>
                      <a:pt x="85" y="50"/>
                    </a:lnTo>
                    <a:lnTo>
                      <a:pt x="79" y="51"/>
                    </a:lnTo>
                    <a:lnTo>
                      <a:pt x="75" y="53"/>
                    </a:lnTo>
                    <a:lnTo>
                      <a:pt x="71" y="55"/>
                    </a:lnTo>
                    <a:lnTo>
                      <a:pt x="65" y="60"/>
                    </a:lnTo>
                    <a:lnTo>
                      <a:pt x="61" y="65"/>
                    </a:lnTo>
                    <a:lnTo>
                      <a:pt x="51" y="82"/>
                    </a:lnTo>
                    <a:lnTo>
                      <a:pt x="44" y="103"/>
                    </a:lnTo>
                    <a:lnTo>
                      <a:pt x="37" y="130"/>
                    </a:lnTo>
                    <a:lnTo>
                      <a:pt x="34" y="158"/>
                    </a:lnTo>
                    <a:lnTo>
                      <a:pt x="34" y="182"/>
                    </a:lnTo>
                    <a:lnTo>
                      <a:pt x="37" y="201"/>
                    </a:lnTo>
                    <a:lnTo>
                      <a:pt x="44" y="222"/>
                    </a:lnTo>
                    <a:lnTo>
                      <a:pt x="53" y="236"/>
                    </a:lnTo>
                    <a:lnTo>
                      <a:pt x="64" y="241"/>
                    </a:lnTo>
                    <a:lnTo>
                      <a:pt x="75" y="241"/>
                    </a:lnTo>
                    <a:lnTo>
                      <a:pt x="89" y="233"/>
                    </a:lnTo>
                    <a:lnTo>
                      <a:pt x="103" y="217"/>
                    </a:lnTo>
                    <a:lnTo>
                      <a:pt x="119" y="195"/>
                    </a:lnTo>
                    <a:lnTo>
                      <a:pt x="129" y="168"/>
                    </a:lnTo>
                    <a:lnTo>
                      <a:pt x="133" y="139"/>
                    </a:lnTo>
                    <a:lnTo>
                      <a:pt x="130" y="106"/>
                    </a:lnTo>
                    <a:lnTo>
                      <a:pt x="126" y="85"/>
                    </a:lnTo>
                    <a:lnTo>
                      <a:pt x="122" y="69"/>
                    </a:lnTo>
                    <a:lnTo>
                      <a:pt x="117" y="60"/>
                    </a:lnTo>
                    <a:lnTo>
                      <a:pt x="107" y="53"/>
                    </a:lnTo>
                    <a:lnTo>
                      <a:pt x="92" y="50"/>
                    </a:lnTo>
                    <a:close/>
                    <a:moveTo>
                      <a:pt x="96" y="0"/>
                    </a:moveTo>
                    <a:lnTo>
                      <a:pt x="102" y="2"/>
                    </a:lnTo>
                    <a:lnTo>
                      <a:pt x="106" y="3"/>
                    </a:lnTo>
                    <a:lnTo>
                      <a:pt x="112" y="5"/>
                    </a:lnTo>
                    <a:lnTo>
                      <a:pt x="117" y="9"/>
                    </a:lnTo>
                    <a:lnTo>
                      <a:pt x="123" y="13"/>
                    </a:lnTo>
                    <a:lnTo>
                      <a:pt x="143" y="33"/>
                    </a:lnTo>
                    <a:lnTo>
                      <a:pt x="155" y="57"/>
                    </a:lnTo>
                    <a:lnTo>
                      <a:pt x="160" y="76"/>
                    </a:lnTo>
                    <a:lnTo>
                      <a:pt x="164" y="99"/>
                    </a:lnTo>
                    <a:lnTo>
                      <a:pt x="165" y="127"/>
                    </a:lnTo>
                    <a:lnTo>
                      <a:pt x="165" y="147"/>
                    </a:lnTo>
                    <a:lnTo>
                      <a:pt x="164" y="162"/>
                    </a:lnTo>
                    <a:lnTo>
                      <a:pt x="162" y="174"/>
                    </a:lnTo>
                    <a:lnTo>
                      <a:pt x="158" y="189"/>
                    </a:lnTo>
                    <a:lnTo>
                      <a:pt x="148" y="209"/>
                    </a:lnTo>
                    <a:lnTo>
                      <a:pt x="136" y="230"/>
                    </a:lnTo>
                    <a:lnTo>
                      <a:pt x="124" y="246"/>
                    </a:lnTo>
                    <a:lnTo>
                      <a:pt x="115" y="257"/>
                    </a:lnTo>
                    <a:lnTo>
                      <a:pt x="96" y="268"/>
                    </a:lnTo>
                    <a:lnTo>
                      <a:pt x="75" y="272"/>
                    </a:lnTo>
                    <a:lnTo>
                      <a:pt x="60" y="274"/>
                    </a:lnTo>
                    <a:lnTo>
                      <a:pt x="50" y="272"/>
                    </a:lnTo>
                    <a:lnTo>
                      <a:pt x="47" y="271"/>
                    </a:lnTo>
                    <a:lnTo>
                      <a:pt x="43" y="268"/>
                    </a:lnTo>
                    <a:lnTo>
                      <a:pt x="37" y="264"/>
                    </a:lnTo>
                    <a:lnTo>
                      <a:pt x="31" y="260"/>
                    </a:lnTo>
                    <a:lnTo>
                      <a:pt x="20" y="246"/>
                    </a:lnTo>
                    <a:lnTo>
                      <a:pt x="10" y="229"/>
                    </a:lnTo>
                    <a:lnTo>
                      <a:pt x="5" y="209"/>
                    </a:lnTo>
                    <a:lnTo>
                      <a:pt x="0" y="178"/>
                    </a:lnTo>
                    <a:lnTo>
                      <a:pt x="2" y="147"/>
                    </a:lnTo>
                    <a:lnTo>
                      <a:pt x="6" y="117"/>
                    </a:lnTo>
                    <a:lnTo>
                      <a:pt x="12" y="93"/>
                    </a:lnTo>
                    <a:lnTo>
                      <a:pt x="17" y="75"/>
                    </a:lnTo>
                    <a:lnTo>
                      <a:pt x="22" y="67"/>
                    </a:lnTo>
                    <a:lnTo>
                      <a:pt x="24" y="62"/>
                    </a:lnTo>
                    <a:lnTo>
                      <a:pt x="26" y="58"/>
                    </a:lnTo>
                    <a:lnTo>
                      <a:pt x="26" y="54"/>
                    </a:lnTo>
                    <a:lnTo>
                      <a:pt x="27" y="48"/>
                    </a:lnTo>
                    <a:lnTo>
                      <a:pt x="33" y="40"/>
                    </a:lnTo>
                    <a:lnTo>
                      <a:pt x="43" y="31"/>
                    </a:lnTo>
                    <a:lnTo>
                      <a:pt x="53" y="23"/>
                    </a:lnTo>
                    <a:lnTo>
                      <a:pt x="61" y="19"/>
                    </a:lnTo>
                    <a:lnTo>
                      <a:pt x="67" y="16"/>
                    </a:lnTo>
                    <a:lnTo>
                      <a:pt x="74" y="16"/>
                    </a:lnTo>
                    <a:lnTo>
                      <a:pt x="81" y="12"/>
                    </a:lnTo>
                    <a:lnTo>
                      <a:pt x="85" y="7"/>
                    </a:lnTo>
                    <a:lnTo>
                      <a:pt x="89" y="3"/>
                    </a:lnTo>
                    <a:lnTo>
                      <a:pt x="92" y="2"/>
                    </a:lnTo>
                    <a:lnTo>
                      <a:pt x="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79" name="Line 1275"/>
              <p:cNvSpPr>
                <a:spLocks noChangeShapeType="1"/>
              </p:cNvSpPr>
              <p:nvPr userDrawn="1"/>
            </p:nvSpPr>
            <p:spPr bwMode="auto">
              <a:xfrm flipH="1" flipV="1">
                <a:off x="14639925" y="2230438"/>
                <a:ext cx="3175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80" name="Line 1276"/>
              <p:cNvSpPr>
                <a:spLocks noChangeShapeType="1"/>
              </p:cNvSpPr>
              <p:nvPr userDrawn="1"/>
            </p:nvSpPr>
            <p:spPr bwMode="auto">
              <a:xfrm flipH="1" flipV="1">
                <a:off x="14636750" y="2219325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81" name="Line 1277"/>
              <p:cNvSpPr>
                <a:spLocks noChangeShapeType="1"/>
              </p:cNvSpPr>
              <p:nvPr userDrawn="1"/>
            </p:nvSpPr>
            <p:spPr bwMode="auto">
              <a:xfrm flipH="1" flipV="1">
                <a:off x="14633575" y="2211388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82" name="Line 1278"/>
              <p:cNvSpPr>
                <a:spLocks noChangeShapeType="1"/>
              </p:cNvSpPr>
              <p:nvPr userDrawn="1"/>
            </p:nvSpPr>
            <p:spPr bwMode="auto">
              <a:xfrm flipH="1" flipV="1">
                <a:off x="14625637" y="2205038"/>
                <a:ext cx="793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83" name="Line 1279"/>
              <p:cNvSpPr>
                <a:spLocks noChangeShapeType="1"/>
              </p:cNvSpPr>
              <p:nvPr userDrawn="1"/>
            </p:nvSpPr>
            <p:spPr bwMode="auto">
              <a:xfrm flipH="1" flipV="1">
                <a:off x="14612937" y="2203450"/>
                <a:ext cx="1270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84" name="Line 1280"/>
              <p:cNvSpPr>
                <a:spLocks noChangeShapeType="1"/>
              </p:cNvSpPr>
              <p:nvPr userDrawn="1"/>
            </p:nvSpPr>
            <p:spPr bwMode="auto">
              <a:xfrm flipH="1">
                <a:off x="14606587" y="2203450"/>
                <a:ext cx="635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85" name="Line 1281"/>
              <p:cNvSpPr>
                <a:spLocks noChangeShapeType="1"/>
              </p:cNvSpPr>
              <p:nvPr userDrawn="1"/>
            </p:nvSpPr>
            <p:spPr bwMode="auto">
              <a:xfrm flipH="1">
                <a:off x="14603412" y="220345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86" name="Line 1282"/>
              <p:cNvSpPr>
                <a:spLocks noChangeShapeType="1"/>
              </p:cNvSpPr>
              <p:nvPr userDrawn="1"/>
            </p:nvSpPr>
            <p:spPr bwMode="auto">
              <a:xfrm flipH="1">
                <a:off x="14600237" y="220503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87" name="Line 1283"/>
              <p:cNvSpPr>
                <a:spLocks noChangeShapeType="1"/>
              </p:cNvSpPr>
              <p:nvPr userDrawn="1"/>
            </p:nvSpPr>
            <p:spPr bwMode="auto">
              <a:xfrm flipH="1">
                <a:off x="14595475" y="220503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88" name="Line 1284"/>
              <p:cNvSpPr>
                <a:spLocks noChangeShapeType="1"/>
              </p:cNvSpPr>
              <p:nvPr userDrawn="1"/>
            </p:nvSpPr>
            <p:spPr bwMode="auto">
              <a:xfrm flipH="1">
                <a:off x="14592300" y="220821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89" name="Line 1285"/>
              <p:cNvSpPr>
                <a:spLocks noChangeShapeType="1"/>
              </p:cNvSpPr>
              <p:nvPr userDrawn="1"/>
            </p:nvSpPr>
            <p:spPr bwMode="auto">
              <a:xfrm flipH="1">
                <a:off x="14587537" y="2211388"/>
                <a:ext cx="4762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90" name="Line 1286"/>
              <p:cNvSpPr>
                <a:spLocks noChangeShapeType="1"/>
              </p:cNvSpPr>
              <p:nvPr userDrawn="1"/>
            </p:nvSpPr>
            <p:spPr bwMode="auto">
              <a:xfrm flipH="1">
                <a:off x="14581187" y="2216150"/>
                <a:ext cx="635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91" name="Line 1287"/>
              <p:cNvSpPr>
                <a:spLocks noChangeShapeType="1"/>
              </p:cNvSpPr>
              <p:nvPr userDrawn="1"/>
            </p:nvSpPr>
            <p:spPr bwMode="auto">
              <a:xfrm flipH="1">
                <a:off x="14574837" y="2228850"/>
                <a:ext cx="635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92" name="Line 1288"/>
              <p:cNvSpPr>
                <a:spLocks noChangeShapeType="1"/>
              </p:cNvSpPr>
              <p:nvPr userDrawn="1"/>
            </p:nvSpPr>
            <p:spPr bwMode="auto">
              <a:xfrm flipH="1">
                <a:off x="14570075" y="2246313"/>
                <a:ext cx="4762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93" name="Line 1289"/>
              <p:cNvSpPr>
                <a:spLocks noChangeShapeType="1"/>
              </p:cNvSpPr>
              <p:nvPr userDrawn="1"/>
            </p:nvSpPr>
            <p:spPr bwMode="auto">
              <a:xfrm flipH="1">
                <a:off x="14566900" y="2266950"/>
                <a:ext cx="3175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94" name="Line 1290"/>
              <p:cNvSpPr>
                <a:spLocks noChangeShapeType="1"/>
              </p:cNvSpPr>
              <p:nvPr userDrawn="1"/>
            </p:nvSpPr>
            <p:spPr bwMode="auto">
              <a:xfrm>
                <a:off x="14566900" y="2289175"/>
                <a:ext cx="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95" name="Line 1291"/>
              <p:cNvSpPr>
                <a:spLocks noChangeShapeType="1"/>
              </p:cNvSpPr>
              <p:nvPr userDrawn="1"/>
            </p:nvSpPr>
            <p:spPr bwMode="auto">
              <a:xfrm>
                <a:off x="14566900" y="2308225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96" name="Line 1292"/>
              <p:cNvSpPr>
                <a:spLocks noChangeShapeType="1"/>
              </p:cNvSpPr>
              <p:nvPr userDrawn="1"/>
            </p:nvSpPr>
            <p:spPr bwMode="auto">
              <a:xfrm>
                <a:off x="14570075" y="2322513"/>
                <a:ext cx="4762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97" name="Line 1293"/>
              <p:cNvSpPr>
                <a:spLocks noChangeShapeType="1"/>
              </p:cNvSpPr>
              <p:nvPr userDrawn="1"/>
            </p:nvSpPr>
            <p:spPr bwMode="auto">
              <a:xfrm>
                <a:off x="14574837" y="2339975"/>
                <a:ext cx="635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98" name="Line 1294"/>
              <p:cNvSpPr>
                <a:spLocks noChangeShapeType="1"/>
              </p:cNvSpPr>
              <p:nvPr userDrawn="1"/>
            </p:nvSpPr>
            <p:spPr bwMode="auto">
              <a:xfrm>
                <a:off x="14581187" y="2351088"/>
                <a:ext cx="952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99" name="Line 1295"/>
              <p:cNvSpPr>
                <a:spLocks noChangeShapeType="1"/>
              </p:cNvSpPr>
              <p:nvPr userDrawn="1"/>
            </p:nvSpPr>
            <p:spPr bwMode="auto">
              <a:xfrm>
                <a:off x="14590712" y="2355850"/>
                <a:ext cx="952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00" name="Line 1296"/>
              <p:cNvSpPr>
                <a:spLocks noChangeShapeType="1"/>
              </p:cNvSpPr>
              <p:nvPr userDrawn="1"/>
            </p:nvSpPr>
            <p:spPr bwMode="auto">
              <a:xfrm flipV="1">
                <a:off x="14600237" y="2347913"/>
                <a:ext cx="1111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01" name="Line 1297"/>
              <p:cNvSpPr>
                <a:spLocks noChangeShapeType="1"/>
              </p:cNvSpPr>
              <p:nvPr userDrawn="1"/>
            </p:nvSpPr>
            <p:spPr bwMode="auto">
              <a:xfrm flipV="1">
                <a:off x="14611350" y="2336800"/>
                <a:ext cx="11112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02" name="Line 1298"/>
              <p:cNvSpPr>
                <a:spLocks noChangeShapeType="1"/>
              </p:cNvSpPr>
              <p:nvPr userDrawn="1"/>
            </p:nvSpPr>
            <p:spPr bwMode="auto">
              <a:xfrm flipV="1">
                <a:off x="14622462" y="2317750"/>
                <a:ext cx="1111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03" name="Line 1299"/>
              <p:cNvSpPr>
                <a:spLocks noChangeShapeType="1"/>
              </p:cNvSpPr>
              <p:nvPr userDrawn="1"/>
            </p:nvSpPr>
            <p:spPr bwMode="auto">
              <a:xfrm flipV="1">
                <a:off x="14633575" y="2297113"/>
                <a:ext cx="7937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04" name="Line 1300"/>
              <p:cNvSpPr>
                <a:spLocks noChangeShapeType="1"/>
              </p:cNvSpPr>
              <p:nvPr userDrawn="1"/>
            </p:nvSpPr>
            <p:spPr bwMode="auto">
              <a:xfrm flipV="1">
                <a:off x="14641512" y="2273300"/>
                <a:ext cx="3175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05" name="Line 1301"/>
              <p:cNvSpPr>
                <a:spLocks noChangeShapeType="1"/>
              </p:cNvSpPr>
              <p:nvPr userDrawn="1"/>
            </p:nvSpPr>
            <p:spPr bwMode="auto">
              <a:xfrm flipH="1" flipV="1">
                <a:off x="14643100" y="2247900"/>
                <a:ext cx="1587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06" name="Line 1302"/>
              <p:cNvSpPr>
                <a:spLocks noChangeShapeType="1"/>
              </p:cNvSpPr>
              <p:nvPr userDrawn="1"/>
            </p:nvSpPr>
            <p:spPr bwMode="auto">
              <a:xfrm>
                <a:off x="14592300" y="2176463"/>
                <a:ext cx="635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07" name="Line 1303"/>
              <p:cNvSpPr>
                <a:spLocks noChangeShapeType="1"/>
              </p:cNvSpPr>
              <p:nvPr userDrawn="1"/>
            </p:nvSpPr>
            <p:spPr bwMode="auto">
              <a:xfrm flipV="1">
                <a:off x="14598650" y="217328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08" name="Line 1304"/>
              <p:cNvSpPr>
                <a:spLocks noChangeShapeType="1"/>
              </p:cNvSpPr>
              <p:nvPr userDrawn="1"/>
            </p:nvSpPr>
            <p:spPr bwMode="auto">
              <a:xfrm flipV="1">
                <a:off x="14603412" y="217011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09" name="Line 1305"/>
              <p:cNvSpPr>
                <a:spLocks noChangeShapeType="1"/>
              </p:cNvSpPr>
              <p:nvPr userDrawn="1"/>
            </p:nvSpPr>
            <p:spPr bwMode="auto">
              <a:xfrm flipV="1">
                <a:off x="14606587" y="216693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10" name="Line 1306"/>
              <p:cNvSpPr>
                <a:spLocks noChangeShapeType="1"/>
              </p:cNvSpPr>
              <p:nvPr userDrawn="1"/>
            </p:nvSpPr>
            <p:spPr bwMode="auto">
              <a:xfrm flipV="1">
                <a:off x="14611350" y="2165350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11" name="Line 1307"/>
              <p:cNvSpPr>
                <a:spLocks noChangeShapeType="1"/>
              </p:cNvSpPr>
              <p:nvPr userDrawn="1"/>
            </p:nvSpPr>
            <p:spPr bwMode="auto">
              <a:xfrm flipV="1">
                <a:off x="14612937" y="216376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12" name="Line 1308"/>
              <p:cNvSpPr>
                <a:spLocks noChangeShapeType="1"/>
              </p:cNvSpPr>
              <p:nvPr userDrawn="1"/>
            </p:nvSpPr>
            <p:spPr bwMode="auto">
              <a:xfrm>
                <a:off x="14616112" y="2163763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13" name="Line 1309"/>
              <p:cNvSpPr>
                <a:spLocks noChangeShapeType="1"/>
              </p:cNvSpPr>
              <p:nvPr userDrawn="1"/>
            </p:nvSpPr>
            <p:spPr bwMode="auto">
              <a:xfrm>
                <a:off x="14620875" y="216535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14" name="Line 1310"/>
              <p:cNvSpPr>
                <a:spLocks noChangeShapeType="1"/>
              </p:cNvSpPr>
              <p:nvPr userDrawn="1"/>
            </p:nvSpPr>
            <p:spPr bwMode="auto">
              <a:xfrm>
                <a:off x="14624050" y="2166938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15" name="Line 1311"/>
              <p:cNvSpPr>
                <a:spLocks noChangeShapeType="1"/>
              </p:cNvSpPr>
              <p:nvPr userDrawn="1"/>
            </p:nvSpPr>
            <p:spPr bwMode="auto">
              <a:xfrm>
                <a:off x="14628812" y="216693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16" name="Line 1312"/>
              <p:cNvSpPr>
                <a:spLocks noChangeShapeType="1"/>
              </p:cNvSpPr>
              <p:nvPr userDrawn="1"/>
            </p:nvSpPr>
            <p:spPr bwMode="auto">
              <a:xfrm>
                <a:off x="14633575" y="2170113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17" name="Line 1313"/>
              <p:cNvSpPr>
                <a:spLocks noChangeShapeType="1"/>
              </p:cNvSpPr>
              <p:nvPr userDrawn="1"/>
            </p:nvSpPr>
            <p:spPr bwMode="auto">
              <a:xfrm>
                <a:off x="14636750" y="2174875"/>
                <a:ext cx="158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18" name="Line 1314"/>
              <p:cNvSpPr>
                <a:spLocks noChangeShapeType="1"/>
              </p:cNvSpPr>
              <p:nvPr userDrawn="1"/>
            </p:nvSpPr>
            <p:spPr bwMode="auto">
              <a:xfrm>
                <a:off x="14652625" y="2189163"/>
                <a:ext cx="1111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19" name="Line 1315"/>
              <p:cNvSpPr>
                <a:spLocks noChangeShapeType="1"/>
              </p:cNvSpPr>
              <p:nvPr userDrawn="1"/>
            </p:nvSpPr>
            <p:spPr bwMode="auto">
              <a:xfrm>
                <a:off x="14663737" y="2208213"/>
                <a:ext cx="3175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20" name="Line 1316"/>
              <p:cNvSpPr>
                <a:spLocks noChangeShapeType="1"/>
              </p:cNvSpPr>
              <p:nvPr userDrawn="1"/>
            </p:nvSpPr>
            <p:spPr bwMode="auto">
              <a:xfrm>
                <a:off x="14666912" y="2224088"/>
                <a:ext cx="3175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21" name="Line 1317"/>
              <p:cNvSpPr>
                <a:spLocks noChangeShapeType="1"/>
              </p:cNvSpPr>
              <p:nvPr userDrawn="1"/>
            </p:nvSpPr>
            <p:spPr bwMode="auto">
              <a:xfrm>
                <a:off x="14670087" y="2243138"/>
                <a:ext cx="1587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22" name="Line 1318"/>
              <p:cNvSpPr>
                <a:spLocks noChangeShapeType="1"/>
              </p:cNvSpPr>
              <p:nvPr userDrawn="1"/>
            </p:nvSpPr>
            <p:spPr bwMode="auto">
              <a:xfrm>
                <a:off x="14671675" y="2265363"/>
                <a:ext cx="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23" name="Line 1319"/>
              <p:cNvSpPr>
                <a:spLocks noChangeShapeType="1"/>
              </p:cNvSpPr>
              <p:nvPr userDrawn="1"/>
            </p:nvSpPr>
            <p:spPr bwMode="auto">
              <a:xfrm flipH="1">
                <a:off x="14670087" y="2279650"/>
                <a:ext cx="1587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24" name="Line 1320"/>
              <p:cNvSpPr>
                <a:spLocks noChangeShapeType="1"/>
              </p:cNvSpPr>
              <p:nvPr userDrawn="1"/>
            </p:nvSpPr>
            <p:spPr bwMode="auto">
              <a:xfrm flipH="1">
                <a:off x="14668500" y="2292350"/>
                <a:ext cx="158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25" name="Line 1321"/>
              <p:cNvSpPr>
                <a:spLocks noChangeShapeType="1"/>
              </p:cNvSpPr>
              <p:nvPr userDrawn="1"/>
            </p:nvSpPr>
            <p:spPr bwMode="auto">
              <a:xfrm flipH="1">
                <a:off x="14665325" y="2301875"/>
                <a:ext cx="317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26" name="Line 1322"/>
              <p:cNvSpPr>
                <a:spLocks noChangeShapeType="1"/>
              </p:cNvSpPr>
              <p:nvPr userDrawn="1"/>
            </p:nvSpPr>
            <p:spPr bwMode="auto">
              <a:xfrm flipH="1">
                <a:off x="14657387" y="2314575"/>
                <a:ext cx="793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27" name="Line 1323"/>
              <p:cNvSpPr>
                <a:spLocks noChangeShapeType="1"/>
              </p:cNvSpPr>
              <p:nvPr userDrawn="1"/>
            </p:nvSpPr>
            <p:spPr bwMode="auto">
              <a:xfrm flipH="1">
                <a:off x="14647862" y="2328863"/>
                <a:ext cx="9525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28" name="Line 1324"/>
              <p:cNvSpPr>
                <a:spLocks noChangeShapeType="1"/>
              </p:cNvSpPr>
              <p:nvPr userDrawn="1"/>
            </p:nvSpPr>
            <p:spPr bwMode="auto">
              <a:xfrm flipH="1">
                <a:off x="14638337" y="2346325"/>
                <a:ext cx="952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29" name="Line 1325"/>
              <p:cNvSpPr>
                <a:spLocks noChangeShapeType="1"/>
              </p:cNvSpPr>
              <p:nvPr userDrawn="1"/>
            </p:nvSpPr>
            <p:spPr bwMode="auto">
              <a:xfrm flipH="1">
                <a:off x="14630400" y="2359025"/>
                <a:ext cx="793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30" name="Line 1326"/>
              <p:cNvSpPr>
                <a:spLocks noChangeShapeType="1"/>
              </p:cNvSpPr>
              <p:nvPr userDrawn="1"/>
            </p:nvSpPr>
            <p:spPr bwMode="auto">
              <a:xfrm flipH="1">
                <a:off x="14616112" y="2366963"/>
                <a:ext cx="1428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31" name="Line 1327"/>
              <p:cNvSpPr>
                <a:spLocks noChangeShapeType="1"/>
              </p:cNvSpPr>
              <p:nvPr userDrawn="1"/>
            </p:nvSpPr>
            <p:spPr bwMode="auto">
              <a:xfrm flipH="1">
                <a:off x="14600237" y="2376488"/>
                <a:ext cx="158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32" name="Line 1328"/>
              <p:cNvSpPr>
                <a:spLocks noChangeShapeType="1"/>
              </p:cNvSpPr>
              <p:nvPr userDrawn="1"/>
            </p:nvSpPr>
            <p:spPr bwMode="auto">
              <a:xfrm flipH="1">
                <a:off x="14587537" y="2379663"/>
                <a:ext cx="1270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33" name="Line 1329"/>
              <p:cNvSpPr>
                <a:spLocks noChangeShapeType="1"/>
              </p:cNvSpPr>
              <p:nvPr userDrawn="1"/>
            </p:nvSpPr>
            <p:spPr bwMode="auto">
              <a:xfrm flipH="1" flipV="1">
                <a:off x="14579600" y="2379663"/>
                <a:ext cx="793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34" name="Line 1330"/>
              <p:cNvSpPr>
                <a:spLocks noChangeShapeType="1"/>
              </p:cNvSpPr>
              <p:nvPr userDrawn="1"/>
            </p:nvSpPr>
            <p:spPr bwMode="auto">
              <a:xfrm flipH="1" flipV="1">
                <a:off x="14576425" y="237966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35" name="Line 1331"/>
              <p:cNvSpPr>
                <a:spLocks noChangeShapeType="1"/>
              </p:cNvSpPr>
              <p:nvPr userDrawn="1"/>
            </p:nvSpPr>
            <p:spPr bwMode="auto">
              <a:xfrm flipH="1" flipV="1">
                <a:off x="14573250" y="237648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36" name="Line 1332"/>
              <p:cNvSpPr>
                <a:spLocks noChangeShapeType="1"/>
              </p:cNvSpPr>
              <p:nvPr userDrawn="1"/>
            </p:nvSpPr>
            <p:spPr bwMode="auto">
              <a:xfrm flipH="1" flipV="1">
                <a:off x="14570075" y="237331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37" name="Line 1333"/>
              <p:cNvSpPr>
                <a:spLocks noChangeShapeType="1"/>
              </p:cNvSpPr>
              <p:nvPr userDrawn="1"/>
            </p:nvSpPr>
            <p:spPr bwMode="auto">
              <a:xfrm flipH="1" flipV="1">
                <a:off x="14565312" y="237013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38" name="Line 1334"/>
              <p:cNvSpPr>
                <a:spLocks noChangeShapeType="1"/>
              </p:cNvSpPr>
              <p:nvPr userDrawn="1"/>
            </p:nvSpPr>
            <p:spPr bwMode="auto">
              <a:xfrm flipH="1" flipV="1">
                <a:off x="14555787" y="2359025"/>
                <a:ext cx="952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39" name="Line 1335"/>
              <p:cNvSpPr>
                <a:spLocks noChangeShapeType="1"/>
              </p:cNvSpPr>
              <p:nvPr userDrawn="1"/>
            </p:nvSpPr>
            <p:spPr bwMode="auto">
              <a:xfrm flipH="1" flipV="1">
                <a:off x="14547850" y="2344738"/>
                <a:ext cx="793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40" name="Line 1336"/>
              <p:cNvSpPr>
                <a:spLocks noChangeShapeType="1"/>
              </p:cNvSpPr>
              <p:nvPr userDrawn="1"/>
            </p:nvSpPr>
            <p:spPr bwMode="auto">
              <a:xfrm flipH="1" flipV="1">
                <a:off x="14543087" y="2328863"/>
                <a:ext cx="4762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41" name="Line 1337"/>
              <p:cNvSpPr>
                <a:spLocks noChangeShapeType="1"/>
              </p:cNvSpPr>
              <p:nvPr userDrawn="1"/>
            </p:nvSpPr>
            <p:spPr bwMode="auto">
              <a:xfrm flipH="1" flipV="1">
                <a:off x="14539912" y="2305050"/>
                <a:ext cx="3175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42" name="Line 1338"/>
              <p:cNvSpPr>
                <a:spLocks noChangeShapeType="1"/>
              </p:cNvSpPr>
              <p:nvPr userDrawn="1"/>
            </p:nvSpPr>
            <p:spPr bwMode="auto">
              <a:xfrm flipV="1">
                <a:off x="14539912" y="2279650"/>
                <a:ext cx="1587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43" name="Line 1339"/>
              <p:cNvSpPr>
                <a:spLocks noChangeShapeType="1"/>
              </p:cNvSpPr>
              <p:nvPr userDrawn="1"/>
            </p:nvSpPr>
            <p:spPr bwMode="auto">
              <a:xfrm flipV="1">
                <a:off x="14541500" y="2257425"/>
                <a:ext cx="3175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44" name="Line 1340"/>
              <p:cNvSpPr>
                <a:spLocks noChangeShapeType="1"/>
              </p:cNvSpPr>
              <p:nvPr userDrawn="1"/>
            </p:nvSpPr>
            <p:spPr bwMode="auto">
              <a:xfrm flipV="1">
                <a:off x="14544675" y="2238375"/>
                <a:ext cx="476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45" name="Line 1341"/>
              <p:cNvSpPr>
                <a:spLocks noChangeShapeType="1"/>
              </p:cNvSpPr>
              <p:nvPr userDrawn="1"/>
            </p:nvSpPr>
            <p:spPr bwMode="auto">
              <a:xfrm flipV="1">
                <a:off x="14549437" y="2224088"/>
                <a:ext cx="476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46" name="Line 1342"/>
              <p:cNvSpPr>
                <a:spLocks noChangeShapeType="1"/>
              </p:cNvSpPr>
              <p:nvPr userDrawn="1"/>
            </p:nvSpPr>
            <p:spPr bwMode="auto">
              <a:xfrm flipV="1">
                <a:off x="14554200" y="2216150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47" name="Line 1343"/>
              <p:cNvSpPr>
                <a:spLocks noChangeShapeType="1"/>
              </p:cNvSpPr>
              <p:nvPr userDrawn="1"/>
            </p:nvSpPr>
            <p:spPr bwMode="auto">
              <a:xfrm flipV="1">
                <a:off x="14557375" y="2212975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48" name="Line 1344"/>
              <p:cNvSpPr>
                <a:spLocks noChangeShapeType="1"/>
              </p:cNvSpPr>
              <p:nvPr userDrawn="1"/>
            </p:nvSpPr>
            <p:spPr bwMode="auto">
              <a:xfrm flipV="1">
                <a:off x="14558962" y="2209800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49" name="Line 1345"/>
              <p:cNvSpPr>
                <a:spLocks noChangeShapeType="1"/>
              </p:cNvSpPr>
              <p:nvPr userDrawn="1"/>
            </p:nvSpPr>
            <p:spPr bwMode="auto">
              <a:xfrm flipV="1">
                <a:off x="14560550" y="2206625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50" name="Line 1346"/>
              <p:cNvSpPr>
                <a:spLocks noChangeShapeType="1"/>
              </p:cNvSpPr>
              <p:nvPr userDrawn="1"/>
            </p:nvSpPr>
            <p:spPr bwMode="auto">
              <a:xfrm flipV="1">
                <a:off x="14560550" y="2201863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51" name="Line 1347"/>
              <p:cNvSpPr>
                <a:spLocks noChangeShapeType="1"/>
              </p:cNvSpPr>
              <p:nvPr userDrawn="1"/>
            </p:nvSpPr>
            <p:spPr bwMode="auto">
              <a:xfrm flipV="1">
                <a:off x="14562137" y="2195513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52" name="Line 1348"/>
              <p:cNvSpPr>
                <a:spLocks noChangeShapeType="1"/>
              </p:cNvSpPr>
              <p:nvPr userDrawn="1"/>
            </p:nvSpPr>
            <p:spPr bwMode="auto">
              <a:xfrm flipV="1">
                <a:off x="14565312" y="2189163"/>
                <a:ext cx="793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53" name="Line 1349"/>
              <p:cNvSpPr>
                <a:spLocks noChangeShapeType="1"/>
              </p:cNvSpPr>
              <p:nvPr userDrawn="1"/>
            </p:nvSpPr>
            <p:spPr bwMode="auto">
              <a:xfrm flipV="1">
                <a:off x="14573250" y="2181225"/>
                <a:ext cx="793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54" name="Line 1350"/>
              <p:cNvSpPr>
                <a:spLocks noChangeShapeType="1"/>
              </p:cNvSpPr>
              <p:nvPr userDrawn="1"/>
            </p:nvSpPr>
            <p:spPr bwMode="auto">
              <a:xfrm flipV="1">
                <a:off x="14581187" y="2178050"/>
                <a:ext cx="63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55" name="Line 1351"/>
              <p:cNvSpPr>
                <a:spLocks noChangeShapeType="1"/>
              </p:cNvSpPr>
              <p:nvPr userDrawn="1"/>
            </p:nvSpPr>
            <p:spPr bwMode="auto">
              <a:xfrm flipV="1">
                <a:off x="14587537" y="2176463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56" name="Freeform 1352"/>
              <p:cNvSpPr>
                <a:spLocks/>
              </p:cNvSpPr>
              <p:nvPr userDrawn="1"/>
            </p:nvSpPr>
            <p:spPr bwMode="auto">
              <a:xfrm>
                <a:off x="14697075" y="2197100"/>
                <a:ext cx="255587" cy="182563"/>
              </a:xfrm>
              <a:custGeom>
                <a:avLst/>
                <a:gdLst>
                  <a:gd name="T0" fmla="*/ 41 w 322"/>
                  <a:gd name="T1" fmla="*/ 1 h 228"/>
                  <a:gd name="T2" fmla="*/ 48 w 322"/>
                  <a:gd name="T3" fmla="*/ 8 h 228"/>
                  <a:gd name="T4" fmla="*/ 48 w 322"/>
                  <a:gd name="T5" fmla="*/ 29 h 228"/>
                  <a:gd name="T6" fmla="*/ 49 w 322"/>
                  <a:gd name="T7" fmla="*/ 41 h 228"/>
                  <a:gd name="T8" fmla="*/ 62 w 322"/>
                  <a:gd name="T9" fmla="*/ 32 h 228"/>
                  <a:gd name="T10" fmla="*/ 83 w 322"/>
                  <a:gd name="T11" fmla="*/ 8 h 228"/>
                  <a:gd name="T12" fmla="*/ 93 w 322"/>
                  <a:gd name="T13" fmla="*/ 1 h 228"/>
                  <a:gd name="T14" fmla="*/ 103 w 322"/>
                  <a:gd name="T15" fmla="*/ 2 h 228"/>
                  <a:gd name="T16" fmla="*/ 124 w 322"/>
                  <a:gd name="T17" fmla="*/ 22 h 228"/>
                  <a:gd name="T18" fmla="*/ 138 w 322"/>
                  <a:gd name="T19" fmla="*/ 77 h 228"/>
                  <a:gd name="T20" fmla="*/ 142 w 322"/>
                  <a:gd name="T21" fmla="*/ 145 h 228"/>
                  <a:gd name="T22" fmla="*/ 149 w 322"/>
                  <a:gd name="T23" fmla="*/ 155 h 228"/>
                  <a:gd name="T24" fmla="*/ 174 w 322"/>
                  <a:gd name="T25" fmla="*/ 104 h 228"/>
                  <a:gd name="T26" fmla="*/ 217 w 322"/>
                  <a:gd name="T27" fmla="*/ 29 h 228"/>
                  <a:gd name="T28" fmla="*/ 262 w 322"/>
                  <a:gd name="T29" fmla="*/ 12 h 228"/>
                  <a:gd name="T30" fmla="*/ 286 w 322"/>
                  <a:gd name="T31" fmla="*/ 52 h 228"/>
                  <a:gd name="T32" fmla="*/ 304 w 322"/>
                  <a:gd name="T33" fmla="*/ 152 h 228"/>
                  <a:gd name="T34" fmla="*/ 320 w 322"/>
                  <a:gd name="T35" fmla="*/ 204 h 228"/>
                  <a:gd name="T36" fmla="*/ 320 w 322"/>
                  <a:gd name="T37" fmla="*/ 224 h 228"/>
                  <a:gd name="T38" fmla="*/ 305 w 322"/>
                  <a:gd name="T39" fmla="*/ 225 h 228"/>
                  <a:gd name="T40" fmla="*/ 284 w 322"/>
                  <a:gd name="T41" fmla="*/ 200 h 228"/>
                  <a:gd name="T42" fmla="*/ 270 w 322"/>
                  <a:gd name="T43" fmla="*/ 139 h 228"/>
                  <a:gd name="T44" fmla="*/ 256 w 322"/>
                  <a:gd name="T45" fmla="*/ 73 h 228"/>
                  <a:gd name="T46" fmla="*/ 250 w 322"/>
                  <a:gd name="T47" fmla="*/ 49 h 228"/>
                  <a:gd name="T48" fmla="*/ 228 w 322"/>
                  <a:gd name="T49" fmla="*/ 69 h 228"/>
                  <a:gd name="T50" fmla="*/ 187 w 322"/>
                  <a:gd name="T51" fmla="*/ 152 h 228"/>
                  <a:gd name="T52" fmla="*/ 167 w 322"/>
                  <a:gd name="T53" fmla="*/ 194 h 228"/>
                  <a:gd name="T54" fmla="*/ 149 w 322"/>
                  <a:gd name="T55" fmla="*/ 218 h 228"/>
                  <a:gd name="T56" fmla="*/ 135 w 322"/>
                  <a:gd name="T57" fmla="*/ 225 h 228"/>
                  <a:gd name="T58" fmla="*/ 118 w 322"/>
                  <a:gd name="T59" fmla="*/ 217 h 228"/>
                  <a:gd name="T60" fmla="*/ 108 w 322"/>
                  <a:gd name="T61" fmla="*/ 167 h 228"/>
                  <a:gd name="T62" fmla="*/ 98 w 322"/>
                  <a:gd name="T63" fmla="*/ 56 h 228"/>
                  <a:gd name="T64" fmla="*/ 84 w 322"/>
                  <a:gd name="T65" fmla="*/ 67 h 228"/>
                  <a:gd name="T66" fmla="*/ 63 w 322"/>
                  <a:gd name="T67" fmla="*/ 119 h 228"/>
                  <a:gd name="T68" fmla="*/ 62 w 322"/>
                  <a:gd name="T69" fmla="*/ 138 h 228"/>
                  <a:gd name="T70" fmla="*/ 57 w 322"/>
                  <a:gd name="T71" fmla="*/ 146 h 228"/>
                  <a:gd name="T72" fmla="*/ 49 w 322"/>
                  <a:gd name="T73" fmla="*/ 169 h 228"/>
                  <a:gd name="T74" fmla="*/ 29 w 322"/>
                  <a:gd name="T75" fmla="*/ 224 h 228"/>
                  <a:gd name="T76" fmla="*/ 15 w 322"/>
                  <a:gd name="T77" fmla="*/ 228 h 228"/>
                  <a:gd name="T78" fmla="*/ 2 w 322"/>
                  <a:gd name="T79" fmla="*/ 220 h 228"/>
                  <a:gd name="T80" fmla="*/ 1 w 322"/>
                  <a:gd name="T81" fmla="*/ 177 h 228"/>
                  <a:gd name="T82" fmla="*/ 8 w 322"/>
                  <a:gd name="T83" fmla="*/ 64 h 228"/>
                  <a:gd name="T84" fmla="*/ 15 w 322"/>
                  <a:gd name="T85" fmla="*/ 17 h 228"/>
                  <a:gd name="T86" fmla="*/ 22 w 322"/>
                  <a:gd name="T87" fmla="*/ 2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22" h="228">
                    <a:moveTo>
                      <a:pt x="31" y="0"/>
                    </a:moveTo>
                    <a:lnTo>
                      <a:pt x="35" y="0"/>
                    </a:lnTo>
                    <a:lnTo>
                      <a:pt x="41" y="1"/>
                    </a:lnTo>
                    <a:lnTo>
                      <a:pt x="45" y="2"/>
                    </a:lnTo>
                    <a:lnTo>
                      <a:pt x="46" y="5"/>
                    </a:lnTo>
                    <a:lnTo>
                      <a:pt x="48" y="8"/>
                    </a:lnTo>
                    <a:lnTo>
                      <a:pt x="48" y="14"/>
                    </a:lnTo>
                    <a:lnTo>
                      <a:pt x="48" y="22"/>
                    </a:lnTo>
                    <a:lnTo>
                      <a:pt x="48" y="29"/>
                    </a:lnTo>
                    <a:lnTo>
                      <a:pt x="48" y="35"/>
                    </a:lnTo>
                    <a:lnTo>
                      <a:pt x="48" y="38"/>
                    </a:lnTo>
                    <a:lnTo>
                      <a:pt x="49" y="41"/>
                    </a:lnTo>
                    <a:lnTo>
                      <a:pt x="49" y="42"/>
                    </a:lnTo>
                    <a:lnTo>
                      <a:pt x="53" y="39"/>
                    </a:lnTo>
                    <a:lnTo>
                      <a:pt x="62" y="32"/>
                    </a:lnTo>
                    <a:lnTo>
                      <a:pt x="73" y="19"/>
                    </a:lnTo>
                    <a:lnTo>
                      <a:pt x="79" y="14"/>
                    </a:lnTo>
                    <a:lnTo>
                      <a:pt x="83" y="8"/>
                    </a:lnTo>
                    <a:lnTo>
                      <a:pt x="87" y="5"/>
                    </a:lnTo>
                    <a:lnTo>
                      <a:pt x="90" y="2"/>
                    </a:lnTo>
                    <a:lnTo>
                      <a:pt x="93" y="1"/>
                    </a:lnTo>
                    <a:lnTo>
                      <a:pt x="95" y="1"/>
                    </a:lnTo>
                    <a:lnTo>
                      <a:pt x="98" y="1"/>
                    </a:lnTo>
                    <a:lnTo>
                      <a:pt x="103" y="2"/>
                    </a:lnTo>
                    <a:lnTo>
                      <a:pt x="108" y="5"/>
                    </a:lnTo>
                    <a:lnTo>
                      <a:pt x="117" y="12"/>
                    </a:lnTo>
                    <a:lnTo>
                      <a:pt x="124" y="22"/>
                    </a:lnTo>
                    <a:lnTo>
                      <a:pt x="129" y="36"/>
                    </a:lnTo>
                    <a:lnTo>
                      <a:pt x="135" y="55"/>
                    </a:lnTo>
                    <a:lnTo>
                      <a:pt x="138" y="77"/>
                    </a:lnTo>
                    <a:lnTo>
                      <a:pt x="139" y="105"/>
                    </a:lnTo>
                    <a:lnTo>
                      <a:pt x="141" y="128"/>
                    </a:lnTo>
                    <a:lnTo>
                      <a:pt x="142" y="145"/>
                    </a:lnTo>
                    <a:lnTo>
                      <a:pt x="143" y="155"/>
                    </a:lnTo>
                    <a:lnTo>
                      <a:pt x="146" y="158"/>
                    </a:lnTo>
                    <a:lnTo>
                      <a:pt x="149" y="155"/>
                    </a:lnTo>
                    <a:lnTo>
                      <a:pt x="155" y="145"/>
                    </a:lnTo>
                    <a:lnTo>
                      <a:pt x="163" y="128"/>
                    </a:lnTo>
                    <a:lnTo>
                      <a:pt x="174" y="104"/>
                    </a:lnTo>
                    <a:lnTo>
                      <a:pt x="191" y="72"/>
                    </a:lnTo>
                    <a:lnTo>
                      <a:pt x="205" y="48"/>
                    </a:lnTo>
                    <a:lnTo>
                      <a:pt x="217" y="29"/>
                    </a:lnTo>
                    <a:lnTo>
                      <a:pt x="232" y="15"/>
                    </a:lnTo>
                    <a:lnTo>
                      <a:pt x="249" y="10"/>
                    </a:lnTo>
                    <a:lnTo>
                      <a:pt x="262" y="12"/>
                    </a:lnTo>
                    <a:lnTo>
                      <a:pt x="272" y="19"/>
                    </a:lnTo>
                    <a:lnTo>
                      <a:pt x="280" y="32"/>
                    </a:lnTo>
                    <a:lnTo>
                      <a:pt x="286" y="52"/>
                    </a:lnTo>
                    <a:lnTo>
                      <a:pt x="293" y="83"/>
                    </a:lnTo>
                    <a:lnTo>
                      <a:pt x="298" y="125"/>
                    </a:lnTo>
                    <a:lnTo>
                      <a:pt x="304" y="152"/>
                    </a:lnTo>
                    <a:lnTo>
                      <a:pt x="308" y="174"/>
                    </a:lnTo>
                    <a:lnTo>
                      <a:pt x="315" y="193"/>
                    </a:lnTo>
                    <a:lnTo>
                      <a:pt x="320" y="204"/>
                    </a:lnTo>
                    <a:lnTo>
                      <a:pt x="322" y="214"/>
                    </a:lnTo>
                    <a:lnTo>
                      <a:pt x="321" y="220"/>
                    </a:lnTo>
                    <a:lnTo>
                      <a:pt x="320" y="224"/>
                    </a:lnTo>
                    <a:lnTo>
                      <a:pt x="317" y="225"/>
                    </a:lnTo>
                    <a:lnTo>
                      <a:pt x="312" y="225"/>
                    </a:lnTo>
                    <a:lnTo>
                      <a:pt x="305" y="225"/>
                    </a:lnTo>
                    <a:lnTo>
                      <a:pt x="300" y="221"/>
                    </a:lnTo>
                    <a:lnTo>
                      <a:pt x="293" y="213"/>
                    </a:lnTo>
                    <a:lnTo>
                      <a:pt x="284" y="200"/>
                    </a:lnTo>
                    <a:lnTo>
                      <a:pt x="276" y="177"/>
                    </a:lnTo>
                    <a:lnTo>
                      <a:pt x="273" y="158"/>
                    </a:lnTo>
                    <a:lnTo>
                      <a:pt x="270" y="139"/>
                    </a:lnTo>
                    <a:lnTo>
                      <a:pt x="265" y="115"/>
                    </a:lnTo>
                    <a:lnTo>
                      <a:pt x="259" y="91"/>
                    </a:lnTo>
                    <a:lnTo>
                      <a:pt x="256" y="73"/>
                    </a:lnTo>
                    <a:lnTo>
                      <a:pt x="256" y="62"/>
                    </a:lnTo>
                    <a:lnTo>
                      <a:pt x="255" y="53"/>
                    </a:lnTo>
                    <a:lnTo>
                      <a:pt x="250" y="49"/>
                    </a:lnTo>
                    <a:lnTo>
                      <a:pt x="245" y="49"/>
                    </a:lnTo>
                    <a:lnTo>
                      <a:pt x="238" y="56"/>
                    </a:lnTo>
                    <a:lnTo>
                      <a:pt x="228" y="69"/>
                    </a:lnTo>
                    <a:lnTo>
                      <a:pt x="217" y="88"/>
                    </a:lnTo>
                    <a:lnTo>
                      <a:pt x="203" y="117"/>
                    </a:lnTo>
                    <a:lnTo>
                      <a:pt x="187" y="152"/>
                    </a:lnTo>
                    <a:lnTo>
                      <a:pt x="179" y="170"/>
                    </a:lnTo>
                    <a:lnTo>
                      <a:pt x="173" y="184"/>
                    </a:lnTo>
                    <a:lnTo>
                      <a:pt x="167" y="194"/>
                    </a:lnTo>
                    <a:lnTo>
                      <a:pt x="162" y="203"/>
                    </a:lnTo>
                    <a:lnTo>
                      <a:pt x="153" y="213"/>
                    </a:lnTo>
                    <a:lnTo>
                      <a:pt x="149" y="218"/>
                    </a:lnTo>
                    <a:lnTo>
                      <a:pt x="143" y="222"/>
                    </a:lnTo>
                    <a:lnTo>
                      <a:pt x="139" y="224"/>
                    </a:lnTo>
                    <a:lnTo>
                      <a:pt x="135" y="225"/>
                    </a:lnTo>
                    <a:lnTo>
                      <a:pt x="129" y="224"/>
                    </a:lnTo>
                    <a:lnTo>
                      <a:pt x="124" y="221"/>
                    </a:lnTo>
                    <a:lnTo>
                      <a:pt x="118" y="217"/>
                    </a:lnTo>
                    <a:lnTo>
                      <a:pt x="114" y="207"/>
                    </a:lnTo>
                    <a:lnTo>
                      <a:pt x="111" y="191"/>
                    </a:lnTo>
                    <a:lnTo>
                      <a:pt x="108" y="167"/>
                    </a:lnTo>
                    <a:lnTo>
                      <a:pt x="104" y="88"/>
                    </a:lnTo>
                    <a:lnTo>
                      <a:pt x="101" y="69"/>
                    </a:lnTo>
                    <a:lnTo>
                      <a:pt x="98" y="56"/>
                    </a:lnTo>
                    <a:lnTo>
                      <a:pt x="95" y="52"/>
                    </a:lnTo>
                    <a:lnTo>
                      <a:pt x="91" y="56"/>
                    </a:lnTo>
                    <a:lnTo>
                      <a:pt x="84" y="67"/>
                    </a:lnTo>
                    <a:lnTo>
                      <a:pt x="76" y="86"/>
                    </a:lnTo>
                    <a:lnTo>
                      <a:pt x="69" y="105"/>
                    </a:lnTo>
                    <a:lnTo>
                      <a:pt x="63" y="119"/>
                    </a:lnTo>
                    <a:lnTo>
                      <a:pt x="62" y="129"/>
                    </a:lnTo>
                    <a:lnTo>
                      <a:pt x="62" y="134"/>
                    </a:lnTo>
                    <a:lnTo>
                      <a:pt x="62" y="138"/>
                    </a:lnTo>
                    <a:lnTo>
                      <a:pt x="60" y="141"/>
                    </a:lnTo>
                    <a:lnTo>
                      <a:pt x="59" y="143"/>
                    </a:lnTo>
                    <a:lnTo>
                      <a:pt x="57" y="146"/>
                    </a:lnTo>
                    <a:lnTo>
                      <a:pt x="55" y="150"/>
                    </a:lnTo>
                    <a:lnTo>
                      <a:pt x="53" y="156"/>
                    </a:lnTo>
                    <a:lnTo>
                      <a:pt x="49" y="169"/>
                    </a:lnTo>
                    <a:lnTo>
                      <a:pt x="45" y="184"/>
                    </a:lnTo>
                    <a:lnTo>
                      <a:pt x="36" y="208"/>
                    </a:lnTo>
                    <a:lnTo>
                      <a:pt x="29" y="224"/>
                    </a:lnTo>
                    <a:lnTo>
                      <a:pt x="25" y="227"/>
                    </a:lnTo>
                    <a:lnTo>
                      <a:pt x="21" y="228"/>
                    </a:lnTo>
                    <a:lnTo>
                      <a:pt x="15" y="228"/>
                    </a:lnTo>
                    <a:lnTo>
                      <a:pt x="10" y="225"/>
                    </a:lnTo>
                    <a:lnTo>
                      <a:pt x="5" y="222"/>
                    </a:lnTo>
                    <a:lnTo>
                      <a:pt x="2" y="220"/>
                    </a:lnTo>
                    <a:lnTo>
                      <a:pt x="0" y="215"/>
                    </a:lnTo>
                    <a:lnTo>
                      <a:pt x="0" y="211"/>
                    </a:lnTo>
                    <a:lnTo>
                      <a:pt x="1" y="177"/>
                    </a:lnTo>
                    <a:lnTo>
                      <a:pt x="2" y="139"/>
                    </a:lnTo>
                    <a:lnTo>
                      <a:pt x="5" y="96"/>
                    </a:lnTo>
                    <a:lnTo>
                      <a:pt x="8" y="64"/>
                    </a:lnTo>
                    <a:lnTo>
                      <a:pt x="11" y="42"/>
                    </a:lnTo>
                    <a:lnTo>
                      <a:pt x="14" y="25"/>
                    </a:lnTo>
                    <a:lnTo>
                      <a:pt x="15" y="17"/>
                    </a:lnTo>
                    <a:lnTo>
                      <a:pt x="18" y="10"/>
                    </a:lnTo>
                    <a:lnTo>
                      <a:pt x="19" y="5"/>
                    </a:lnTo>
                    <a:lnTo>
                      <a:pt x="22" y="2"/>
                    </a:lnTo>
                    <a:lnTo>
                      <a:pt x="26" y="1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57" name="Line 1353"/>
              <p:cNvSpPr>
                <a:spLocks noChangeShapeType="1"/>
              </p:cNvSpPr>
              <p:nvPr userDrawn="1"/>
            </p:nvSpPr>
            <p:spPr bwMode="auto">
              <a:xfrm flipH="1" flipV="1">
                <a:off x="14911387" y="2308225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58" name="Line 1354"/>
              <p:cNvSpPr>
                <a:spLocks noChangeShapeType="1"/>
              </p:cNvSpPr>
              <p:nvPr userDrawn="1"/>
            </p:nvSpPr>
            <p:spPr bwMode="auto">
              <a:xfrm flipH="1" flipV="1">
                <a:off x="14906625" y="2289175"/>
                <a:ext cx="476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59" name="Line 1355"/>
              <p:cNvSpPr>
                <a:spLocks noChangeShapeType="1"/>
              </p:cNvSpPr>
              <p:nvPr userDrawn="1"/>
            </p:nvSpPr>
            <p:spPr bwMode="auto">
              <a:xfrm flipH="1" flipV="1">
                <a:off x="14901862" y="2270125"/>
                <a:ext cx="476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60" name="Line 1356"/>
              <p:cNvSpPr>
                <a:spLocks noChangeShapeType="1"/>
              </p:cNvSpPr>
              <p:nvPr userDrawn="1"/>
            </p:nvSpPr>
            <p:spPr bwMode="auto">
              <a:xfrm flipH="1" flipV="1">
                <a:off x="14900275" y="2255838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61" name="Line 1357"/>
              <p:cNvSpPr>
                <a:spLocks noChangeShapeType="1"/>
              </p:cNvSpPr>
              <p:nvPr userDrawn="1"/>
            </p:nvSpPr>
            <p:spPr bwMode="auto">
              <a:xfrm flipV="1">
                <a:off x="14900275" y="2246313"/>
                <a:ext cx="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62" name="Line 1358"/>
              <p:cNvSpPr>
                <a:spLocks noChangeShapeType="1"/>
              </p:cNvSpPr>
              <p:nvPr userDrawn="1"/>
            </p:nvSpPr>
            <p:spPr bwMode="auto">
              <a:xfrm flipH="1" flipV="1">
                <a:off x="14898687" y="2239963"/>
                <a:ext cx="158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63" name="Line 1359"/>
              <p:cNvSpPr>
                <a:spLocks noChangeShapeType="1"/>
              </p:cNvSpPr>
              <p:nvPr userDrawn="1"/>
            </p:nvSpPr>
            <p:spPr bwMode="auto">
              <a:xfrm flipH="1" flipV="1">
                <a:off x="14895512" y="223678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64" name="Line 1360"/>
              <p:cNvSpPr>
                <a:spLocks noChangeShapeType="1"/>
              </p:cNvSpPr>
              <p:nvPr userDrawn="1"/>
            </p:nvSpPr>
            <p:spPr bwMode="auto">
              <a:xfrm flipH="1">
                <a:off x="14890750" y="2236788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65" name="Line 1361"/>
              <p:cNvSpPr>
                <a:spLocks noChangeShapeType="1"/>
              </p:cNvSpPr>
              <p:nvPr userDrawn="1"/>
            </p:nvSpPr>
            <p:spPr bwMode="auto">
              <a:xfrm flipH="1">
                <a:off x="14885987" y="2236788"/>
                <a:ext cx="4762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66" name="Line 1362"/>
              <p:cNvSpPr>
                <a:spLocks noChangeShapeType="1"/>
              </p:cNvSpPr>
              <p:nvPr userDrawn="1"/>
            </p:nvSpPr>
            <p:spPr bwMode="auto">
              <a:xfrm flipH="1">
                <a:off x="14878050" y="2243138"/>
                <a:ext cx="793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67" name="Line 1363"/>
              <p:cNvSpPr>
                <a:spLocks noChangeShapeType="1"/>
              </p:cNvSpPr>
              <p:nvPr userDrawn="1"/>
            </p:nvSpPr>
            <p:spPr bwMode="auto">
              <a:xfrm flipH="1">
                <a:off x="14868525" y="2252663"/>
                <a:ext cx="9525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68" name="Line 1364"/>
              <p:cNvSpPr>
                <a:spLocks noChangeShapeType="1"/>
              </p:cNvSpPr>
              <p:nvPr userDrawn="1"/>
            </p:nvSpPr>
            <p:spPr bwMode="auto">
              <a:xfrm flipH="1">
                <a:off x="14857412" y="2268538"/>
                <a:ext cx="11112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69" name="Line 1365"/>
              <p:cNvSpPr>
                <a:spLocks noChangeShapeType="1"/>
              </p:cNvSpPr>
              <p:nvPr userDrawn="1"/>
            </p:nvSpPr>
            <p:spPr bwMode="auto">
              <a:xfrm flipH="1">
                <a:off x="14846300" y="2290763"/>
                <a:ext cx="11112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70" name="Line 1366"/>
              <p:cNvSpPr>
                <a:spLocks noChangeShapeType="1"/>
              </p:cNvSpPr>
              <p:nvPr userDrawn="1"/>
            </p:nvSpPr>
            <p:spPr bwMode="auto">
              <a:xfrm flipH="1">
                <a:off x="14838362" y="2317750"/>
                <a:ext cx="7937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71" name="Line 1367"/>
              <p:cNvSpPr>
                <a:spLocks noChangeShapeType="1"/>
              </p:cNvSpPr>
              <p:nvPr userDrawn="1"/>
            </p:nvSpPr>
            <p:spPr bwMode="auto">
              <a:xfrm flipH="1">
                <a:off x="14833600" y="2333625"/>
                <a:ext cx="4762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72" name="Line 1368"/>
              <p:cNvSpPr>
                <a:spLocks noChangeShapeType="1"/>
              </p:cNvSpPr>
              <p:nvPr userDrawn="1"/>
            </p:nvSpPr>
            <p:spPr bwMode="auto">
              <a:xfrm flipH="1">
                <a:off x="14830425" y="2344738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73" name="Line 1369"/>
              <p:cNvSpPr>
                <a:spLocks noChangeShapeType="1"/>
              </p:cNvSpPr>
              <p:nvPr userDrawn="1"/>
            </p:nvSpPr>
            <p:spPr bwMode="auto">
              <a:xfrm flipH="1">
                <a:off x="14825662" y="2352675"/>
                <a:ext cx="4762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74" name="Line 1370"/>
              <p:cNvSpPr>
                <a:spLocks noChangeShapeType="1"/>
              </p:cNvSpPr>
              <p:nvPr userDrawn="1"/>
            </p:nvSpPr>
            <p:spPr bwMode="auto">
              <a:xfrm flipH="1">
                <a:off x="14819312" y="2359025"/>
                <a:ext cx="635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75" name="Line 1371"/>
              <p:cNvSpPr>
                <a:spLocks noChangeShapeType="1"/>
              </p:cNvSpPr>
              <p:nvPr userDrawn="1"/>
            </p:nvSpPr>
            <p:spPr bwMode="auto">
              <a:xfrm flipH="1">
                <a:off x="14816137" y="2366963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76" name="Line 1372"/>
              <p:cNvSpPr>
                <a:spLocks noChangeShapeType="1"/>
              </p:cNvSpPr>
              <p:nvPr userDrawn="1"/>
            </p:nvSpPr>
            <p:spPr bwMode="auto">
              <a:xfrm flipH="1">
                <a:off x="14811375" y="2371725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77" name="Line 1373"/>
              <p:cNvSpPr>
                <a:spLocks noChangeShapeType="1"/>
              </p:cNvSpPr>
              <p:nvPr userDrawn="1"/>
            </p:nvSpPr>
            <p:spPr bwMode="auto">
              <a:xfrm flipH="1">
                <a:off x="14808200" y="2374900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78" name="Line 1374"/>
              <p:cNvSpPr>
                <a:spLocks noChangeShapeType="1"/>
              </p:cNvSpPr>
              <p:nvPr userDrawn="1"/>
            </p:nvSpPr>
            <p:spPr bwMode="auto">
              <a:xfrm flipH="1">
                <a:off x="14803437" y="2374900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79" name="Line 1375"/>
              <p:cNvSpPr>
                <a:spLocks noChangeShapeType="1"/>
              </p:cNvSpPr>
              <p:nvPr userDrawn="1"/>
            </p:nvSpPr>
            <p:spPr bwMode="auto">
              <a:xfrm flipH="1" flipV="1">
                <a:off x="14800262" y="237490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0" name="Line 1376"/>
              <p:cNvSpPr>
                <a:spLocks noChangeShapeType="1"/>
              </p:cNvSpPr>
              <p:nvPr userDrawn="1"/>
            </p:nvSpPr>
            <p:spPr bwMode="auto">
              <a:xfrm flipH="1" flipV="1">
                <a:off x="14795500" y="2373313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1" name="Line 1377"/>
              <p:cNvSpPr>
                <a:spLocks noChangeShapeType="1"/>
              </p:cNvSpPr>
              <p:nvPr userDrawn="1"/>
            </p:nvSpPr>
            <p:spPr bwMode="auto">
              <a:xfrm flipH="1" flipV="1">
                <a:off x="14790737" y="237013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2" name="Line 1378"/>
              <p:cNvSpPr>
                <a:spLocks noChangeShapeType="1"/>
              </p:cNvSpPr>
              <p:nvPr userDrawn="1"/>
            </p:nvSpPr>
            <p:spPr bwMode="auto">
              <a:xfrm flipH="1" flipV="1">
                <a:off x="14787562" y="2362200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3" name="Line 1379"/>
              <p:cNvSpPr>
                <a:spLocks noChangeShapeType="1"/>
              </p:cNvSpPr>
              <p:nvPr userDrawn="1"/>
            </p:nvSpPr>
            <p:spPr bwMode="auto">
              <a:xfrm flipH="1" flipV="1">
                <a:off x="14784387" y="2349500"/>
                <a:ext cx="317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4" name="Line 1380"/>
              <p:cNvSpPr>
                <a:spLocks noChangeShapeType="1"/>
              </p:cNvSpPr>
              <p:nvPr userDrawn="1"/>
            </p:nvSpPr>
            <p:spPr bwMode="auto">
              <a:xfrm flipH="1" flipV="1">
                <a:off x="14782800" y="2330450"/>
                <a:ext cx="1587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5" name="Line 1381"/>
              <p:cNvSpPr>
                <a:spLocks noChangeShapeType="1"/>
              </p:cNvSpPr>
              <p:nvPr userDrawn="1"/>
            </p:nvSpPr>
            <p:spPr bwMode="auto">
              <a:xfrm flipH="1" flipV="1">
                <a:off x="14779625" y="2268538"/>
                <a:ext cx="3175" cy="619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6" name="Line 1382"/>
              <p:cNvSpPr>
                <a:spLocks noChangeShapeType="1"/>
              </p:cNvSpPr>
              <p:nvPr userDrawn="1"/>
            </p:nvSpPr>
            <p:spPr bwMode="auto">
              <a:xfrm flipH="1" flipV="1">
                <a:off x="14778037" y="2252663"/>
                <a:ext cx="1587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7" name="Line 1383"/>
              <p:cNvSpPr>
                <a:spLocks noChangeShapeType="1"/>
              </p:cNvSpPr>
              <p:nvPr userDrawn="1"/>
            </p:nvSpPr>
            <p:spPr bwMode="auto">
              <a:xfrm flipH="1" flipV="1">
                <a:off x="14774862" y="2243138"/>
                <a:ext cx="317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8" name="Line 1384"/>
              <p:cNvSpPr>
                <a:spLocks noChangeShapeType="1"/>
              </p:cNvSpPr>
              <p:nvPr userDrawn="1"/>
            </p:nvSpPr>
            <p:spPr bwMode="auto">
              <a:xfrm flipH="1" flipV="1">
                <a:off x="14773275" y="2238375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9" name="Line 1385"/>
              <p:cNvSpPr>
                <a:spLocks noChangeShapeType="1"/>
              </p:cNvSpPr>
              <p:nvPr userDrawn="1"/>
            </p:nvSpPr>
            <p:spPr bwMode="auto">
              <a:xfrm flipH="1">
                <a:off x="14770100" y="2238375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0" name="Line 1386"/>
              <p:cNvSpPr>
                <a:spLocks noChangeShapeType="1"/>
              </p:cNvSpPr>
              <p:nvPr userDrawn="1"/>
            </p:nvSpPr>
            <p:spPr bwMode="auto">
              <a:xfrm flipH="1">
                <a:off x="14763750" y="2243138"/>
                <a:ext cx="635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1" name="Line 1387"/>
              <p:cNvSpPr>
                <a:spLocks noChangeShapeType="1"/>
              </p:cNvSpPr>
              <p:nvPr userDrawn="1"/>
            </p:nvSpPr>
            <p:spPr bwMode="auto">
              <a:xfrm flipH="1">
                <a:off x="14757400" y="2251075"/>
                <a:ext cx="635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2" name="Line 1388"/>
              <p:cNvSpPr>
                <a:spLocks noChangeShapeType="1"/>
              </p:cNvSpPr>
              <p:nvPr userDrawn="1"/>
            </p:nvSpPr>
            <p:spPr bwMode="auto">
              <a:xfrm flipH="1">
                <a:off x="14751050" y="2265363"/>
                <a:ext cx="635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3" name="Line 1389"/>
              <p:cNvSpPr>
                <a:spLocks noChangeShapeType="1"/>
              </p:cNvSpPr>
              <p:nvPr userDrawn="1"/>
            </p:nvSpPr>
            <p:spPr bwMode="auto">
              <a:xfrm flipH="1">
                <a:off x="14747875" y="2281238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4" name="Line 1390"/>
              <p:cNvSpPr>
                <a:spLocks noChangeShapeType="1"/>
              </p:cNvSpPr>
              <p:nvPr userDrawn="1"/>
            </p:nvSpPr>
            <p:spPr bwMode="auto">
              <a:xfrm flipH="1">
                <a:off x="14746287" y="2292350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5" name="Line 1391"/>
              <p:cNvSpPr>
                <a:spLocks noChangeShapeType="1"/>
              </p:cNvSpPr>
              <p:nvPr userDrawn="1"/>
            </p:nvSpPr>
            <p:spPr bwMode="auto">
              <a:xfrm>
                <a:off x="14746287" y="230028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6" name="Line 1392"/>
              <p:cNvSpPr>
                <a:spLocks noChangeShapeType="1"/>
              </p:cNvSpPr>
              <p:nvPr userDrawn="1"/>
            </p:nvSpPr>
            <p:spPr bwMode="auto">
              <a:xfrm>
                <a:off x="14746287" y="2303463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7" name="Line 1393"/>
              <p:cNvSpPr>
                <a:spLocks noChangeShapeType="1"/>
              </p:cNvSpPr>
              <p:nvPr userDrawn="1"/>
            </p:nvSpPr>
            <p:spPr bwMode="auto">
              <a:xfrm flipH="1">
                <a:off x="14744700" y="2306638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8" name="Line 1394"/>
              <p:cNvSpPr>
                <a:spLocks noChangeShapeType="1"/>
              </p:cNvSpPr>
              <p:nvPr userDrawn="1"/>
            </p:nvSpPr>
            <p:spPr bwMode="auto">
              <a:xfrm flipH="1">
                <a:off x="14743112" y="2309813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9" name="Line 1395"/>
              <p:cNvSpPr>
                <a:spLocks noChangeShapeType="1"/>
              </p:cNvSpPr>
              <p:nvPr userDrawn="1"/>
            </p:nvSpPr>
            <p:spPr bwMode="auto">
              <a:xfrm flipH="1">
                <a:off x="14743112" y="2311400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0" name="Line 1396"/>
              <p:cNvSpPr>
                <a:spLocks noChangeShapeType="1"/>
              </p:cNvSpPr>
              <p:nvPr userDrawn="1"/>
            </p:nvSpPr>
            <p:spPr bwMode="auto">
              <a:xfrm flipH="1">
                <a:off x="14739937" y="2314575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1" name="Line 1397"/>
              <p:cNvSpPr>
                <a:spLocks noChangeShapeType="1"/>
              </p:cNvSpPr>
              <p:nvPr userDrawn="1"/>
            </p:nvSpPr>
            <p:spPr bwMode="auto">
              <a:xfrm flipH="1">
                <a:off x="14739937" y="2317750"/>
                <a:ext cx="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2" name="Line 1398"/>
              <p:cNvSpPr>
                <a:spLocks noChangeShapeType="1"/>
              </p:cNvSpPr>
              <p:nvPr userDrawn="1"/>
            </p:nvSpPr>
            <p:spPr bwMode="auto">
              <a:xfrm flipH="1">
                <a:off x="14735175" y="2322513"/>
                <a:ext cx="4762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3" name="Line 1399"/>
              <p:cNvSpPr>
                <a:spLocks noChangeShapeType="1"/>
              </p:cNvSpPr>
              <p:nvPr userDrawn="1"/>
            </p:nvSpPr>
            <p:spPr bwMode="auto">
              <a:xfrm flipH="1">
                <a:off x="14732000" y="2332038"/>
                <a:ext cx="317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4" name="Line 1400"/>
              <p:cNvSpPr>
                <a:spLocks noChangeShapeType="1"/>
              </p:cNvSpPr>
              <p:nvPr userDrawn="1"/>
            </p:nvSpPr>
            <p:spPr bwMode="auto">
              <a:xfrm flipH="1">
                <a:off x="14725650" y="2344738"/>
                <a:ext cx="635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5" name="Line 1401"/>
              <p:cNvSpPr>
                <a:spLocks noChangeShapeType="1"/>
              </p:cNvSpPr>
              <p:nvPr userDrawn="1"/>
            </p:nvSpPr>
            <p:spPr bwMode="auto">
              <a:xfrm flipH="1">
                <a:off x="14720887" y="2363788"/>
                <a:ext cx="4762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6" name="Line 1402"/>
              <p:cNvSpPr>
                <a:spLocks noChangeShapeType="1"/>
              </p:cNvSpPr>
              <p:nvPr userDrawn="1"/>
            </p:nvSpPr>
            <p:spPr bwMode="auto">
              <a:xfrm flipH="1">
                <a:off x="14717712" y="2374900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7" name="Line 1403"/>
              <p:cNvSpPr>
                <a:spLocks noChangeShapeType="1"/>
              </p:cNvSpPr>
              <p:nvPr userDrawn="1"/>
            </p:nvSpPr>
            <p:spPr bwMode="auto">
              <a:xfrm flipH="1">
                <a:off x="14712950" y="2378075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8" name="Line 1404"/>
              <p:cNvSpPr>
                <a:spLocks noChangeShapeType="1"/>
              </p:cNvSpPr>
              <p:nvPr userDrawn="1"/>
            </p:nvSpPr>
            <p:spPr bwMode="auto">
              <a:xfrm flipH="1">
                <a:off x="14709775" y="237966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9" name="Line 1405"/>
              <p:cNvSpPr>
                <a:spLocks noChangeShapeType="1"/>
              </p:cNvSpPr>
              <p:nvPr userDrawn="1"/>
            </p:nvSpPr>
            <p:spPr bwMode="auto">
              <a:xfrm flipH="1" flipV="1">
                <a:off x="14705012" y="237648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10" name="Line 1406"/>
              <p:cNvSpPr>
                <a:spLocks noChangeShapeType="1"/>
              </p:cNvSpPr>
              <p:nvPr userDrawn="1"/>
            </p:nvSpPr>
            <p:spPr bwMode="auto">
              <a:xfrm flipH="1" flipV="1">
                <a:off x="14701837" y="237490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11" name="Line 1407"/>
              <p:cNvSpPr>
                <a:spLocks noChangeShapeType="1"/>
              </p:cNvSpPr>
              <p:nvPr userDrawn="1"/>
            </p:nvSpPr>
            <p:spPr bwMode="auto">
              <a:xfrm flipH="1" flipV="1">
                <a:off x="14698662" y="2371725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12" name="Line 1408"/>
              <p:cNvSpPr>
                <a:spLocks noChangeShapeType="1"/>
              </p:cNvSpPr>
              <p:nvPr userDrawn="1"/>
            </p:nvSpPr>
            <p:spPr bwMode="auto">
              <a:xfrm flipH="1" flipV="1">
                <a:off x="14697075" y="2368550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13" name="Line 1409"/>
              <p:cNvSpPr>
                <a:spLocks noChangeShapeType="1"/>
              </p:cNvSpPr>
              <p:nvPr userDrawn="1"/>
            </p:nvSpPr>
            <p:spPr bwMode="auto">
              <a:xfrm flipV="1">
                <a:off x="14697075" y="2365375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14" name="Line 1410"/>
              <p:cNvSpPr>
                <a:spLocks noChangeShapeType="1"/>
              </p:cNvSpPr>
              <p:nvPr userDrawn="1"/>
            </p:nvSpPr>
            <p:spPr bwMode="auto">
              <a:xfrm flipV="1">
                <a:off x="14697075" y="2338388"/>
                <a:ext cx="1587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15" name="Line 1412"/>
              <p:cNvSpPr>
                <a:spLocks noChangeShapeType="1"/>
              </p:cNvSpPr>
              <p:nvPr userDrawn="1"/>
            </p:nvSpPr>
            <p:spPr bwMode="auto">
              <a:xfrm flipV="1">
                <a:off x="14698663" y="2308226"/>
                <a:ext cx="0" cy="301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16" name="Line 1413"/>
              <p:cNvSpPr>
                <a:spLocks noChangeShapeType="1"/>
              </p:cNvSpPr>
              <p:nvPr userDrawn="1"/>
            </p:nvSpPr>
            <p:spPr bwMode="auto">
              <a:xfrm flipV="1">
                <a:off x="14698663" y="2273301"/>
                <a:ext cx="3175" cy="349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17" name="Line 1414"/>
              <p:cNvSpPr>
                <a:spLocks noChangeShapeType="1"/>
              </p:cNvSpPr>
              <p:nvPr userDrawn="1"/>
            </p:nvSpPr>
            <p:spPr bwMode="auto">
              <a:xfrm flipV="1">
                <a:off x="14701838" y="2249488"/>
                <a:ext cx="1587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18" name="Line 1415"/>
              <p:cNvSpPr>
                <a:spLocks noChangeShapeType="1"/>
              </p:cNvSpPr>
              <p:nvPr userDrawn="1"/>
            </p:nvSpPr>
            <p:spPr bwMode="auto">
              <a:xfrm flipV="1">
                <a:off x="14703425" y="2230438"/>
                <a:ext cx="1587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19" name="Line 1416"/>
              <p:cNvSpPr>
                <a:spLocks noChangeShapeType="1"/>
              </p:cNvSpPr>
              <p:nvPr userDrawn="1"/>
            </p:nvSpPr>
            <p:spPr bwMode="auto">
              <a:xfrm flipV="1">
                <a:off x="14705013" y="2217738"/>
                <a:ext cx="317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20" name="Line 1417"/>
              <p:cNvSpPr>
                <a:spLocks noChangeShapeType="1"/>
              </p:cNvSpPr>
              <p:nvPr userDrawn="1"/>
            </p:nvSpPr>
            <p:spPr bwMode="auto">
              <a:xfrm flipV="1">
                <a:off x="14708188" y="2211388"/>
                <a:ext cx="158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21" name="Line 1418"/>
              <p:cNvSpPr>
                <a:spLocks noChangeShapeType="1"/>
              </p:cNvSpPr>
              <p:nvPr userDrawn="1"/>
            </p:nvSpPr>
            <p:spPr bwMode="auto">
              <a:xfrm flipV="1">
                <a:off x="14709775" y="2205038"/>
                <a:ext cx="158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22" name="Line 1419"/>
              <p:cNvSpPr>
                <a:spLocks noChangeShapeType="1"/>
              </p:cNvSpPr>
              <p:nvPr userDrawn="1"/>
            </p:nvSpPr>
            <p:spPr bwMode="auto">
              <a:xfrm flipV="1">
                <a:off x="14711363" y="2201863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23" name="Line 1420"/>
              <p:cNvSpPr>
                <a:spLocks noChangeShapeType="1"/>
              </p:cNvSpPr>
              <p:nvPr userDrawn="1"/>
            </p:nvSpPr>
            <p:spPr bwMode="auto">
              <a:xfrm flipV="1">
                <a:off x="14712950" y="2200276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24" name="Line 1421"/>
              <p:cNvSpPr>
                <a:spLocks noChangeShapeType="1"/>
              </p:cNvSpPr>
              <p:nvPr userDrawn="1"/>
            </p:nvSpPr>
            <p:spPr bwMode="auto">
              <a:xfrm flipV="1">
                <a:off x="14714538" y="21986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25" name="Line 1422"/>
              <p:cNvSpPr>
                <a:spLocks noChangeShapeType="1"/>
              </p:cNvSpPr>
              <p:nvPr userDrawn="1"/>
            </p:nvSpPr>
            <p:spPr bwMode="auto">
              <a:xfrm flipV="1">
                <a:off x="14717713" y="2197101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26" name="Line 1423"/>
              <p:cNvSpPr>
                <a:spLocks noChangeShapeType="1"/>
              </p:cNvSpPr>
              <p:nvPr userDrawn="1"/>
            </p:nvSpPr>
            <p:spPr bwMode="auto">
              <a:xfrm>
                <a:off x="14720888" y="2197101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27" name="Line 1424"/>
              <p:cNvSpPr>
                <a:spLocks noChangeShapeType="1"/>
              </p:cNvSpPr>
              <p:nvPr userDrawn="1"/>
            </p:nvSpPr>
            <p:spPr bwMode="auto">
              <a:xfrm>
                <a:off x="14724063" y="2197101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28" name="Line 1425"/>
              <p:cNvSpPr>
                <a:spLocks noChangeShapeType="1"/>
              </p:cNvSpPr>
              <p:nvPr userDrawn="1"/>
            </p:nvSpPr>
            <p:spPr bwMode="auto">
              <a:xfrm>
                <a:off x="14728825" y="21986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29" name="Line 1426"/>
              <p:cNvSpPr>
                <a:spLocks noChangeShapeType="1"/>
              </p:cNvSpPr>
              <p:nvPr userDrawn="1"/>
            </p:nvSpPr>
            <p:spPr bwMode="auto">
              <a:xfrm>
                <a:off x="14732000" y="2200276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0" name="Line 1427"/>
              <p:cNvSpPr>
                <a:spLocks noChangeShapeType="1"/>
              </p:cNvSpPr>
              <p:nvPr userDrawn="1"/>
            </p:nvSpPr>
            <p:spPr bwMode="auto">
              <a:xfrm>
                <a:off x="14733588" y="2201863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1" name="Line 1428"/>
              <p:cNvSpPr>
                <a:spLocks noChangeShapeType="1"/>
              </p:cNvSpPr>
              <p:nvPr userDrawn="1"/>
            </p:nvSpPr>
            <p:spPr bwMode="auto">
              <a:xfrm>
                <a:off x="14735175" y="220503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2" name="Line 1429"/>
              <p:cNvSpPr>
                <a:spLocks noChangeShapeType="1"/>
              </p:cNvSpPr>
              <p:nvPr userDrawn="1"/>
            </p:nvSpPr>
            <p:spPr bwMode="auto">
              <a:xfrm>
                <a:off x="14735175" y="2208213"/>
                <a:ext cx="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3" name="Line 1430"/>
              <p:cNvSpPr>
                <a:spLocks noChangeShapeType="1"/>
              </p:cNvSpPr>
              <p:nvPr userDrawn="1"/>
            </p:nvSpPr>
            <p:spPr bwMode="auto">
              <a:xfrm>
                <a:off x="14735175" y="2216151"/>
                <a:ext cx="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4" name="Line 1431"/>
              <p:cNvSpPr>
                <a:spLocks noChangeShapeType="1"/>
              </p:cNvSpPr>
              <p:nvPr userDrawn="1"/>
            </p:nvSpPr>
            <p:spPr bwMode="auto">
              <a:xfrm>
                <a:off x="14735175" y="2220913"/>
                <a:ext cx="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5" name="Line 1432"/>
              <p:cNvSpPr>
                <a:spLocks noChangeShapeType="1"/>
              </p:cNvSpPr>
              <p:nvPr userDrawn="1"/>
            </p:nvSpPr>
            <p:spPr bwMode="auto">
              <a:xfrm>
                <a:off x="14735175" y="2225676"/>
                <a:ext cx="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6" name="Line 1433"/>
              <p:cNvSpPr>
                <a:spLocks noChangeShapeType="1"/>
              </p:cNvSpPr>
              <p:nvPr userDrawn="1"/>
            </p:nvSpPr>
            <p:spPr bwMode="auto">
              <a:xfrm>
                <a:off x="14735175" y="2227263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7" name="Line 1434"/>
              <p:cNvSpPr>
                <a:spLocks noChangeShapeType="1"/>
              </p:cNvSpPr>
              <p:nvPr userDrawn="1"/>
            </p:nvSpPr>
            <p:spPr bwMode="auto">
              <a:xfrm>
                <a:off x="14735175" y="2230438"/>
                <a:ext cx="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8" name="Line 1435"/>
              <p:cNvSpPr>
                <a:spLocks noChangeShapeType="1"/>
              </p:cNvSpPr>
              <p:nvPr userDrawn="1"/>
            </p:nvSpPr>
            <p:spPr bwMode="auto">
              <a:xfrm flipV="1">
                <a:off x="14735175" y="2228851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9" name="Line 1436"/>
              <p:cNvSpPr>
                <a:spLocks noChangeShapeType="1"/>
              </p:cNvSpPr>
              <p:nvPr userDrawn="1"/>
            </p:nvSpPr>
            <p:spPr bwMode="auto">
              <a:xfrm flipV="1">
                <a:off x="14739938" y="2224088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0" name="Line 1437"/>
              <p:cNvSpPr>
                <a:spLocks noChangeShapeType="1"/>
              </p:cNvSpPr>
              <p:nvPr userDrawn="1"/>
            </p:nvSpPr>
            <p:spPr bwMode="auto">
              <a:xfrm flipV="1">
                <a:off x="14746288" y="2212976"/>
                <a:ext cx="7937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1" name="Line 1438"/>
              <p:cNvSpPr>
                <a:spLocks noChangeShapeType="1"/>
              </p:cNvSpPr>
              <p:nvPr userDrawn="1"/>
            </p:nvSpPr>
            <p:spPr bwMode="auto">
              <a:xfrm flipV="1">
                <a:off x="14754225" y="2208213"/>
                <a:ext cx="4762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2" name="Line 1439"/>
              <p:cNvSpPr>
                <a:spLocks noChangeShapeType="1"/>
              </p:cNvSpPr>
              <p:nvPr userDrawn="1"/>
            </p:nvSpPr>
            <p:spPr bwMode="auto">
              <a:xfrm flipV="1">
                <a:off x="14758988" y="220503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3" name="Line 1440"/>
              <p:cNvSpPr>
                <a:spLocks noChangeShapeType="1"/>
              </p:cNvSpPr>
              <p:nvPr userDrawn="1"/>
            </p:nvSpPr>
            <p:spPr bwMode="auto">
              <a:xfrm flipV="1">
                <a:off x="14762163" y="2201863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4" name="Line 1441"/>
              <p:cNvSpPr>
                <a:spLocks noChangeShapeType="1"/>
              </p:cNvSpPr>
              <p:nvPr userDrawn="1"/>
            </p:nvSpPr>
            <p:spPr bwMode="auto">
              <a:xfrm flipV="1">
                <a:off x="14766925" y="2200276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5" name="Line 1442"/>
              <p:cNvSpPr>
                <a:spLocks noChangeShapeType="1"/>
              </p:cNvSpPr>
              <p:nvPr userDrawn="1"/>
            </p:nvSpPr>
            <p:spPr bwMode="auto">
              <a:xfrm flipV="1">
                <a:off x="14768513" y="2198688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6" name="Line 1443"/>
              <p:cNvSpPr>
                <a:spLocks noChangeShapeType="1"/>
              </p:cNvSpPr>
              <p:nvPr userDrawn="1"/>
            </p:nvSpPr>
            <p:spPr bwMode="auto">
              <a:xfrm>
                <a:off x="14770100" y="219868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7" name="Line 1444"/>
              <p:cNvSpPr>
                <a:spLocks noChangeShapeType="1"/>
              </p:cNvSpPr>
              <p:nvPr userDrawn="1"/>
            </p:nvSpPr>
            <p:spPr bwMode="auto">
              <a:xfrm>
                <a:off x="14773275" y="2198688"/>
                <a:ext cx="158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8" name="Line 1445"/>
              <p:cNvSpPr>
                <a:spLocks noChangeShapeType="1"/>
              </p:cNvSpPr>
              <p:nvPr userDrawn="1"/>
            </p:nvSpPr>
            <p:spPr bwMode="auto">
              <a:xfrm>
                <a:off x="14774863" y="21986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9" name="Line 1446"/>
              <p:cNvSpPr>
                <a:spLocks noChangeShapeType="1"/>
              </p:cNvSpPr>
              <p:nvPr userDrawn="1"/>
            </p:nvSpPr>
            <p:spPr bwMode="auto">
              <a:xfrm>
                <a:off x="14778038" y="2200276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50" name="Line 1447"/>
              <p:cNvSpPr>
                <a:spLocks noChangeShapeType="1"/>
              </p:cNvSpPr>
              <p:nvPr userDrawn="1"/>
            </p:nvSpPr>
            <p:spPr bwMode="auto">
              <a:xfrm>
                <a:off x="14782800" y="2201863"/>
                <a:ext cx="635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51" name="Line 1448"/>
              <p:cNvSpPr>
                <a:spLocks noChangeShapeType="1"/>
              </p:cNvSpPr>
              <p:nvPr userDrawn="1"/>
            </p:nvSpPr>
            <p:spPr bwMode="auto">
              <a:xfrm>
                <a:off x="14789150" y="2208213"/>
                <a:ext cx="635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52" name="Line 1449"/>
              <p:cNvSpPr>
                <a:spLocks noChangeShapeType="1"/>
              </p:cNvSpPr>
              <p:nvPr userDrawn="1"/>
            </p:nvSpPr>
            <p:spPr bwMode="auto">
              <a:xfrm>
                <a:off x="14795500" y="2216151"/>
                <a:ext cx="4762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53" name="Line 1450"/>
              <p:cNvSpPr>
                <a:spLocks noChangeShapeType="1"/>
              </p:cNvSpPr>
              <p:nvPr userDrawn="1"/>
            </p:nvSpPr>
            <p:spPr bwMode="auto">
              <a:xfrm>
                <a:off x="14800263" y="2227263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54" name="Line 1451"/>
              <p:cNvSpPr>
                <a:spLocks noChangeShapeType="1"/>
              </p:cNvSpPr>
              <p:nvPr userDrawn="1"/>
            </p:nvSpPr>
            <p:spPr bwMode="auto">
              <a:xfrm>
                <a:off x="14803438" y="2241551"/>
                <a:ext cx="3175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55" name="Line 1452"/>
              <p:cNvSpPr>
                <a:spLocks noChangeShapeType="1"/>
              </p:cNvSpPr>
              <p:nvPr userDrawn="1"/>
            </p:nvSpPr>
            <p:spPr bwMode="auto">
              <a:xfrm>
                <a:off x="14806613" y="2259013"/>
                <a:ext cx="1587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56" name="Line 1453"/>
              <p:cNvSpPr>
                <a:spLocks noChangeShapeType="1"/>
              </p:cNvSpPr>
              <p:nvPr userDrawn="1"/>
            </p:nvSpPr>
            <p:spPr bwMode="auto">
              <a:xfrm>
                <a:off x="14808200" y="2281238"/>
                <a:ext cx="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57" name="Line 1454"/>
              <p:cNvSpPr>
                <a:spLocks noChangeShapeType="1"/>
              </p:cNvSpPr>
              <p:nvPr userDrawn="1"/>
            </p:nvSpPr>
            <p:spPr bwMode="auto">
              <a:xfrm>
                <a:off x="14808200" y="2298701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58" name="Line 1455"/>
              <p:cNvSpPr>
                <a:spLocks noChangeShapeType="1"/>
              </p:cNvSpPr>
              <p:nvPr userDrawn="1"/>
            </p:nvSpPr>
            <p:spPr bwMode="auto">
              <a:xfrm>
                <a:off x="14809788" y="2312988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59" name="Line 1456"/>
              <p:cNvSpPr>
                <a:spLocks noChangeShapeType="1"/>
              </p:cNvSpPr>
              <p:nvPr userDrawn="1"/>
            </p:nvSpPr>
            <p:spPr bwMode="auto">
              <a:xfrm>
                <a:off x="14811375" y="2320926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60" name="Line 1457"/>
              <p:cNvSpPr>
                <a:spLocks noChangeShapeType="1"/>
              </p:cNvSpPr>
              <p:nvPr userDrawn="1"/>
            </p:nvSpPr>
            <p:spPr bwMode="auto">
              <a:xfrm flipV="1">
                <a:off x="14812963" y="2320926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61" name="Line 1458"/>
              <p:cNvSpPr>
                <a:spLocks noChangeShapeType="1"/>
              </p:cNvSpPr>
              <p:nvPr userDrawn="1"/>
            </p:nvSpPr>
            <p:spPr bwMode="auto">
              <a:xfrm flipV="1">
                <a:off x="14816138" y="2312988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62" name="Line 1459"/>
              <p:cNvSpPr>
                <a:spLocks noChangeShapeType="1"/>
              </p:cNvSpPr>
              <p:nvPr userDrawn="1"/>
            </p:nvSpPr>
            <p:spPr bwMode="auto">
              <a:xfrm flipV="1">
                <a:off x="14819313" y="2298701"/>
                <a:ext cx="793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63" name="Line 1460"/>
              <p:cNvSpPr>
                <a:spLocks noChangeShapeType="1"/>
              </p:cNvSpPr>
              <p:nvPr userDrawn="1"/>
            </p:nvSpPr>
            <p:spPr bwMode="auto">
              <a:xfrm flipV="1">
                <a:off x="14827250" y="2279651"/>
                <a:ext cx="7937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64" name="Line 1461"/>
              <p:cNvSpPr>
                <a:spLocks noChangeShapeType="1"/>
              </p:cNvSpPr>
              <p:nvPr userDrawn="1"/>
            </p:nvSpPr>
            <p:spPr bwMode="auto">
              <a:xfrm flipV="1">
                <a:off x="14835188" y="2254251"/>
                <a:ext cx="14287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65" name="Line 1462"/>
              <p:cNvSpPr>
                <a:spLocks noChangeShapeType="1"/>
              </p:cNvSpPr>
              <p:nvPr userDrawn="1"/>
            </p:nvSpPr>
            <p:spPr bwMode="auto">
              <a:xfrm flipV="1">
                <a:off x="14849475" y="2235201"/>
                <a:ext cx="1111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66" name="Line 1463"/>
              <p:cNvSpPr>
                <a:spLocks noChangeShapeType="1"/>
              </p:cNvSpPr>
              <p:nvPr userDrawn="1"/>
            </p:nvSpPr>
            <p:spPr bwMode="auto">
              <a:xfrm flipV="1">
                <a:off x="14860588" y="2220913"/>
                <a:ext cx="793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67" name="Line 1464"/>
              <p:cNvSpPr>
                <a:spLocks noChangeShapeType="1"/>
              </p:cNvSpPr>
              <p:nvPr userDrawn="1"/>
            </p:nvSpPr>
            <p:spPr bwMode="auto">
              <a:xfrm flipV="1">
                <a:off x="14868525" y="2209801"/>
                <a:ext cx="1270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68" name="Line 1465"/>
              <p:cNvSpPr>
                <a:spLocks noChangeShapeType="1"/>
              </p:cNvSpPr>
              <p:nvPr userDrawn="1"/>
            </p:nvSpPr>
            <p:spPr bwMode="auto">
              <a:xfrm flipV="1">
                <a:off x="14881225" y="2205038"/>
                <a:ext cx="142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69" name="Line 1466"/>
              <p:cNvSpPr>
                <a:spLocks noChangeShapeType="1"/>
              </p:cNvSpPr>
              <p:nvPr userDrawn="1"/>
            </p:nvSpPr>
            <p:spPr bwMode="auto">
              <a:xfrm>
                <a:off x="14895513" y="2205038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70" name="Line 1467"/>
              <p:cNvSpPr>
                <a:spLocks noChangeShapeType="1"/>
              </p:cNvSpPr>
              <p:nvPr userDrawn="1"/>
            </p:nvSpPr>
            <p:spPr bwMode="auto">
              <a:xfrm>
                <a:off x="14905038" y="2208213"/>
                <a:ext cx="793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71" name="Line 1468"/>
              <p:cNvSpPr>
                <a:spLocks noChangeShapeType="1"/>
              </p:cNvSpPr>
              <p:nvPr userDrawn="1"/>
            </p:nvSpPr>
            <p:spPr bwMode="auto">
              <a:xfrm>
                <a:off x="14912975" y="2212976"/>
                <a:ext cx="635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72" name="Line 1469"/>
              <p:cNvSpPr>
                <a:spLocks noChangeShapeType="1"/>
              </p:cNvSpPr>
              <p:nvPr userDrawn="1"/>
            </p:nvSpPr>
            <p:spPr bwMode="auto">
              <a:xfrm>
                <a:off x="14919325" y="2224088"/>
                <a:ext cx="476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73" name="Line 1470"/>
              <p:cNvSpPr>
                <a:spLocks noChangeShapeType="1"/>
              </p:cNvSpPr>
              <p:nvPr userDrawn="1"/>
            </p:nvSpPr>
            <p:spPr bwMode="auto">
              <a:xfrm>
                <a:off x="14924088" y="2238376"/>
                <a:ext cx="4762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74" name="Line 1471"/>
              <p:cNvSpPr>
                <a:spLocks noChangeShapeType="1"/>
              </p:cNvSpPr>
              <p:nvPr userDrawn="1"/>
            </p:nvSpPr>
            <p:spPr bwMode="auto">
              <a:xfrm>
                <a:off x="14928850" y="2263776"/>
                <a:ext cx="4762" cy="333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75" name="Line 1472"/>
              <p:cNvSpPr>
                <a:spLocks noChangeShapeType="1"/>
              </p:cNvSpPr>
              <p:nvPr userDrawn="1"/>
            </p:nvSpPr>
            <p:spPr bwMode="auto">
              <a:xfrm>
                <a:off x="14933613" y="2297113"/>
                <a:ext cx="4762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76" name="Line 1473"/>
              <p:cNvSpPr>
                <a:spLocks noChangeShapeType="1"/>
              </p:cNvSpPr>
              <p:nvPr userDrawn="1"/>
            </p:nvSpPr>
            <p:spPr bwMode="auto">
              <a:xfrm>
                <a:off x="14938375" y="2317751"/>
                <a:ext cx="3175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77" name="Line 1474"/>
              <p:cNvSpPr>
                <a:spLocks noChangeShapeType="1"/>
              </p:cNvSpPr>
              <p:nvPr userDrawn="1"/>
            </p:nvSpPr>
            <p:spPr bwMode="auto">
              <a:xfrm>
                <a:off x="14941550" y="2336801"/>
                <a:ext cx="635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78" name="Line 1475"/>
              <p:cNvSpPr>
                <a:spLocks noChangeShapeType="1"/>
              </p:cNvSpPr>
              <p:nvPr userDrawn="1"/>
            </p:nvSpPr>
            <p:spPr bwMode="auto">
              <a:xfrm>
                <a:off x="14947900" y="2351088"/>
                <a:ext cx="317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79" name="Line 1476"/>
              <p:cNvSpPr>
                <a:spLocks noChangeShapeType="1"/>
              </p:cNvSpPr>
              <p:nvPr userDrawn="1"/>
            </p:nvSpPr>
            <p:spPr bwMode="auto">
              <a:xfrm>
                <a:off x="14951075" y="2360613"/>
                <a:ext cx="158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80" name="Line 1477"/>
              <p:cNvSpPr>
                <a:spLocks noChangeShapeType="1"/>
              </p:cNvSpPr>
              <p:nvPr userDrawn="1"/>
            </p:nvSpPr>
            <p:spPr bwMode="auto">
              <a:xfrm flipH="1">
                <a:off x="14951075" y="2366963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81" name="Line 1478"/>
              <p:cNvSpPr>
                <a:spLocks noChangeShapeType="1"/>
              </p:cNvSpPr>
              <p:nvPr userDrawn="1"/>
            </p:nvSpPr>
            <p:spPr bwMode="auto">
              <a:xfrm flipH="1">
                <a:off x="14951075" y="2371726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82" name="Line 1479"/>
              <p:cNvSpPr>
                <a:spLocks noChangeShapeType="1"/>
              </p:cNvSpPr>
              <p:nvPr userDrawn="1"/>
            </p:nvSpPr>
            <p:spPr bwMode="auto">
              <a:xfrm flipH="1">
                <a:off x="14947900" y="2374901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83" name="Line 1480"/>
              <p:cNvSpPr>
                <a:spLocks noChangeShapeType="1"/>
              </p:cNvSpPr>
              <p:nvPr userDrawn="1"/>
            </p:nvSpPr>
            <p:spPr bwMode="auto">
              <a:xfrm flipH="1">
                <a:off x="14944725" y="237648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84" name="Line 1481"/>
              <p:cNvSpPr>
                <a:spLocks noChangeShapeType="1"/>
              </p:cNvSpPr>
              <p:nvPr userDrawn="1"/>
            </p:nvSpPr>
            <p:spPr bwMode="auto">
              <a:xfrm flipH="1">
                <a:off x="14939963" y="2376488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85" name="Line 1482"/>
              <p:cNvSpPr>
                <a:spLocks noChangeShapeType="1"/>
              </p:cNvSpPr>
              <p:nvPr userDrawn="1"/>
            </p:nvSpPr>
            <p:spPr bwMode="auto">
              <a:xfrm flipH="1" flipV="1">
                <a:off x="14935200" y="2373313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86" name="Line 1483"/>
              <p:cNvSpPr>
                <a:spLocks noChangeShapeType="1"/>
              </p:cNvSpPr>
              <p:nvPr userDrawn="1"/>
            </p:nvSpPr>
            <p:spPr bwMode="auto">
              <a:xfrm flipH="1" flipV="1">
                <a:off x="14928850" y="2366963"/>
                <a:ext cx="635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87" name="Line 1484"/>
              <p:cNvSpPr>
                <a:spLocks noChangeShapeType="1"/>
              </p:cNvSpPr>
              <p:nvPr userDrawn="1"/>
            </p:nvSpPr>
            <p:spPr bwMode="auto">
              <a:xfrm flipH="1" flipV="1">
                <a:off x="14922500" y="2355851"/>
                <a:ext cx="635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88" name="Line 1485"/>
              <p:cNvSpPr>
                <a:spLocks noChangeShapeType="1"/>
              </p:cNvSpPr>
              <p:nvPr userDrawn="1"/>
            </p:nvSpPr>
            <p:spPr bwMode="auto">
              <a:xfrm flipH="1" flipV="1">
                <a:off x="14916150" y="2338388"/>
                <a:ext cx="635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89" name="Line 1486"/>
              <p:cNvSpPr>
                <a:spLocks noChangeShapeType="1"/>
              </p:cNvSpPr>
              <p:nvPr userDrawn="1"/>
            </p:nvSpPr>
            <p:spPr bwMode="auto">
              <a:xfrm flipH="1" flipV="1">
                <a:off x="14914563" y="2322513"/>
                <a:ext cx="1587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0" name="Freeform 1487"/>
              <p:cNvSpPr>
                <a:spLocks noEditPoints="1"/>
              </p:cNvSpPr>
              <p:nvPr userDrawn="1"/>
            </p:nvSpPr>
            <p:spPr bwMode="auto">
              <a:xfrm>
                <a:off x="14978063" y="2163763"/>
                <a:ext cx="131762" cy="217488"/>
              </a:xfrm>
              <a:custGeom>
                <a:avLst/>
                <a:gdLst>
                  <a:gd name="T0" fmla="*/ 84 w 165"/>
                  <a:gd name="T1" fmla="*/ 50 h 274"/>
                  <a:gd name="T2" fmla="*/ 73 w 165"/>
                  <a:gd name="T3" fmla="*/ 53 h 274"/>
                  <a:gd name="T4" fmla="*/ 65 w 165"/>
                  <a:gd name="T5" fmla="*/ 60 h 274"/>
                  <a:gd name="T6" fmla="*/ 50 w 165"/>
                  <a:gd name="T7" fmla="*/ 82 h 274"/>
                  <a:gd name="T8" fmla="*/ 36 w 165"/>
                  <a:gd name="T9" fmla="*/ 130 h 274"/>
                  <a:gd name="T10" fmla="*/ 32 w 165"/>
                  <a:gd name="T11" fmla="*/ 182 h 274"/>
                  <a:gd name="T12" fmla="*/ 43 w 165"/>
                  <a:gd name="T13" fmla="*/ 222 h 274"/>
                  <a:gd name="T14" fmla="*/ 63 w 165"/>
                  <a:gd name="T15" fmla="*/ 241 h 274"/>
                  <a:gd name="T16" fmla="*/ 87 w 165"/>
                  <a:gd name="T17" fmla="*/ 233 h 274"/>
                  <a:gd name="T18" fmla="*/ 118 w 165"/>
                  <a:gd name="T19" fmla="*/ 195 h 274"/>
                  <a:gd name="T20" fmla="*/ 132 w 165"/>
                  <a:gd name="T21" fmla="*/ 139 h 274"/>
                  <a:gd name="T22" fmla="*/ 125 w 165"/>
                  <a:gd name="T23" fmla="*/ 85 h 274"/>
                  <a:gd name="T24" fmla="*/ 117 w 165"/>
                  <a:gd name="T25" fmla="*/ 60 h 274"/>
                  <a:gd name="T26" fmla="*/ 91 w 165"/>
                  <a:gd name="T27" fmla="*/ 50 h 274"/>
                  <a:gd name="T28" fmla="*/ 100 w 165"/>
                  <a:gd name="T29" fmla="*/ 2 h 274"/>
                  <a:gd name="T30" fmla="*/ 110 w 165"/>
                  <a:gd name="T31" fmla="*/ 5 h 274"/>
                  <a:gd name="T32" fmla="*/ 122 w 165"/>
                  <a:gd name="T33" fmla="*/ 13 h 274"/>
                  <a:gd name="T34" fmla="*/ 146 w 165"/>
                  <a:gd name="T35" fmla="*/ 40 h 274"/>
                  <a:gd name="T36" fmla="*/ 159 w 165"/>
                  <a:gd name="T37" fmla="*/ 76 h 274"/>
                  <a:gd name="T38" fmla="*/ 165 w 165"/>
                  <a:gd name="T39" fmla="*/ 127 h 274"/>
                  <a:gd name="T40" fmla="*/ 163 w 165"/>
                  <a:gd name="T41" fmla="*/ 162 h 274"/>
                  <a:gd name="T42" fmla="*/ 156 w 165"/>
                  <a:gd name="T43" fmla="*/ 189 h 274"/>
                  <a:gd name="T44" fmla="*/ 135 w 165"/>
                  <a:gd name="T45" fmla="*/ 230 h 274"/>
                  <a:gd name="T46" fmla="*/ 114 w 165"/>
                  <a:gd name="T47" fmla="*/ 257 h 274"/>
                  <a:gd name="T48" fmla="*/ 73 w 165"/>
                  <a:gd name="T49" fmla="*/ 272 h 274"/>
                  <a:gd name="T50" fmla="*/ 49 w 165"/>
                  <a:gd name="T51" fmla="*/ 272 h 274"/>
                  <a:gd name="T52" fmla="*/ 41 w 165"/>
                  <a:gd name="T53" fmla="*/ 268 h 274"/>
                  <a:gd name="T54" fmla="*/ 31 w 165"/>
                  <a:gd name="T55" fmla="*/ 260 h 274"/>
                  <a:gd name="T56" fmla="*/ 10 w 165"/>
                  <a:gd name="T57" fmla="*/ 229 h 274"/>
                  <a:gd name="T58" fmla="*/ 0 w 165"/>
                  <a:gd name="T59" fmla="*/ 178 h 274"/>
                  <a:gd name="T60" fmla="*/ 5 w 165"/>
                  <a:gd name="T61" fmla="*/ 117 h 274"/>
                  <a:gd name="T62" fmla="*/ 17 w 165"/>
                  <a:gd name="T63" fmla="*/ 75 h 274"/>
                  <a:gd name="T64" fmla="*/ 22 w 165"/>
                  <a:gd name="T65" fmla="*/ 62 h 274"/>
                  <a:gd name="T66" fmla="*/ 25 w 165"/>
                  <a:gd name="T67" fmla="*/ 54 h 274"/>
                  <a:gd name="T68" fmla="*/ 32 w 165"/>
                  <a:gd name="T69" fmla="*/ 40 h 274"/>
                  <a:gd name="T70" fmla="*/ 52 w 165"/>
                  <a:gd name="T71" fmla="*/ 23 h 274"/>
                  <a:gd name="T72" fmla="*/ 66 w 165"/>
                  <a:gd name="T73" fmla="*/ 16 h 274"/>
                  <a:gd name="T74" fmla="*/ 79 w 165"/>
                  <a:gd name="T75" fmla="*/ 12 h 274"/>
                  <a:gd name="T76" fmla="*/ 89 w 165"/>
                  <a:gd name="T77" fmla="*/ 3 h 274"/>
                  <a:gd name="T78" fmla="*/ 96 w 165"/>
                  <a:gd name="T79" fmla="*/ 0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5" h="274">
                    <a:moveTo>
                      <a:pt x="91" y="50"/>
                    </a:moveTo>
                    <a:lnTo>
                      <a:pt x="84" y="50"/>
                    </a:lnTo>
                    <a:lnTo>
                      <a:pt x="79" y="51"/>
                    </a:lnTo>
                    <a:lnTo>
                      <a:pt x="73" y="53"/>
                    </a:lnTo>
                    <a:lnTo>
                      <a:pt x="69" y="55"/>
                    </a:lnTo>
                    <a:lnTo>
                      <a:pt x="65" y="60"/>
                    </a:lnTo>
                    <a:lnTo>
                      <a:pt x="60" y="65"/>
                    </a:lnTo>
                    <a:lnTo>
                      <a:pt x="50" y="82"/>
                    </a:lnTo>
                    <a:lnTo>
                      <a:pt x="43" y="103"/>
                    </a:lnTo>
                    <a:lnTo>
                      <a:pt x="36" y="130"/>
                    </a:lnTo>
                    <a:lnTo>
                      <a:pt x="34" y="158"/>
                    </a:lnTo>
                    <a:lnTo>
                      <a:pt x="32" y="182"/>
                    </a:lnTo>
                    <a:lnTo>
                      <a:pt x="36" y="201"/>
                    </a:lnTo>
                    <a:lnTo>
                      <a:pt x="43" y="222"/>
                    </a:lnTo>
                    <a:lnTo>
                      <a:pt x="52" y="236"/>
                    </a:lnTo>
                    <a:lnTo>
                      <a:pt x="63" y="241"/>
                    </a:lnTo>
                    <a:lnTo>
                      <a:pt x="74" y="241"/>
                    </a:lnTo>
                    <a:lnTo>
                      <a:pt x="87" y="233"/>
                    </a:lnTo>
                    <a:lnTo>
                      <a:pt x="103" y="217"/>
                    </a:lnTo>
                    <a:lnTo>
                      <a:pt x="118" y="195"/>
                    </a:lnTo>
                    <a:lnTo>
                      <a:pt x="128" y="168"/>
                    </a:lnTo>
                    <a:lnTo>
                      <a:pt x="132" y="139"/>
                    </a:lnTo>
                    <a:lnTo>
                      <a:pt x="129" y="106"/>
                    </a:lnTo>
                    <a:lnTo>
                      <a:pt x="125" y="85"/>
                    </a:lnTo>
                    <a:lnTo>
                      <a:pt x="121" y="69"/>
                    </a:lnTo>
                    <a:lnTo>
                      <a:pt x="117" y="60"/>
                    </a:lnTo>
                    <a:lnTo>
                      <a:pt x="105" y="53"/>
                    </a:lnTo>
                    <a:lnTo>
                      <a:pt x="91" y="50"/>
                    </a:lnTo>
                    <a:close/>
                    <a:moveTo>
                      <a:pt x="96" y="0"/>
                    </a:moveTo>
                    <a:lnTo>
                      <a:pt x="100" y="2"/>
                    </a:lnTo>
                    <a:lnTo>
                      <a:pt x="105" y="3"/>
                    </a:lnTo>
                    <a:lnTo>
                      <a:pt x="110" y="5"/>
                    </a:lnTo>
                    <a:lnTo>
                      <a:pt x="117" y="9"/>
                    </a:lnTo>
                    <a:lnTo>
                      <a:pt x="122" y="13"/>
                    </a:lnTo>
                    <a:lnTo>
                      <a:pt x="135" y="26"/>
                    </a:lnTo>
                    <a:lnTo>
                      <a:pt x="146" y="40"/>
                    </a:lnTo>
                    <a:lnTo>
                      <a:pt x="153" y="57"/>
                    </a:lnTo>
                    <a:lnTo>
                      <a:pt x="159" y="76"/>
                    </a:lnTo>
                    <a:lnTo>
                      <a:pt x="163" y="99"/>
                    </a:lnTo>
                    <a:lnTo>
                      <a:pt x="165" y="127"/>
                    </a:lnTo>
                    <a:lnTo>
                      <a:pt x="165" y="147"/>
                    </a:lnTo>
                    <a:lnTo>
                      <a:pt x="163" y="162"/>
                    </a:lnTo>
                    <a:lnTo>
                      <a:pt x="162" y="174"/>
                    </a:lnTo>
                    <a:lnTo>
                      <a:pt x="156" y="189"/>
                    </a:lnTo>
                    <a:lnTo>
                      <a:pt x="146" y="209"/>
                    </a:lnTo>
                    <a:lnTo>
                      <a:pt x="135" y="230"/>
                    </a:lnTo>
                    <a:lnTo>
                      <a:pt x="124" y="246"/>
                    </a:lnTo>
                    <a:lnTo>
                      <a:pt x="114" y="257"/>
                    </a:lnTo>
                    <a:lnTo>
                      <a:pt x="96" y="268"/>
                    </a:lnTo>
                    <a:lnTo>
                      <a:pt x="73" y="272"/>
                    </a:lnTo>
                    <a:lnTo>
                      <a:pt x="59" y="274"/>
                    </a:lnTo>
                    <a:lnTo>
                      <a:pt x="49" y="272"/>
                    </a:lnTo>
                    <a:lnTo>
                      <a:pt x="45" y="271"/>
                    </a:lnTo>
                    <a:lnTo>
                      <a:pt x="41" y="268"/>
                    </a:lnTo>
                    <a:lnTo>
                      <a:pt x="36" y="264"/>
                    </a:lnTo>
                    <a:lnTo>
                      <a:pt x="31" y="260"/>
                    </a:lnTo>
                    <a:lnTo>
                      <a:pt x="19" y="246"/>
                    </a:lnTo>
                    <a:lnTo>
                      <a:pt x="10" y="229"/>
                    </a:lnTo>
                    <a:lnTo>
                      <a:pt x="4" y="209"/>
                    </a:lnTo>
                    <a:lnTo>
                      <a:pt x="0" y="178"/>
                    </a:lnTo>
                    <a:lnTo>
                      <a:pt x="1" y="147"/>
                    </a:lnTo>
                    <a:lnTo>
                      <a:pt x="5" y="117"/>
                    </a:lnTo>
                    <a:lnTo>
                      <a:pt x="11" y="93"/>
                    </a:lnTo>
                    <a:lnTo>
                      <a:pt x="17" y="75"/>
                    </a:lnTo>
                    <a:lnTo>
                      <a:pt x="21" y="67"/>
                    </a:lnTo>
                    <a:lnTo>
                      <a:pt x="22" y="62"/>
                    </a:lnTo>
                    <a:lnTo>
                      <a:pt x="25" y="58"/>
                    </a:lnTo>
                    <a:lnTo>
                      <a:pt x="25" y="54"/>
                    </a:lnTo>
                    <a:lnTo>
                      <a:pt x="27" y="48"/>
                    </a:lnTo>
                    <a:lnTo>
                      <a:pt x="32" y="40"/>
                    </a:lnTo>
                    <a:lnTo>
                      <a:pt x="41" y="31"/>
                    </a:lnTo>
                    <a:lnTo>
                      <a:pt x="52" y="23"/>
                    </a:lnTo>
                    <a:lnTo>
                      <a:pt x="59" y="19"/>
                    </a:lnTo>
                    <a:lnTo>
                      <a:pt x="66" y="16"/>
                    </a:lnTo>
                    <a:lnTo>
                      <a:pt x="73" y="16"/>
                    </a:lnTo>
                    <a:lnTo>
                      <a:pt x="79" y="12"/>
                    </a:lnTo>
                    <a:lnTo>
                      <a:pt x="84" y="7"/>
                    </a:lnTo>
                    <a:lnTo>
                      <a:pt x="89" y="3"/>
                    </a:lnTo>
                    <a:lnTo>
                      <a:pt x="91" y="2"/>
                    </a:lnTo>
                    <a:lnTo>
                      <a:pt x="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1" name="Line 1488"/>
              <p:cNvSpPr>
                <a:spLocks noChangeShapeType="1"/>
              </p:cNvSpPr>
              <p:nvPr userDrawn="1"/>
            </p:nvSpPr>
            <p:spPr bwMode="auto">
              <a:xfrm flipH="1" flipV="1">
                <a:off x="15078075" y="2230438"/>
                <a:ext cx="3175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2" name="Line 1489"/>
              <p:cNvSpPr>
                <a:spLocks noChangeShapeType="1"/>
              </p:cNvSpPr>
              <p:nvPr userDrawn="1"/>
            </p:nvSpPr>
            <p:spPr bwMode="auto">
              <a:xfrm flipH="1" flipV="1">
                <a:off x="15074900" y="2219326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3" name="Line 1490"/>
              <p:cNvSpPr>
                <a:spLocks noChangeShapeType="1"/>
              </p:cNvSpPr>
              <p:nvPr userDrawn="1"/>
            </p:nvSpPr>
            <p:spPr bwMode="auto">
              <a:xfrm flipH="1" flipV="1">
                <a:off x="15071725" y="2211388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4" name="Line 1491"/>
              <p:cNvSpPr>
                <a:spLocks noChangeShapeType="1"/>
              </p:cNvSpPr>
              <p:nvPr userDrawn="1"/>
            </p:nvSpPr>
            <p:spPr bwMode="auto">
              <a:xfrm flipH="1" flipV="1">
                <a:off x="15062200" y="2205038"/>
                <a:ext cx="952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5" name="Line 1492"/>
              <p:cNvSpPr>
                <a:spLocks noChangeShapeType="1"/>
              </p:cNvSpPr>
              <p:nvPr userDrawn="1"/>
            </p:nvSpPr>
            <p:spPr bwMode="auto">
              <a:xfrm flipH="1" flipV="1">
                <a:off x="15051088" y="2203451"/>
                <a:ext cx="1111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6" name="Line 1493"/>
              <p:cNvSpPr>
                <a:spLocks noChangeShapeType="1"/>
              </p:cNvSpPr>
              <p:nvPr userDrawn="1"/>
            </p:nvSpPr>
            <p:spPr bwMode="auto">
              <a:xfrm flipH="1">
                <a:off x="15046325" y="2203451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7" name="Line 1494"/>
              <p:cNvSpPr>
                <a:spLocks noChangeShapeType="1"/>
              </p:cNvSpPr>
              <p:nvPr userDrawn="1"/>
            </p:nvSpPr>
            <p:spPr bwMode="auto">
              <a:xfrm flipH="1">
                <a:off x="15041563" y="2203451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8" name="Line 1495"/>
              <p:cNvSpPr>
                <a:spLocks noChangeShapeType="1"/>
              </p:cNvSpPr>
              <p:nvPr userDrawn="1"/>
            </p:nvSpPr>
            <p:spPr bwMode="auto">
              <a:xfrm flipH="1">
                <a:off x="15036800" y="2205038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9" name="Line 1496"/>
              <p:cNvSpPr>
                <a:spLocks noChangeShapeType="1"/>
              </p:cNvSpPr>
              <p:nvPr userDrawn="1"/>
            </p:nvSpPr>
            <p:spPr bwMode="auto">
              <a:xfrm flipH="1">
                <a:off x="15033625" y="220503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0" name="Line 1497"/>
              <p:cNvSpPr>
                <a:spLocks noChangeShapeType="1"/>
              </p:cNvSpPr>
              <p:nvPr userDrawn="1"/>
            </p:nvSpPr>
            <p:spPr bwMode="auto">
              <a:xfrm flipH="1">
                <a:off x="15030450" y="220821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1" name="Line 1498"/>
              <p:cNvSpPr>
                <a:spLocks noChangeShapeType="1"/>
              </p:cNvSpPr>
              <p:nvPr userDrawn="1"/>
            </p:nvSpPr>
            <p:spPr bwMode="auto">
              <a:xfrm flipH="1">
                <a:off x="15027275" y="2211388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2" name="Line 1499"/>
              <p:cNvSpPr>
                <a:spLocks noChangeShapeType="1"/>
              </p:cNvSpPr>
              <p:nvPr userDrawn="1"/>
            </p:nvSpPr>
            <p:spPr bwMode="auto">
              <a:xfrm flipH="1">
                <a:off x="15019338" y="2216151"/>
                <a:ext cx="7937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3" name="Line 1500"/>
              <p:cNvSpPr>
                <a:spLocks noChangeShapeType="1"/>
              </p:cNvSpPr>
              <p:nvPr userDrawn="1"/>
            </p:nvSpPr>
            <p:spPr bwMode="auto">
              <a:xfrm flipH="1">
                <a:off x="15012988" y="2228851"/>
                <a:ext cx="635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4" name="Line 1501"/>
              <p:cNvSpPr>
                <a:spLocks noChangeShapeType="1"/>
              </p:cNvSpPr>
              <p:nvPr userDrawn="1"/>
            </p:nvSpPr>
            <p:spPr bwMode="auto">
              <a:xfrm flipH="1">
                <a:off x="15008225" y="2246313"/>
                <a:ext cx="4762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5" name="Line 1502"/>
              <p:cNvSpPr>
                <a:spLocks noChangeShapeType="1"/>
              </p:cNvSpPr>
              <p:nvPr userDrawn="1"/>
            </p:nvSpPr>
            <p:spPr bwMode="auto">
              <a:xfrm flipH="1">
                <a:off x="15005050" y="2266951"/>
                <a:ext cx="3175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6" name="Line 1503"/>
              <p:cNvSpPr>
                <a:spLocks noChangeShapeType="1"/>
              </p:cNvSpPr>
              <p:nvPr userDrawn="1"/>
            </p:nvSpPr>
            <p:spPr bwMode="auto">
              <a:xfrm flipH="1">
                <a:off x="15005050" y="2289176"/>
                <a:ext cx="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7" name="Line 1504"/>
              <p:cNvSpPr>
                <a:spLocks noChangeShapeType="1"/>
              </p:cNvSpPr>
              <p:nvPr userDrawn="1"/>
            </p:nvSpPr>
            <p:spPr bwMode="auto">
              <a:xfrm>
                <a:off x="15005050" y="2308226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8" name="Line 1505"/>
              <p:cNvSpPr>
                <a:spLocks noChangeShapeType="1"/>
              </p:cNvSpPr>
              <p:nvPr userDrawn="1"/>
            </p:nvSpPr>
            <p:spPr bwMode="auto">
              <a:xfrm>
                <a:off x="15008225" y="2322513"/>
                <a:ext cx="4762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9" name="Line 1506"/>
              <p:cNvSpPr>
                <a:spLocks noChangeShapeType="1"/>
              </p:cNvSpPr>
              <p:nvPr userDrawn="1"/>
            </p:nvSpPr>
            <p:spPr bwMode="auto">
              <a:xfrm>
                <a:off x="15012988" y="2339976"/>
                <a:ext cx="635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0" name="Line 1507"/>
              <p:cNvSpPr>
                <a:spLocks noChangeShapeType="1"/>
              </p:cNvSpPr>
              <p:nvPr userDrawn="1"/>
            </p:nvSpPr>
            <p:spPr bwMode="auto">
              <a:xfrm>
                <a:off x="15019338" y="2351088"/>
                <a:ext cx="952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1" name="Line 1508"/>
              <p:cNvSpPr>
                <a:spLocks noChangeShapeType="1"/>
              </p:cNvSpPr>
              <p:nvPr userDrawn="1"/>
            </p:nvSpPr>
            <p:spPr bwMode="auto">
              <a:xfrm>
                <a:off x="15028863" y="2355851"/>
                <a:ext cx="952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2" name="Line 1509"/>
              <p:cNvSpPr>
                <a:spLocks noChangeShapeType="1"/>
              </p:cNvSpPr>
              <p:nvPr userDrawn="1"/>
            </p:nvSpPr>
            <p:spPr bwMode="auto">
              <a:xfrm flipV="1">
                <a:off x="15038388" y="2347913"/>
                <a:ext cx="952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3" name="Line 1510"/>
              <p:cNvSpPr>
                <a:spLocks noChangeShapeType="1"/>
              </p:cNvSpPr>
              <p:nvPr userDrawn="1"/>
            </p:nvSpPr>
            <p:spPr bwMode="auto">
              <a:xfrm flipV="1">
                <a:off x="15047913" y="2336801"/>
                <a:ext cx="1270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4" name="Line 1511"/>
              <p:cNvSpPr>
                <a:spLocks noChangeShapeType="1"/>
              </p:cNvSpPr>
              <p:nvPr userDrawn="1"/>
            </p:nvSpPr>
            <p:spPr bwMode="auto">
              <a:xfrm flipV="1">
                <a:off x="15060613" y="2317751"/>
                <a:ext cx="1270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5" name="Line 1512"/>
              <p:cNvSpPr>
                <a:spLocks noChangeShapeType="1"/>
              </p:cNvSpPr>
              <p:nvPr userDrawn="1"/>
            </p:nvSpPr>
            <p:spPr bwMode="auto">
              <a:xfrm flipV="1">
                <a:off x="15073313" y="2297113"/>
                <a:ext cx="6350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6" name="Line 1513"/>
              <p:cNvSpPr>
                <a:spLocks noChangeShapeType="1"/>
              </p:cNvSpPr>
              <p:nvPr userDrawn="1"/>
            </p:nvSpPr>
            <p:spPr bwMode="auto">
              <a:xfrm flipV="1">
                <a:off x="15079663" y="2273301"/>
                <a:ext cx="4762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7" name="Line 1514"/>
              <p:cNvSpPr>
                <a:spLocks noChangeShapeType="1"/>
              </p:cNvSpPr>
              <p:nvPr userDrawn="1"/>
            </p:nvSpPr>
            <p:spPr bwMode="auto">
              <a:xfrm flipH="1" flipV="1">
                <a:off x="15081250" y="2247901"/>
                <a:ext cx="3175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8" name="Line 1515"/>
              <p:cNvSpPr>
                <a:spLocks noChangeShapeType="1"/>
              </p:cNvSpPr>
              <p:nvPr userDrawn="1"/>
            </p:nvSpPr>
            <p:spPr bwMode="auto">
              <a:xfrm>
                <a:off x="15030450" y="2176463"/>
                <a:ext cx="635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9" name="Line 1516"/>
              <p:cNvSpPr>
                <a:spLocks noChangeShapeType="1"/>
              </p:cNvSpPr>
              <p:nvPr userDrawn="1"/>
            </p:nvSpPr>
            <p:spPr bwMode="auto">
              <a:xfrm flipV="1">
                <a:off x="15036800" y="217328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20" name="Line 1517"/>
              <p:cNvSpPr>
                <a:spLocks noChangeShapeType="1"/>
              </p:cNvSpPr>
              <p:nvPr userDrawn="1"/>
            </p:nvSpPr>
            <p:spPr bwMode="auto">
              <a:xfrm flipV="1">
                <a:off x="15041563" y="2170113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21" name="Line 1518"/>
              <p:cNvSpPr>
                <a:spLocks noChangeShapeType="1"/>
              </p:cNvSpPr>
              <p:nvPr userDrawn="1"/>
            </p:nvSpPr>
            <p:spPr bwMode="auto">
              <a:xfrm flipV="1">
                <a:off x="15046325" y="216693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22" name="Line 1519"/>
              <p:cNvSpPr>
                <a:spLocks noChangeShapeType="1"/>
              </p:cNvSpPr>
              <p:nvPr userDrawn="1"/>
            </p:nvSpPr>
            <p:spPr bwMode="auto">
              <a:xfrm flipV="1">
                <a:off x="15049500" y="2165351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23" name="Line 1520"/>
              <p:cNvSpPr>
                <a:spLocks noChangeShapeType="1"/>
              </p:cNvSpPr>
              <p:nvPr userDrawn="1"/>
            </p:nvSpPr>
            <p:spPr bwMode="auto">
              <a:xfrm flipV="1">
                <a:off x="15051088" y="216376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24" name="Line 1521"/>
              <p:cNvSpPr>
                <a:spLocks noChangeShapeType="1"/>
              </p:cNvSpPr>
              <p:nvPr userDrawn="1"/>
            </p:nvSpPr>
            <p:spPr bwMode="auto">
              <a:xfrm>
                <a:off x="15054263" y="216376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25" name="Line 1522"/>
              <p:cNvSpPr>
                <a:spLocks noChangeShapeType="1"/>
              </p:cNvSpPr>
              <p:nvPr userDrawn="1"/>
            </p:nvSpPr>
            <p:spPr bwMode="auto">
              <a:xfrm>
                <a:off x="15057438" y="2165351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26" name="Line 1523"/>
              <p:cNvSpPr>
                <a:spLocks noChangeShapeType="1"/>
              </p:cNvSpPr>
              <p:nvPr userDrawn="1"/>
            </p:nvSpPr>
            <p:spPr bwMode="auto">
              <a:xfrm>
                <a:off x="15062200" y="216693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27" name="Line 1524"/>
              <p:cNvSpPr>
                <a:spLocks noChangeShapeType="1"/>
              </p:cNvSpPr>
              <p:nvPr userDrawn="1"/>
            </p:nvSpPr>
            <p:spPr bwMode="auto">
              <a:xfrm>
                <a:off x="15065375" y="2166938"/>
                <a:ext cx="63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28" name="Line 1525"/>
              <p:cNvSpPr>
                <a:spLocks noChangeShapeType="1"/>
              </p:cNvSpPr>
              <p:nvPr userDrawn="1"/>
            </p:nvSpPr>
            <p:spPr bwMode="auto">
              <a:xfrm>
                <a:off x="15071725" y="2170113"/>
                <a:ext cx="4762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29" name="Line 1526"/>
              <p:cNvSpPr>
                <a:spLocks noChangeShapeType="1"/>
              </p:cNvSpPr>
              <p:nvPr userDrawn="1"/>
            </p:nvSpPr>
            <p:spPr bwMode="auto">
              <a:xfrm>
                <a:off x="15076488" y="2174876"/>
                <a:ext cx="952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30" name="Line 1527"/>
              <p:cNvSpPr>
                <a:spLocks noChangeShapeType="1"/>
              </p:cNvSpPr>
              <p:nvPr userDrawn="1"/>
            </p:nvSpPr>
            <p:spPr bwMode="auto">
              <a:xfrm>
                <a:off x="15086013" y="2184401"/>
                <a:ext cx="952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31" name="Line 1528"/>
              <p:cNvSpPr>
                <a:spLocks noChangeShapeType="1"/>
              </p:cNvSpPr>
              <p:nvPr userDrawn="1"/>
            </p:nvSpPr>
            <p:spPr bwMode="auto">
              <a:xfrm>
                <a:off x="15095538" y="2195513"/>
                <a:ext cx="4762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32" name="Line 1529"/>
              <p:cNvSpPr>
                <a:spLocks noChangeShapeType="1"/>
              </p:cNvSpPr>
              <p:nvPr userDrawn="1"/>
            </p:nvSpPr>
            <p:spPr bwMode="auto">
              <a:xfrm>
                <a:off x="15100300" y="2208213"/>
                <a:ext cx="4762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33" name="Line 1530"/>
              <p:cNvSpPr>
                <a:spLocks noChangeShapeType="1"/>
              </p:cNvSpPr>
              <p:nvPr userDrawn="1"/>
            </p:nvSpPr>
            <p:spPr bwMode="auto">
              <a:xfrm>
                <a:off x="15105063" y="2224088"/>
                <a:ext cx="3175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34" name="Line 1531"/>
              <p:cNvSpPr>
                <a:spLocks noChangeShapeType="1"/>
              </p:cNvSpPr>
              <p:nvPr userDrawn="1"/>
            </p:nvSpPr>
            <p:spPr bwMode="auto">
              <a:xfrm>
                <a:off x="15108238" y="2243138"/>
                <a:ext cx="1587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35" name="Line 1532"/>
              <p:cNvSpPr>
                <a:spLocks noChangeShapeType="1"/>
              </p:cNvSpPr>
              <p:nvPr userDrawn="1"/>
            </p:nvSpPr>
            <p:spPr bwMode="auto">
              <a:xfrm>
                <a:off x="15109825" y="2265363"/>
                <a:ext cx="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36" name="Line 1533"/>
              <p:cNvSpPr>
                <a:spLocks noChangeShapeType="1"/>
              </p:cNvSpPr>
              <p:nvPr userDrawn="1"/>
            </p:nvSpPr>
            <p:spPr bwMode="auto">
              <a:xfrm flipH="1">
                <a:off x="15108238" y="2279651"/>
                <a:ext cx="1587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37" name="Line 1534"/>
              <p:cNvSpPr>
                <a:spLocks noChangeShapeType="1"/>
              </p:cNvSpPr>
              <p:nvPr userDrawn="1"/>
            </p:nvSpPr>
            <p:spPr bwMode="auto">
              <a:xfrm flipH="1">
                <a:off x="15106650" y="2292351"/>
                <a:ext cx="158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38" name="Line 1535"/>
              <p:cNvSpPr>
                <a:spLocks noChangeShapeType="1"/>
              </p:cNvSpPr>
              <p:nvPr userDrawn="1"/>
            </p:nvSpPr>
            <p:spPr bwMode="auto">
              <a:xfrm flipH="1">
                <a:off x="15103475" y="2301876"/>
                <a:ext cx="317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39" name="Line 1536"/>
              <p:cNvSpPr>
                <a:spLocks noChangeShapeType="1"/>
              </p:cNvSpPr>
              <p:nvPr userDrawn="1"/>
            </p:nvSpPr>
            <p:spPr bwMode="auto">
              <a:xfrm flipH="1">
                <a:off x="15095538" y="2314576"/>
                <a:ext cx="793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40" name="Line 1537"/>
              <p:cNvSpPr>
                <a:spLocks noChangeShapeType="1"/>
              </p:cNvSpPr>
              <p:nvPr userDrawn="1"/>
            </p:nvSpPr>
            <p:spPr bwMode="auto">
              <a:xfrm flipH="1">
                <a:off x="15086013" y="2328863"/>
                <a:ext cx="9525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41" name="Line 1538"/>
              <p:cNvSpPr>
                <a:spLocks noChangeShapeType="1"/>
              </p:cNvSpPr>
              <p:nvPr userDrawn="1"/>
            </p:nvSpPr>
            <p:spPr bwMode="auto">
              <a:xfrm flipH="1">
                <a:off x="15076488" y="2346326"/>
                <a:ext cx="952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42" name="Line 1539"/>
              <p:cNvSpPr>
                <a:spLocks noChangeShapeType="1"/>
              </p:cNvSpPr>
              <p:nvPr userDrawn="1"/>
            </p:nvSpPr>
            <p:spPr bwMode="auto">
              <a:xfrm flipH="1">
                <a:off x="15068550" y="2359026"/>
                <a:ext cx="793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43" name="Line 1540"/>
              <p:cNvSpPr>
                <a:spLocks noChangeShapeType="1"/>
              </p:cNvSpPr>
              <p:nvPr userDrawn="1"/>
            </p:nvSpPr>
            <p:spPr bwMode="auto">
              <a:xfrm flipH="1">
                <a:off x="15054263" y="2366963"/>
                <a:ext cx="1428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44" name="Line 1541"/>
              <p:cNvSpPr>
                <a:spLocks noChangeShapeType="1"/>
              </p:cNvSpPr>
              <p:nvPr userDrawn="1"/>
            </p:nvSpPr>
            <p:spPr bwMode="auto">
              <a:xfrm flipH="1">
                <a:off x="15036800" y="2376488"/>
                <a:ext cx="174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45" name="Line 1542"/>
              <p:cNvSpPr>
                <a:spLocks noChangeShapeType="1"/>
              </p:cNvSpPr>
              <p:nvPr userDrawn="1"/>
            </p:nvSpPr>
            <p:spPr bwMode="auto">
              <a:xfrm flipH="1">
                <a:off x="15025688" y="2379663"/>
                <a:ext cx="1111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46" name="Line 1543"/>
              <p:cNvSpPr>
                <a:spLocks noChangeShapeType="1"/>
              </p:cNvSpPr>
              <p:nvPr userDrawn="1"/>
            </p:nvSpPr>
            <p:spPr bwMode="auto">
              <a:xfrm flipH="1" flipV="1">
                <a:off x="15017750" y="2379663"/>
                <a:ext cx="793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47" name="Line 1544"/>
              <p:cNvSpPr>
                <a:spLocks noChangeShapeType="1"/>
              </p:cNvSpPr>
              <p:nvPr userDrawn="1"/>
            </p:nvSpPr>
            <p:spPr bwMode="auto">
              <a:xfrm flipH="1" flipV="1">
                <a:off x="15014575" y="237966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48" name="Line 1545"/>
              <p:cNvSpPr>
                <a:spLocks noChangeShapeType="1"/>
              </p:cNvSpPr>
              <p:nvPr userDrawn="1"/>
            </p:nvSpPr>
            <p:spPr bwMode="auto">
              <a:xfrm flipH="1" flipV="1">
                <a:off x="15011400" y="237648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49" name="Line 1546"/>
              <p:cNvSpPr>
                <a:spLocks noChangeShapeType="1"/>
              </p:cNvSpPr>
              <p:nvPr userDrawn="1"/>
            </p:nvSpPr>
            <p:spPr bwMode="auto">
              <a:xfrm flipH="1" flipV="1">
                <a:off x="15008225" y="237331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50" name="Line 1547"/>
              <p:cNvSpPr>
                <a:spLocks noChangeShapeType="1"/>
              </p:cNvSpPr>
              <p:nvPr userDrawn="1"/>
            </p:nvSpPr>
            <p:spPr bwMode="auto">
              <a:xfrm flipH="1" flipV="1">
                <a:off x="15003463" y="237013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51" name="Line 1548"/>
              <p:cNvSpPr>
                <a:spLocks noChangeShapeType="1"/>
              </p:cNvSpPr>
              <p:nvPr userDrawn="1"/>
            </p:nvSpPr>
            <p:spPr bwMode="auto">
              <a:xfrm flipH="1" flipV="1">
                <a:off x="14993938" y="2359026"/>
                <a:ext cx="952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52" name="Line 1549"/>
              <p:cNvSpPr>
                <a:spLocks noChangeShapeType="1"/>
              </p:cNvSpPr>
              <p:nvPr userDrawn="1"/>
            </p:nvSpPr>
            <p:spPr bwMode="auto">
              <a:xfrm flipH="1" flipV="1">
                <a:off x="14986000" y="2344738"/>
                <a:ext cx="793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53" name="Line 1550"/>
              <p:cNvSpPr>
                <a:spLocks noChangeShapeType="1"/>
              </p:cNvSpPr>
              <p:nvPr userDrawn="1"/>
            </p:nvSpPr>
            <p:spPr bwMode="auto">
              <a:xfrm flipH="1" flipV="1">
                <a:off x="14981238" y="2328863"/>
                <a:ext cx="4762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54" name="Line 1551"/>
              <p:cNvSpPr>
                <a:spLocks noChangeShapeType="1"/>
              </p:cNvSpPr>
              <p:nvPr userDrawn="1"/>
            </p:nvSpPr>
            <p:spPr bwMode="auto">
              <a:xfrm flipH="1" flipV="1">
                <a:off x="14978063" y="2305051"/>
                <a:ext cx="3175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55" name="Line 1552"/>
              <p:cNvSpPr>
                <a:spLocks noChangeShapeType="1"/>
              </p:cNvSpPr>
              <p:nvPr userDrawn="1"/>
            </p:nvSpPr>
            <p:spPr bwMode="auto">
              <a:xfrm flipV="1">
                <a:off x="14978063" y="2279651"/>
                <a:ext cx="1587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56" name="Line 1553"/>
              <p:cNvSpPr>
                <a:spLocks noChangeShapeType="1"/>
              </p:cNvSpPr>
              <p:nvPr userDrawn="1"/>
            </p:nvSpPr>
            <p:spPr bwMode="auto">
              <a:xfrm flipV="1">
                <a:off x="14979650" y="2257426"/>
                <a:ext cx="3175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57" name="Line 1554"/>
              <p:cNvSpPr>
                <a:spLocks noChangeShapeType="1"/>
              </p:cNvSpPr>
              <p:nvPr userDrawn="1"/>
            </p:nvSpPr>
            <p:spPr bwMode="auto">
              <a:xfrm flipV="1">
                <a:off x="14982825" y="2238376"/>
                <a:ext cx="476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58" name="Line 1555"/>
              <p:cNvSpPr>
                <a:spLocks noChangeShapeType="1"/>
              </p:cNvSpPr>
              <p:nvPr userDrawn="1"/>
            </p:nvSpPr>
            <p:spPr bwMode="auto">
              <a:xfrm flipV="1">
                <a:off x="14987588" y="2224088"/>
                <a:ext cx="476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59" name="Line 1556"/>
              <p:cNvSpPr>
                <a:spLocks noChangeShapeType="1"/>
              </p:cNvSpPr>
              <p:nvPr userDrawn="1"/>
            </p:nvSpPr>
            <p:spPr bwMode="auto">
              <a:xfrm flipV="1">
                <a:off x="14992350" y="2216151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0" name="Line 1557"/>
              <p:cNvSpPr>
                <a:spLocks noChangeShapeType="1"/>
              </p:cNvSpPr>
              <p:nvPr userDrawn="1"/>
            </p:nvSpPr>
            <p:spPr bwMode="auto">
              <a:xfrm flipV="1">
                <a:off x="14995525" y="2212976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1" name="Line 1558"/>
              <p:cNvSpPr>
                <a:spLocks noChangeShapeType="1"/>
              </p:cNvSpPr>
              <p:nvPr userDrawn="1"/>
            </p:nvSpPr>
            <p:spPr bwMode="auto">
              <a:xfrm flipV="1">
                <a:off x="14997113" y="2209801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2" name="Line 1559"/>
              <p:cNvSpPr>
                <a:spLocks noChangeShapeType="1"/>
              </p:cNvSpPr>
              <p:nvPr userDrawn="1"/>
            </p:nvSpPr>
            <p:spPr bwMode="auto">
              <a:xfrm flipV="1">
                <a:off x="14998700" y="2206626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3" name="Line 1560"/>
              <p:cNvSpPr>
                <a:spLocks noChangeShapeType="1"/>
              </p:cNvSpPr>
              <p:nvPr userDrawn="1"/>
            </p:nvSpPr>
            <p:spPr bwMode="auto">
              <a:xfrm flipV="1">
                <a:off x="14998700" y="2201863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4" name="Line 1561"/>
              <p:cNvSpPr>
                <a:spLocks noChangeShapeType="1"/>
              </p:cNvSpPr>
              <p:nvPr userDrawn="1"/>
            </p:nvSpPr>
            <p:spPr bwMode="auto">
              <a:xfrm flipV="1">
                <a:off x="15000288" y="2195513"/>
                <a:ext cx="4762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5" name="Line 1562"/>
              <p:cNvSpPr>
                <a:spLocks noChangeShapeType="1"/>
              </p:cNvSpPr>
              <p:nvPr userDrawn="1"/>
            </p:nvSpPr>
            <p:spPr bwMode="auto">
              <a:xfrm flipV="1">
                <a:off x="15005050" y="2189163"/>
                <a:ext cx="635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6" name="Line 1563"/>
              <p:cNvSpPr>
                <a:spLocks noChangeShapeType="1"/>
              </p:cNvSpPr>
              <p:nvPr userDrawn="1"/>
            </p:nvSpPr>
            <p:spPr bwMode="auto">
              <a:xfrm flipV="1">
                <a:off x="15011400" y="2181226"/>
                <a:ext cx="793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7" name="Line 1564"/>
              <p:cNvSpPr>
                <a:spLocks noChangeShapeType="1"/>
              </p:cNvSpPr>
              <p:nvPr userDrawn="1"/>
            </p:nvSpPr>
            <p:spPr bwMode="auto">
              <a:xfrm flipV="1">
                <a:off x="15019338" y="2178051"/>
                <a:ext cx="63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8" name="Line 1565"/>
              <p:cNvSpPr>
                <a:spLocks noChangeShapeType="1"/>
              </p:cNvSpPr>
              <p:nvPr userDrawn="1"/>
            </p:nvSpPr>
            <p:spPr bwMode="auto">
              <a:xfrm flipV="1">
                <a:off x="15025688" y="2176463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9" name="Freeform 1566"/>
              <p:cNvSpPr>
                <a:spLocks/>
              </p:cNvSpPr>
              <p:nvPr userDrawn="1"/>
            </p:nvSpPr>
            <p:spPr bwMode="auto">
              <a:xfrm>
                <a:off x="15135225" y="2178051"/>
                <a:ext cx="142875" cy="219075"/>
              </a:xfrm>
              <a:custGeom>
                <a:avLst/>
                <a:gdLst>
                  <a:gd name="T0" fmla="*/ 25 w 180"/>
                  <a:gd name="T1" fmla="*/ 0 h 277"/>
                  <a:gd name="T2" fmla="*/ 35 w 180"/>
                  <a:gd name="T3" fmla="*/ 7 h 277"/>
                  <a:gd name="T4" fmla="*/ 38 w 180"/>
                  <a:gd name="T5" fmla="*/ 13 h 277"/>
                  <a:gd name="T6" fmla="*/ 39 w 180"/>
                  <a:gd name="T7" fmla="*/ 23 h 277"/>
                  <a:gd name="T8" fmla="*/ 39 w 180"/>
                  <a:gd name="T9" fmla="*/ 36 h 277"/>
                  <a:gd name="T10" fmla="*/ 38 w 180"/>
                  <a:gd name="T11" fmla="*/ 57 h 277"/>
                  <a:gd name="T12" fmla="*/ 37 w 180"/>
                  <a:gd name="T13" fmla="*/ 75 h 277"/>
                  <a:gd name="T14" fmla="*/ 35 w 180"/>
                  <a:gd name="T15" fmla="*/ 82 h 277"/>
                  <a:gd name="T16" fmla="*/ 37 w 180"/>
                  <a:gd name="T17" fmla="*/ 88 h 277"/>
                  <a:gd name="T18" fmla="*/ 37 w 180"/>
                  <a:gd name="T19" fmla="*/ 92 h 277"/>
                  <a:gd name="T20" fmla="*/ 38 w 180"/>
                  <a:gd name="T21" fmla="*/ 93 h 277"/>
                  <a:gd name="T22" fmla="*/ 44 w 180"/>
                  <a:gd name="T23" fmla="*/ 90 h 277"/>
                  <a:gd name="T24" fmla="*/ 52 w 180"/>
                  <a:gd name="T25" fmla="*/ 79 h 277"/>
                  <a:gd name="T26" fmla="*/ 66 w 180"/>
                  <a:gd name="T27" fmla="*/ 61 h 277"/>
                  <a:gd name="T28" fmla="*/ 89 w 180"/>
                  <a:gd name="T29" fmla="*/ 34 h 277"/>
                  <a:gd name="T30" fmla="*/ 113 w 180"/>
                  <a:gd name="T31" fmla="*/ 16 h 277"/>
                  <a:gd name="T32" fmla="*/ 128 w 180"/>
                  <a:gd name="T33" fmla="*/ 6 h 277"/>
                  <a:gd name="T34" fmla="*/ 141 w 180"/>
                  <a:gd name="T35" fmla="*/ 2 h 277"/>
                  <a:gd name="T36" fmla="*/ 154 w 180"/>
                  <a:gd name="T37" fmla="*/ 2 h 277"/>
                  <a:gd name="T38" fmla="*/ 166 w 180"/>
                  <a:gd name="T39" fmla="*/ 6 h 277"/>
                  <a:gd name="T40" fmla="*/ 176 w 180"/>
                  <a:gd name="T41" fmla="*/ 12 h 277"/>
                  <a:gd name="T42" fmla="*/ 180 w 180"/>
                  <a:gd name="T43" fmla="*/ 19 h 277"/>
                  <a:gd name="T44" fmla="*/ 180 w 180"/>
                  <a:gd name="T45" fmla="*/ 23 h 277"/>
                  <a:gd name="T46" fmla="*/ 180 w 180"/>
                  <a:gd name="T47" fmla="*/ 26 h 277"/>
                  <a:gd name="T48" fmla="*/ 178 w 180"/>
                  <a:gd name="T49" fmla="*/ 27 h 277"/>
                  <a:gd name="T50" fmla="*/ 173 w 180"/>
                  <a:gd name="T51" fmla="*/ 30 h 277"/>
                  <a:gd name="T52" fmla="*/ 169 w 180"/>
                  <a:gd name="T53" fmla="*/ 30 h 277"/>
                  <a:gd name="T54" fmla="*/ 166 w 180"/>
                  <a:gd name="T55" fmla="*/ 31 h 277"/>
                  <a:gd name="T56" fmla="*/ 165 w 180"/>
                  <a:gd name="T57" fmla="*/ 31 h 277"/>
                  <a:gd name="T58" fmla="*/ 147 w 180"/>
                  <a:gd name="T59" fmla="*/ 33 h 277"/>
                  <a:gd name="T60" fmla="*/ 130 w 180"/>
                  <a:gd name="T61" fmla="*/ 40 h 277"/>
                  <a:gd name="T62" fmla="*/ 114 w 180"/>
                  <a:gd name="T63" fmla="*/ 52 h 277"/>
                  <a:gd name="T64" fmla="*/ 92 w 180"/>
                  <a:gd name="T65" fmla="*/ 76 h 277"/>
                  <a:gd name="T66" fmla="*/ 75 w 180"/>
                  <a:gd name="T67" fmla="*/ 106 h 277"/>
                  <a:gd name="T68" fmla="*/ 61 w 180"/>
                  <a:gd name="T69" fmla="*/ 138 h 277"/>
                  <a:gd name="T70" fmla="*/ 49 w 180"/>
                  <a:gd name="T71" fmla="*/ 172 h 277"/>
                  <a:gd name="T72" fmla="*/ 42 w 180"/>
                  <a:gd name="T73" fmla="*/ 206 h 277"/>
                  <a:gd name="T74" fmla="*/ 41 w 180"/>
                  <a:gd name="T75" fmla="*/ 237 h 277"/>
                  <a:gd name="T76" fmla="*/ 39 w 180"/>
                  <a:gd name="T77" fmla="*/ 253 h 277"/>
                  <a:gd name="T78" fmla="*/ 38 w 180"/>
                  <a:gd name="T79" fmla="*/ 264 h 277"/>
                  <a:gd name="T80" fmla="*/ 34 w 180"/>
                  <a:gd name="T81" fmla="*/ 272 h 277"/>
                  <a:gd name="T82" fmla="*/ 31 w 180"/>
                  <a:gd name="T83" fmla="*/ 275 h 277"/>
                  <a:gd name="T84" fmla="*/ 27 w 180"/>
                  <a:gd name="T85" fmla="*/ 277 h 277"/>
                  <a:gd name="T86" fmla="*/ 23 w 180"/>
                  <a:gd name="T87" fmla="*/ 277 h 277"/>
                  <a:gd name="T88" fmla="*/ 18 w 180"/>
                  <a:gd name="T89" fmla="*/ 277 h 277"/>
                  <a:gd name="T90" fmla="*/ 13 w 180"/>
                  <a:gd name="T91" fmla="*/ 274 h 277"/>
                  <a:gd name="T92" fmla="*/ 0 w 180"/>
                  <a:gd name="T93" fmla="*/ 268 h 277"/>
                  <a:gd name="T94" fmla="*/ 0 w 180"/>
                  <a:gd name="T95" fmla="*/ 143 h 277"/>
                  <a:gd name="T96" fmla="*/ 0 w 180"/>
                  <a:gd name="T97" fmla="*/ 98 h 277"/>
                  <a:gd name="T98" fmla="*/ 1 w 180"/>
                  <a:gd name="T99" fmla="*/ 61 h 277"/>
                  <a:gd name="T100" fmla="*/ 3 w 180"/>
                  <a:gd name="T101" fmla="*/ 34 h 277"/>
                  <a:gd name="T102" fmla="*/ 6 w 180"/>
                  <a:gd name="T103" fmla="*/ 16 h 277"/>
                  <a:gd name="T104" fmla="*/ 7 w 180"/>
                  <a:gd name="T105" fmla="*/ 9 h 277"/>
                  <a:gd name="T106" fmla="*/ 17 w 180"/>
                  <a:gd name="T107" fmla="*/ 0 h 277"/>
                  <a:gd name="T108" fmla="*/ 25 w 180"/>
                  <a:gd name="T109" fmla="*/ 0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80" h="277">
                    <a:moveTo>
                      <a:pt x="25" y="0"/>
                    </a:moveTo>
                    <a:lnTo>
                      <a:pt x="35" y="7"/>
                    </a:lnTo>
                    <a:lnTo>
                      <a:pt x="38" y="13"/>
                    </a:lnTo>
                    <a:lnTo>
                      <a:pt x="39" y="23"/>
                    </a:lnTo>
                    <a:lnTo>
                      <a:pt x="39" y="36"/>
                    </a:lnTo>
                    <a:lnTo>
                      <a:pt x="38" y="57"/>
                    </a:lnTo>
                    <a:lnTo>
                      <a:pt x="37" y="75"/>
                    </a:lnTo>
                    <a:lnTo>
                      <a:pt x="35" y="82"/>
                    </a:lnTo>
                    <a:lnTo>
                      <a:pt x="37" y="88"/>
                    </a:lnTo>
                    <a:lnTo>
                      <a:pt x="37" y="92"/>
                    </a:lnTo>
                    <a:lnTo>
                      <a:pt x="38" y="93"/>
                    </a:lnTo>
                    <a:lnTo>
                      <a:pt x="44" y="90"/>
                    </a:lnTo>
                    <a:lnTo>
                      <a:pt x="52" y="79"/>
                    </a:lnTo>
                    <a:lnTo>
                      <a:pt x="66" y="61"/>
                    </a:lnTo>
                    <a:lnTo>
                      <a:pt x="89" y="34"/>
                    </a:lnTo>
                    <a:lnTo>
                      <a:pt x="113" y="16"/>
                    </a:lnTo>
                    <a:lnTo>
                      <a:pt x="128" y="6"/>
                    </a:lnTo>
                    <a:lnTo>
                      <a:pt x="141" y="2"/>
                    </a:lnTo>
                    <a:lnTo>
                      <a:pt x="154" y="2"/>
                    </a:lnTo>
                    <a:lnTo>
                      <a:pt x="166" y="6"/>
                    </a:lnTo>
                    <a:lnTo>
                      <a:pt x="176" y="12"/>
                    </a:lnTo>
                    <a:lnTo>
                      <a:pt x="180" y="19"/>
                    </a:lnTo>
                    <a:lnTo>
                      <a:pt x="180" y="23"/>
                    </a:lnTo>
                    <a:lnTo>
                      <a:pt x="180" y="26"/>
                    </a:lnTo>
                    <a:lnTo>
                      <a:pt x="178" y="27"/>
                    </a:lnTo>
                    <a:lnTo>
                      <a:pt x="173" y="30"/>
                    </a:lnTo>
                    <a:lnTo>
                      <a:pt x="169" y="30"/>
                    </a:lnTo>
                    <a:lnTo>
                      <a:pt x="166" y="31"/>
                    </a:lnTo>
                    <a:lnTo>
                      <a:pt x="165" y="31"/>
                    </a:lnTo>
                    <a:lnTo>
                      <a:pt x="147" y="33"/>
                    </a:lnTo>
                    <a:lnTo>
                      <a:pt x="130" y="40"/>
                    </a:lnTo>
                    <a:lnTo>
                      <a:pt x="114" y="52"/>
                    </a:lnTo>
                    <a:lnTo>
                      <a:pt x="92" y="76"/>
                    </a:lnTo>
                    <a:lnTo>
                      <a:pt x="75" y="106"/>
                    </a:lnTo>
                    <a:lnTo>
                      <a:pt x="61" y="138"/>
                    </a:lnTo>
                    <a:lnTo>
                      <a:pt x="49" y="172"/>
                    </a:lnTo>
                    <a:lnTo>
                      <a:pt x="42" y="206"/>
                    </a:lnTo>
                    <a:lnTo>
                      <a:pt x="41" y="237"/>
                    </a:lnTo>
                    <a:lnTo>
                      <a:pt x="39" y="253"/>
                    </a:lnTo>
                    <a:lnTo>
                      <a:pt x="38" y="264"/>
                    </a:lnTo>
                    <a:lnTo>
                      <a:pt x="34" y="272"/>
                    </a:lnTo>
                    <a:lnTo>
                      <a:pt x="31" y="275"/>
                    </a:lnTo>
                    <a:lnTo>
                      <a:pt x="27" y="277"/>
                    </a:lnTo>
                    <a:lnTo>
                      <a:pt x="23" y="277"/>
                    </a:lnTo>
                    <a:lnTo>
                      <a:pt x="18" y="277"/>
                    </a:lnTo>
                    <a:lnTo>
                      <a:pt x="13" y="274"/>
                    </a:lnTo>
                    <a:lnTo>
                      <a:pt x="0" y="268"/>
                    </a:lnTo>
                    <a:lnTo>
                      <a:pt x="0" y="143"/>
                    </a:lnTo>
                    <a:lnTo>
                      <a:pt x="0" y="98"/>
                    </a:lnTo>
                    <a:lnTo>
                      <a:pt x="1" y="61"/>
                    </a:lnTo>
                    <a:lnTo>
                      <a:pt x="3" y="34"/>
                    </a:lnTo>
                    <a:lnTo>
                      <a:pt x="6" y="16"/>
                    </a:lnTo>
                    <a:lnTo>
                      <a:pt x="7" y="9"/>
                    </a:lnTo>
                    <a:lnTo>
                      <a:pt x="17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70" name="Line 1567"/>
              <p:cNvSpPr>
                <a:spLocks noChangeShapeType="1"/>
              </p:cNvSpPr>
              <p:nvPr userDrawn="1"/>
            </p:nvSpPr>
            <p:spPr bwMode="auto">
              <a:xfrm flipH="1">
                <a:off x="15251113" y="2201863"/>
                <a:ext cx="142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71" name="Line 1568"/>
              <p:cNvSpPr>
                <a:spLocks noChangeShapeType="1"/>
              </p:cNvSpPr>
              <p:nvPr userDrawn="1"/>
            </p:nvSpPr>
            <p:spPr bwMode="auto">
              <a:xfrm flipH="1">
                <a:off x="15238413" y="2203451"/>
                <a:ext cx="1270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72" name="Line 1569"/>
              <p:cNvSpPr>
                <a:spLocks noChangeShapeType="1"/>
              </p:cNvSpPr>
              <p:nvPr userDrawn="1"/>
            </p:nvSpPr>
            <p:spPr bwMode="auto">
              <a:xfrm flipH="1">
                <a:off x="15225713" y="2208213"/>
                <a:ext cx="1270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73" name="Line 1570"/>
              <p:cNvSpPr>
                <a:spLocks noChangeShapeType="1"/>
              </p:cNvSpPr>
              <p:nvPr userDrawn="1"/>
            </p:nvSpPr>
            <p:spPr bwMode="auto">
              <a:xfrm flipH="1">
                <a:off x="15208250" y="2219326"/>
                <a:ext cx="1746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74" name="Line 1571"/>
              <p:cNvSpPr>
                <a:spLocks noChangeShapeType="1"/>
              </p:cNvSpPr>
              <p:nvPr userDrawn="1"/>
            </p:nvSpPr>
            <p:spPr bwMode="auto">
              <a:xfrm flipH="1">
                <a:off x="15193963" y="2238376"/>
                <a:ext cx="14287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75" name="Line 1572"/>
              <p:cNvSpPr>
                <a:spLocks noChangeShapeType="1"/>
              </p:cNvSpPr>
              <p:nvPr userDrawn="1"/>
            </p:nvSpPr>
            <p:spPr bwMode="auto">
              <a:xfrm flipH="1">
                <a:off x="15182850" y="2262188"/>
                <a:ext cx="11112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76" name="Line 1573"/>
              <p:cNvSpPr>
                <a:spLocks noChangeShapeType="1"/>
              </p:cNvSpPr>
              <p:nvPr userDrawn="1"/>
            </p:nvSpPr>
            <p:spPr bwMode="auto">
              <a:xfrm flipH="1">
                <a:off x="15174913" y="2287588"/>
                <a:ext cx="7937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77" name="Line 1574"/>
              <p:cNvSpPr>
                <a:spLocks noChangeShapeType="1"/>
              </p:cNvSpPr>
              <p:nvPr userDrawn="1"/>
            </p:nvSpPr>
            <p:spPr bwMode="auto">
              <a:xfrm flipH="1">
                <a:off x="15168563" y="2314576"/>
                <a:ext cx="6350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78" name="Line 1575"/>
              <p:cNvSpPr>
                <a:spLocks noChangeShapeType="1"/>
              </p:cNvSpPr>
              <p:nvPr userDrawn="1"/>
            </p:nvSpPr>
            <p:spPr bwMode="auto">
              <a:xfrm flipH="1">
                <a:off x="15166975" y="2341563"/>
                <a:ext cx="1587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79" name="Line 1576"/>
              <p:cNvSpPr>
                <a:spLocks noChangeShapeType="1"/>
              </p:cNvSpPr>
              <p:nvPr userDrawn="1"/>
            </p:nvSpPr>
            <p:spPr bwMode="auto">
              <a:xfrm flipH="1">
                <a:off x="15166975" y="2365376"/>
                <a:ext cx="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80" name="Line 1577"/>
              <p:cNvSpPr>
                <a:spLocks noChangeShapeType="1"/>
              </p:cNvSpPr>
              <p:nvPr userDrawn="1"/>
            </p:nvSpPr>
            <p:spPr bwMode="auto">
              <a:xfrm flipH="1">
                <a:off x="15165388" y="2378076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81" name="Line 1578"/>
              <p:cNvSpPr>
                <a:spLocks noChangeShapeType="1"/>
              </p:cNvSpPr>
              <p:nvPr userDrawn="1"/>
            </p:nvSpPr>
            <p:spPr bwMode="auto">
              <a:xfrm flipH="1">
                <a:off x="15162213" y="2386013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82" name="Line 1579"/>
              <p:cNvSpPr>
                <a:spLocks noChangeShapeType="1"/>
              </p:cNvSpPr>
              <p:nvPr userDrawn="1"/>
            </p:nvSpPr>
            <p:spPr bwMode="auto">
              <a:xfrm flipH="1">
                <a:off x="15160625" y="2393951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83" name="Line 1580"/>
              <p:cNvSpPr>
                <a:spLocks noChangeShapeType="1"/>
              </p:cNvSpPr>
              <p:nvPr userDrawn="1"/>
            </p:nvSpPr>
            <p:spPr bwMode="auto">
              <a:xfrm flipH="1">
                <a:off x="15155863" y="2395538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84" name="Line 1581"/>
              <p:cNvSpPr>
                <a:spLocks noChangeShapeType="1"/>
              </p:cNvSpPr>
              <p:nvPr userDrawn="1"/>
            </p:nvSpPr>
            <p:spPr bwMode="auto">
              <a:xfrm flipH="1">
                <a:off x="15152688" y="2397126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85" name="Line 1582"/>
              <p:cNvSpPr>
                <a:spLocks noChangeShapeType="1"/>
              </p:cNvSpPr>
              <p:nvPr userDrawn="1"/>
            </p:nvSpPr>
            <p:spPr bwMode="auto">
              <a:xfrm flipH="1">
                <a:off x="15149513" y="2397126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86" name="Line 1583"/>
              <p:cNvSpPr>
                <a:spLocks noChangeShapeType="1"/>
              </p:cNvSpPr>
              <p:nvPr userDrawn="1"/>
            </p:nvSpPr>
            <p:spPr bwMode="auto">
              <a:xfrm flipH="1" flipV="1">
                <a:off x="15144750" y="2393951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87" name="Line 1584"/>
              <p:cNvSpPr>
                <a:spLocks noChangeShapeType="1"/>
              </p:cNvSpPr>
              <p:nvPr userDrawn="1"/>
            </p:nvSpPr>
            <p:spPr bwMode="auto">
              <a:xfrm flipH="1" flipV="1">
                <a:off x="15135225" y="2390776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88" name="Line 1585"/>
              <p:cNvSpPr>
                <a:spLocks noChangeShapeType="1"/>
              </p:cNvSpPr>
              <p:nvPr userDrawn="1"/>
            </p:nvSpPr>
            <p:spPr bwMode="auto">
              <a:xfrm flipV="1">
                <a:off x="15135225" y="2290763"/>
                <a:ext cx="0" cy="1000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89" name="Line 1586"/>
              <p:cNvSpPr>
                <a:spLocks noChangeShapeType="1"/>
              </p:cNvSpPr>
              <p:nvPr userDrawn="1"/>
            </p:nvSpPr>
            <p:spPr bwMode="auto">
              <a:xfrm flipV="1">
                <a:off x="15135225" y="2254251"/>
                <a:ext cx="0" cy="365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90" name="Line 1587"/>
              <p:cNvSpPr>
                <a:spLocks noChangeShapeType="1"/>
              </p:cNvSpPr>
              <p:nvPr userDrawn="1"/>
            </p:nvSpPr>
            <p:spPr bwMode="auto">
              <a:xfrm flipV="1">
                <a:off x="15135225" y="2225676"/>
                <a:ext cx="1587" cy="285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91" name="Line 1588"/>
              <p:cNvSpPr>
                <a:spLocks noChangeShapeType="1"/>
              </p:cNvSpPr>
              <p:nvPr userDrawn="1"/>
            </p:nvSpPr>
            <p:spPr bwMode="auto">
              <a:xfrm flipV="1">
                <a:off x="15136813" y="2205038"/>
                <a:ext cx="0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92" name="Line 1589"/>
              <p:cNvSpPr>
                <a:spLocks noChangeShapeType="1"/>
              </p:cNvSpPr>
              <p:nvPr userDrawn="1"/>
            </p:nvSpPr>
            <p:spPr bwMode="auto">
              <a:xfrm flipV="1">
                <a:off x="15136813" y="2189163"/>
                <a:ext cx="3175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93" name="Line 1590"/>
              <p:cNvSpPr>
                <a:spLocks noChangeShapeType="1"/>
              </p:cNvSpPr>
              <p:nvPr userDrawn="1"/>
            </p:nvSpPr>
            <p:spPr bwMode="auto">
              <a:xfrm flipV="1">
                <a:off x="15139988" y="2184401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94" name="Line 1591"/>
              <p:cNvSpPr>
                <a:spLocks noChangeShapeType="1"/>
              </p:cNvSpPr>
              <p:nvPr userDrawn="1"/>
            </p:nvSpPr>
            <p:spPr bwMode="auto">
              <a:xfrm flipV="1">
                <a:off x="15141575" y="2178051"/>
                <a:ext cx="635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95" name="Line 1592"/>
              <p:cNvSpPr>
                <a:spLocks noChangeShapeType="1"/>
              </p:cNvSpPr>
              <p:nvPr userDrawn="1"/>
            </p:nvSpPr>
            <p:spPr bwMode="auto">
              <a:xfrm>
                <a:off x="15147925" y="2178051"/>
                <a:ext cx="793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96" name="Line 1593"/>
              <p:cNvSpPr>
                <a:spLocks noChangeShapeType="1"/>
              </p:cNvSpPr>
              <p:nvPr userDrawn="1"/>
            </p:nvSpPr>
            <p:spPr bwMode="auto">
              <a:xfrm>
                <a:off x="15155863" y="2178051"/>
                <a:ext cx="793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97" name="Line 1594"/>
              <p:cNvSpPr>
                <a:spLocks noChangeShapeType="1"/>
              </p:cNvSpPr>
              <p:nvPr userDrawn="1"/>
            </p:nvSpPr>
            <p:spPr bwMode="auto">
              <a:xfrm>
                <a:off x="15163800" y="2182813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98" name="Line 1595"/>
              <p:cNvSpPr>
                <a:spLocks noChangeShapeType="1"/>
              </p:cNvSpPr>
              <p:nvPr userDrawn="1"/>
            </p:nvSpPr>
            <p:spPr bwMode="auto">
              <a:xfrm>
                <a:off x="15165388" y="2187576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99" name="Line 1596"/>
              <p:cNvSpPr>
                <a:spLocks noChangeShapeType="1"/>
              </p:cNvSpPr>
              <p:nvPr userDrawn="1"/>
            </p:nvSpPr>
            <p:spPr bwMode="auto">
              <a:xfrm>
                <a:off x="15166975" y="2195513"/>
                <a:ext cx="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00" name="Line 1597"/>
              <p:cNvSpPr>
                <a:spLocks noChangeShapeType="1"/>
              </p:cNvSpPr>
              <p:nvPr userDrawn="1"/>
            </p:nvSpPr>
            <p:spPr bwMode="auto">
              <a:xfrm flipH="1">
                <a:off x="15165388" y="2205038"/>
                <a:ext cx="1587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01" name="Line 1598"/>
              <p:cNvSpPr>
                <a:spLocks noChangeShapeType="1"/>
              </p:cNvSpPr>
              <p:nvPr userDrawn="1"/>
            </p:nvSpPr>
            <p:spPr bwMode="auto">
              <a:xfrm flipH="1">
                <a:off x="15163800" y="2222501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02" name="Line 1599"/>
              <p:cNvSpPr>
                <a:spLocks noChangeShapeType="1"/>
              </p:cNvSpPr>
              <p:nvPr userDrawn="1"/>
            </p:nvSpPr>
            <p:spPr bwMode="auto">
              <a:xfrm flipH="1">
                <a:off x="15163800" y="2236788"/>
                <a:ext cx="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03" name="Line 1600"/>
              <p:cNvSpPr>
                <a:spLocks noChangeShapeType="1"/>
              </p:cNvSpPr>
              <p:nvPr userDrawn="1"/>
            </p:nvSpPr>
            <p:spPr bwMode="auto">
              <a:xfrm>
                <a:off x="15163800" y="224313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04" name="Line 1601"/>
              <p:cNvSpPr>
                <a:spLocks noChangeShapeType="1"/>
              </p:cNvSpPr>
              <p:nvPr userDrawn="1"/>
            </p:nvSpPr>
            <p:spPr bwMode="auto">
              <a:xfrm>
                <a:off x="15163800" y="2246313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05" name="Line 1602"/>
              <p:cNvSpPr>
                <a:spLocks noChangeShapeType="1"/>
              </p:cNvSpPr>
              <p:nvPr userDrawn="1"/>
            </p:nvSpPr>
            <p:spPr bwMode="auto">
              <a:xfrm>
                <a:off x="15163800" y="2249488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06" name="Line 1603"/>
              <p:cNvSpPr>
                <a:spLocks noChangeShapeType="1"/>
              </p:cNvSpPr>
              <p:nvPr userDrawn="1"/>
            </p:nvSpPr>
            <p:spPr bwMode="auto">
              <a:xfrm flipV="1">
                <a:off x="15165388" y="2249488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07" name="Line 1604"/>
              <p:cNvSpPr>
                <a:spLocks noChangeShapeType="1"/>
              </p:cNvSpPr>
              <p:nvPr userDrawn="1"/>
            </p:nvSpPr>
            <p:spPr bwMode="auto">
              <a:xfrm flipV="1">
                <a:off x="15170150" y="2239963"/>
                <a:ext cx="635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08" name="Line 1605"/>
              <p:cNvSpPr>
                <a:spLocks noChangeShapeType="1"/>
              </p:cNvSpPr>
              <p:nvPr userDrawn="1"/>
            </p:nvSpPr>
            <p:spPr bwMode="auto">
              <a:xfrm flipV="1">
                <a:off x="15176500" y="2225676"/>
                <a:ext cx="1111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09" name="Line 1606"/>
              <p:cNvSpPr>
                <a:spLocks noChangeShapeType="1"/>
              </p:cNvSpPr>
              <p:nvPr userDrawn="1"/>
            </p:nvSpPr>
            <p:spPr bwMode="auto">
              <a:xfrm flipV="1">
                <a:off x="15187613" y="2205038"/>
                <a:ext cx="17462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0" name="Line 1607"/>
              <p:cNvSpPr>
                <a:spLocks noChangeShapeType="1"/>
              </p:cNvSpPr>
              <p:nvPr userDrawn="1"/>
            </p:nvSpPr>
            <p:spPr bwMode="auto">
              <a:xfrm flipV="1">
                <a:off x="15205075" y="2189163"/>
                <a:ext cx="1905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1" name="Line 1608"/>
              <p:cNvSpPr>
                <a:spLocks noChangeShapeType="1"/>
              </p:cNvSpPr>
              <p:nvPr userDrawn="1"/>
            </p:nvSpPr>
            <p:spPr bwMode="auto">
              <a:xfrm flipV="1">
                <a:off x="15224125" y="2181226"/>
                <a:ext cx="1270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2" name="Line 1609"/>
              <p:cNvSpPr>
                <a:spLocks noChangeShapeType="1"/>
              </p:cNvSpPr>
              <p:nvPr userDrawn="1"/>
            </p:nvSpPr>
            <p:spPr bwMode="auto">
              <a:xfrm flipV="1">
                <a:off x="15236825" y="2178051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3" name="Line 1610"/>
              <p:cNvSpPr>
                <a:spLocks noChangeShapeType="1"/>
              </p:cNvSpPr>
              <p:nvPr userDrawn="1"/>
            </p:nvSpPr>
            <p:spPr bwMode="auto">
              <a:xfrm>
                <a:off x="15246350" y="2178051"/>
                <a:ext cx="1111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4" name="Line 1611"/>
              <p:cNvSpPr>
                <a:spLocks noChangeShapeType="1"/>
              </p:cNvSpPr>
              <p:nvPr userDrawn="1"/>
            </p:nvSpPr>
            <p:spPr bwMode="auto">
              <a:xfrm>
                <a:off x="15257463" y="2178051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5" name="Line 1613"/>
              <p:cNvSpPr>
                <a:spLocks noChangeShapeType="1"/>
              </p:cNvSpPr>
              <p:nvPr userDrawn="1"/>
            </p:nvSpPr>
            <p:spPr bwMode="auto">
              <a:xfrm>
                <a:off x="15266987" y="2181226"/>
                <a:ext cx="793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6" name="Line 1614"/>
              <p:cNvSpPr>
                <a:spLocks noChangeShapeType="1"/>
              </p:cNvSpPr>
              <p:nvPr userDrawn="1"/>
            </p:nvSpPr>
            <p:spPr bwMode="auto">
              <a:xfrm>
                <a:off x="15274925" y="2185988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7" name="Line 1615"/>
              <p:cNvSpPr>
                <a:spLocks noChangeShapeType="1"/>
              </p:cNvSpPr>
              <p:nvPr userDrawn="1"/>
            </p:nvSpPr>
            <p:spPr bwMode="auto">
              <a:xfrm>
                <a:off x="15278100" y="219233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8" name="Line 1616"/>
              <p:cNvSpPr>
                <a:spLocks noChangeShapeType="1"/>
              </p:cNvSpPr>
              <p:nvPr userDrawn="1"/>
            </p:nvSpPr>
            <p:spPr bwMode="auto">
              <a:xfrm>
                <a:off x="15278100" y="2195513"/>
                <a:ext cx="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9" name="Line 1617"/>
              <p:cNvSpPr>
                <a:spLocks noChangeShapeType="1"/>
              </p:cNvSpPr>
              <p:nvPr userDrawn="1"/>
            </p:nvSpPr>
            <p:spPr bwMode="auto">
              <a:xfrm flipH="1">
                <a:off x="15276512" y="2197101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0" name="Line 1618"/>
              <p:cNvSpPr>
                <a:spLocks noChangeShapeType="1"/>
              </p:cNvSpPr>
              <p:nvPr userDrawn="1"/>
            </p:nvSpPr>
            <p:spPr bwMode="auto">
              <a:xfrm flipH="1">
                <a:off x="15273337" y="21986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1" name="Line 1619"/>
              <p:cNvSpPr>
                <a:spLocks noChangeShapeType="1"/>
              </p:cNvSpPr>
              <p:nvPr userDrawn="1"/>
            </p:nvSpPr>
            <p:spPr bwMode="auto">
              <a:xfrm flipH="1">
                <a:off x="15270162" y="2200276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2" name="Line 1620"/>
              <p:cNvSpPr>
                <a:spLocks noChangeShapeType="1"/>
              </p:cNvSpPr>
              <p:nvPr userDrawn="1"/>
            </p:nvSpPr>
            <p:spPr bwMode="auto">
              <a:xfrm flipH="1">
                <a:off x="15266987" y="2200276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3" name="Line 1621"/>
              <p:cNvSpPr>
                <a:spLocks noChangeShapeType="1"/>
              </p:cNvSpPr>
              <p:nvPr userDrawn="1"/>
            </p:nvSpPr>
            <p:spPr bwMode="auto">
              <a:xfrm flipH="1">
                <a:off x="15265400" y="2201863"/>
                <a:ext cx="1587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4" name="Freeform 1622"/>
              <p:cNvSpPr>
                <a:spLocks/>
              </p:cNvSpPr>
              <p:nvPr userDrawn="1"/>
            </p:nvSpPr>
            <p:spPr bwMode="auto">
              <a:xfrm>
                <a:off x="15303500" y="2178051"/>
                <a:ext cx="144462" cy="219075"/>
              </a:xfrm>
              <a:custGeom>
                <a:avLst/>
                <a:gdLst>
                  <a:gd name="T0" fmla="*/ 27 w 182"/>
                  <a:gd name="T1" fmla="*/ 0 h 277"/>
                  <a:gd name="T2" fmla="*/ 35 w 182"/>
                  <a:gd name="T3" fmla="*/ 7 h 277"/>
                  <a:gd name="T4" fmla="*/ 38 w 182"/>
                  <a:gd name="T5" fmla="*/ 13 h 277"/>
                  <a:gd name="T6" fmla="*/ 39 w 182"/>
                  <a:gd name="T7" fmla="*/ 23 h 277"/>
                  <a:gd name="T8" fmla="*/ 39 w 182"/>
                  <a:gd name="T9" fmla="*/ 36 h 277"/>
                  <a:gd name="T10" fmla="*/ 39 w 182"/>
                  <a:gd name="T11" fmla="*/ 57 h 277"/>
                  <a:gd name="T12" fmla="*/ 38 w 182"/>
                  <a:gd name="T13" fmla="*/ 75 h 277"/>
                  <a:gd name="T14" fmla="*/ 36 w 182"/>
                  <a:gd name="T15" fmla="*/ 82 h 277"/>
                  <a:gd name="T16" fmla="*/ 36 w 182"/>
                  <a:gd name="T17" fmla="*/ 88 h 277"/>
                  <a:gd name="T18" fmla="*/ 38 w 182"/>
                  <a:gd name="T19" fmla="*/ 92 h 277"/>
                  <a:gd name="T20" fmla="*/ 39 w 182"/>
                  <a:gd name="T21" fmla="*/ 93 h 277"/>
                  <a:gd name="T22" fmla="*/ 45 w 182"/>
                  <a:gd name="T23" fmla="*/ 90 h 277"/>
                  <a:gd name="T24" fmla="*/ 53 w 182"/>
                  <a:gd name="T25" fmla="*/ 79 h 277"/>
                  <a:gd name="T26" fmla="*/ 67 w 182"/>
                  <a:gd name="T27" fmla="*/ 61 h 277"/>
                  <a:gd name="T28" fmla="*/ 90 w 182"/>
                  <a:gd name="T29" fmla="*/ 34 h 277"/>
                  <a:gd name="T30" fmla="*/ 113 w 182"/>
                  <a:gd name="T31" fmla="*/ 16 h 277"/>
                  <a:gd name="T32" fmla="*/ 128 w 182"/>
                  <a:gd name="T33" fmla="*/ 6 h 277"/>
                  <a:gd name="T34" fmla="*/ 142 w 182"/>
                  <a:gd name="T35" fmla="*/ 2 h 277"/>
                  <a:gd name="T36" fmla="*/ 155 w 182"/>
                  <a:gd name="T37" fmla="*/ 2 h 277"/>
                  <a:gd name="T38" fmla="*/ 167 w 182"/>
                  <a:gd name="T39" fmla="*/ 6 h 277"/>
                  <a:gd name="T40" fmla="*/ 176 w 182"/>
                  <a:gd name="T41" fmla="*/ 12 h 277"/>
                  <a:gd name="T42" fmla="*/ 182 w 182"/>
                  <a:gd name="T43" fmla="*/ 19 h 277"/>
                  <a:gd name="T44" fmla="*/ 182 w 182"/>
                  <a:gd name="T45" fmla="*/ 23 h 277"/>
                  <a:gd name="T46" fmla="*/ 180 w 182"/>
                  <a:gd name="T47" fmla="*/ 26 h 277"/>
                  <a:gd name="T48" fmla="*/ 179 w 182"/>
                  <a:gd name="T49" fmla="*/ 27 h 277"/>
                  <a:gd name="T50" fmla="*/ 175 w 182"/>
                  <a:gd name="T51" fmla="*/ 30 h 277"/>
                  <a:gd name="T52" fmla="*/ 169 w 182"/>
                  <a:gd name="T53" fmla="*/ 30 h 277"/>
                  <a:gd name="T54" fmla="*/ 165 w 182"/>
                  <a:gd name="T55" fmla="*/ 31 h 277"/>
                  <a:gd name="T56" fmla="*/ 148 w 182"/>
                  <a:gd name="T57" fmla="*/ 33 h 277"/>
                  <a:gd name="T58" fmla="*/ 131 w 182"/>
                  <a:gd name="T59" fmla="*/ 40 h 277"/>
                  <a:gd name="T60" fmla="*/ 115 w 182"/>
                  <a:gd name="T61" fmla="*/ 52 h 277"/>
                  <a:gd name="T62" fmla="*/ 93 w 182"/>
                  <a:gd name="T63" fmla="*/ 76 h 277"/>
                  <a:gd name="T64" fmla="*/ 74 w 182"/>
                  <a:gd name="T65" fmla="*/ 106 h 277"/>
                  <a:gd name="T66" fmla="*/ 60 w 182"/>
                  <a:gd name="T67" fmla="*/ 138 h 277"/>
                  <a:gd name="T68" fmla="*/ 51 w 182"/>
                  <a:gd name="T69" fmla="*/ 172 h 277"/>
                  <a:gd name="T70" fmla="*/ 43 w 182"/>
                  <a:gd name="T71" fmla="*/ 206 h 277"/>
                  <a:gd name="T72" fmla="*/ 41 w 182"/>
                  <a:gd name="T73" fmla="*/ 237 h 277"/>
                  <a:gd name="T74" fmla="*/ 41 w 182"/>
                  <a:gd name="T75" fmla="*/ 253 h 277"/>
                  <a:gd name="T76" fmla="*/ 38 w 182"/>
                  <a:gd name="T77" fmla="*/ 264 h 277"/>
                  <a:gd name="T78" fmla="*/ 35 w 182"/>
                  <a:gd name="T79" fmla="*/ 272 h 277"/>
                  <a:gd name="T80" fmla="*/ 31 w 182"/>
                  <a:gd name="T81" fmla="*/ 275 h 277"/>
                  <a:gd name="T82" fmla="*/ 28 w 182"/>
                  <a:gd name="T83" fmla="*/ 277 h 277"/>
                  <a:gd name="T84" fmla="*/ 24 w 182"/>
                  <a:gd name="T85" fmla="*/ 277 h 277"/>
                  <a:gd name="T86" fmla="*/ 18 w 182"/>
                  <a:gd name="T87" fmla="*/ 277 h 277"/>
                  <a:gd name="T88" fmla="*/ 12 w 182"/>
                  <a:gd name="T89" fmla="*/ 274 h 277"/>
                  <a:gd name="T90" fmla="*/ 0 w 182"/>
                  <a:gd name="T91" fmla="*/ 268 h 277"/>
                  <a:gd name="T92" fmla="*/ 1 w 182"/>
                  <a:gd name="T93" fmla="*/ 143 h 277"/>
                  <a:gd name="T94" fmla="*/ 1 w 182"/>
                  <a:gd name="T95" fmla="*/ 98 h 277"/>
                  <a:gd name="T96" fmla="*/ 3 w 182"/>
                  <a:gd name="T97" fmla="*/ 61 h 277"/>
                  <a:gd name="T98" fmla="*/ 4 w 182"/>
                  <a:gd name="T99" fmla="*/ 34 h 277"/>
                  <a:gd name="T100" fmla="*/ 5 w 182"/>
                  <a:gd name="T101" fmla="*/ 16 h 277"/>
                  <a:gd name="T102" fmla="*/ 8 w 182"/>
                  <a:gd name="T103" fmla="*/ 9 h 277"/>
                  <a:gd name="T104" fmla="*/ 18 w 182"/>
                  <a:gd name="T105" fmla="*/ 0 h 277"/>
                  <a:gd name="T106" fmla="*/ 27 w 182"/>
                  <a:gd name="T107" fmla="*/ 0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82" h="277">
                    <a:moveTo>
                      <a:pt x="27" y="0"/>
                    </a:moveTo>
                    <a:lnTo>
                      <a:pt x="35" y="7"/>
                    </a:lnTo>
                    <a:lnTo>
                      <a:pt x="38" y="13"/>
                    </a:lnTo>
                    <a:lnTo>
                      <a:pt x="39" y="23"/>
                    </a:lnTo>
                    <a:lnTo>
                      <a:pt x="39" y="36"/>
                    </a:lnTo>
                    <a:lnTo>
                      <a:pt x="39" y="57"/>
                    </a:lnTo>
                    <a:lnTo>
                      <a:pt x="38" y="75"/>
                    </a:lnTo>
                    <a:lnTo>
                      <a:pt x="36" y="82"/>
                    </a:lnTo>
                    <a:lnTo>
                      <a:pt x="36" y="88"/>
                    </a:lnTo>
                    <a:lnTo>
                      <a:pt x="38" y="92"/>
                    </a:lnTo>
                    <a:lnTo>
                      <a:pt x="39" y="93"/>
                    </a:lnTo>
                    <a:lnTo>
                      <a:pt x="45" y="90"/>
                    </a:lnTo>
                    <a:lnTo>
                      <a:pt x="53" y="79"/>
                    </a:lnTo>
                    <a:lnTo>
                      <a:pt x="67" y="61"/>
                    </a:lnTo>
                    <a:lnTo>
                      <a:pt x="90" y="34"/>
                    </a:lnTo>
                    <a:lnTo>
                      <a:pt x="113" y="16"/>
                    </a:lnTo>
                    <a:lnTo>
                      <a:pt x="128" y="6"/>
                    </a:lnTo>
                    <a:lnTo>
                      <a:pt x="142" y="2"/>
                    </a:lnTo>
                    <a:lnTo>
                      <a:pt x="155" y="2"/>
                    </a:lnTo>
                    <a:lnTo>
                      <a:pt x="167" y="6"/>
                    </a:lnTo>
                    <a:lnTo>
                      <a:pt x="176" y="12"/>
                    </a:lnTo>
                    <a:lnTo>
                      <a:pt x="182" y="19"/>
                    </a:lnTo>
                    <a:lnTo>
                      <a:pt x="182" y="23"/>
                    </a:lnTo>
                    <a:lnTo>
                      <a:pt x="180" y="26"/>
                    </a:lnTo>
                    <a:lnTo>
                      <a:pt x="179" y="27"/>
                    </a:lnTo>
                    <a:lnTo>
                      <a:pt x="175" y="30"/>
                    </a:lnTo>
                    <a:lnTo>
                      <a:pt x="169" y="30"/>
                    </a:lnTo>
                    <a:lnTo>
                      <a:pt x="165" y="31"/>
                    </a:lnTo>
                    <a:lnTo>
                      <a:pt x="148" y="33"/>
                    </a:lnTo>
                    <a:lnTo>
                      <a:pt x="131" y="40"/>
                    </a:lnTo>
                    <a:lnTo>
                      <a:pt x="115" y="52"/>
                    </a:lnTo>
                    <a:lnTo>
                      <a:pt x="93" y="76"/>
                    </a:lnTo>
                    <a:lnTo>
                      <a:pt x="74" y="106"/>
                    </a:lnTo>
                    <a:lnTo>
                      <a:pt x="60" y="138"/>
                    </a:lnTo>
                    <a:lnTo>
                      <a:pt x="51" y="172"/>
                    </a:lnTo>
                    <a:lnTo>
                      <a:pt x="43" y="206"/>
                    </a:lnTo>
                    <a:lnTo>
                      <a:pt x="41" y="237"/>
                    </a:lnTo>
                    <a:lnTo>
                      <a:pt x="41" y="253"/>
                    </a:lnTo>
                    <a:lnTo>
                      <a:pt x="38" y="264"/>
                    </a:lnTo>
                    <a:lnTo>
                      <a:pt x="35" y="272"/>
                    </a:lnTo>
                    <a:lnTo>
                      <a:pt x="31" y="275"/>
                    </a:lnTo>
                    <a:lnTo>
                      <a:pt x="28" y="277"/>
                    </a:lnTo>
                    <a:lnTo>
                      <a:pt x="24" y="277"/>
                    </a:lnTo>
                    <a:lnTo>
                      <a:pt x="18" y="277"/>
                    </a:lnTo>
                    <a:lnTo>
                      <a:pt x="12" y="274"/>
                    </a:lnTo>
                    <a:lnTo>
                      <a:pt x="0" y="268"/>
                    </a:lnTo>
                    <a:lnTo>
                      <a:pt x="1" y="143"/>
                    </a:lnTo>
                    <a:lnTo>
                      <a:pt x="1" y="98"/>
                    </a:lnTo>
                    <a:lnTo>
                      <a:pt x="3" y="61"/>
                    </a:lnTo>
                    <a:lnTo>
                      <a:pt x="4" y="34"/>
                    </a:lnTo>
                    <a:lnTo>
                      <a:pt x="5" y="16"/>
                    </a:lnTo>
                    <a:lnTo>
                      <a:pt x="8" y="9"/>
                    </a:lnTo>
                    <a:lnTo>
                      <a:pt x="18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5" name="Line 1623"/>
              <p:cNvSpPr>
                <a:spLocks noChangeShapeType="1"/>
              </p:cNvSpPr>
              <p:nvPr userDrawn="1"/>
            </p:nvSpPr>
            <p:spPr bwMode="auto">
              <a:xfrm flipH="1">
                <a:off x="15420975" y="2201863"/>
                <a:ext cx="142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6" name="Line 1624"/>
              <p:cNvSpPr>
                <a:spLocks noChangeShapeType="1"/>
              </p:cNvSpPr>
              <p:nvPr userDrawn="1"/>
            </p:nvSpPr>
            <p:spPr bwMode="auto">
              <a:xfrm flipH="1">
                <a:off x="15408275" y="2203451"/>
                <a:ext cx="1270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7" name="Line 1625"/>
              <p:cNvSpPr>
                <a:spLocks noChangeShapeType="1"/>
              </p:cNvSpPr>
              <p:nvPr userDrawn="1"/>
            </p:nvSpPr>
            <p:spPr bwMode="auto">
              <a:xfrm flipH="1">
                <a:off x="15395575" y="2208213"/>
                <a:ext cx="1270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8" name="Line 1626"/>
              <p:cNvSpPr>
                <a:spLocks noChangeShapeType="1"/>
              </p:cNvSpPr>
              <p:nvPr userDrawn="1"/>
            </p:nvSpPr>
            <p:spPr bwMode="auto">
              <a:xfrm flipH="1">
                <a:off x="15378112" y="2219326"/>
                <a:ext cx="1746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9" name="Line 1627"/>
              <p:cNvSpPr>
                <a:spLocks noChangeShapeType="1"/>
              </p:cNvSpPr>
              <p:nvPr userDrawn="1"/>
            </p:nvSpPr>
            <p:spPr bwMode="auto">
              <a:xfrm flipH="1">
                <a:off x="15363825" y="2238376"/>
                <a:ext cx="14287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0" name="Line 1628"/>
              <p:cNvSpPr>
                <a:spLocks noChangeShapeType="1"/>
              </p:cNvSpPr>
              <p:nvPr userDrawn="1"/>
            </p:nvSpPr>
            <p:spPr bwMode="auto">
              <a:xfrm flipH="1">
                <a:off x="15352712" y="2262188"/>
                <a:ext cx="11112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1" name="Line 1629"/>
              <p:cNvSpPr>
                <a:spLocks noChangeShapeType="1"/>
              </p:cNvSpPr>
              <p:nvPr userDrawn="1"/>
            </p:nvSpPr>
            <p:spPr bwMode="auto">
              <a:xfrm flipH="1">
                <a:off x="15344775" y="2287588"/>
                <a:ext cx="7937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2" name="Line 1630"/>
              <p:cNvSpPr>
                <a:spLocks noChangeShapeType="1"/>
              </p:cNvSpPr>
              <p:nvPr userDrawn="1"/>
            </p:nvSpPr>
            <p:spPr bwMode="auto">
              <a:xfrm flipH="1">
                <a:off x="15338425" y="2314576"/>
                <a:ext cx="6350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3" name="Line 1631"/>
              <p:cNvSpPr>
                <a:spLocks noChangeShapeType="1"/>
              </p:cNvSpPr>
              <p:nvPr userDrawn="1"/>
            </p:nvSpPr>
            <p:spPr bwMode="auto">
              <a:xfrm flipH="1">
                <a:off x="15336837" y="2341563"/>
                <a:ext cx="1587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4" name="Line 1632"/>
              <p:cNvSpPr>
                <a:spLocks noChangeShapeType="1"/>
              </p:cNvSpPr>
              <p:nvPr userDrawn="1"/>
            </p:nvSpPr>
            <p:spPr bwMode="auto">
              <a:xfrm>
                <a:off x="15336837" y="2365376"/>
                <a:ext cx="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5" name="Line 1633"/>
              <p:cNvSpPr>
                <a:spLocks noChangeShapeType="1"/>
              </p:cNvSpPr>
              <p:nvPr userDrawn="1"/>
            </p:nvSpPr>
            <p:spPr bwMode="auto">
              <a:xfrm flipH="1">
                <a:off x="15333662" y="2378076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6" name="Line 1634"/>
              <p:cNvSpPr>
                <a:spLocks noChangeShapeType="1"/>
              </p:cNvSpPr>
              <p:nvPr userDrawn="1"/>
            </p:nvSpPr>
            <p:spPr bwMode="auto">
              <a:xfrm flipH="1">
                <a:off x="15332075" y="2386013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7" name="Line 1635"/>
              <p:cNvSpPr>
                <a:spLocks noChangeShapeType="1"/>
              </p:cNvSpPr>
              <p:nvPr userDrawn="1"/>
            </p:nvSpPr>
            <p:spPr bwMode="auto">
              <a:xfrm flipH="1">
                <a:off x="15328900" y="2393951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8" name="Line 1636"/>
              <p:cNvSpPr>
                <a:spLocks noChangeShapeType="1"/>
              </p:cNvSpPr>
              <p:nvPr userDrawn="1"/>
            </p:nvSpPr>
            <p:spPr bwMode="auto">
              <a:xfrm flipH="1">
                <a:off x="15325725" y="239553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9" name="Line 1637"/>
              <p:cNvSpPr>
                <a:spLocks noChangeShapeType="1"/>
              </p:cNvSpPr>
              <p:nvPr userDrawn="1"/>
            </p:nvSpPr>
            <p:spPr bwMode="auto">
              <a:xfrm flipH="1">
                <a:off x="15322550" y="2397126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0" name="Line 1638"/>
              <p:cNvSpPr>
                <a:spLocks noChangeShapeType="1"/>
              </p:cNvSpPr>
              <p:nvPr userDrawn="1"/>
            </p:nvSpPr>
            <p:spPr bwMode="auto">
              <a:xfrm flipH="1">
                <a:off x="15319375" y="2397126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1" name="Line 1639"/>
              <p:cNvSpPr>
                <a:spLocks noChangeShapeType="1"/>
              </p:cNvSpPr>
              <p:nvPr userDrawn="1"/>
            </p:nvSpPr>
            <p:spPr bwMode="auto">
              <a:xfrm flipH="1" flipV="1">
                <a:off x="15314612" y="2393951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2" name="Line 1640"/>
              <p:cNvSpPr>
                <a:spLocks noChangeShapeType="1"/>
              </p:cNvSpPr>
              <p:nvPr userDrawn="1"/>
            </p:nvSpPr>
            <p:spPr bwMode="auto">
              <a:xfrm flipH="1" flipV="1">
                <a:off x="15303500" y="2390776"/>
                <a:ext cx="1111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3" name="Line 1641"/>
              <p:cNvSpPr>
                <a:spLocks noChangeShapeType="1"/>
              </p:cNvSpPr>
              <p:nvPr userDrawn="1"/>
            </p:nvSpPr>
            <p:spPr bwMode="auto">
              <a:xfrm flipV="1">
                <a:off x="15303500" y="2290763"/>
                <a:ext cx="1587" cy="1000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4" name="Line 1642"/>
              <p:cNvSpPr>
                <a:spLocks noChangeShapeType="1"/>
              </p:cNvSpPr>
              <p:nvPr userDrawn="1"/>
            </p:nvSpPr>
            <p:spPr bwMode="auto">
              <a:xfrm flipV="1">
                <a:off x="15305087" y="2254251"/>
                <a:ext cx="0" cy="365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5" name="Line 1643"/>
              <p:cNvSpPr>
                <a:spLocks noChangeShapeType="1"/>
              </p:cNvSpPr>
              <p:nvPr userDrawn="1"/>
            </p:nvSpPr>
            <p:spPr bwMode="auto">
              <a:xfrm flipV="1">
                <a:off x="15305087" y="2225676"/>
                <a:ext cx="1587" cy="285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6" name="Line 1644"/>
              <p:cNvSpPr>
                <a:spLocks noChangeShapeType="1"/>
              </p:cNvSpPr>
              <p:nvPr userDrawn="1"/>
            </p:nvSpPr>
            <p:spPr bwMode="auto">
              <a:xfrm flipV="1">
                <a:off x="15306675" y="2205038"/>
                <a:ext cx="1587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7" name="Line 1645"/>
              <p:cNvSpPr>
                <a:spLocks noChangeShapeType="1"/>
              </p:cNvSpPr>
              <p:nvPr userDrawn="1"/>
            </p:nvSpPr>
            <p:spPr bwMode="auto">
              <a:xfrm flipV="1">
                <a:off x="15308262" y="2189163"/>
                <a:ext cx="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8" name="Line 1646"/>
              <p:cNvSpPr>
                <a:spLocks noChangeShapeType="1"/>
              </p:cNvSpPr>
              <p:nvPr userDrawn="1"/>
            </p:nvSpPr>
            <p:spPr bwMode="auto">
              <a:xfrm flipV="1">
                <a:off x="15308262" y="2184401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9" name="Line 1647"/>
              <p:cNvSpPr>
                <a:spLocks noChangeShapeType="1"/>
              </p:cNvSpPr>
              <p:nvPr userDrawn="1"/>
            </p:nvSpPr>
            <p:spPr bwMode="auto">
              <a:xfrm flipV="1">
                <a:off x="15311437" y="2178051"/>
                <a:ext cx="793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0" name="Line 1648"/>
              <p:cNvSpPr>
                <a:spLocks noChangeShapeType="1"/>
              </p:cNvSpPr>
              <p:nvPr userDrawn="1"/>
            </p:nvSpPr>
            <p:spPr bwMode="auto">
              <a:xfrm>
                <a:off x="15319375" y="2178051"/>
                <a:ext cx="635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1" name="Line 1649"/>
              <p:cNvSpPr>
                <a:spLocks noChangeShapeType="1"/>
              </p:cNvSpPr>
              <p:nvPr userDrawn="1"/>
            </p:nvSpPr>
            <p:spPr bwMode="auto">
              <a:xfrm>
                <a:off x="15325725" y="2178051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2" name="Line 1650"/>
              <p:cNvSpPr>
                <a:spLocks noChangeShapeType="1"/>
              </p:cNvSpPr>
              <p:nvPr userDrawn="1"/>
            </p:nvSpPr>
            <p:spPr bwMode="auto">
              <a:xfrm>
                <a:off x="15332075" y="2182813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3" name="Line 1651"/>
              <p:cNvSpPr>
                <a:spLocks noChangeShapeType="1"/>
              </p:cNvSpPr>
              <p:nvPr userDrawn="1"/>
            </p:nvSpPr>
            <p:spPr bwMode="auto">
              <a:xfrm>
                <a:off x="15333662" y="2187576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4" name="Line 1652"/>
              <p:cNvSpPr>
                <a:spLocks noChangeShapeType="1"/>
              </p:cNvSpPr>
              <p:nvPr userDrawn="1"/>
            </p:nvSpPr>
            <p:spPr bwMode="auto">
              <a:xfrm>
                <a:off x="15335250" y="2195513"/>
                <a:ext cx="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5" name="Line 1653"/>
              <p:cNvSpPr>
                <a:spLocks noChangeShapeType="1"/>
              </p:cNvSpPr>
              <p:nvPr userDrawn="1"/>
            </p:nvSpPr>
            <p:spPr bwMode="auto">
              <a:xfrm>
                <a:off x="15335250" y="2205038"/>
                <a:ext cx="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6" name="Line 1654"/>
              <p:cNvSpPr>
                <a:spLocks noChangeShapeType="1"/>
              </p:cNvSpPr>
              <p:nvPr userDrawn="1"/>
            </p:nvSpPr>
            <p:spPr bwMode="auto">
              <a:xfrm flipH="1">
                <a:off x="15333662" y="2222501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7" name="Line 1655"/>
              <p:cNvSpPr>
                <a:spLocks noChangeShapeType="1"/>
              </p:cNvSpPr>
              <p:nvPr userDrawn="1"/>
            </p:nvSpPr>
            <p:spPr bwMode="auto">
              <a:xfrm flipH="1">
                <a:off x="15333662" y="2236788"/>
                <a:ext cx="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8" name="Line 1656"/>
              <p:cNvSpPr>
                <a:spLocks noChangeShapeType="1"/>
              </p:cNvSpPr>
              <p:nvPr userDrawn="1"/>
            </p:nvSpPr>
            <p:spPr bwMode="auto">
              <a:xfrm>
                <a:off x="15333662" y="224313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9" name="Line 1657"/>
              <p:cNvSpPr>
                <a:spLocks noChangeShapeType="1"/>
              </p:cNvSpPr>
              <p:nvPr userDrawn="1"/>
            </p:nvSpPr>
            <p:spPr bwMode="auto">
              <a:xfrm>
                <a:off x="15333662" y="2246313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0" name="Line 1658"/>
              <p:cNvSpPr>
                <a:spLocks noChangeShapeType="1"/>
              </p:cNvSpPr>
              <p:nvPr userDrawn="1"/>
            </p:nvSpPr>
            <p:spPr bwMode="auto">
              <a:xfrm>
                <a:off x="15333662" y="2249488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1" name="Line 1659"/>
              <p:cNvSpPr>
                <a:spLocks noChangeShapeType="1"/>
              </p:cNvSpPr>
              <p:nvPr userDrawn="1"/>
            </p:nvSpPr>
            <p:spPr bwMode="auto">
              <a:xfrm flipV="1">
                <a:off x="15335250" y="2249488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2" name="Line 1660"/>
              <p:cNvSpPr>
                <a:spLocks noChangeShapeType="1"/>
              </p:cNvSpPr>
              <p:nvPr userDrawn="1"/>
            </p:nvSpPr>
            <p:spPr bwMode="auto">
              <a:xfrm flipV="1">
                <a:off x="15340012" y="2239963"/>
                <a:ext cx="635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3" name="Line 1661"/>
              <p:cNvSpPr>
                <a:spLocks noChangeShapeType="1"/>
              </p:cNvSpPr>
              <p:nvPr userDrawn="1"/>
            </p:nvSpPr>
            <p:spPr bwMode="auto">
              <a:xfrm flipV="1">
                <a:off x="15346362" y="2225676"/>
                <a:ext cx="1111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4" name="Line 1662"/>
              <p:cNvSpPr>
                <a:spLocks noChangeShapeType="1"/>
              </p:cNvSpPr>
              <p:nvPr userDrawn="1"/>
            </p:nvSpPr>
            <p:spPr bwMode="auto">
              <a:xfrm flipV="1">
                <a:off x="15357475" y="2205038"/>
                <a:ext cx="17462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5" name="Line 1663"/>
              <p:cNvSpPr>
                <a:spLocks noChangeShapeType="1"/>
              </p:cNvSpPr>
              <p:nvPr userDrawn="1"/>
            </p:nvSpPr>
            <p:spPr bwMode="auto">
              <a:xfrm flipV="1">
                <a:off x="15374937" y="2189163"/>
                <a:ext cx="1905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6" name="Line 1664"/>
              <p:cNvSpPr>
                <a:spLocks noChangeShapeType="1"/>
              </p:cNvSpPr>
              <p:nvPr userDrawn="1"/>
            </p:nvSpPr>
            <p:spPr bwMode="auto">
              <a:xfrm flipV="1">
                <a:off x="15393987" y="2181226"/>
                <a:ext cx="1270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7" name="Line 1665"/>
              <p:cNvSpPr>
                <a:spLocks noChangeShapeType="1"/>
              </p:cNvSpPr>
              <p:nvPr userDrawn="1"/>
            </p:nvSpPr>
            <p:spPr bwMode="auto">
              <a:xfrm flipV="1">
                <a:off x="15406687" y="2178051"/>
                <a:ext cx="1111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8" name="Line 1666"/>
              <p:cNvSpPr>
                <a:spLocks noChangeShapeType="1"/>
              </p:cNvSpPr>
              <p:nvPr userDrawn="1"/>
            </p:nvSpPr>
            <p:spPr bwMode="auto">
              <a:xfrm>
                <a:off x="15417800" y="2178051"/>
                <a:ext cx="952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9" name="Line 1667"/>
              <p:cNvSpPr>
                <a:spLocks noChangeShapeType="1"/>
              </p:cNvSpPr>
              <p:nvPr userDrawn="1"/>
            </p:nvSpPr>
            <p:spPr bwMode="auto">
              <a:xfrm>
                <a:off x="15427325" y="2178051"/>
                <a:ext cx="952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0" name="Line 1668"/>
              <p:cNvSpPr>
                <a:spLocks noChangeShapeType="1"/>
              </p:cNvSpPr>
              <p:nvPr userDrawn="1"/>
            </p:nvSpPr>
            <p:spPr bwMode="auto">
              <a:xfrm>
                <a:off x="15436850" y="2181226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1" name="Line 1669"/>
              <p:cNvSpPr>
                <a:spLocks noChangeShapeType="1"/>
              </p:cNvSpPr>
              <p:nvPr userDrawn="1"/>
            </p:nvSpPr>
            <p:spPr bwMode="auto">
              <a:xfrm>
                <a:off x="15443200" y="2185988"/>
                <a:ext cx="4762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2" name="Line 1670"/>
              <p:cNvSpPr>
                <a:spLocks noChangeShapeType="1"/>
              </p:cNvSpPr>
              <p:nvPr userDrawn="1"/>
            </p:nvSpPr>
            <p:spPr bwMode="auto">
              <a:xfrm>
                <a:off x="15447962" y="219233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3" name="Line 1671"/>
              <p:cNvSpPr>
                <a:spLocks noChangeShapeType="1"/>
              </p:cNvSpPr>
              <p:nvPr userDrawn="1"/>
            </p:nvSpPr>
            <p:spPr bwMode="auto">
              <a:xfrm flipH="1">
                <a:off x="15447962" y="2195513"/>
                <a:ext cx="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4" name="Line 1672"/>
              <p:cNvSpPr>
                <a:spLocks noChangeShapeType="1"/>
              </p:cNvSpPr>
              <p:nvPr userDrawn="1"/>
            </p:nvSpPr>
            <p:spPr bwMode="auto">
              <a:xfrm flipH="1">
                <a:off x="15446375" y="2197101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5" name="Line 1673"/>
              <p:cNvSpPr>
                <a:spLocks noChangeShapeType="1"/>
              </p:cNvSpPr>
              <p:nvPr userDrawn="1"/>
            </p:nvSpPr>
            <p:spPr bwMode="auto">
              <a:xfrm flipH="1">
                <a:off x="15443200" y="21986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6" name="Line 1674"/>
              <p:cNvSpPr>
                <a:spLocks noChangeShapeType="1"/>
              </p:cNvSpPr>
              <p:nvPr userDrawn="1"/>
            </p:nvSpPr>
            <p:spPr bwMode="auto">
              <a:xfrm flipH="1">
                <a:off x="15438437" y="2200276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7" name="Line 1675"/>
              <p:cNvSpPr>
                <a:spLocks noChangeShapeType="1"/>
              </p:cNvSpPr>
              <p:nvPr userDrawn="1"/>
            </p:nvSpPr>
            <p:spPr bwMode="auto">
              <a:xfrm flipH="1">
                <a:off x="15435262" y="2200276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8" name="Freeform 1676"/>
              <p:cNvSpPr>
                <a:spLocks noEditPoints="1"/>
              </p:cNvSpPr>
              <p:nvPr userDrawn="1"/>
            </p:nvSpPr>
            <p:spPr bwMode="auto">
              <a:xfrm>
                <a:off x="15473362" y="2163763"/>
                <a:ext cx="131762" cy="217488"/>
              </a:xfrm>
              <a:custGeom>
                <a:avLst/>
                <a:gdLst>
                  <a:gd name="T0" fmla="*/ 85 w 165"/>
                  <a:gd name="T1" fmla="*/ 50 h 274"/>
                  <a:gd name="T2" fmla="*/ 75 w 165"/>
                  <a:gd name="T3" fmla="*/ 53 h 274"/>
                  <a:gd name="T4" fmla="*/ 65 w 165"/>
                  <a:gd name="T5" fmla="*/ 60 h 274"/>
                  <a:gd name="T6" fmla="*/ 51 w 165"/>
                  <a:gd name="T7" fmla="*/ 82 h 274"/>
                  <a:gd name="T8" fmla="*/ 38 w 165"/>
                  <a:gd name="T9" fmla="*/ 130 h 274"/>
                  <a:gd name="T10" fmla="*/ 34 w 165"/>
                  <a:gd name="T11" fmla="*/ 182 h 274"/>
                  <a:gd name="T12" fmla="*/ 44 w 165"/>
                  <a:gd name="T13" fmla="*/ 222 h 274"/>
                  <a:gd name="T14" fmla="*/ 63 w 165"/>
                  <a:gd name="T15" fmla="*/ 241 h 274"/>
                  <a:gd name="T16" fmla="*/ 89 w 165"/>
                  <a:gd name="T17" fmla="*/ 233 h 274"/>
                  <a:gd name="T18" fmla="*/ 118 w 165"/>
                  <a:gd name="T19" fmla="*/ 195 h 274"/>
                  <a:gd name="T20" fmla="*/ 132 w 165"/>
                  <a:gd name="T21" fmla="*/ 139 h 274"/>
                  <a:gd name="T22" fmla="*/ 127 w 165"/>
                  <a:gd name="T23" fmla="*/ 85 h 274"/>
                  <a:gd name="T24" fmla="*/ 117 w 165"/>
                  <a:gd name="T25" fmla="*/ 60 h 274"/>
                  <a:gd name="T26" fmla="*/ 93 w 165"/>
                  <a:gd name="T27" fmla="*/ 50 h 274"/>
                  <a:gd name="T28" fmla="*/ 101 w 165"/>
                  <a:gd name="T29" fmla="*/ 2 h 274"/>
                  <a:gd name="T30" fmla="*/ 111 w 165"/>
                  <a:gd name="T31" fmla="*/ 5 h 274"/>
                  <a:gd name="T32" fmla="*/ 123 w 165"/>
                  <a:gd name="T33" fmla="*/ 13 h 274"/>
                  <a:gd name="T34" fmla="*/ 155 w 165"/>
                  <a:gd name="T35" fmla="*/ 57 h 274"/>
                  <a:gd name="T36" fmla="*/ 163 w 165"/>
                  <a:gd name="T37" fmla="*/ 99 h 274"/>
                  <a:gd name="T38" fmla="*/ 165 w 165"/>
                  <a:gd name="T39" fmla="*/ 147 h 274"/>
                  <a:gd name="T40" fmla="*/ 162 w 165"/>
                  <a:gd name="T41" fmla="*/ 174 h 274"/>
                  <a:gd name="T42" fmla="*/ 148 w 165"/>
                  <a:gd name="T43" fmla="*/ 209 h 274"/>
                  <a:gd name="T44" fmla="*/ 124 w 165"/>
                  <a:gd name="T45" fmla="*/ 246 h 274"/>
                  <a:gd name="T46" fmla="*/ 96 w 165"/>
                  <a:gd name="T47" fmla="*/ 268 h 274"/>
                  <a:gd name="T48" fmla="*/ 59 w 165"/>
                  <a:gd name="T49" fmla="*/ 274 h 274"/>
                  <a:gd name="T50" fmla="*/ 45 w 165"/>
                  <a:gd name="T51" fmla="*/ 270 h 274"/>
                  <a:gd name="T52" fmla="*/ 31 w 165"/>
                  <a:gd name="T53" fmla="*/ 260 h 274"/>
                  <a:gd name="T54" fmla="*/ 10 w 165"/>
                  <a:gd name="T55" fmla="*/ 229 h 274"/>
                  <a:gd name="T56" fmla="*/ 0 w 165"/>
                  <a:gd name="T57" fmla="*/ 178 h 274"/>
                  <a:gd name="T58" fmla="*/ 6 w 165"/>
                  <a:gd name="T59" fmla="*/ 117 h 274"/>
                  <a:gd name="T60" fmla="*/ 17 w 165"/>
                  <a:gd name="T61" fmla="*/ 75 h 274"/>
                  <a:gd name="T62" fmla="*/ 24 w 165"/>
                  <a:gd name="T63" fmla="*/ 62 h 274"/>
                  <a:gd name="T64" fmla="*/ 25 w 165"/>
                  <a:gd name="T65" fmla="*/ 54 h 274"/>
                  <a:gd name="T66" fmla="*/ 32 w 165"/>
                  <a:gd name="T67" fmla="*/ 40 h 274"/>
                  <a:gd name="T68" fmla="*/ 52 w 165"/>
                  <a:gd name="T69" fmla="*/ 23 h 274"/>
                  <a:gd name="T70" fmla="*/ 66 w 165"/>
                  <a:gd name="T71" fmla="*/ 16 h 274"/>
                  <a:gd name="T72" fmla="*/ 80 w 165"/>
                  <a:gd name="T73" fmla="*/ 12 h 274"/>
                  <a:gd name="T74" fmla="*/ 89 w 165"/>
                  <a:gd name="T75" fmla="*/ 3 h 274"/>
                  <a:gd name="T76" fmla="*/ 96 w 165"/>
                  <a:gd name="T77" fmla="*/ 0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65" h="274">
                    <a:moveTo>
                      <a:pt x="93" y="50"/>
                    </a:moveTo>
                    <a:lnTo>
                      <a:pt x="85" y="50"/>
                    </a:lnTo>
                    <a:lnTo>
                      <a:pt x="79" y="51"/>
                    </a:lnTo>
                    <a:lnTo>
                      <a:pt x="75" y="53"/>
                    </a:lnTo>
                    <a:lnTo>
                      <a:pt x="70" y="55"/>
                    </a:lnTo>
                    <a:lnTo>
                      <a:pt x="65" y="60"/>
                    </a:lnTo>
                    <a:lnTo>
                      <a:pt x="61" y="65"/>
                    </a:lnTo>
                    <a:lnTo>
                      <a:pt x="51" y="82"/>
                    </a:lnTo>
                    <a:lnTo>
                      <a:pt x="44" y="103"/>
                    </a:lnTo>
                    <a:lnTo>
                      <a:pt x="38" y="130"/>
                    </a:lnTo>
                    <a:lnTo>
                      <a:pt x="34" y="158"/>
                    </a:lnTo>
                    <a:lnTo>
                      <a:pt x="34" y="182"/>
                    </a:lnTo>
                    <a:lnTo>
                      <a:pt x="37" y="201"/>
                    </a:lnTo>
                    <a:lnTo>
                      <a:pt x="44" y="222"/>
                    </a:lnTo>
                    <a:lnTo>
                      <a:pt x="52" y="236"/>
                    </a:lnTo>
                    <a:lnTo>
                      <a:pt x="63" y="241"/>
                    </a:lnTo>
                    <a:lnTo>
                      <a:pt x="75" y="241"/>
                    </a:lnTo>
                    <a:lnTo>
                      <a:pt x="89" y="233"/>
                    </a:lnTo>
                    <a:lnTo>
                      <a:pt x="103" y="217"/>
                    </a:lnTo>
                    <a:lnTo>
                      <a:pt x="118" y="195"/>
                    </a:lnTo>
                    <a:lnTo>
                      <a:pt x="128" y="168"/>
                    </a:lnTo>
                    <a:lnTo>
                      <a:pt x="132" y="139"/>
                    </a:lnTo>
                    <a:lnTo>
                      <a:pt x="130" y="106"/>
                    </a:lnTo>
                    <a:lnTo>
                      <a:pt x="127" y="85"/>
                    </a:lnTo>
                    <a:lnTo>
                      <a:pt x="121" y="69"/>
                    </a:lnTo>
                    <a:lnTo>
                      <a:pt x="117" y="60"/>
                    </a:lnTo>
                    <a:lnTo>
                      <a:pt x="107" y="53"/>
                    </a:lnTo>
                    <a:lnTo>
                      <a:pt x="93" y="50"/>
                    </a:lnTo>
                    <a:close/>
                    <a:moveTo>
                      <a:pt x="96" y="0"/>
                    </a:moveTo>
                    <a:lnTo>
                      <a:pt x="101" y="2"/>
                    </a:lnTo>
                    <a:lnTo>
                      <a:pt x="106" y="3"/>
                    </a:lnTo>
                    <a:lnTo>
                      <a:pt x="111" y="5"/>
                    </a:lnTo>
                    <a:lnTo>
                      <a:pt x="117" y="9"/>
                    </a:lnTo>
                    <a:lnTo>
                      <a:pt x="123" y="13"/>
                    </a:lnTo>
                    <a:lnTo>
                      <a:pt x="142" y="33"/>
                    </a:lnTo>
                    <a:lnTo>
                      <a:pt x="155" y="57"/>
                    </a:lnTo>
                    <a:lnTo>
                      <a:pt x="161" y="76"/>
                    </a:lnTo>
                    <a:lnTo>
                      <a:pt x="163" y="99"/>
                    </a:lnTo>
                    <a:lnTo>
                      <a:pt x="165" y="127"/>
                    </a:lnTo>
                    <a:lnTo>
                      <a:pt x="165" y="147"/>
                    </a:lnTo>
                    <a:lnTo>
                      <a:pt x="163" y="162"/>
                    </a:lnTo>
                    <a:lnTo>
                      <a:pt x="162" y="174"/>
                    </a:lnTo>
                    <a:lnTo>
                      <a:pt x="158" y="189"/>
                    </a:lnTo>
                    <a:lnTo>
                      <a:pt x="148" y="209"/>
                    </a:lnTo>
                    <a:lnTo>
                      <a:pt x="135" y="230"/>
                    </a:lnTo>
                    <a:lnTo>
                      <a:pt x="124" y="246"/>
                    </a:lnTo>
                    <a:lnTo>
                      <a:pt x="114" y="257"/>
                    </a:lnTo>
                    <a:lnTo>
                      <a:pt x="96" y="268"/>
                    </a:lnTo>
                    <a:lnTo>
                      <a:pt x="75" y="272"/>
                    </a:lnTo>
                    <a:lnTo>
                      <a:pt x="59" y="274"/>
                    </a:lnTo>
                    <a:lnTo>
                      <a:pt x="49" y="272"/>
                    </a:lnTo>
                    <a:lnTo>
                      <a:pt x="45" y="270"/>
                    </a:lnTo>
                    <a:lnTo>
                      <a:pt x="38" y="265"/>
                    </a:lnTo>
                    <a:lnTo>
                      <a:pt x="31" y="260"/>
                    </a:lnTo>
                    <a:lnTo>
                      <a:pt x="20" y="246"/>
                    </a:lnTo>
                    <a:lnTo>
                      <a:pt x="10" y="229"/>
                    </a:lnTo>
                    <a:lnTo>
                      <a:pt x="4" y="209"/>
                    </a:lnTo>
                    <a:lnTo>
                      <a:pt x="0" y="178"/>
                    </a:lnTo>
                    <a:lnTo>
                      <a:pt x="1" y="147"/>
                    </a:lnTo>
                    <a:lnTo>
                      <a:pt x="6" y="117"/>
                    </a:lnTo>
                    <a:lnTo>
                      <a:pt x="11" y="93"/>
                    </a:lnTo>
                    <a:lnTo>
                      <a:pt x="17" y="75"/>
                    </a:lnTo>
                    <a:lnTo>
                      <a:pt x="21" y="67"/>
                    </a:lnTo>
                    <a:lnTo>
                      <a:pt x="24" y="62"/>
                    </a:lnTo>
                    <a:lnTo>
                      <a:pt x="25" y="58"/>
                    </a:lnTo>
                    <a:lnTo>
                      <a:pt x="25" y="54"/>
                    </a:lnTo>
                    <a:lnTo>
                      <a:pt x="27" y="48"/>
                    </a:lnTo>
                    <a:lnTo>
                      <a:pt x="32" y="40"/>
                    </a:lnTo>
                    <a:lnTo>
                      <a:pt x="42" y="31"/>
                    </a:lnTo>
                    <a:lnTo>
                      <a:pt x="52" y="23"/>
                    </a:lnTo>
                    <a:lnTo>
                      <a:pt x="61" y="19"/>
                    </a:lnTo>
                    <a:lnTo>
                      <a:pt x="66" y="16"/>
                    </a:lnTo>
                    <a:lnTo>
                      <a:pt x="73" y="16"/>
                    </a:lnTo>
                    <a:lnTo>
                      <a:pt x="80" y="12"/>
                    </a:lnTo>
                    <a:lnTo>
                      <a:pt x="85" y="7"/>
                    </a:lnTo>
                    <a:lnTo>
                      <a:pt x="89" y="3"/>
                    </a:lnTo>
                    <a:lnTo>
                      <a:pt x="92" y="2"/>
                    </a:lnTo>
                    <a:lnTo>
                      <a:pt x="9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9" name="Line 1677"/>
              <p:cNvSpPr>
                <a:spLocks noChangeShapeType="1"/>
              </p:cNvSpPr>
              <p:nvPr userDrawn="1"/>
            </p:nvSpPr>
            <p:spPr bwMode="auto">
              <a:xfrm flipH="1" flipV="1">
                <a:off x="15574962" y="2230438"/>
                <a:ext cx="1587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0" name="Line 1678"/>
              <p:cNvSpPr>
                <a:spLocks noChangeShapeType="1"/>
              </p:cNvSpPr>
              <p:nvPr userDrawn="1"/>
            </p:nvSpPr>
            <p:spPr bwMode="auto">
              <a:xfrm flipH="1" flipV="1">
                <a:off x="15570200" y="2219326"/>
                <a:ext cx="4762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1" name="Line 1679"/>
              <p:cNvSpPr>
                <a:spLocks noChangeShapeType="1"/>
              </p:cNvSpPr>
              <p:nvPr userDrawn="1"/>
            </p:nvSpPr>
            <p:spPr bwMode="auto">
              <a:xfrm flipH="1" flipV="1">
                <a:off x="15567025" y="2211388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2" name="Line 1680"/>
              <p:cNvSpPr>
                <a:spLocks noChangeShapeType="1"/>
              </p:cNvSpPr>
              <p:nvPr userDrawn="1"/>
            </p:nvSpPr>
            <p:spPr bwMode="auto">
              <a:xfrm flipH="1" flipV="1">
                <a:off x="15559087" y="2205038"/>
                <a:ext cx="793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3" name="Line 1681"/>
              <p:cNvSpPr>
                <a:spLocks noChangeShapeType="1"/>
              </p:cNvSpPr>
              <p:nvPr userDrawn="1"/>
            </p:nvSpPr>
            <p:spPr bwMode="auto">
              <a:xfrm flipH="1" flipV="1">
                <a:off x="15547975" y="2203451"/>
                <a:ext cx="1111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4" name="Line 1682"/>
              <p:cNvSpPr>
                <a:spLocks noChangeShapeType="1"/>
              </p:cNvSpPr>
              <p:nvPr userDrawn="1"/>
            </p:nvSpPr>
            <p:spPr bwMode="auto">
              <a:xfrm flipH="1">
                <a:off x="15541625" y="2203451"/>
                <a:ext cx="635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5" name="Line 1683"/>
              <p:cNvSpPr>
                <a:spLocks noChangeShapeType="1"/>
              </p:cNvSpPr>
              <p:nvPr userDrawn="1"/>
            </p:nvSpPr>
            <p:spPr bwMode="auto">
              <a:xfrm flipH="1">
                <a:off x="15536862" y="2203451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6" name="Line 1684"/>
              <p:cNvSpPr>
                <a:spLocks noChangeShapeType="1"/>
              </p:cNvSpPr>
              <p:nvPr userDrawn="1"/>
            </p:nvSpPr>
            <p:spPr bwMode="auto">
              <a:xfrm flipH="1">
                <a:off x="15533687" y="220503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7" name="Line 1685"/>
              <p:cNvSpPr>
                <a:spLocks noChangeShapeType="1"/>
              </p:cNvSpPr>
              <p:nvPr userDrawn="1"/>
            </p:nvSpPr>
            <p:spPr bwMode="auto">
              <a:xfrm flipH="1">
                <a:off x="15530512" y="220503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8" name="Line 1686"/>
              <p:cNvSpPr>
                <a:spLocks noChangeShapeType="1"/>
              </p:cNvSpPr>
              <p:nvPr userDrawn="1"/>
            </p:nvSpPr>
            <p:spPr bwMode="auto">
              <a:xfrm flipH="1">
                <a:off x="15525750" y="2208213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9" name="Line 1687"/>
              <p:cNvSpPr>
                <a:spLocks noChangeShapeType="1"/>
              </p:cNvSpPr>
              <p:nvPr userDrawn="1"/>
            </p:nvSpPr>
            <p:spPr bwMode="auto">
              <a:xfrm flipH="1">
                <a:off x="15522575" y="2211388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0" name="Line 1688"/>
              <p:cNvSpPr>
                <a:spLocks noChangeShapeType="1"/>
              </p:cNvSpPr>
              <p:nvPr userDrawn="1"/>
            </p:nvSpPr>
            <p:spPr bwMode="auto">
              <a:xfrm flipH="1">
                <a:off x="15514637" y="2216151"/>
                <a:ext cx="7937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1" name="Line 1689"/>
              <p:cNvSpPr>
                <a:spLocks noChangeShapeType="1"/>
              </p:cNvSpPr>
              <p:nvPr userDrawn="1"/>
            </p:nvSpPr>
            <p:spPr bwMode="auto">
              <a:xfrm flipH="1">
                <a:off x="15508287" y="2228851"/>
                <a:ext cx="6350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2" name="Line 1690"/>
              <p:cNvSpPr>
                <a:spLocks noChangeShapeType="1"/>
              </p:cNvSpPr>
              <p:nvPr userDrawn="1"/>
            </p:nvSpPr>
            <p:spPr bwMode="auto">
              <a:xfrm flipH="1">
                <a:off x="15505112" y="2246313"/>
                <a:ext cx="3175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3" name="Line 1691"/>
              <p:cNvSpPr>
                <a:spLocks noChangeShapeType="1"/>
              </p:cNvSpPr>
              <p:nvPr userDrawn="1"/>
            </p:nvSpPr>
            <p:spPr bwMode="auto">
              <a:xfrm flipH="1">
                <a:off x="15500350" y="2266951"/>
                <a:ext cx="4762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4" name="Line 1692"/>
              <p:cNvSpPr>
                <a:spLocks noChangeShapeType="1"/>
              </p:cNvSpPr>
              <p:nvPr userDrawn="1"/>
            </p:nvSpPr>
            <p:spPr bwMode="auto">
              <a:xfrm>
                <a:off x="15500350" y="2289176"/>
                <a:ext cx="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5" name="Line 1693"/>
              <p:cNvSpPr>
                <a:spLocks noChangeShapeType="1"/>
              </p:cNvSpPr>
              <p:nvPr userDrawn="1"/>
            </p:nvSpPr>
            <p:spPr bwMode="auto">
              <a:xfrm>
                <a:off x="15500350" y="2308226"/>
                <a:ext cx="31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6" name="Line 1694"/>
              <p:cNvSpPr>
                <a:spLocks noChangeShapeType="1"/>
              </p:cNvSpPr>
              <p:nvPr userDrawn="1"/>
            </p:nvSpPr>
            <p:spPr bwMode="auto">
              <a:xfrm>
                <a:off x="15503525" y="2322513"/>
                <a:ext cx="4762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7" name="Line 1695"/>
              <p:cNvSpPr>
                <a:spLocks noChangeShapeType="1"/>
              </p:cNvSpPr>
              <p:nvPr userDrawn="1"/>
            </p:nvSpPr>
            <p:spPr bwMode="auto">
              <a:xfrm>
                <a:off x="15508287" y="2339976"/>
                <a:ext cx="7937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8" name="Line 1696"/>
              <p:cNvSpPr>
                <a:spLocks noChangeShapeType="1"/>
              </p:cNvSpPr>
              <p:nvPr userDrawn="1"/>
            </p:nvSpPr>
            <p:spPr bwMode="auto">
              <a:xfrm>
                <a:off x="15516225" y="2351088"/>
                <a:ext cx="793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9" name="Line 1697"/>
              <p:cNvSpPr>
                <a:spLocks noChangeShapeType="1"/>
              </p:cNvSpPr>
              <p:nvPr userDrawn="1"/>
            </p:nvSpPr>
            <p:spPr bwMode="auto">
              <a:xfrm>
                <a:off x="15524162" y="2355851"/>
                <a:ext cx="952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0" name="Line 1698"/>
              <p:cNvSpPr>
                <a:spLocks noChangeShapeType="1"/>
              </p:cNvSpPr>
              <p:nvPr userDrawn="1"/>
            </p:nvSpPr>
            <p:spPr bwMode="auto">
              <a:xfrm flipV="1">
                <a:off x="15533687" y="2347913"/>
                <a:ext cx="1111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1" name="Line 1699"/>
              <p:cNvSpPr>
                <a:spLocks noChangeShapeType="1"/>
              </p:cNvSpPr>
              <p:nvPr userDrawn="1"/>
            </p:nvSpPr>
            <p:spPr bwMode="auto">
              <a:xfrm flipV="1">
                <a:off x="15544800" y="2336801"/>
                <a:ext cx="11112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2" name="Line 1700"/>
              <p:cNvSpPr>
                <a:spLocks noChangeShapeType="1"/>
              </p:cNvSpPr>
              <p:nvPr userDrawn="1"/>
            </p:nvSpPr>
            <p:spPr bwMode="auto">
              <a:xfrm flipV="1">
                <a:off x="15555912" y="2317751"/>
                <a:ext cx="1270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3" name="Line 1701"/>
              <p:cNvSpPr>
                <a:spLocks noChangeShapeType="1"/>
              </p:cNvSpPr>
              <p:nvPr userDrawn="1"/>
            </p:nvSpPr>
            <p:spPr bwMode="auto">
              <a:xfrm flipV="1">
                <a:off x="15568612" y="2297113"/>
                <a:ext cx="7937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4" name="Line 1702"/>
              <p:cNvSpPr>
                <a:spLocks noChangeShapeType="1"/>
              </p:cNvSpPr>
              <p:nvPr userDrawn="1"/>
            </p:nvSpPr>
            <p:spPr bwMode="auto">
              <a:xfrm flipV="1">
                <a:off x="15576550" y="2273301"/>
                <a:ext cx="3175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5" name="Line 1703"/>
              <p:cNvSpPr>
                <a:spLocks noChangeShapeType="1"/>
              </p:cNvSpPr>
              <p:nvPr userDrawn="1"/>
            </p:nvSpPr>
            <p:spPr bwMode="auto">
              <a:xfrm flipH="1" flipV="1">
                <a:off x="15576550" y="2247901"/>
                <a:ext cx="3175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6" name="Line 1704"/>
              <p:cNvSpPr>
                <a:spLocks noChangeShapeType="1"/>
              </p:cNvSpPr>
              <p:nvPr userDrawn="1"/>
            </p:nvSpPr>
            <p:spPr bwMode="auto">
              <a:xfrm>
                <a:off x="15527337" y="2176463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7" name="Line 1705"/>
              <p:cNvSpPr>
                <a:spLocks noChangeShapeType="1"/>
              </p:cNvSpPr>
              <p:nvPr userDrawn="1"/>
            </p:nvSpPr>
            <p:spPr bwMode="auto">
              <a:xfrm flipV="1">
                <a:off x="15532100" y="2173288"/>
                <a:ext cx="63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8" name="Line 1706"/>
              <p:cNvSpPr>
                <a:spLocks noChangeShapeType="1"/>
              </p:cNvSpPr>
              <p:nvPr userDrawn="1"/>
            </p:nvSpPr>
            <p:spPr bwMode="auto">
              <a:xfrm flipV="1">
                <a:off x="15538450" y="217011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9" name="Line 1707"/>
              <p:cNvSpPr>
                <a:spLocks noChangeShapeType="1"/>
              </p:cNvSpPr>
              <p:nvPr userDrawn="1"/>
            </p:nvSpPr>
            <p:spPr bwMode="auto">
              <a:xfrm flipV="1">
                <a:off x="15541625" y="216693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0" name="Line 1708"/>
              <p:cNvSpPr>
                <a:spLocks noChangeShapeType="1"/>
              </p:cNvSpPr>
              <p:nvPr userDrawn="1"/>
            </p:nvSpPr>
            <p:spPr bwMode="auto">
              <a:xfrm flipV="1">
                <a:off x="15544800" y="2165351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1" name="Line 1709"/>
              <p:cNvSpPr>
                <a:spLocks noChangeShapeType="1"/>
              </p:cNvSpPr>
              <p:nvPr userDrawn="1"/>
            </p:nvSpPr>
            <p:spPr bwMode="auto">
              <a:xfrm flipV="1">
                <a:off x="15546387" y="216376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2" name="Line 1710"/>
              <p:cNvSpPr>
                <a:spLocks noChangeShapeType="1"/>
              </p:cNvSpPr>
              <p:nvPr userDrawn="1"/>
            </p:nvSpPr>
            <p:spPr bwMode="auto">
              <a:xfrm>
                <a:off x="15549562" y="2163763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3" name="Line 1711"/>
              <p:cNvSpPr>
                <a:spLocks noChangeShapeType="1"/>
              </p:cNvSpPr>
              <p:nvPr userDrawn="1"/>
            </p:nvSpPr>
            <p:spPr bwMode="auto">
              <a:xfrm>
                <a:off x="15554325" y="2165351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4" name="Line 1712"/>
              <p:cNvSpPr>
                <a:spLocks noChangeShapeType="1"/>
              </p:cNvSpPr>
              <p:nvPr userDrawn="1"/>
            </p:nvSpPr>
            <p:spPr bwMode="auto">
              <a:xfrm>
                <a:off x="15557500" y="2166938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5" name="Line 1713"/>
              <p:cNvSpPr>
                <a:spLocks noChangeShapeType="1"/>
              </p:cNvSpPr>
              <p:nvPr userDrawn="1"/>
            </p:nvSpPr>
            <p:spPr bwMode="auto">
              <a:xfrm>
                <a:off x="15562262" y="216693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6" name="Line 1714"/>
              <p:cNvSpPr>
                <a:spLocks noChangeShapeType="1"/>
              </p:cNvSpPr>
              <p:nvPr userDrawn="1"/>
            </p:nvSpPr>
            <p:spPr bwMode="auto">
              <a:xfrm>
                <a:off x="15567025" y="2170113"/>
                <a:ext cx="4762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7" name="Line 1715"/>
              <p:cNvSpPr>
                <a:spLocks noChangeShapeType="1"/>
              </p:cNvSpPr>
              <p:nvPr userDrawn="1"/>
            </p:nvSpPr>
            <p:spPr bwMode="auto">
              <a:xfrm>
                <a:off x="15571787" y="2174876"/>
                <a:ext cx="15875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8" name="Line 1716"/>
              <p:cNvSpPr>
                <a:spLocks noChangeShapeType="1"/>
              </p:cNvSpPr>
              <p:nvPr userDrawn="1"/>
            </p:nvSpPr>
            <p:spPr bwMode="auto">
              <a:xfrm>
                <a:off x="15587662" y="2189163"/>
                <a:ext cx="9525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9" name="Line 1717"/>
              <p:cNvSpPr>
                <a:spLocks noChangeShapeType="1"/>
              </p:cNvSpPr>
              <p:nvPr userDrawn="1"/>
            </p:nvSpPr>
            <p:spPr bwMode="auto">
              <a:xfrm>
                <a:off x="15597187" y="2208213"/>
                <a:ext cx="4762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0" name="Line 1718"/>
              <p:cNvSpPr>
                <a:spLocks noChangeShapeType="1"/>
              </p:cNvSpPr>
              <p:nvPr userDrawn="1"/>
            </p:nvSpPr>
            <p:spPr bwMode="auto">
              <a:xfrm>
                <a:off x="15601950" y="2224088"/>
                <a:ext cx="1587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1719"/>
              <p:cNvSpPr>
                <a:spLocks noChangeShapeType="1"/>
              </p:cNvSpPr>
              <p:nvPr userDrawn="1"/>
            </p:nvSpPr>
            <p:spPr bwMode="auto">
              <a:xfrm>
                <a:off x="15603537" y="2243138"/>
                <a:ext cx="1587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1720"/>
              <p:cNvSpPr>
                <a:spLocks noChangeShapeType="1"/>
              </p:cNvSpPr>
              <p:nvPr userDrawn="1"/>
            </p:nvSpPr>
            <p:spPr bwMode="auto">
              <a:xfrm>
                <a:off x="15605125" y="2265363"/>
                <a:ext cx="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1721"/>
              <p:cNvSpPr>
                <a:spLocks noChangeShapeType="1"/>
              </p:cNvSpPr>
              <p:nvPr userDrawn="1"/>
            </p:nvSpPr>
            <p:spPr bwMode="auto">
              <a:xfrm flipH="1">
                <a:off x="15603537" y="2279651"/>
                <a:ext cx="1587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1722"/>
              <p:cNvSpPr>
                <a:spLocks noChangeShapeType="1"/>
              </p:cNvSpPr>
              <p:nvPr userDrawn="1"/>
            </p:nvSpPr>
            <p:spPr bwMode="auto">
              <a:xfrm flipH="1">
                <a:off x="15603537" y="2292351"/>
                <a:ext cx="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5" name="Line 1723"/>
              <p:cNvSpPr>
                <a:spLocks noChangeShapeType="1"/>
              </p:cNvSpPr>
              <p:nvPr userDrawn="1"/>
            </p:nvSpPr>
            <p:spPr bwMode="auto">
              <a:xfrm flipH="1">
                <a:off x="15598775" y="2301876"/>
                <a:ext cx="4762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6" name="Line 1724"/>
              <p:cNvSpPr>
                <a:spLocks noChangeShapeType="1"/>
              </p:cNvSpPr>
              <p:nvPr userDrawn="1"/>
            </p:nvSpPr>
            <p:spPr bwMode="auto">
              <a:xfrm flipH="1">
                <a:off x="15590837" y="2314576"/>
                <a:ext cx="793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7" name="Line 1725"/>
              <p:cNvSpPr>
                <a:spLocks noChangeShapeType="1"/>
              </p:cNvSpPr>
              <p:nvPr userDrawn="1"/>
            </p:nvSpPr>
            <p:spPr bwMode="auto">
              <a:xfrm flipH="1">
                <a:off x="15581312" y="2328863"/>
                <a:ext cx="9525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8" name="Line 1726"/>
              <p:cNvSpPr>
                <a:spLocks noChangeShapeType="1"/>
              </p:cNvSpPr>
              <p:nvPr userDrawn="1"/>
            </p:nvSpPr>
            <p:spPr bwMode="auto">
              <a:xfrm flipH="1">
                <a:off x="15571787" y="2346326"/>
                <a:ext cx="952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9" name="Line 1727"/>
              <p:cNvSpPr>
                <a:spLocks noChangeShapeType="1"/>
              </p:cNvSpPr>
              <p:nvPr userDrawn="1"/>
            </p:nvSpPr>
            <p:spPr bwMode="auto">
              <a:xfrm flipH="1">
                <a:off x="15565437" y="2359026"/>
                <a:ext cx="635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30" name="Line 1728"/>
              <p:cNvSpPr>
                <a:spLocks noChangeShapeType="1"/>
              </p:cNvSpPr>
              <p:nvPr userDrawn="1"/>
            </p:nvSpPr>
            <p:spPr bwMode="auto">
              <a:xfrm flipH="1">
                <a:off x="15549562" y="2366963"/>
                <a:ext cx="1587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31" name="Line 1729"/>
              <p:cNvSpPr>
                <a:spLocks noChangeShapeType="1"/>
              </p:cNvSpPr>
              <p:nvPr userDrawn="1"/>
            </p:nvSpPr>
            <p:spPr bwMode="auto">
              <a:xfrm flipH="1">
                <a:off x="15533687" y="2376488"/>
                <a:ext cx="158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32" name="Line 1730"/>
              <p:cNvSpPr>
                <a:spLocks noChangeShapeType="1"/>
              </p:cNvSpPr>
              <p:nvPr userDrawn="1"/>
            </p:nvSpPr>
            <p:spPr bwMode="auto">
              <a:xfrm flipH="1">
                <a:off x="15520987" y="2379663"/>
                <a:ext cx="1270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33" name="Line 1731"/>
              <p:cNvSpPr>
                <a:spLocks noChangeShapeType="1"/>
              </p:cNvSpPr>
              <p:nvPr userDrawn="1"/>
            </p:nvSpPr>
            <p:spPr bwMode="auto">
              <a:xfrm flipH="1" flipV="1">
                <a:off x="15513050" y="2379663"/>
                <a:ext cx="793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34" name="Line 1732"/>
              <p:cNvSpPr>
                <a:spLocks noChangeShapeType="1"/>
              </p:cNvSpPr>
              <p:nvPr userDrawn="1"/>
            </p:nvSpPr>
            <p:spPr bwMode="auto">
              <a:xfrm flipH="1" flipV="1">
                <a:off x="15509875" y="2378076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35" name="Line 1733"/>
              <p:cNvSpPr>
                <a:spLocks noChangeShapeType="1"/>
              </p:cNvSpPr>
              <p:nvPr userDrawn="1"/>
            </p:nvSpPr>
            <p:spPr bwMode="auto">
              <a:xfrm flipH="1" flipV="1">
                <a:off x="15505112" y="2374901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36" name="Line 1734"/>
              <p:cNvSpPr>
                <a:spLocks noChangeShapeType="1"/>
              </p:cNvSpPr>
              <p:nvPr userDrawn="1"/>
            </p:nvSpPr>
            <p:spPr bwMode="auto">
              <a:xfrm flipH="1" flipV="1">
                <a:off x="15498762" y="2370138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37" name="Line 1735"/>
              <p:cNvSpPr>
                <a:spLocks noChangeShapeType="1"/>
              </p:cNvSpPr>
              <p:nvPr userDrawn="1"/>
            </p:nvSpPr>
            <p:spPr bwMode="auto">
              <a:xfrm flipH="1" flipV="1">
                <a:off x="15489237" y="2359026"/>
                <a:ext cx="952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38" name="Line 1736"/>
              <p:cNvSpPr>
                <a:spLocks noChangeShapeType="1"/>
              </p:cNvSpPr>
              <p:nvPr userDrawn="1"/>
            </p:nvSpPr>
            <p:spPr bwMode="auto">
              <a:xfrm flipH="1" flipV="1">
                <a:off x="15481300" y="2344738"/>
                <a:ext cx="793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39" name="Line 1737"/>
              <p:cNvSpPr>
                <a:spLocks noChangeShapeType="1"/>
              </p:cNvSpPr>
              <p:nvPr userDrawn="1"/>
            </p:nvSpPr>
            <p:spPr bwMode="auto">
              <a:xfrm flipH="1" flipV="1">
                <a:off x="15478125" y="2328863"/>
                <a:ext cx="3175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40" name="Line 1738"/>
              <p:cNvSpPr>
                <a:spLocks noChangeShapeType="1"/>
              </p:cNvSpPr>
              <p:nvPr userDrawn="1"/>
            </p:nvSpPr>
            <p:spPr bwMode="auto">
              <a:xfrm flipH="1" flipV="1">
                <a:off x="15473362" y="2305051"/>
                <a:ext cx="4762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41" name="Line 1739"/>
              <p:cNvSpPr>
                <a:spLocks noChangeShapeType="1"/>
              </p:cNvSpPr>
              <p:nvPr userDrawn="1"/>
            </p:nvSpPr>
            <p:spPr bwMode="auto">
              <a:xfrm flipV="1">
                <a:off x="15473362" y="2279651"/>
                <a:ext cx="1587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42" name="Line 1740"/>
              <p:cNvSpPr>
                <a:spLocks noChangeShapeType="1"/>
              </p:cNvSpPr>
              <p:nvPr userDrawn="1"/>
            </p:nvSpPr>
            <p:spPr bwMode="auto">
              <a:xfrm flipV="1">
                <a:off x="15474950" y="2257426"/>
                <a:ext cx="3175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43" name="Line 1741"/>
              <p:cNvSpPr>
                <a:spLocks noChangeShapeType="1"/>
              </p:cNvSpPr>
              <p:nvPr userDrawn="1"/>
            </p:nvSpPr>
            <p:spPr bwMode="auto">
              <a:xfrm flipV="1">
                <a:off x="15478125" y="2238376"/>
                <a:ext cx="476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44" name="Line 1742"/>
              <p:cNvSpPr>
                <a:spLocks noChangeShapeType="1"/>
              </p:cNvSpPr>
              <p:nvPr userDrawn="1"/>
            </p:nvSpPr>
            <p:spPr bwMode="auto">
              <a:xfrm flipV="1">
                <a:off x="15482887" y="2224088"/>
                <a:ext cx="476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45" name="Line 1743"/>
              <p:cNvSpPr>
                <a:spLocks noChangeShapeType="1"/>
              </p:cNvSpPr>
              <p:nvPr userDrawn="1"/>
            </p:nvSpPr>
            <p:spPr bwMode="auto">
              <a:xfrm flipV="1">
                <a:off x="15487650" y="2216151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46" name="Line 1744"/>
              <p:cNvSpPr>
                <a:spLocks noChangeShapeType="1"/>
              </p:cNvSpPr>
              <p:nvPr userDrawn="1"/>
            </p:nvSpPr>
            <p:spPr bwMode="auto">
              <a:xfrm flipV="1">
                <a:off x="15490825" y="2212976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47" name="Line 1745"/>
              <p:cNvSpPr>
                <a:spLocks noChangeShapeType="1"/>
              </p:cNvSpPr>
              <p:nvPr userDrawn="1"/>
            </p:nvSpPr>
            <p:spPr bwMode="auto">
              <a:xfrm flipV="1">
                <a:off x="15492412" y="2209801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48" name="Line 1746"/>
              <p:cNvSpPr>
                <a:spLocks noChangeShapeType="1"/>
              </p:cNvSpPr>
              <p:nvPr userDrawn="1"/>
            </p:nvSpPr>
            <p:spPr bwMode="auto">
              <a:xfrm flipV="1">
                <a:off x="15494000" y="2206626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49" name="Line 1747"/>
              <p:cNvSpPr>
                <a:spLocks noChangeShapeType="1"/>
              </p:cNvSpPr>
              <p:nvPr userDrawn="1"/>
            </p:nvSpPr>
            <p:spPr bwMode="auto">
              <a:xfrm flipV="1">
                <a:off x="15494000" y="2201863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50" name="Line 1748"/>
              <p:cNvSpPr>
                <a:spLocks noChangeShapeType="1"/>
              </p:cNvSpPr>
              <p:nvPr userDrawn="1"/>
            </p:nvSpPr>
            <p:spPr bwMode="auto">
              <a:xfrm flipV="1">
                <a:off x="15495587" y="2195513"/>
                <a:ext cx="4762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51" name="Line 1749"/>
              <p:cNvSpPr>
                <a:spLocks noChangeShapeType="1"/>
              </p:cNvSpPr>
              <p:nvPr userDrawn="1"/>
            </p:nvSpPr>
            <p:spPr bwMode="auto">
              <a:xfrm flipV="1">
                <a:off x="15500350" y="2189163"/>
                <a:ext cx="793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52" name="Line 1750"/>
              <p:cNvSpPr>
                <a:spLocks noChangeShapeType="1"/>
              </p:cNvSpPr>
              <p:nvPr userDrawn="1"/>
            </p:nvSpPr>
            <p:spPr bwMode="auto">
              <a:xfrm flipV="1">
                <a:off x="15508287" y="2181226"/>
                <a:ext cx="793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53" name="Line 1751"/>
              <p:cNvSpPr>
                <a:spLocks noChangeShapeType="1"/>
              </p:cNvSpPr>
              <p:nvPr userDrawn="1"/>
            </p:nvSpPr>
            <p:spPr bwMode="auto">
              <a:xfrm flipV="1">
                <a:off x="15516225" y="2178051"/>
                <a:ext cx="63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54" name="Line 1752"/>
              <p:cNvSpPr>
                <a:spLocks noChangeShapeType="1"/>
              </p:cNvSpPr>
              <p:nvPr userDrawn="1"/>
            </p:nvSpPr>
            <p:spPr bwMode="auto">
              <a:xfrm flipV="1">
                <a:off x="15522575" y="2176463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55" name="Freeform 1753"/>
              <p:cNvSpPr>
                <a:spLocks/>
              </p:cNvSpPr>
              <p:nvPr userDrawn="1"/>
            </p:nvSpPr>
            <p:spPr bwMode="auto">
              <a:xfrm>
                <a:off x="15630525" y="2168526"/>
                <a:ext cx="252412" cy="220663"/>
              </a:xfrm>
              <a:custGeom>
                <a:avLst/>
                <a:gdLst>
                  <a:gd name="T0" fmla="*/ 314 w 319"/>
                  <a:gd name="T1" fmla="*/ 7 h 278"/>
                  <a:gd name="T2" fmla="*/ 319 w 319"/>
                  <a:gd name="T3" fmla="*/ 14 h 278"/>
                  <a:gd name="T4" fmla="*/ 317 w 319"/>
                  <a:gd name="T5" fmla="*/ 25 h 278"/>
                  <a:gd name="T6" fmla="*/ 312 w 319"/>
                  <a:gd name="T7" fmla="*/ 38 h 278"/>
                  <a:gd name="T8" fmla="*/ 306 w 319"/>
                  <a:gd name="T9" fmla="*/ 56 h 278"/>
                  <a:gd name="T10" fmla="*/ 302 w 319"/>
                  <a:gd name="T11" fmla="*/ 80 h 278"/>
                  <a:gd name="T12" fmla="*/ 292 w 319"/>
                  <a:gd name="T13" fmla="*/ 117 h 278"/>
                  <a:gd name="T14" fmla="*/ 289 w 319"/>
                  <a:gd name="T15" fmla="*/ 134 h 278"/>
                  <a:gd name="T16" fmla="*/ 285 w 319"/>
                  <a:gd name="T17" fmla="*/ 159 h 278"/>
                  <a:gd name="T18" fmla="*/ 267 w 319"/>
                  <a:gd name="T19" fmla="*/ 207 h 278"/>
                  <a:gd name="T20" fmla="*/ 238 w 319"/>
                  <a:gd name="T21" fmla="*/ 242 h 278"/>
                  <a:gd name="T22" fmla="*/ 216 w 319"/>
                  <a:gd name="T23" fmla="*/ 252 h 278"/>
                  <a:gd name="T24" fmla="*/ 189 w 319"/>
                  <a:gd name="T25" fmla="*/ 240 h 278"/>
                  <a:gd name="T26" fmla="*/ 164 w 319"/>
                  <a:gd name="T27" fmla="*/ 200 h 278"/>
                  <a:gd name="T28" fmla="*/ 144 w 319"/>
                  <a:gd name="T29" fmla="*/ 141 h 278"/>
                  <a:gd name="T30" fmla="*/ 134 w 319"/>
                  <a:gd name="T31" fmla="*/ 106 h 278"/>
                  <a:gd name="T32" fmla="*/ 126 w 319"/>
                  <a:gd name="T33" fmla="*/ 93 h 278"/>
                  <a:gd name="T34" fmla="*/ 119 w 319"/>
                  <a:gd name="T35" fmla="*/ 97 h 278"/>
                  <a:gd name="T36" fmla="*/ 112 w 319"/>
                  <a:gd name="T37" fmla="*/ 110 h 278"/>
                  <a:gd name="T38" fmla="*/ 99 w 319"/>
                  <a:gd name="T39" fmla="*/ 142 h 278"/>
                  <a:gd name="T40" fmla="*/ 76 w 319"/>
                  <a:gd name="T41" fmla="*/ 220 h 278"/>
                  <a:gd name="T42" fmla="*/ 61 w 319"/>
                  <a:gd name="T43" fmla="*/ 265 h 278"/>
                  <a:gd name="T44" fmla="*/ 47 w 319"/>
                  <a:gd name="T45" fmla="*/ 278 h 278"/>
                  <a:gd name="T46" fmla="*/ 37 w 319"/>
                  <a:gd name="T47" fmla="*/ 278 h 278"/>
                  <a:gd name="T48" fmla="*/ 30 w 319"/>
                  <a:gd name="T49" fmla="*/ 273 h 278"/>
                  <a:gd name="T50" fmla="*/ 24 w 319"/>
                  <a:gd name="T51" fmla="*/ 255 h 278"/>
                  <a:gd name="T52" fmla="*/ 16 w 319"/>
                  <a:gd name="T53" fmla="*/ 195 h 278"/>
                  <a:gd name="T54" fmla="*/ 7 w 319"/>
                  <a:gd name="T55" fmla="*/ 111 h 278"/>
                  <a:gd name="T56" fmla="*/ 2 w 319"/>
                  <a:gd name="T57" fmla="*/ 66 h 278"/>
                  <a:gd name="T58" fmla="*/ 0 w 319"/>
                  <a:gd name="T59" fmla="*/ 41 h 278"/>
                  <a:gd name="T60" fmla="*/ 6 w 319"/>
                  <a:gd name="T61" fmla="*/ 34 h 278"/>
                  <a:gd name="T62" fmla="*/ 21 w 319"/>
                  <a:gd name="T63" fmla="*/ 28 h 278"/>
                  <a:gd name="T64" fmla="*/ 35 w 319"/>
                  <a:gd name="T65" fmla="*/ 32 h 278"/>
                  <a:gd name="T66" fmla="*/ 41 w 319"/>
                  <a:gd name="T67" fmla="*/ 52 h 278"/>
                  <a:gd name="T68" fmla="*/ 43 w 319"/>
                  <a:gd name="T69" fmla="*/ 99 h 278"/>
                  <a:gd name="T70" fmla="*/ 48 w 319"/>
                  <a:gd name="T71" fmla="*/ 148 h 278"/>
                  <a:gd name="T72" fmla="*/ 52 w 319"/>
                  <a:gd name="T73" fmla="*/ 162 h 278"/>
                  <a:gd name="T74" fmla="*/ 59 w 319"/>
                  <a:gd name="T75" fmla="*/ 151 h 278"/>
                  <a:gd name="T76" fmla="*/ 74 w 319"/>
                  <a:gd name="T77" fmla="*/ 121 h 278"/>
                  <a:gd name="T78" fmla="*/ 79 w 319"/>
                  <a:gd name="T79" fmla="*/ 103 h 278"/>
                  <a:gd name="T80" fmla="*/ 82 w 319"/>
                  <a:gd name="T81" fmla="*/ 94 h 278"/>
                  <a:gd name="T82" fmla="*/ 90 w 319"/>
                  <a:gd name="T83" fmla="*/ 83 h 278"/>
                  <a:gd name="T84" fmla="*/ 95 w 319"/>
                  <a:gd name="T85" fmla="*/ 73 h 278"/>
                  <a:gd name="T86" fmla="*/ 97 w 319"/>
                  <a:gd name="T87" fmla="*/ 65 h 278"/>
                  <a:gd name="T88" fmla="*/ 109 w 319"/>
                  <a:gd name="T89" fmla="*/ 54 h 278"/>
                  <a:gd name="T90" fmla="*/ 121 w 319"/>
                  <a:gd name="T91" fmla="*/ 45 h 278"/>
                  <a:gd name="T92" fmla="*/ 130 w 319"/>
                  <a:gd name="T93" fmla="*/ 42 h 278"/>
                  <a:gd name="T94" fmla="*/ 138 w 319"/>
                  <a:gd name="T95" fmla="*/ 47 h 278"/>
                  <a:gd name="T96" fmla="*/ 150 w 319"/>
                  <a:gd name="T97" fmla="*/ 59 h 278"/>
                  <a:gd name="T98" fmla="*/ 167 w 319"/>
                  <a:gd name="T99" fmla="*/ 93 h 278"/>
                  <a:gd name="T100" fmla="*/ 189 w 319"/>
                  <a:gd name="T101" fmla="*/ 171 h 278"/>
                  <a:gd name="T102" fmla="*/ 202 w 319"/>
                  <a:gd name="T103" fmla="*/ 196 h 278"/>
                  <a:gd name="T104" fmla="*/ 212 w 319"/>
                  <a:gd name="T105" fmla="*/ 209 h 278"/>
                  <a:gd name="T106" fmla="*/ 220 w 319"/>
                  <a:gd name="T107" fmla="*/ 211 h 278"/>
                  <a:gd name="T108" fmla="*/ 229 w 319"/>
                  <a:gd name="T109" fmla="*/ 203 h 278"/>
                  <a:gd name="T110" fmla="*/ 241 w 319"/>
                  <a:gd name="T111" fmla="*/ 173 h 278"/>
                  <a:gd name="T112" fmla="*/ 261 w 319"/>
                  <a:gd name="T113" fmla="*/ 109 h 278"/>
                  <a:gd name="T114" fmla="*/ 271 w 319"/>
                  <a:gd name="T115" fmla="*/ 73 h 278"/>
                  <a:gd name="T116" fmla="*/ 276 w 319"/>
                  <a:gd name="T117" fmla="*/ 56 h 278"/>
                  <a:gd name="T118" fmla="*/ 279 w 319"/>
                  <a:gd name="T119" fmla="*/ 44 h 278"/>
                  <a:gd name="T120" fmla="*/ 288 w 319"/>
                  <a:gd name="T121" fmla="*/ 13 h 278"/>
                  <a:gd name="T122" fmla="*/ 306 w 319"/>
                  <a:gd name="T123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9" h="278">
                    <a:moveTo>
                      <a:pt x="306" y="0"/>
                    </a:moveTo>
                    <a:lnTo>
                      <a:pt x="314" y="7"/>
                    </a:lnTo>
                    <a:lnTo>
                      <a:pt x="317" y="10"/>
                    </a:lnTo>
                    <a:lnTo>
                      <a:pt x="319" y="14"/>
                    </a:lnTo>
                    <a:lnTo>
                      <a:pt x="319" y="18"/>
                    </a:lnTo>
                    <a:lnTo>
                      <a:pt x="317" y="25"/>
                    </a:lnTo>
                    <a:lnTo>
                      <a:pt x="314" y="31"/>
                    </a:lnTo>
                    <a:lnTo>
                      <a:pt x="312" y="38"/>
                    </a:lnTo>
                    <a:lnTo>
                      <a:pt x="307" y="47"/>
                    </a:lnTo>
                    <a:lnTo>
                      <a:pt x="306" y="56"/>
                    </a:lnTo>
                    <a:lnTo>
                      <a:pt x="305" y="66"/>
                    </a:lnTo>
                    <a:lnTo>
                      <a:pt x="302" y="80"/>
                    </a:lnTo>
                    <a:lnTo>
                      <a:pt x="296" y="101"/>
                    </a:lnTo>
                    <a:lnTo>
                      <a:pt x="292" y="117"/>
                    </a:lnTo>
                    <a:lnTo>
                      <a:pt x="289" y="128"/>
                    </a:lnTo>
                    <a:lnTo>
                      <a:pt x="289" y="134"/>
                    </a:lnTo>
                    <a:lnTo>
                      <a:pt x="288" y="144"/>
                    </a:lnTo>
                    <a:lnTo>
                      <a:pt x="285" y="159"/>
                    </a:lnTo>
                    <a:lnTo>
                      <a:pt x="279" y="179"/>
                    </a:lnTo>
                    <a:lnTo>
                      <a:pt x="267" y="207"/>
                    </a:lnTo>
                    <a:lnTo>
                      <a:pt x="251" y="231"/>
                    </a:lnTo>
                    <a:lnTo>
                      <a:pt x="238" y="242"/>
                    </a:lnTo>
                    <a:lnTo>
                      <a:pt x="227" y="250"/>
                    </a:lnTo>
                    <a:lnTo>
                      <a:pt x="216" y="252"/>
                    </a:lnTo>
                    <a:lnTo>
                      <a:pt x="202" y="250"/>
                    </a:lnTo>
                    <a:lnTo>
                      <a:pt x="189" y="240"/>
                    </a:lnTo>
                    <a:lnTo>
                      <a:pt x="176" y="223"/>
                    </a:lnTo>
                    <a:lnTo>
                      <a:pt x="164" y="200"/>
                    </a:lnTo>
                    <a:lnTo>
                      <a:pt x="154" y="173"/>
                    </a:lnTo>
                    <a:lnTo>
                      <a:pt x="144" y="141"/>
                    </a:lnTo>
                    <a:lnTo>
                      <a:pt x="138" y="120"/>
                    </a:lnTo>
                    <a:lnTo>
                      <a:pt x="134" y="106"/>
                    </a:lnTo>
                    <a:lnTo>
                      <a:pt x="128" y="96"/>
                    </a:lnTo>
                    <a:lnTo>
                      <a:pt x="126" y="93"/>
                    </a:lnTo>
                    <a:lnTo>
                      <a:pt x="121" y="94"/>
                    </a:lnTo>
                    <a:lnTo>
                      <a:pt x="119" y="97"/>
                    </a:lnTo>
                    <a:lnTo>
                      <a:pt x="114" y="103"/>
                    </a:lnTo>
                    <a:lnTo>
                      <a:pt x="112" y="110"/>
                    </a:lnTo>
                    <a:lnTo>
                      <a:pt x="110" y="113"/>
                    </a:lnTo>
                    <a:lnTo>
                      <a:pt x="99" y="142"/>
                    </a:lnTo>
                    <a:lnTo>
                      <a:pt x="88" y="182"/>
                    </a:lnTo>
                    <a:lnTo>
                      <a:pt x="76" y="220"/>
                    </a:lnTo>
                    <a:lnTo>
                      <a:pt x="66" y="250"/>
                    </a:lnTo>
                    <a:lnTo>
                      <a:pt x="61" y="265"/>
                    </a:lnTo>
                    <a:lnTo>
                      <a:pt x="54" y="275"/>
                    </a:lnTo>
                    <a:lnTo>
                      <a:pt x="47" y="278"/>
                    </a:lnTo>
                    <a:lnTo>
                      <a:pt x="41" y="278"/>
                    </a:lnTo>
                    <a:lnTo>
                      <a:pt x="37" y="278"/>
                    </a:lnTo>
                    <a:lnTo>
                      <a:pt x="33" y="276"/>
                    </a:lnTo>
                    <a:lnTo>
                      <a:pt x="30" y="273"/>
                    </a:lnTo>
                    <a:lnTo>
                      <a:pt x="27" y="268"/>
                    </a:lnTo>
                    <a:lnTo>
                      <a:pt x="24" y="255"/>
                    </a:lnTo>
                    <a:lnTo>
                      <a:pt x="21" y="235"/>
                    </a:lnTo>
                    <a:lnTo>
                      <a:pt x="16" y="195"/>
                    </a:lnTo>
                    <a:lnTo>
                      <a:pt x="12" y="144"/>
                    </a:lnTo>
                    <a:lnTo>
                      <a:pt x="7" y="111"/>
                    </a:lnTo>
                    <a:lnTo>
                      <a:pt x="4" y="85"/>
                    </a:lnTo>
                    <a:lnTo>
                      <a:pt x="2" y="66"/>
                    </a:lnTo>
                    <a:lnTo>
                      <a:pt x="0" y="49"/>
                    </a:lnTo>
                    <a:lnTo>
                      <a:pt x="0" y="41"/>
                    </a:lnTo>
                    <a:lnTo>
                      <a:pt x="3" y="37"/>
                    </a:lnTo>
                    <a:lnTo>
                      <a:pt x="6" y="34"/>
                    </a:lnTo>
                    <a:lnTo>
                      <a:pt x="12" y="31"/>
                    </a:lnTo>
                    <a:lnTo>
                      <a:pt x="21" y="28"/>
                    </a:lnTo>
                    <a:lnTo>
                      <a:pt x="30" y="28"/>
                    </a:lnTo>
                    <a:lnTo>
                      <a:pt x="35" y="32"/>
                    </a:lnTo>
                    <a:lnTo>
                      <a:pt x="38" y="39"/>
                    </a:lnTo>
                    <a:lnTo>
                      <a:pt x="41" y="52"/>
                    </a:lnTo>
                    <a:lnTo>
                      <a:pt x="41" y="68"/>
                    </a:lnTo>
                    <a:lnTo>
                      <a:pt x="43" y="99"/>
                    </a:lnTo>
                    <a:lnTo>
                      <a:pt x="45" y="130"/>
                    </a:lnTo>
                    <a:lnTo>
                      <a:pt x="48" y="148"/>
                    </a:lnTo>
                    <a:lnTo>
                      <a:pt x="50" y="159"/>
                    </a:lnTo>
                    <a:lnTo>
                      <a:pt x="52" y="162"/>
                    </a:lnTo>
                    <a:lnTo>
                      <a:pt x="55" y="159"/>
                    </a:lnTo>
                    <a:lnTo>
                      <a:pt x="59" y="151"/>
                    </a:lnTo>
                    <a:lnTo>
                      <a:pt x="66" y="137"/>
                    </a:lnTo>
                    <a:lnTo>
                      <a:pt x="74" y="121"/>
                    </a:lnTo>
                    <a:lnTo>
                      <a:pt x="78" y="110"/>
                    </a:lnTo>
                    <a:lnTo>
                      <a:pt x="79" y="103"/>
                    </a:lnTo>
                    <a:lnTo>
                      <a:pt x="79" y="99"/>
                    </a:lnTo>
                    <a:lnTo>
                      <a:pt x="82" y="94"/>
                    </a:lnTo>
                    <a:lnTo>
                      <a:pt x="86" y="89"/>
                    </a:lnTo>
                    <a:lnTo>
                      <a:pt x="90" y="83"/>
                    </a:lnTo>
                    <a:lnTo>
                      <a:pt x="93" y="78"/>
                    </a:lnTo>
                    <a:lnTo>
                      <a:pt x="95" y="73"/>
                    </a:lnTo>
                    <a:lnTo>
                      <a:pt x="95" y="69"/>
                    </a:lnTo>
                    <a:lnTo>
                      <a:pt x="97" y="65"/>
                    </a:lnTo>
                    <a:lnTo>
                      <a:pt x="102" y="59"/>
                    </a:lnTo>
                    <a:lnTo>
                      <a:pt x="109" y="54"/>
                    </a:lnTo>
                    <a:lnTo>
                      <a:pt x="116" y="49"/>
                    </a:lnTo>
                    <a:lnTo>
                      <a:pt x="121" y="45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8" y="47"/>
                    </a:lnTo>
                    <a:lnTo>
                      <a:pt x="144" y="51"/>
                    </a:lnTo>
                    <a:lnTo>
                      <a:pt x="150" y="59"/>
                    </a:lnTo>
                    <a:lnTo>
                      <a:pt x="159" y="76"/>
                    </a:lnTo>
                    <a:lnTo>
                      <a:pt x="167" y="93"/>
                    </a:lnTo>
                    <a:lnTo>
                      <a:pt x="183" y="152"/>
                    </a:lnTo>
                    <a:lnTo>
                      <a:pt x="189" y="171"/>
                    </a:lnTo>
                    <a:lnTo>
                      <a:pt x="196" y="187"/>
                    </a:lnTo>
                    <a:lnTo>
                      <a:pt x="202" y="196"/>
                    </a:lnTo>
                    <a:lnTo>
                      <a:pt x="206" y="203"/>
                    </a:lnTo>
                    <a:lnTo>
                      <a:pt x="212" y="209"/>
                    </a:lnTo>
                    <a:lnTo>
                      <a:pt x="216" y="211"/>
                    </a:lnTo>
                    <a:lnTo>
                      <a:pt x="220" y="211"/>
                    </a:lnTo>
                    <a:lnTo>
                      <a:pt x="223" y="210"/>
                    </a:lnTo>
                    <a:lnTo>
                      <a:pt x="229" y="203"/>
                    </a:lnTo>
                    <a:lnTo>
                      <a:pt x="236" y="190"/>
                    </a:lnTo>
                    <a:lnTo>
                      <a:pt x="241" y="173"/>
                    </a:lnTo>
                    <a:lnTo>
                      <a:pt x="251" y="142"/>
                    </a:lnTo>
                    <a:lnTo>
                      <a:pt x="261" y="109"/>
                    </a:lnTo>
                    <a:lnTo>
                      <a:pt x="267" y="87"/>
                    </a:lnTo>
                    <a:lnTo>
                      <a:pt x="271" y="73"/>
                    </a:lnTo>
                    <a:lnTo>
                      <a:pt x="274" y="63"/>
                    </a:lnTo>
                    <a:lnTo>
                      <a:pt x="276" y="56"/>
                    </a:lnTo>
                    <a:lnTo>
                      <a:pt x="278" y="49"/>
                    </a:lnTo>
                    <a:lnTo>
                      <a:pt x="279" y="44"/>
                    </a:lnTo>
                    <a:lnTo>
                      <a:pt x="281" y="30"/>
                    </a:lnTo>
                    <a:lnTo>
                      <a:pt x="288" y="13"/>
                    </a:lnTo>
                    <a:lnTo>
                      <a:pt x="298" y="1"/>
                    </a:lnTo>
                    <a:lnTo>
                      <a:pt x="30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56" name="Line 1754"/>
              <p:cNvSpPr>
                <a:spLocks noChangeShapeType="1"/>
              </p:cNvSpPr>
              <p:nvPr userDrawn="1"/>
            </p:nvSpPr>
            <p:spPr bwMode="auto">
              <a:xfrm flipV="1">
                <a:off x="15694025" y="2246313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57" name="Line 1755"/>
              <p:cNvSpPr>
                <a:spLocks noChangeShapeType="1"/>
              </p:cNvSpPr>
              <p:nvPr userDrawn="1"/>
            </p:nvSpPr>
            <p:spPr bwMode="auto">
              <a:xfrm flipV="1">
                <a:off x="15694025" y="2243138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58" name="Line 1756"/>
              <p:cNvSpPr>
                <a:spLocks noChangeShapeType="1"/>
              </p:cNvSpPr>
              <p:nvPr userDrawn="1"/>
            </p:nvSpPr>
            <p:spPr bwMode="auto">
              <a:xfrm flipV="1">
                <a:off x="15695612" y="2238376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59" name="Line 1757"/>
              <p:cNvSpPr>
                <a:spLocks noChangeShapeType="1"/>
              </p:cNvSpPr>
              <p:nvPr userDrawn="1"/>
            </p:nvSpPr>
            <p:spPr bwMode="auto">
              <a:xfrm flipV="1">
                <a:off x="15698787" y="2235201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60" name="Line 1758"/>
              <p:cNvSpPr>
                <a:spLocks noChangeShapeType="1"/>
              </p:cNvSpPr>
              <p:nvPr userDrawn="1"/>
            </p:nvSpPr>
            <p:spPr bwMode="auto">
              <a:xfrm flipV="1">
                <a:off x="15701962" y="2230438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61" name="Line 1759"/>
              <p:cNvSpPr>
                <a:spLocks noChangeShapeType="1"/>
              </p:cNvSpPr>
              <p:nvPr userDrawn="1"/>
            </p:nvSpPr>
            <p:spPr bwMode="auto">
              <a:xfrm flipV="1">
                <a:off x="15705137" y="2227263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62" name="Line 1760"/>
              <p:cNvSpPr>
                <a:spLocks noChangeShapeType="1"/>
              </p:cNvSpPr>
              <p:nvPr userDrawn="1"/>
            </p:nvSpPr>
            <p:spPr bwMode="auto">
              <a:xfrm flipV="1">
                <a:off x="15705137" y="222408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63" name="Line 1761"/>
              <p:cNvSpPr>
                <a:spLocks noChangeShapeType="1"/>
              </p:cNvSpPr>
              <p:nvPr userDrawn="1"/>
            </p:nvSpPr>
            <p:spPr bwMode="auto">
              <a:xfrm flipV="1">
                <a:off x="15705137" y="2219326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64" name="Line 1762"/>
              <p:cNvSpPr>
                <a:spLocks noChangeShapeType="1"/>
              </p:cNvSpPr>
              <p:nvPr userDrawn="1"/>
            </p:nvSpPr>
            <p:spPr bwMode="auto">
              <a:xfrm flipV="1">
                <a:off x="15708312" y="2216151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65" name="Line 1763"/>
              <p:cNvSpPr>
                <a:spLocks noChangeShapeType="1"/>
              </p:cNvSpPr>
              <p:nvPr userDrawn="1"/>
            </p:nvSpPr>
            <p:spPr bwMode="auto">
              <a:xfrm flipV="1">
                <a:off x="15711487" y="2211388"/>
                <a:ext cx="4762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66" name="Line 1764"/>
              <p:cNvSpPr>
                <a:spLocks noChangeShapeType="1"/>
              </p:cNvSpPr>
              <p:nvPr userDrawn="1"/>
            </p:nvSpPr>
            <p:spPr bwMode="auto">
              <a:xfrm flipV="1">
                <a:off x="15716250" y="2208213"/>
                <a:ext cx="63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67" name="Line 1765"/>
              <p:cNvSpPr>
                <a:spLocks noChangeShapeType="1"/>
              </p:cNvSpPr>
              <p:nvPr userDrawn="1"/>
            </p:nvSpPr>
            <p:spPr bwMode="auto">
              <a:xfrm flipV="1">
                <a:off x="15722600" y="220503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68" name="Line 1766"/>
              <p:cNvSpPr>
                <a:spLocks noChangeShapeType="1"/>
              </p:cNvSpPr>
              <p:nvPr userDrawn="1"/>
            </p:nvSpPr>
            <p:spPr bwMode="auto">
              <a:xfrm flipV="1">
                <a:off x="15727362" y="220186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69" name="Line 1767"/>
              <p:cNvSpPr>
                <a:spLocks noChangeShapeType="1"/>
              </p:cNvSpPr>
              <p:nvPr userDrawn="1"/>
            </p:nvSpPr>
            <p:spPr bwMode="auto">
              <a:xfrm>
                <a:off x="15730537" y="220186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70" name="Line 1768"/>
              <p:cNvSpPr>
                <a:spLocks noChangeShapeType="1"/>
              </p:cNvSpPr>
              <p:nvPr userDrawn="1"/>
            </p:nvSpPr>
            <p:spPr bwMode="auto">
              <a:xfrm>
                <a:off x="15733712" y="220186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71" name="Line 1769"/>
              <p:cNvSpPr>
                <a:spLocks noChangeShapeType="1"/>
              </p:cNvSpPr>
              <p:nvPr userDrawn="1"/>
            </p:nvSpPr>
            <p:spPr bwMode="auto">
              <a:xfrm>
                <a:off x="15736887" y="220186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72" name="Line 1770"/>
              <p:cNvSpPr>
                <a:spLocks noChangeShapeType="1"/>
              </p:cNvSpPr>
              <p:nvPr userDrawn="1"/>
            </p:nvSpPr>
            <p:spPr bwMode="auto">
              <a:xfrm>
                <a:off x="15740062" y="2205038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73" name="Line 1771"/>
              <p:cNvSpPr>
                <a:spLocks noChangeShapeType="1"/>
              </p:cNvSpPr>
              <p:nvPr userDrawn="1"/>
            </p:nvSpPr>
            <p:spPr bwMode="auto">
              <a:xfrm>
                <a:off x="15744825" y="2208213"/>
                <a:ext cx="476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74" name="Line 1772"/>
              <p:cNvSpPr>
                <a:spLocks noChangeShapeType="1"/>
              </p:cNvSpPr>
              <p:nvPr userDrawn="1"/>
            </p:nvSpPr>
            <p:spPr bwMode="auto">
              <a:xfrm>
                <a:off x="15749587" y="2216151"/>
                <a:ext cx="7937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75" name="Line 1773"/>
              <p:cNvSpPr>
                <a:spLocks noChangeShapeType="1"/>
              </p:cNvSpPr>
              <p:nvPr userDrawn="1"/>
            </p:nvSpPr>
            <p:spPr bwMode="auto">
              <a:xfrm>
                <a:off x="15757525" y="2228851"/>
                <a:ext cx="476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76" name="Line 1774"/>
              <p:cNvSpPr>
                <a:spLocks noChangeShapeType="1"/>
              </p:cNvSpPr>
              <p:nvPr userDrawn="1"/>
            </p:nvSpPr>
            <p:spPr bwMode="auto">
              <a:xfrm>
                <a:off x="15762287" y="2243138"/>
                <a:ext cx="14287" cy="460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77" name="Line 1775"/>
              <p:cNvSpPr>
                <a:spLocks noChangeShapeType="1"/>
              </p:cNvSpPr>
              <p:nvPr userDrawn="1"/>
            </p:nvSpPr>
            <p:spPr bwMode="auto">
              <a:xfrm>
                <a:off x="15776575" y="2289176"/>
                <a:ext cx="476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78" name="Line 1776"/>
              <p:cNvSpPr>
                <a:spLocks noChangeShapeType="1"/>
              </p:cNvSpPr>
              <p:nvPr userDrawn="1"/>
            </p:nvSpPr>
            <p:spPr bwMode="auto">
              <a:xfrm>
                <a:off x="15781337" y="2303463"/>
                <a:ext cx="476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79" name="Line 1777"/>
              <p:cNvSpPr>
                <a:spLocks noChangeShapeType="1"/>
              </p:cNvSpPr>
              <p:nvPr userDrawn="1"/>
            </p:nvSpPr>
            <p:spPr bwMode="auto">
              <a:xfrm>
                <a:off x="15786100" y="2317751"/>
                <a:ext cx="4762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80" name="Line 1778"/>
              <p:cNvSpPr>
                <a:spLocks noChangeShapeType="1"/>
              </p:cNvSpPr>
              <p:nvPr userDrawn="1"/>
            </p:nvSpPr>
            <p:spPr bwMode="auto">
              <a:xfrm>
                <a:off x="15790862" y="2324101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81" name="Line 1779"/>
              <p:cNvSpPr>
                <a:spLocks noChangeShapeType="1"/>
              </p:cNvSpPr>
              <p:nvPr userDrawn="1"/>
            </p:nvSpPr>
            <p:spPr bwMode="auto">
              <a:xfrm>
                <a:off x="15794037" y="2328863"/>
                <a:ext cx="4762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82" name="Line 1780"/>
              <p:cNvSpPr>
                <a:spLocks noChangeShapeType="1"/>
              </p:cNvSpPr>
              <p:nvPr userDrawn="1"/>
            </p:nvSpPr>
            <p:spPr bwMode="auto">
              <a:xfrm>
                <a:off x="15798800" y="2333626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83" name="Line 1781"/>
              <p:cNvSpPr>
                <a:spLocks noChangeShapeType="1"/>
              </p:cNvSpPr>
              <p:nvPr userDrawn="1"/>
            </p:nvSpPr>
            <p:spPr bwMode="auto">
              <a:xfrm>
                <a:off x="15801975" y="2336801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84" name="Line 1782"/>
              <p:cNvSpPr>
                <a:spLocks noChangeShapeType="1"/>
              </p:cNvSpPr>
              <p:nvPr userDrawn="1"/>
            </p:nvSpPr>
            <p:spPr bwMode="auto">
              <a:xfrm flipV="1">
                <a:off x="15805150" y="2335213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85" name="Line 1783"/>
              <p:cNvSpPr>
                <a:spLocks noChangeShapeType="1"/>
              </p:cNvSpPr>
              <p:nvPr userDrawn="1"/>
            </p:nvSpPr>
            <p:spPr bwMode="auto">
              <a:xfrm flipV="1">
                <a:off x="15806737" y="2328863"/>
                <a:ext cx="4762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86" name="Line 1784"/>
              <p:cNvSpPr>
                <a:spLocks noChangeShapeType="1"/>
              </p:cNvSpPr>
              <p:nvPr userDrawn="1"/>
            </p:nvSpPr>
            <p:spPr bwMode="auto">
              <a:xfrm flipV="1">
                <a:off x="15811500" y="2319338"/>
                <a:ext cx="635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87" name="Line 1785"/>
              <p:cNvSpPr>
                <a:spLocks noChangeShapeType="1"/>
              </p:cNvSpPr>
              <p:nvPr userDrawn="1"/>
            </p:nvSpPr>
            <p:spPr bwMode="auto">
              <a:xfrm flipV="1">
                <a:off x="15817850" y="2306638"/>
                <a:ext cx="4762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88" name="Line 1786"/>
              <p:cNvSpPr>
                <a:spLocks noChangeShapeType="1"/>
              </p:cNvSpPr>
              <p:nvPr userDrawn="1"/>
            </p:nvSpPr>
            <p:spPr bwMode="auto">
              <a:xfrm flipV="1">
                <a:off x="15822612" y="2281238"/>
                <a:ext cx="7937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89" name="Line 1787"/>
              <p:cNvSpPr>
                <a:spLocks noChangeShapeType="1"/>
              </p:cNvSpPr>
              <p:nvPr userDrawn="1"/>
            </p:nvSpPr>
            <p:spPr bwMode="auto">
              <a:xfrm flipV="1">
                <a:off x="15830550" y="2254251"/>
                <a:ext cx="6350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90" name="Line 1788"/>
              <p:cNvSpPr>
                <a:spLocks noChangeShapeType="1"/>
              </p:cNvSpPr>
              <p:nvPr userDrawn="1"/>
            </p:nvSpPr>
            <p:spPr bwMode="auto">
              <a:xfrm flipV="1">
                <a:off x="15836900" y="2238376"/>
                <a:ext cx="4762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91" name="Line 1789"/>
              <p:cNvSpPr>
                <a:spLocks noChangeShapeType="1"/>
              </p:cNvSpPr>
              <p:nvPr userDrawn="1"/>
            </p:nvSpPr>
            <p:spPr bwMode="auto">
              <a:xfrm flipV="1">
                <a:off x="15841662" y="2227263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92" name="Line 1790"/>
              <p:cNvSpPr>
                <a:spLocks noChangeShapeType="1"/>
              </p:cNvSpPr>
              <p:nvPr userDrawn="1"/>
            </p:nvSpPr>
            <p:spPr bwMode="auto">
              <a:xfrm flipV="1">
                <a:off x="15844837" y="2219326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93" name="Line 1791"/>
              <p:cNvSpPr>
                <a:spLocks noChangeShapeType="1"/>
              </p:cNvSpPr>
              <p:nvPr userDrawn="1"/>
            </p:nvSpPr>
            <p:spPr bwMode="auto">
              <a:xfrm flipV="1">
                <a:off x="15848012" y="2212976"/>
                <a:ext cx="158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94" name="Line 1792"/>
              <p:cNvSpPr>
                <a:spLocks noChangeShapeType="1"/>
              </p:cNvSpPr>
              <p:nvPr userDrawn="1"/>
            </p:nvSpPr>
            <p:spPr bwMode="auto">
              <a:xfrm flipV="1">
                <a:off x="15849600" y="2208213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95" name="Line 1793"/>
              <p:cNvSpPr>
                <a:spLocks noChangeShapeType="1"/>
              </p:cNvSpPr>
              <p:nvPr userDrawn="1"/>
            </p:nvSpPr>
            <p:spPr bwMode="auto">
              <a:xfrm flipV="1">
                <a:off x="15851187" y="2203451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96" name="Line 1794"/>
              <p:cNvSpPr>
                <a:spLocks noChangeShapeType="1"/>
              </p:cNvSpPr>
              <p:nvPr userDrawn="1"/>
            </p:nvSpPr>
            <p:spPr bwMode="auto">
              <a:xfrm flipV="1">
                <a:off x="15852775" y="2192338"/>
                <a:ext cx="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97" name="Line 1795"/>
              <p:cNvSpPr>
                <a:spLocks noChangeShapeType="1"/>
              </p:cNvSpPr>
              <p:nvPr userDrawn="1"/>
            </p:nvSpPr>
            <p:spPr bwMode="auto">
              <a:xfrm flipV="1">
                <a:off x="15852775" y="2178051"/>
                <a:ext cx="635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98" name="Line 1796"/>
              <p:cNvSpPr>
                <a:spLocks noChangeShapeType="1"/>
              </p:cNvSpPr>
              <p:nvPr userDrawn="1"/>
            </p:nvSpPr>
            <p:spPr bwMode="auto">
              <a:xfrm flipV="1">
                <a:off x="15859125" y="2170113"/>
                <a:ext cx="793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99" name="Line 1797"/>
              <p:cNvSpPr>
                <a:spLocks noChangeShapeType="1"/>
              </p:cNvSpPr>
              <p:nvPr userDrawn="1"/>
            </p:nvSpPr>
            <p:spPr bwMode="auto">
              <a:xfrm flipV="1">
                <a:off x="15867062" y="2168526"/>
                <a:ext cx="635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00" name="Line 1798"/>
              <p:cNvSpPr>
                <a:spLocks noChangeShapeType="1"/>
              </p:cNvSpPr>
              <p:nvPr userDrawn="1"/>
            </p:nvSpPr>
            <p:spPr bwMode="auto">
              <a:xfrm>
                <a:off x="15873412" y="2168526"/>
                <a:ext cx="635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01" name="Line 1799"/>
              <p:cNvSpPr>
                <a:spLocks noChangeShapeType="1"/>
              </p:cNvSpPr>
              <p:nvPr userDrawn="1"/>
            </p:nvSpPr>
            <p:spPr bwMode="auto">
              <a:xfrm>
                <a:off x="15879762" y="2174876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02" name="Line 1800"/>
              <p:cNvSpPr>
                <a:spLocks noChangeShapeType="1"/>
              </p:cNvSpPr>
              <p:nvPr userDrawn="1"/>
            </p:nvSpPr>
            <p:spPr bwMode="auto">
              <a:xfrm>
                <a:off x="15882937" y="2176463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03" name="Line 1801"/>
              <p:cNvSpPr>
                <a:spLocks noChangeShapeType="1"/>
              </p:cNvSpPr>
              <p:nvPr userDrawn="1"/>
            </p:nvSpPr>
            <p:spPr bwMode="auto">
              <a:xfrm>
                <a:off x="15882937" y="2179638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04" name="Line 1802"/>
              <p:cNvSpPr>
                <a:spLocks noChangeShapeType="1"/>
              </p:cNvSpPr>
              <p:nvPr userDrawn="1"/>
            </p:nvSpPr>
            <p:spPr bwMode="auto">
              <a:xfrm flipH="1">
                <a:off x="15882937" y="2182813"/>
                <a:ext cx="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05" name="Line 1803"/>
              <p:cNvSpPr>
                <a:spLocks noChangeShapeType="1"/>
              </p:cNvSpPr>
              <p:nvPr userDrawn="1"/>
            </p:nvSpPr>
            <p:spPr bwMode="auto">
              <a:xfrm flipH="1">
                <a:off x="15879762" y="2189163"/>
                <a:ext cx="3175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06" name="Line 1804"/>
              <p:cNvSpPr>
                <a:spLocks noChangeShapeType="1"/>
              </p:cNvSpPr>
              <p:nvPr userDrawn="1"/>
            </p:nvSpPr>
            <p:spPr bwMode="auto">
              <a:xfrm flipH="1">
                <a:off x="15878175" y="2193926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07" name="Line 1805"/>
              <p:cNvSpPr>
                <a:spLocks noChangeShapeType="1"/>
              </p:cNvSpPr>
              <p:nvPr userDrawn="1"/>
            </p:nvSpPr>
            <p:spPr bwMode="auto">
              <a:xfrm flipH="1">
                <a:off x="15875000" y="2198688"/>
                <a:ext cx="3175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08" name="Line 1806"/>
              <p:cNvSpPr>
                <a:spLocks noChangeShapeType="1"/>
              </p:cNvSpPr>
              <p:nvPr userDrawn="1"/>
            </p:nvSpPr>
            <p:spPr bwMode="auto">
              <a:xfrm flipH="1">
                <a:off x="15873412" y="2205038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09" name="Line 1807"/>
              <p:cNvSpPr>
                <a:spLocks noChangeShapeType="1"/>
              </p:cNvSpPr>
              <p:nvPr userDrawn="1"/>
            </p:nvSpPr>
            <p:spPr bwMode="auto">
              <a:xfrm flipH="1">
                <a:off x="15871825" y="2212976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10" name="Line 1808"/>
              <p:cNvSpPr>
                <a:spLocks noChangeShapeType="1"/>
              </p:cNvSpPr>
              <p:nvPr userDrawn="1"/>
            </p:nvSpPr>
            <p:spPr bwMode="auto">
              <a:xfrm flipH="1">
                <a:off x="15870237" y="2220913"/>
                <a:ext cx="1587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11" name="Line 1809"/>
              <p:cNvSpPr>
                <a:spLocks noChangeShapeType="1"/>
              </p:cNvSpPr>
              <p:nvPr userDrawn="1"/>
            </p:nvSpPr>
            <p:spPr bwMode="auto">
              <a:xfrm flipH="1">
                <a:off x="15865475" y="2232026"/>
                <a:ext cx="4762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12" name="Line 1810"/>
              <p:cNvSpPr>
                <a:spLocks noChangeShapeType="1"/>
              </p:cNvSpPr>
              <p:nvPr userDrawn="1"/>
            </p:nvSpPr>
            <p:spPr bwMode="auto">
              <a:xfrm flipH="1">
                <a:off x="15862300" y="2249488"/>
                <a:ext cx="317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13" name="Line 1811"/>
              <p:cNvSpPr>
                <a:spLocks noChangeShapeType="1"/>
              </p:cNvSpPr>
              <p:nvPr userDrawn="1"/>
            </p:nvSpPr>
            <p:spPr bwMode="auto">
              <a:xfrm flipH="1">
                <a:off x="15860712" y="2262188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14" name="Line 1812"/>
              <p:cNvSpPr>
                <a:spLocks noChangeShapeType="1"/>
              </p:cNvSpPr>
              <p:nvPr userDrawn="1"/>
            </p:nvSpPr>
            <p:spPr bwMode="auto">
              <a:xfrm>
                <a:off x="15860712" y="2270126"/>
                <a:ext cx="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" name="Line 1814"/>
              <p:cNvSpPr>
                <a:spLocks noChangeShapeType="1"/>
              </p:cNvSpPr>
              <p:nvPr userDrawn="1"/>
            </p:nvSpPr>
            <p:spPr bwMode="auto">
              <a:xfrm flipH="1">
                <a:off x="15859125" y="2274888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" name="Line 1815"/>
              <p:cNvSpPr>
                <a:spLocks noChangeShapeType="1"/>
              </p:cNvSpPr>
              <p:nvPr userDrawn="1"/>
            </p:nvSpPr>
            <p:spPr bwMode="auto">
              <a:xfrm flipH="1">
                <a:off x="15855950" y="2282825"/>
                <a:ext cx="3175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" name="Line 1816"/>
              <p:cNvSpPr>
                <a:spLocks noChangeShapeType="1"/>
              </p:cNvSpPr>
              <p:nvPr userDrawn="1"/>
            </p:nvSpPr>
            <p:spPr bwMode="auto">
              <a:xfrm flipH="1">
                <a:off x="15852775" y="2295525"/>
                <a:ext cx="3175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" name="Line 1817"/>
              <p:cNvSpPr>
                <a:spLocks noChangeShapeType="1"/>
              </p:cNvSpPr>
              <p:nvPr userDrawn="1"/>
            </p:nvSpPr>
            <p:spPr bwMode="auto">
              <a:xfrm flipH="1">
                <a:off x="15841663" y="2311400"/>
                <a:ext cx="11112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" name="Line 1818"/>
              <p:cNvSpPr>
                <a:spLocks noChangeShapeType="1"/>
              </p:cNvSpPr>
              <p:nvPr userDrawn="1"/>
            </p:nvSpPr>
            <p:spPr bwMode="auto">
              <a:xfrm flipH="1">
                <a:off x="15830550" y="2333625"/>
                <a:ext cx="11112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" name="Line 1819"/>
              <p:cNvSpPr>
                <a:spLocks noChangeShapeType="1"/>
              </p:cNvSpPr>
              <p:nvPr userDrawn="1"/>
            </p:nvSpPr>
            <p:spPr bwMode="auto">
              <a:xfrm flipH="1">
                <a:off x="15819438" y="2352675"/>
                <a:ext cx="1111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1" name="Line 1820"/>
              <p:cNvSpPr>
                <a:spLocks noChangeShapeType="1"/>
              </p:cNvSpPr>
              <p:nvPr userDrawn="1"/>
            </p:nvSpPr>
            <p:spPr bwMode="auto">
              <a:xfrm flipH="1">
                <a:off x="15811500" y="2360613"/>
                <a:ext cx="793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02" name="Line 1821"/>
              <p:cNvSpPr>
                <a:spLocks noChangeShapeType="1"/>
              </p:cNvSpPr>
              <p:nvPr userDrawn="1"/>
            </p:nvSpPr>
            <p:spPr bwMode="auto">
              <a:xfrm flipH="1">
                <a:off x="15801975" y="2366963"/>
                <a:ext cx="952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14" name="Line 1822"/>
              <p:cNvSpPr>
                <a:spLocks noChangeShapeType="1"/>
              </p:cNvSpPr>
              <p:nvPr userDrawn="1"/>
            </p:nvSpPr>
            <p:spPr bwMode="auto">
              <a:xfrm flipH="1" flipV="1">
                <a:off x="15790863" y="2366963"/>
                <a:ext cx="1111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1823"/>
              <p:cNvSpPr>
                <a:spLocks noChangeShapeType="1"/>
              </p:cNvSpPr>
              <p:nvPr userDrawn="1"/>
            </p:nvSpPr>
            <p:spPr bwMode="auto">
              <a:xfrm flipH="1" flipV="1">
                <a:off x="15781338" y="2359025"/>
                <a:ext cx="952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1824"/>
              <p:cNvSpPr>
                <a:spLocks noChangeShapeType="1"/>
              </p:cNvSpPr>
              <p:nvPr userDrawn="1"/>
            </p:nvSpPr>
            <p:spPr bwMode="auto">
              <a:xfrm flipH="1" flipV="1">
                <a:off x="15770225" y="2344738"/>
                <a:ext cx="11112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1825"/>
              <p:cNvSpPr>
                <a:spLocks noChangeShapeType="1"/>
              </p:cNvSpPr>
              <p:nvPr userDrawn="1"/>
            </p:nvSpPr>
            <p:spPr bwMode="auto">
              <a:xfrm flipH="1" flipV="1">
                <a:off x="15760700" y="2327275"/>
                <a:ext cx="9525" cy="174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1826"/>
              <p:cNvSpPr>
                <a:spLocks noChangeShapeType="1"/>
              </p:cNvSpPr>
              <p:nvPr userDrawn="1"/>
            </p:nvSpPr>
            <p:spPr bwMode="auto">
              <a:xfrm flipH="1" flipV="1">
                <a:off x="15752763" y="2306638"/>
                <a:ext cx="7937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1827"/>
              <p:cNvSpPr>
                <a:spLocks noChangeShapeType="1"/>
              </p:cNvSpPr>
              <p:nvPr userDrawn="1"/>
            </p:nvSpPr>
            <p:spPr bwMode="auto">
              <a:xfrm flipH="1" flipV="1">
                <a:off x="15744825" y="2279650"/>
                <a:ext cx="7937" cy="269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1828"/>
              <p:cNvSpPr>
                <a:spLocks noChangeShapeType="1"/>
              </p:cNvSpPr>
              <p:nvPr userDrawn="1"/>
            </p:nvSpPr>
            <p:spPr bwMode="auto">
              <a:xfrm flipH="1" flipV="1">
                <a:off x="15740063" y="2263775"/>
                <a:ext cx="4762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1829"/>
              <p:cNvSpPr>
                <a:spLocks noChangeShapeType="1"/>
              </p:cNvSpPr>
              <p:nvPr userDrawn="1"/>
            </p:nvSpPr>
            <p:spPr bwMode="auto">
              <a:xfrm flipH="1" flipV="1">
                <a:off x="15736888" y="2252663"/>
                <a:ext cx="3175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1830"/>
              <p:cNvSpPr>
                <a:spLocks noChangeShapeType="1"/>
              </p:cNvSpPr>
              <p:nvPr userDrawn="1"/>
            </p:nvSpPr>
            <p:spPr bwMode="auto">
              <a:xfrm flipH="1" flipV="1">
                <a:off x="15732125" y="2244725"/>
                <a:ext cx="4762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1831"/>
              <p:cNvSpPr>
                <a:spLocks noChangeShapeType="1"/>
              </p:cNvSpPr>
              <p:nvPr userDrawn="1"/>
            </p:nvSpPr>
            <p:spPr bwMode="auto">
              <a:xfrm flipH="1" flipV="1">
                <a:off x="15730538" y="2243138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1832"/>
              <p:cNvSpPr>
                <a:spLocks noChangeShapeType="1"/>
              </p:cNvSpPr>
              <p:nvPr userDrawn="1"/>
            </p:nvSpPr>
            <p:spPr bwMode="auto">
              <a:xfrm flipH="1">
                <a:off x="15727363" y="224313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1833"/>
              <p:cNvSpPr>
                <a:spLocks noChangeShapeType="1"/>
              </p:cNvSpPr>
              <p:nvPr userDrawn="1"/>
            </p:nvSpPr>
            <p:spPr bwMode="auto">
              <a:xfrm flipH="1">
                <a:off x="15724188" y="2243138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1834"/>
              <p:cNvSpPr>
                <a:spLocks noChangeShapeType="1"/>
              </p:cNvSpPr>
              <p:nvPr userDrawn="1"/>
            </p:nvSpPr>
            <p:spPr bwMode="auto">
              <a:xfrm flipH="1">
                <a:off x="15721013" y="224631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1835"/>
              <p:cNvSpPr>
                <a:spLocks noChangeShapeType="1"/>
              </p:cNvSpPr>
              <p:nvPr userDrawn="1"/>
            </p:nvSpPr>
            <p:spPr bwMode="auto">
              <a:xfrm flipH="1">
                <a:off x="15719425" y="2249488"/>
                <a:ext cx="158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1836"/>
              <p:cNvSpPr>
                <a:spLocks noChangeShapeType="1"/>
              </p:cNvSpPr>
              <p:nvPr userDrawn="1"/>
            </p:nvSpPr>
            <p:spPr bwMode="auto">
              <a:xfrm flipH="1">
                <a:off x="15717838" y="2255838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1837"/>
              <p:cNvSpPr>
                <a:spLocks noChangeShapeType="1"/>
              </p:cNvSpPr>
              <p:nvPr userDrawn="1"/>
            </p:nvSpPr>
            <p:spPr bwMode="auto">
              <a:xfrm flipH="1">
                <a:off x="15708313" y="2257425"/>
                <a:ext cx="9525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1838"/>
              <p:cNvSpPr>
                <a:spLocks noChangeShapeType="1"/>
              </p:cNvSpPr>
              <p:nvPr userDrawn="1"/>
            </p:nvSpPr>
            <p:spPr bwMode="auto">
              <a:xfrm flipH="1">
                <a:off x="15700375" y="2281238"/>
                <a:ext cx="7937" cy="317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1839"/>
              <p:cNvSpPr>
                <a:spLocks noChangeShapeType="1"/>
              </p:cNvSpPr>
              <p:nvPr userDrawn="1"/>
            </p:nvSpPr>
            <p:spPr bwMode="auto">
              <a:xfrm flipH="1">
                <a:off x="15690850" y="2312988"/>
                <a:ext cx="9525" cy="301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1840"/>
              <p:cNvSpPr>
                <a:spLocks noChangeShapeType="1"/>
              </p:cNvSpPr>
              <p:nvPr userDrawn="1"/>
            </p:nvSpPr>
            <p:spPr bwMode="auto">
              <a:xfrm flipH="1">
                <a:off x="15682913" y="2343150"/>
                <a:ext cx="7937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1841"/>
              <p:cNvSpPr>
                <a:spLocks noChangeShapeType="1"/>
              </p:cNvSpPr>
              <p:nvPr userDrawn="1"/>
            </p:nvSpPr>
            <p:spPr bwMode="auto">
              <a:xfrm flipH="1">
                <a:off x="15678150" y="2366963"/>
                <a:ext cx="4762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1842"/>
              <p:cNvSpPr>
                <a:spLocks noChangeShapeType="1"/>
              </p:cNvSpPr>
              <p:nvPr userDrawn="1"/>
            </p:nvSpPr>
            <p:spPr bwMode="auto">
              <a:xfrm flipH="1">
                <a:off x="15673388" y="2379663"/>
                <a:ext cx="4762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1843"/>
              <p:cNvSpPr>
                <a:spLocks noChangeShapeType="1"/>
              </p:cNvSpPr>
              <p:nvPr userDrawn="1"/>
            </p:nvSpPr>
            <p:spPr bwMode="auto">
              <a:xfrm flipH="1">
                <a:off x="15667038" y="2386013"/>
                <a:ext cx="635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1844"/>
              <p:cNvSpPr>
                <a:spLocks noChangeShapeType="1"/>
              </p:cNvSpPr>
              <p:nvPr userDrawn="1"/>
            </p:nvSpPr>
            <p:spPr bwMode="auto">
              <a:xfrm flipH="1">
                <a:off x="15663863" y="2389188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845"/>
              <p:cNvSpPr>
                <a:spLocks noChangeShapeType="1"/>
              </p:cNvSpPr>
              <p:nvPr userDrawn="1"/>
            </p:nvSpPr>
            <p:spPr bwMode="auto">
              <a:xfrm flipH="1">
                <a:off x="15659100" y="2389188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846"/>
              <p:cNvSpPr>
                <a:spLocks noChangeShapeType="1"/>
              </p:cNvSpPr>
              <p:nvPr userDrawn="1"/>
            </p:nvSpPr>
            <p:spPr bwMode="auto">
              <a:xfrm flipH="1" flipV="1">
                <a:off x="15655925" y="238760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847"/>
              <p:cNvSpPr>
                <a:spLocks noChangeShapeType="1"/>
              </p:cNvSpPr>
              <p:nvPr userDrawn="1"/>
            </p:nvSpPr>
            <p:spPr bwMode="auto">
              <a:xfrm flipH="1" flipV="1">
                <a:off x="15654338" y="2386013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1848"/>
              <p:cNvSpPr>
                <a:spLocks noChangeShapeType="1"/>
              </p:cNvSpPr>
              <p:nvPr userDrawn="1"/>
            </p:nvSpPr>
            <p:spPr bwMode="auto">
              <a:xfrm flipH="1" flipV="1">
                <a:off x="15652750" y="2381250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849"/>
              <p:cNvSpPr>
                <a:spLocks noChangeShapeType="1"/>
              </p:cNvSpPr>
              <p:nvPr userDrawn="1"/>
            </p:nvSpPr>
            <p:spPr bwMode="auto">
              <a:xfrm flipH="1" flipV="1">
                <a:off x="15649575" y="2371725"/>
                <a:ext cx="317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850"/>
              <p:cNvSpPr>
                <a:spLocks noChangeShapeType="1"/>
              </p:cNvSpPr>
              <p:nvPr userDrawn="1"/>
            </p:nvSpPr>
            <p:spPr bwMode="auto">
              <a:xfrm flipH="1" flipV="1">
                <a:off x="15647988" y="2355850"/>
                <a:ext cx="1587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851"/>
              <p:cNvSpPr>
                <a:spLocks noChangeShapeType="1"/>
              </p:cNvSpPr>
              <p:nvPr userDrawn="1"/>
            </p:nvSpPr>
            <p:spPr bwMode="auto">
              <a:xfrm flipH="1" flipV="1">
                <a:off x="15643225" y="2322513"/>
                <a:ext cx="4762" cy="333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852"/>
              <p:cNvSpPr>
                <a:spLocks noChangeShapeType="1"/>
              </p:cNvSpPr>
              <p:nvPr userDrawn="1"/>
            </p:nvSpPr>
            <p:spPr bwMode="auto">
              <a:xfrm flipH="1" flipV="1">
                <a:off x="15640050" y="2282825"/>
                <a:ext cx="3175" cy="396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853"/>
              <p:cNvSpPr>
                <a:spLocks noChangeShapeType="1"/>
              </p:cNvSpPr>
              <p:nvPr userDrawn="1"/>
            </p:nvSpPr>
            <p:spPr bwMode="auto">
              <a:xfrm flipH="1" flipV="1">
                <a:off x="15636875" y="2257425"/>
                <a:ext cx="3175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854"/>
              <p:cNvSpPr>
                <a:spLocks noChangeShapeType="1"/>
              </p:cNvSpPr>
              <p:nvPr userDrawn="1"/>
            </p:nvSpPr>
            <p:spPr bwMode="auto">
              <a:xfrm flipH="1" flipV="1">
                <a:off x="15633700" y="2235200"/>
                <a:ext cx="3175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855"/>
              <p:cNvSpPr>
                <a:spLocks noChangeShapeType="1"/>
              </p:cNvSpPr>
              <p:nvPr userDrawn="1"/>
            </p:nvSpPr>
            <p:spPr bwMode="auto">
              <a:xfrm flipH="1" flipV="1">
                <a:off x="15632113" y="2220913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856"/>
              <p:cNvSpPr>
                <a:spLocks noChangeShapeType="1"/>
              </p:cNvSpPr>
              <p:nvPr userDrawn="1"/>
            </p:nvSpPr>
            <p:spPr bwMode="auto">
              <a:xfrm flipH="1" flipV="1">
                <a:off x="15630525" y="2208213"/>
                <a:ext cx="1587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857"/>
              <p:cNvSpPr>
                <a:spLocks noChangeShapeType="1"/>
              </p:cNvSpPr>
              <p:nvPr userDrawn="1"/>
            </p:nvSpPr>
            <p:spPr bwMode="auto">
              <a:xfrm flipV="1">
                <a:off x="15630525" y="2200275"/>
                <a:ext cx="0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858"/>
              <p:cNvSpPr>
                <a:spLocks noChangeShapeType="1"/>
              </p:cNvSpPr>
              <p:nvPr userDrawn="1"/>
            </p:nvSpPr>
            <p:spPr bwMode="auto">
              <a:xfrm flipV="1">
                <a:off x="15630525" y="2197100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859"/>
              <p:cNvSpPr>
                <a:spLocks noChangeShapeType="1"/>
              </p:cNvSpPr>
              <p:nvPr userDrawn="1"/>
            </p:nvSpPr>
            <p:spPr bwMode="auto">
              <a:xfrm flipV="1">
                <a:off x="15633700" y="2195513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860"/>
              <p:cNvSpPr>
                <a:spLocks noChangeShapeType="1"/>
              </p:cNvSpPr>
              <p:nvPr userDrawn="1"/>
            </p:nvSpPr>
            <p:spPr bwMode="auto">
              <a:xfrm flipV="1">
                <a:off x="15635288" y="2193925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861"/>
              <p:cNvSpPr>
                <a:spLocks noChangeShapeType="1"/>
              </p:cNvSpPr>
              <p:nvPr userDrawn="1"/>
            </p:nvSpPr>
            <p:spPr bwMode="auto">
              <a:xfrm flipV="1">
                <a:off x="15640050" y="2190750"/>
                <a:ext cx="793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862"/>
              <p:cNvSpPr>
                <a:spLocks noChangeShapeType="1"/>
              </p:cNvSpPr>
              <p:nvPr userDrawn="1"/>
            </p:nvSpPr>
            <p:spPr bwMode="auto">
              <a:xfrm>
                <a:off x="15647988" y="2190750"/>
                <a:ext cx="6350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863"/>
              <p:cNvSpPr>
                <a:spLocks noChangeShapeType="1"/>
              </p:cNvSpPr>
              <p:nvPr userDrawn="1"/>
            </p:nvSpPr>
            <p:spPr bwMode="auto">
              <a:xfrm>
                <a:off x="15654338" y="2190750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864"/>
              <p:cNvSpPr>
                <a:spLocks noChangeShapeType="1"/>
              </p:cNvSpPr>
              <p:nvPr userDrawn="1"/>
            </p:nvSpPr>
            <p:spPr bwMode="auto">
              <a:xfrm>
                <a:off x="15659100" y="2193925"/>
                <a:ext cx="158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865"/>
              <p:cNvSpPr>
                <a:spLocks noChangeShapeType="1"/>
              </p:cNvSpPr>
              <p:nvPr userDrawn="1"/>
            </p:nvSpPr>
            <p:spPr bwMode="auto">
              <a:xfrm>
                <a:off x="15660688" y="2200275"/>
                <a:ext cx="317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866"/>
              <p:cNvSpPr>
                <a:spLocks noChangeShapeType="1"/>
              </p:cNvSpPr>
              <p:nvPr userDrawn="1"/>
            </p:nvSpPr>
            <p:spPr bwMode="auto">
              <a:xfrm>
                <a:off x="15663863" y="2209800"/>
                <a:ext cx="0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67"/>
              <p:cNvSpPr>
                <a:spLocks noChangeShapeType="1"/>
              </p:cNvSpPr>
              <p:nvPr userDrawn="1"/>
            </p:nvSpPr>
            <p:spPr bwMode="auto">
              <a:xfrm>
                <a:off x="15663863" y="2222500"/>
                <a:ext cx="0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68"/>
              <p:cNvSpPr>
                <a:spLocks noChangeShapeType="1"/>
              </p:cNvSpPr>
              <p:nvPr userDrawn="1"/>
            </p:nvSpPr>
            <p:spPr bwMode="auto">
              <a:xfrm>
                <a:off x="15663863" y="2246313"/>
                <a:ext cx="3175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69"/>
              <p:cNvSpPr>
                <a:spLocks noChangeShapeType="1"/>
              </p:cNvSpPr>
              <p:nvPr userDrawn="1"/>
            </p:nvSpPr>
            <p:spPr bwMode="auto">
              <a:xfrm>
                <a:off x="15667038" y="2271713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70"/>
              <p:cNvSpPr>
                <a:spLocks noChangeShapeType="1"/>
              </p:cNvSpPr>
              <p:nvPr userDrawn="1"/>
            </p:nvSpPr>
            <p:spPr bwMode="auto">
              <a:xfrm>
                <a:off x="15668625" y="2286000"/>
                <a:ext cx="1587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871"/>
              <p:cNvSpPr>
                <a:spLocks noChangeShapeType="1"/>
              </p:cNvSpPr>
              <p:nvPr userDrawn="1"/>
            </p:nvSpPr>
            <p:spPr bwMode="auto">
              <a:xfrm>
                <a:off x="15670213" y="2295525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72"/>
              <p:cNvSpPr>
                <a:spLocks noChangeShapeType="1"/>
              </p:cNvSpPr>
              <p:nvPr userDrawn="1"/>
            </p:nvSpPr>
            <p:spPr bwMode="auto">
              <a:xfrm flipV="1">
                <a:off x="15671800" y="2295525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73"/>
              <p:cNvSpPr>
                <a:spLocks noChangeShapeType="1"/>
              </p:cNvSpPr>
              <p:nvPr userDrawn="1"/>
            </p:nvSpPr>
            <p:spPr bwMode="auto">
              <a:xfrm flipV="1">
                <a:off x="15674975" y="2287588"/>
                <a:ext cx="3175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74"/>
              <p:cNvSpPr>
                <a:spLocks noChangeShapeType="1"/>
              </p:cNvSpPr>
              <p:nvPr userDrawn="1"/>
            </p:nvSpPr>
            <p:spPr bwMode="auto">
              <a:xfrm flipV="1">
                <a:off x="15678150" y="2276475"/>
                <a:ext cx="4762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75"/>
              <p:cNvSpPr>
                <a:spLocks noChangeShapeType="1"/>
              </p:cNvSpPr>
              <p:nvPr userDrawn="1"/>
            </p:nvSpPr>
            <p:spPr bwMode="auto">
              <a:xfrm flipV="1">
                <a:off x="15682913" y="2265363"/>
                <a:ext cx="635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76"/>
              <p:cNvSpPr>
                <a:spLocks noChangeShapeType="1"/>
              </p:cNvSpPr>
              <p:nvPr userDrawn="1"/>
            </p:nvSpPr>
            <p:spPr bwMode="auto">
              <a:xfrm flipV="1">
                <a:off x="15689263" y="2255838"/>
                <a:ext cx="3175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77"/>
              <p:cNvSpPr>
                <a:spLocks noChangeShapeType="1"/>
              </p:cNvSpPr>
              <p:nvPr userDrawn="1"/>
            </p:nvSpPr>
            <p:spPr bwMode="auto">
              <a:xfrm flipV="1">
                <a:off x="15692438" y="2249488"/>
                <a:ext cx="158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Freeform 1878"/>
              <p:cNvSpPr>
                <a:spLocks noEditPoints="1"/>
              </p:cNvSpPr>
              <p:nvPr userDrawn="1"/>
            </p:nvSpPr>
            <p:spPr bwMode="auto">
              <a:xfrm>
                <a:off x="15909925" y="2093913"/>
                <a:ext cx="57150" cy="287338"/>
              </a:xfrm>
              <a:custGeom>
                <a:avLst/>
                <a:gdLst>
                  <a:gd name="T0" fmla="*/ 33 w 73"/>
                  <a:gd name="T1" fmla="*/ 329 h 362"/>
                  <a:gd name="T2" fmla="*/ 37 w 73"/>
                  <a:gd name="T3" fmla="*/ 331 h 362"/>
                  <a:gd name="T4" fmla="*/ 44 w 73"/>
                  <a:gd name="T5" fmla="*/ 334 h 362"/>
                  <a:gd name="T6" fmla="*/ 52 w 73"/>
                  <a:gd name="T7" fmla="*/ 342 h 362"/>
                  <a:gd name="T8" fmla="*/ 52 w 73"/>
                  <a:gd name="T9" fmla="*/ 351 h 362"/>
                  <a:gd name="T10" fmla="*/ 44 w 73"/>
                  <a:gd name="T11" fmla="*/ 359 h 362"/>
                  <a:gd name="T12" fmla="*/ 35 w 73"/>
                  <a:gd name="T13" fmla="*/ 362 h 362"/>
                  <a:gd name="T14" fmla="*/ 28 w 73"/>
                  <a:gd name="T15" fmla="*/ 360 h 362"/>
                  <a:gd name="T16" fmla="*/ 21 w 73"/>
                  <a:gd name="T17" fmla="*/ 355 h 362"/>
                  <a:gd name="T18" fmla="*/ 18 w 73"/>
                  <a:gd name="T19" fmla="*/ 344 h 362"/>
                  <a:gd name="T20" fmla="*/ 24 w 73"/>
                  <a:gd name="T21" fmla="*/ 332 h 362"/>
                  <a:gd name="T22" fmla="*/ 28 w 73"/>
                  <a:gd name="T23" fmla="*/ 329 h 362"/>
                  <a:gd name="T24" fmla="*/ 33 w 73"/>
                  <a:gd name="T25" fmla="*/ 329 h 362"/>
                  <a:gd name="T26" fmla="*/ 52 w 73"/>
                  <a:gd name="T27" fmla="*/ 0 h 362"/>
                  <a:gd name="T28" fmla="*/ 58 w 73"/>
                  <a:gd name="T29" fmla="*/ 0 h 362"/>
                  <a:gd name="T30" fmla="*/ 64 w 73"/>
                  <a:gd name="T31" fmla="*/ 1 h 362"/>
                  <a:gd name="T32" fmla="*/ 68 w 73"/>
                  <a:gd name="T33" fmla="*/ 4 h 362"/>
                  <a:gd name="T34" fmla="*/ 71 w 73"/>
                  <a:gd name="T35" fmla="*/ 7 h 362"/>
                  <a:gd name="T36" fmla="*/ 73 w 73"/>
                  <a:gd name="T37" fmla="*/ 16 h 362"/>
                  <a:gd name="T38" fmla="*/ 73 w 73"/>
                  <a:gd name="T39" fmla="*/ 35 h 362"/>
                  <a:gd name="T40" fmla="*/ 71 w 73"/>
                  <a:gd name="T41" fmla="*/ 52 h 362"/>
                  <a:gd name="T42" fmla="*/ 65 w 73"/>
                  <a:gd name="T43" fmla="*/ 59 h 362"/>
                  <a:gd name="T44" fmla="*/ 65 w 73"/>
                  <a:gd name="T45" fmla="*/ 62 h 362"/>
                  <a:gd name="T46" fmla="*/ 64 w 73"/>
                  <a:gd name="T47" fmla="*/ 64 h 362"/>
                  <a:gd name="T48" fmla="*/ 62 w 73"/>
                  <a:gd name="T49" fmla="*/ 70 h 362"/>
                  <a:gd name="T50" fmla="*/ 61 w 73"/>
                  <a:gd name="T51" fmla="*/ 77 h 362"/>
                  <a:gd name="T52" fmla="*/ 59 w 73"/>
                  <a:gd name="T53" fmla="*/ 94 h 362"/>
                  <a:gd name="T54" fmla="*/ 55 w 73"/>
                  <a:gd name="T55" fmla="*/ 118 h 362"/>
                  <a:gd name="T56" fmla="*/ 51 w 73"/>
                  <a:gd name="T57" fmla="*/ 143 h 362"/>
                  <a:gd name="T58" fmla="*/ 44 w 73"/>
                  <a:gd name="T59" fmla="*/ 167 h 362"/>
                  <a:gd name="T60" fmla="*/ 37 w 73"/>
                  <a:gd name="T61" fmla="*/ 198 h 362"/>
                  <a:gd name="T62" fmla="*/ 34 w 73"/>
                  <a:gd name="T63" fmla="*/ 225 h 362"/>
                  <a:gd name="T64" fmla="*/ 34 w 73"/>
                  <a:gd name="T65" fmla="*/ 239 h 362"/>
                  <a:gd name="T66" fmla="*/ 31 w 73"/>
                  <a:gd name="T67" fmla="*/ 249 h 362"/>
                  <a:gd name="T68" fmla="*/ 28 w 73"/>
                  <a:gd name="T69" fmla="*/ 256 h 362"/>
                  <a:gd name="T70" fmla="*/ 24 w 73"/>
                  <a:gd name="T71" fmla="*/ 259 h 362"/>
                  <a:gd name="T72" fmla="*/ 18 w 73"/>
                  <a:gd name="T73" fmla="*/ 260 h 362"/>
                  <a:gd name="T74" fmla="*/ 13 w 73"/>
                  <a:gd name="T75" fmla="*/ 262 h 362"/>
                  <a:gd name="T76" fmla="*/ 9 w 73"/>
                  <a:gd name="T77" fmla="*/ 262 h 362"/>
                  <a:gd name="T78" fmla="*/ 6 w 73"/>
                  <a:gd name="T79" fmla="*/ 262 h 362"/>
                  <a:gd name="T80" fmla="*/ 3 w 73"/>
                  <a:gd name="T81" fmla="*/ 260 h 362"/>
                  <a:gd name="T82" fmla="*/ 0 w 73"/>
                  <a:gd name="T83" fmla="*/ 258 h 362"/>
                  <a:gd name="T84" fmla="*/ 0 w 73"/>
                  <a:gd name="T85" fmla="*/ 252 h 362"/>
                  <a:gd name="T86" fmla="*/ 2 w 73"/>
                  <a:gd name="T87" fmla="*/ 239 h 362"/>
                  <a:gd name="T88" fmla="*/ 4 w 73"/>
                  <a:gd name="T89" fmla="*/ 219 h 362"/>
                  <a:gd name="T90" fmla="*/ 13 w 73"/>
                  <a:gd name="T91" fmla="*/ 181 h 362"/>
                  <a:gd name="T92" fmla="*/ 21 w 73"/>
                  <a:gd name="T93" fmla="*/ 133 h 362"/>
                  <a:gd name="T94" fmla="*/ 27 w 73"/>
                  <a:gd name="T95" fmla="*/ 101 h 362"/>
                  <a:gd name="T96" fmla="*/ 30 w 73"/>
                  <a:gd name="T97" fmla="*/ 71 h 362"/>
                  <a:gd name="T98" fmla="*/ 33 w 73"/>
                  <a:gd name="T99" fmla="*/ 46 h 362"/>
                  <a:gd name="T100" fmla="*/ 34 w 73"/>
                  <a:gd name="T101" fmla="*/ 26 h 362"/>
                  <a:gd name="T102" fmla="*/ 35 w 73"/>
                  <a:gd name="T103" fmla="*/ 12 h 362"/>
                  <a:gd name="T104" fmla="*/ 37 w 73"/>
                  <a:gd name="T105" fmla="*/ 5 h 362"/>
                  <a:gd name="T106" fmla="*/ 38 w 73"/>
                  <a:gd name="T107" fmla="*/ 2 h 362"/>
                  <a:gd name="T108" fmla="*/ 42 w 73"/>
                  <a:gd name="T109" fmla="*/ 1 h 362"/>
                  <a:gd name="T110" fmla="*/ 47 w 73"/>
                  <a:gd name="T111" fmla="*/ 0 h 362"/>
                  <a:gd name="T112" fmla="*/ 52 w 73"/>
                  <a:gd name="T113" fmla="*/ 0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3" h="362">
                    <a:moveTo>
                      <a:pt x="33" y="329"/>
                    </a:moveTo>
                    <a:lnTo>
                      <a:pt x="37" y="331"/>
                    </a:lnTo>
                    <a:lnTo>
                      <a:pt x="44" y="334"/>
                    </a:lnTo>
                    <a:lnTo>
                      <a:pt x="52" y="342"/>
                    </a:lnTo>
                    <a:lnTo>
                      <a:pt x="52" y="351"/>
                    </a:lnTo>
                    <a:lnTo>
                      <a:pt x="44" y="359"/>
                    </a:lnTo>
                    <a:lnTo>
                      <a:pt x="35" y="362"/>
                    </a:lnTo>
                    <a:lnTo>
                      <a:pt x="28" y="360"/>
                    </a:lnTo>
                    <a:lnTo>
                      <a:pt x="21" y="355"/>
                    </a:lnTo>
                    <a:lnTo>
                      <a:pt x="18" y="344"/>
                    </a:lnTo>
                    <a:lnTo>
                      <a:pt x="24" y="332"/>
                    </a:lnTo>
                    <a:lnTo>
                      <a:pt x="28" y="329"/>
                    </a:lnTo>
                    <a:lnTo>
                      <a:pt x="33" y="329"/>
                    </a:lnTo>
                    <a:close/>
                    <a:moveTo>
                      <a:pt x="52" y="0"/>
                    </a:moveTo>
                    <a:lnTo>
                      <a:pt x="58" y="0"/>
                    </a:lnTo>
                    <a:lnTo>
                      <a:pt x="64" y="1"/>
                    </a:lnTo>
                    <a:lnTo>
                      <a:pt x="68" y="4"/>
                    </a:lnTo>
                    <a:lnTo>
                      <a:pt x="71" y="7"/>
                    </a:lnTo>
                    <a:lnTo>
                      <a:pt x="73" y="16"/>
                    </a:lnTo>
                    <a:lnTo>
                      <a:pt x="73" y="35"/>
                    </a:lnTo>
                    <a:lnTo>
                      <a:pt x="71" y="52"/>
                    </a:lnTo>
                    <a:lnTo>
                      <a:pt x="65" y="59"/>
                    </a:lnTo>
                    <a:lnTo>
                      <a:pt x="65" y="62"/>
                    </a:lnTo>
                    <a:lnTo>
                      <a:pt x="64" y="64"/>
                    </a:lnTo>
                    <a:lnTo>
                      <a:pt x="62" y="70"/>
                    </a:lnTo>
                    <a:lnTo>
                      <a:pt x="61" y="77"/>
                    </a:lnTo>
                    <a:lnTo>
                      <a:pt x="59" y="94"/>
                    </a:lnTo>
                    <a:lnTo>
                      <a:pt x="55" y="118"/>
                    </a:lnTo>
                    <a:lnTo>
                      <a:pt x="51" y="143"/>
                    </a:lnTo>
                    <a:lnTo>
                      <a:pt x="44" y="167"/>
                    </a:lnTo>
                    <a:lnTo>
                      <a:pt x="37" y="198"/>
                    </a:lnTo>
                    <a:lnTo>
                      <a:pt x="34" y="225"/>
                    </a:lnTo>
                    <a:lnTo>
                      <a:pt x="34" y="239"/>
                    </a:lnTo>
                    <a:lnTo>
                      <a:pt x="31" y="249"/>
                    </a:lnTo>
                    <a:lnTo>
                      <a:pt x="28" y="256"/>
                    </a:lnTo>
                    <a:lnTo>
                      <a:pt x="24" y="259"/>
                    </a:lnTo>
                    <a:lnTo>
                      <a:pt x="18" y="260"/>
                    </a:lnTo>
                    <a:lnTo>
                      <a:pt x="13" y="262"/>
                    </a:lnTo>
                    <a:lnTo>
                      <a:pt x="9" y="262"/>
                    </a:lnTo>
                    <a:lnTo>
                      <a:pt x="6" y="262"/>
                    </a:lnTo>
                    <a:lnTo>
                      <a:pt x="3" y="260"/>
                    </a:lnTo>
                    <a:lnTo>
                      <a:pt x="0" y="258"/>
                    </a:lnTo>
                    <a:lnTo>
                      <a:pt x="0" y="252"/>
                    </a:lnTo>
                    <a:lnTo>
                      <a:pt x="2" y="239"/>
                    </a:lnTo>
                    <a:lnTo>
                      <a:pt x="4" y="219"/>
                    </a:lnTo>
                    <a:lnTo>
                      <a:pt x="13" y="181"/>
                    </a:lnTo>
                    <a:lnTo>
                      <a:pt x="21" y="133"/>
                    </a:lnTo>
                    <a:lnTo>
                      <a:pt x="27" y="101"/>
                    </a:lnTo>
                    <a:lnTo>
                      <a:pt x="30" y="71"/>
                    </a:lnTo>
                    <a:lnTo>
                      <a:pt x="33" y="46"/>
                    </a:lnTo>
                    <a:lnTo>
                      <a:pt x="34" y="26"/>
                    </a:lnTo>
                    <a:lnTo>
                      <a:pt x="35" y="12"/>
                    </a:lnTo>
                    <a:lnTo>
                      <a:pt x="37" y="5"/>
                    </a:lnTo>
                    <a:lnTo>
                      <a:pt x="38" y="2"/>
                    </a:lnTo>
                    <a:lnTo>
                      <a:pt x="42" y="1"/>
                    </a:lnTo>
                    <a:lnTo>
                      <a:pt x="47" y="0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879"/>
              <p:cNvSpPr>
                <a:spLocks noChangeShapeType="1"/>
              </p:cNvSpPr>
              <p:nvPr userDrawn="1"/>
            </p:nvSpPr>
            <p:spPr bwMode="auto">
              <a:xfrm flipV="1">
                <a:off x="15928975" y="2355850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880"/>
              <p:cNvSpPr>
                <a:spLocks noChangeShapeType="1"/>
              </p:cNvSpPr>
              <p:nvPr userDrawn="1"/>
            </p:nvSpPr>
            <p:spPr bwMode="auto">
              <a:xfrm>
                <a:off x="15932150" y="2355850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881"/>
              <p:cNvSpPr>
                <a:spLocks noChangeShapeType="1"/>
              </p:cNvSpPr>
              <p:nvPr userDrawn="1"/>
            </p:nvSpPr>
            <p:spPr bwMode="auto">
              <a:xfrm>
                <a:off x="15935325" y="2355850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882"/>
              <p:cNvSpPr>
                <a:spLocks noChangeShapeType="1"/>
              </p:cNvSpPr>
              <p:nvPr userDrawn="1"/>
            </p:nvSpPr>
            <p:spPr bwMode="auto">
              <a:xfrm>
                <a:off x="15938500" y="2355850"/>
                <a:ext cx="4762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883"/>
              <p:cNvSpPr>
                <a:spLocks noChangeShapeType="1"/>
              </p:cNvSpPr>
              <p:nvPr userDrawn="1"/>
            </p:nvSpPr>
            <p:spPr bwMode="auto">
              <a:xfrm>
                <a:off x="15943263" y="2359025"/>
                <a:ext cx="793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1884"/>
              <p:cNvSpPr>
                <a:spLocks noChangeShapeType="1"/>
              </p:cNvSpPr>
              <p:nvPr userDrawn="1"/>
            </p:nvSpPr>
            <p:spPr bwMode="auto">
              <a:xfrm>
                <a:off x="15951200" y="2365375"/>
                <a:ext cx="0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1885"/>
              <p:cNvSpPr>
                <a:spLocks noChangeShapeType="1"/>
              </p:cNvSpPr>
              <p:nvPr userDrawn="1"/>
            </p:nvSpPr>
            <p:spPr bwMode="auto">
              <a:xfrm flipH="1">
                <a:off x="15943263" y="2371725"/>
                <a:ext cx="793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1886"/>
              <p:cNvSpPr>
                <a:spLocks noChangeShapeType="1"/>
              </p:cNvSpPr>
              <p:nvPr userDrawn="1"/>
            </p:nvSpPr>
            <p:spPr bwMode="auto">
              <a:xfrm flipH="1">
                <a:off x="15936913" y="2379663"/>
                <a:ext cx="6350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887"/>
              <p:cNvSpPr>
                <a:spLocks noChangeShapeType="1"/>
              </p:cNvSpPr>
              <p:nvPr userDrawn="1"/>
            </p:nvSpPr>
            <p:spPr bwMode="auto">
              <a:xfrm flipH="1" flipV="1">
                <a:off x="15932150" y="2379663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888"/>
              <p:cNvSpPr>
                <a:spLocks noChangeShapeType="1"/>
              </p:cNvSpPr>
              <p:nvPr userDrawn="1"/>
            </p:nvSpPr>
            <p:spPr bwMode="auto">
              <a:xfrm flipH="1" flipV="1">
                <a:off x="15925800" y="2374900"/>
                <a:ext cx="635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889"/>
              <p:cNvSpPr>
                <a:spLocks noChangeShapeType="1"/>
              </p:cNvSpPr>
              <p:nvPr userDrawn="1"/>
            </p:nvSpPr>
            <p:spPr bwMode="auto">
              <a:xfrm flipH="1" flipV="1">
                <a:off x="15924213" y="2366963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1890"/>
              <p:cNvSpPr>
                <a:spLocks noChangeShapeType="1"/>
              </p:cNvSpPr>
              <p:nvPr userDrawn="1"/>
            </p:nvSpPr>
            <p:spPr bwMode="auto">
              <a:xfrm flipV="1">
                <a:off x="15924213" y="2357438"/>
                <a:ext cx="4762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891"/>
              <p:cNvSpPr>
                <a:spLocks noChangeShapeType="1"/>
              </p:cNvSpPr>
              <p:nvPr userDrawn="1"/>
            </p:nvSpPr>
            <p:spPr bwMode="auto">
              <a:xfrm flipV="1">
                <a:off x="15938500" y="2095500"/>
                <a:ext cx="1587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892"/>
              <p:cNvSpPr>
                <a:spLocks noChangeShapeType="1"/>
              </p:cNvSpPr>
              <p:nvPr userDrawn="1"/>
            </p:nvSpPr>
            <p:spPr bwMode="auto">
              <a:xfrm flipV="1">
                <a:off x="15940088" y="209391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893"/>
              <p:cNvSpPr>
                <a:spLocks noChangeShapeType="1"/>
              </p:cNvSpPr>
              <p:nvPr userDrawn="1"/>
            </p:nvSpPr>
            <p:spPr bwMode="auto">
              <a:xfrm flipV="1">
                <a:off x="15943263" y="209391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894"/>
              <p:cNvSpPr>
                <a:spLocks noChangeShapeType="1"/>
              </p:cNvSpPr>
              <p:nvPr userDrawn="1"/>
            </p:nvSpPr>
            <p:spPr bwMode="auto">
              <a:xfrm>
                <a:off x="15946438" y="2093913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895"/>
              <p:cNvSpPr>
                <a:spLocks noChangeShapeType="1"/>
              </p:cNvSpPr>
              <p:nvPr userDrawn="1"/>
            </p:nvSpPr>
            <p:spPr bwMode="auto">
              <a:xfrm>
                <a:off x="15951200" y="2093913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896"/>
              <p:cNvSpPr>
                <a:spLocks noChangeShapeType="1"/>
              </p:cNvSpPr>
              <p:nvPr userDrawn="1"/>
            </p:nvSpPr>
            <p:spPr bwMode="auto">
              <a:xfrm>
                <a:off x="15954375" y="2093913"/>
                <a:ext cx="4762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897"/>
              <p:cNvSpPr>
                <a:spLocks noChangeShapeType="1"/>
              </p:cNvSpPr>
              <p:nvPr userDrawn="1"/>
            </p:nvSpPr>
            <p:spPr bwMode="auto">
              <a:xfrm>
                <a:off x="15959138" y="2093913"/>
                <a:ext cx="3175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898"/>
              <p:cNvSpPr>
                <a:spLocks noChangeShapeType="1"/>
              </p:cNvSpPr>
              <p:nvPr userDrawn="1"/>
            </p:nvSpPr>
            <p:spPr bwMode="auto">
              <a:xfrm>
                <a:off x="15962313" y="2097088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899"/>
              <p:cNvSpPr>
                <a:spLocks noChangeShapeType="1"/>
              </p:cNvSpPr>
              <p:nvPr userDrawn="1"/>
            </p:nvSpPr>
            <p:spPr bwMode="auto">
              <a:xfrm>
                <a:off x="15965488" y="2098675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900"/>
              <p:cNvSpPr>
                <a:spLocks noChangeShapeType="1"/>
              </p:cNvSpPr>
              <p:nvPr userDrawn="1"/>
            </p:nvSpPr>
            <p:spPr bwMode="auto">
              <a:xfrm>
                <a:off x="15967075" y="2106613"/>
                <a:ext cx="0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901"/>
              <p:cNvSpPr>
                <a:spLocks noChangeShapeType="1"/>
              </p:cNvSpPr>
              <p:nvPr userDrawn="1"/>
            </p:nvSpPr>
            <p:spPr bwMode="auto">
              <a:xfrm flipH="1">
                <a:off x="15965488" y="2120900"/>
                <a:ext cx="1587" cy="142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902"/>
              <p:cNvSpPr>
                <a:spLocks noChangeShapeType="1"/>
              </p:cNvSpPr>
              <p:nvPr userDrawn="1"/>
            </p:nvSpPr>
            <p:spPr bwMode="auto">
              <a:xfrm flipH="1">
                <a:off x="15960725" y="2135188"/>
                <a:ext cx="4762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903"/>
              <p:cNvSpPr>
                <a:spLocks noChangeShapeType="1"/>
              </p:cNvSpPr>
              <p:nvPr userDrawn="1"/>
            </p:nvSpPr>
            <p:spPr bwMode="auto">
              <a:xfrm>
                <a:off x="15960725" y="2139950"/>
                <a:ext cx="0" cy="31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904"/>
              <p:cNvSpPr>
                <a:spLocks noChangeShapeType="1"/>
              </p:cNvSpPr>
              <p:nvPr userDrawn="1"/>
            </p:nvSpPr>
            <p:spPr bwMode="auto">
              <a:xfrm flipH="1">
                <a:off x="15959138" y="2143125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905"/>
              <p:cNvSpPr>
                <a:spLocks noChangeShapeType="1"/>
              </p:cNvSpPr>
              <p:nvPr userDrawn="1"/>
            </p:nvSpPr>
            <p:spPr bwMode="auto">
              <a:xfrm flipH="1">
                <a:off x="15959138" y="2144713"/>
                <a:ext cx="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906"/>
              <p:cNvSpPr>
                <a:spLocks noChangeShapeType="1"/>
              </p:cNvSpPr>
              <p:nvPr userDrawn="1"/>
            </p:nvSpPr>
            <p:spPr bwMode="auto">
              <a:xfrm flipH="1">
                <a:off x="15957550" y="2149475"/>
                <a:ext cx="1587" cy="63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907"/>
              <p:cNvSpPr>
                <a:spLocks noChangeShapeType="1"/>
              </p:cNvSpPr>
              <p:nvPr userDrawn="1"/>
            </p:nvSpPr>
            <p:spPr bwMode="auto">
              <a:xfrm flipH="1">
                <a:off x="15955963" y="2155825"/>
                <a:ext cx="1587" cy="127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908"/>
              <p:cNvSpPr>
                <a:spLocks noChangeShapeType="1"/>
              </p:cNvSpPr>
              <p:nvPr userDrawn="1"/>
            </p:nvSpPr>
            <p:spPr bwMode="auto">
              <a:xfrm flipH="1">
                <a:off x="15952788" y="2168525"/>
                <a:ext cx="3175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909"/>
              <p:cNvSpPr>
                <a:spLocks noChangeShapeType="1"/>
              </p:cNvSpPr>
              <p:nvPr userDrawn="1"/>
            </p:nvSpPr>
            <p:spPr bwMode="auto">
              <a:xfrm flipH="1">
                <a:off x="15949613" y="2187575"/>
                <a:ext cx="3175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910"/>
              <p:cNvSpPr>
                <a:spLocks noChangeShapeType="1"/>
              </p:cNvSpPr>
              <p:nvPr userDrawn="1"/>
            </p:nvSpPr>
            <p:spPr bwMode="auto">
              <a:xfrm flipH="1">
                <a:off x="15943263" y="2208213"/>
                <a:ext cx="6350" cy="1905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911"/>
              <p:cNvSpPr>
                <a:spLocks noChangeShapeType="1"/>
              </p:cNvSpPr>
              <p:nvPr userDrawn="1"/>
            </p:nvSpPr>
            <p:spPr bwMode="auto">
              <a:xfrm flipH="1">
                <a:off x="15938500" y="2227263"/>
                <a:ext cx="4762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912"/>
              <p:cNvSpPr>
                <a:spLocks noChangeShapeType="1"/>
              </p:cNvSpPr>
              <p:nvPr userDrawn="1"/>
            </p:nvSpPr>
            <p:spPr bwMode="auto">
              <a:xfrm flipH="1">
                <a:off x="15935325" y="2251075"/>
                <a:ext cx="3175" cy="222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913"/>
              <p:cNvSpPr>
                <a:spLocks noChangeShapeType="1"/>
              </p:cNvSpPr>
              <p:nvPr userDrawn="1"/>
            </p:nvSpPr>
            <p:spPr bwMode="auto">
              <a:xfrm>
                <a:off x="15935325" y="2273300"/>
                <a:ext cx="0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14"/>
              <p:cNvSpPr>
                <a:spLocks noChangeShapeType="1"/>
              </p:cNvSpPr>
              <p:nvPr userDrawn="1"/>
            </p:nvSpPr>
            <p:spPr bwMode="auto">
              <a:xfrm flipH="1">
                <a:off x="15933738" y="2284413"/>
                <a:ext cx="1587" cy="79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15"/>
              <p:cNvSpPr>
                <a:spLocks noChangeShapeType="1"/>
              </p:cNvSpPr>
              <p:nvPr userDrawn="1"/>
            </p:nvSpPr>
            <p:spPr bwMode="auto">
              <a:xfrm flipH="1">
                <a:off x="15932150" y="2292350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16"/>
              <p:cNvSpPr>
                <a:spLocks noChangeShapeType="1"/>
              </p:cNvSpPr>
              <p:nvPr userDrawn="1"/>
            </p:nvSpPr>
            <p:spPr bwMode="auto">
              <a:xfrm flipH="1">
                <a:off x="15928975" y="2297113"/>
                <a:ext cx="3175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17"/>
              <p:cNvSpPr>
                <a:spLocks noChangeShapeType="1"/>
              </p:cNvSpPr>
              <p:nvPr userDrawn="1"/>
            </p:nvSpPr>
            <p:spPr bwMode="auto">
              <a:xfrm flipH="1">
                <a:off x="15924213" y="2298700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918"/>
              <p:cNvSpPr>
                <a:spLocks noChangeShapeType="1"/>
              </p:cNvSpPr>
              <p:nvPr userDrawn="1"/>
            </p:nvSpPr>
            <p:spPr bwMode="auto">
              <a:xfrm flipH="1">
                <a:off x="15919450" y="2300288"/>
                <a:ext cx="4762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9"/>
              <p:cNvSpPr>
                <a:spLocks noChangeShapeType="1"/>
              </p:cNvSpPr>
              <p:nvPr userDrawn="1"/>
            </p:nvSpPr>
            <p:spPr bwMode="auto">
              <a:xfrm flipH="1">
                <a:off x="15916275" y="2301875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20"/>
              <p:cNvSpPr>
                <a:spLocks noChangeShapeType="1"/>
              </p:cNvSpPr>
              <p:nvPr userDrawn="1"/>
            </p:nvSpPr>
            <p:spPr bwMode="auto">
              <a:xfrm flipH="1">
                <a:off x="15913100" y="2301875"/>
                <a:ext cx="3175" cy="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21"/>
              <p:cNvSpPr>
                <a:spLocks noChangeShapeType="1"/>
              </p:cNvSpPr>
              <p:nvPr userDrawn="1"/>
            </p:nvSpPr>
            <p:spPr bwMode="auto">
              <a:xfrm flipH="1" flipV="1">
                <a:off x="15911513" y="2300288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22"/>
              <p:cNvSpPr>
                <a:spLocks noChangeShapeType="1"/>
              </p:cNvSpPr>
              <p:nvPr userDrawn="1"/>
            </p:nvSpPr>
            <p:spPr bwMode="auto">
              <a:xfrm flipH="1" flipV="1">
                <a:off x="15909925" y="2298700"/>
                <a:ext cx="1587" cy="158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23"/>
              <p:cNvSpPr>
                <a:spLocks noChangeShapeType="1"/>
              </p:cNvSpPr>
              <p:nvPr userDrawn="1"/>
            </p:nvSpPr>
            <p:spPr bwMode="auto">
              <a:xfrm flipV="1">
                <a:off x="15909925" y="2293938"/>
                <a:ext cx="0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24"/>
              <p:cNvSpPr>
                <a:spLocks noChangeShapeType="1"/>
              </p:cNvSpPr>
              <p:nvPr userDrawn="1"/>
            </p:nvSpPr>
            <p:spPr bwMode="auto">
              <a:xfrm flipV="1">
                <a:off x="15909925" y="2284413"/>
                <a:ext cx="0" cy="952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25"/>
              <p:cNvSpPr>
                <a:spLocks noChangeShapeType="1"/>
              </p:cNvSpPr>
              <p:nvPr userDrawn="1"/>
            </p:nvSpPr>
            <p:spPr bwMode="auto">
              <a:xfrm flipV="1">
                <a:off x="15909925" y="2268538"/>
                <a:ext cx="3175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1926"/>
              <p:cNvSpPr>
                <a:spLocks noChangeShapeType="1"/>
              </p:cNvSpPr>
              <p:nvPr userDrawn="1"/>
            </p:nvSpPr>
            <p:spPr bwMode="auto">
              <a:xfrm flipV="1">
                <a:off x="15913100" y="2238375"/>
                <a:ext cx="6350" cy="301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1927"/>
              <p:cNvSpPr>
                <a:spLocks noChangeShapeType="1"/>
              </p:cNvSpPr>
              <p:nvPr userDrawn="1"/>
            </p:nvSpPr>
            <p:spPr bwMode="auto">
              <a:xfrm flipV="1">
                <a:off x="15919450" y="2200275"/>
                <a:ext cx="6350" cy="381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1928"/>
              <p:cNvSpPr>
                <a:spLocks noChangeShapeType="1"/>
              </p:cNvSpPr>
              <p:nvPr userDrawn="1"/>
            </p:nvSpPr>
            <p:spPr bwMode="auto">
              <a:xfrm flipV="1">
                <a:off x="15925800" y="2174875"/>
                <a:ext cx="4762" cy="25400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1929"/>
              <p:cNvSpPr>
                <a:spLocks noChangeShapeType="1"/>
              </p:cNvSpPr>
              <p:nvPr userDrawn="1"/>
            </p:nvSpPr>
            <p:spPr bwMode="auto">
              <a:xfrm flipV="1">
                <a:off x="15930563" y="2151063"/>
                <a:ext cx="1587" cy="238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1930"/>
              <p:cNvSpPr>
                <a:spLocks noChangeShapeType="1"/>
              </p:cNvSpPr>
              <p:nvPr userDrawn="1"/>
            </p:nvSpPr>
            <p:spPr bwMode="auto">
              <a:xfrm flipV="1">
                <a:off x="15932150" y="2130425"/>
                <a:ext cx="3175" cy="20638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1931"/>
              <p:cNvSpPr>
                <a:spLocks noChangeShapeType="1"/>
              </p:cNvSpPr>
              <p:nvPr userDrawn="1"/>
            </p:nvSpPr>
            <p:spPr bwMode="auto">
              <a:xfrm flipV="1">
                <a:off x="15935325" y="2114550"/>
                <a:ext cx="0" cy="15875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1932"/>
              <p:cNvSpPr>
                <a:spLocks noChangeShapeType="1"/>
              </p:cNvSpPr>
              <p:nvPr userDrawn="1"/>
            </p:nvSpPr>
            <p:spPr bwMode="auto">
              <a:xfrm flipV="1">
                <a:off x="15935325" y="2103438"/>
                <a:ext cx="1587" cy="1111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1933"/>
              <p:cNvSpPr>
                <a:spLocks noChangeShapeType="1"/>
              </p:cNvSpPr>
              <p:nvPr userDrawn="1"/>
            </p:nvSpPr>
            <p:spPr bwMode="auto">
              <a:xfrm flipV="1">
                <a:off x="15936913" y="2098675"/>
                <a:ext cx="1587" cy="4763"/>
              </a:xfrm>
              <a:prstGeom prst="line">
                <a:avLst/>
              </a:prstGeom>
              <a:grpFill/>
              <a:ln w="79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2117" name="Groep 2116"/>
            <p:cNvGrpSpPr/>
            <p:nvPr userDrawn="1"/>
          </p:nvGrpSpPr>
          <p:grpSpPr>
            <a:xfrm>
              <a:off x="13581063" y="1735138"/>
              <a:ext cx="1731962" cy="309563"/>
              <a:chOff x="13581063" y="1735138"/>
              <a:chExt cx="1731962" cy="309563"/>
            </a:xfrm>
            <a:solidFill>
              <a:srgbClr val="008AD2"/>
            </a:solidFill>
          </p:grpSpPr>
          <p:sp>
            <p:nvSpPr>
              <p:cNvPr id="1916" name="Freeform 6"/>
              <p:cNvSpPr>
                <a:spLocks/>
              </p:cNvSpPr>
              <p:nvPr userDrawn="1"/>
            </p:nvSpPr>
            <p:spPr bwMode="auto">
              <a:xfrm>
                <a:off x="13581063" y="1735138"/>
                <a:ext cx="277812" cy="309563"/>
              </a:xfrm>
              <a:custGeom>
                <a:avLst/>
                <a:gdLst>
                  <a:gd name="T0" fmla="*/ 32 w 349"/>
                  <a:gd name="T1" fmla="*/ 2 h 390"/>
                  <a:gd name="T2" fmla="*/ 48 w 349"/>
                  <a:gd name="T3" fmla="*/ 12 h 390"/>
                  <a:gd name="T4" fmla="*/ 52 w 349"/>
                  <a:gd name="T5" fmla="*/ 23 h 390"/>
                  <a:gd name="T6" fmla="*/ 52 w 349"/>
                  <a:gd name="T7" fmla="*/ 30 h 390"/>
                  <a:gd name="T8" fmla="*/ 59 w 349"/>
                  <a:gd name="T9" fmla="*/ 84 h 390"/>
                  <a:gd name="T10" fmla="*/ 74 w 349"/>
                  <a:gd name="T11" fmla="*/ 201 h 390"/>
                  <a:gd name="T12" fmla="*/ 86 w 349"/>
                  <a:gd name="T13" fmla="*/ 295 h 390"/>
                  <a:gd name="T14" fmla="*/ 90 w 349"/>
                  <a:gd name="T15" fmla="*/ 330 h 390"/>
                  <a:gd name="T16" fmla="*/ 93 w 349"/>
                  <a:gd name="T17" fmla="*/ 335 h 390"/>
                  <a:gd name="T18" fmla="*/ 100 w 349"/>
                  <a:gd name="T19" fmla="*/ 337 h 390"/>
                  <a:gd name="T20" fmla="*/ 105 w 349"/>
                  <a:gd name="T21" fmla="*/ 332 h 390"/>
                  <a:gd name="T22" fmla="*/ 153 w 349"/>
                  <a:gd name="T23" fmla="*/ 81 h 390"/>
                  <a:gd name="T24" fmla="*/ 169 w 349"/>
                  <a:gd name="T25" fmla="*/ 71 h 390"/>
                  <a:gd name="T26" fmla="*/ 186 w 349"/>
                  <a:gd name="T27" fmla="*/ 72 h 390"/>
                  <a:gd name="T28" fmla="*/ 198 w 349"/>
                  <a:gd name="T29" fmla="*/ 85 h 390"/>
                  <a:gd name="T30" fmla="*/ 245 w 349"/>
                  <a:gd name="T31" fmla="*/ 333 h 390"/>
                  <a:gd name="T32" fmla="*/ 252 w 349"/>
                  <a:gd name="T33" fmla="*/ 337 h 390"/>
                  <a:gd name="T34" fmla="*/ 258 w 349"/>
                  <a:gd name="T35" fmla="*/ 335 h 390"/>
                  <a:gd name="T36" fmla="*/ 259 w 349"/>
                  <a:gd name="T37" fmla="*/ 332 h 390"/>
                  <a:gd name="T38" fmla="*/ 269 w 349"/>
                  <a:gd name="T39" fmla="*/ 247 h 390"/>
                  <a:gd name="T40" fmla="*/ 287 w 349"/>
                  <a:gd name="T41" fmla="*/ 103 h 390"/>
                  <a:gd name="T42" fmla="*/ 294 w 349"/>
                  <a:gd name="T43" fmla="*/ 48 h 390"/>
                  <a:gd name="T44" fmla="*/ 300 w 349"/>
                  <a:gd name="T45" fmla="*/ 17 h 390"/>
                  <a:gd name="T46" fmla="*/ 311 w 349"/>
                  <a:gd name="T47" fmla="*/ 3 h 390"/>
                  <a:gd name="T48" fmla="*/ 327 w 349"/>
                  <a:gd name="T49" fmla="*/ 0 h 390"/>
                  <a:gd name="T50" fmla="*/ 341 w 349"/>
                  <a:gd name="T51" fmla="*/ 7 h 390"/>
                  <a:gd name="T52" fmla="*/ 349 w 349"/>
                  <a:gd name="T53" fmla="*/ 23 h 390"/>
                  <a:gd name="T54" fmla="*/ 349 w 349"/>
                  <a:gd name="T55" fmla="*/ 31 h 390"/>
                  <a:gd name="T56" fmla="*/ 348 w 349"/>
                  <a:gd name="T57" fmla="*/ 47 h 390"/>
                  <a:gd name="T58" fmla="*/ 341 w 349"/>
                  <a:gd name="T59" fmla="*/ 95 h 390"/>
                  <a:gd name="T60" fmla="*/ 327 w 349"/>
                  <a:gd name="T61" fmla="*/ 208 h 390"/>
                  <a:gd name="T62" fmla="*/ 315 w 349"/>
                  <a:gd name="T63" fmla="*/ 302 h 390"/>
                  <a:gd name="T64" fmla="*/ 311 w 349"/>
                  <a:gd name="T65" fmla="*/ 335 h 390"/>
                  <a:gd name="T66" fmla="*/ 307 w 349"/>
                  <a:gd name="T67" fmla="*/ 350 h 390"/>
                  <a:gd name="T68" fmla="*/ 294 w 349"/>
                  <a:gd name="T69" fmla="*/ 371 h 390"/>
                  <a:gd name="T70" fmla="*/ 252 w 349"/>
                  <a:gd name="T71" fmla="*/ 390 h 390"/>
                  <a:gd name="T72" fmla="*/ 200 w 349"/>
                  <a:gd name="T73" fmla="*/ 360 h 390"/>
                  <a:gd name="T74" fmla="*/ 179 w 349"/>
                  <a:gd name="T75" fmla="*/ 267 h 390"/>
                  <a:gd name="T76" fmla="*/ 172 w 349"/>
                  <a:gd name="T77" fmla="*/ 264 h 390"/>
                  <a:gd name="T78" fmla="*/ 156 w 349"/>
                  <a:gd name="T79" fmla="*/ 340 h 390"/>
                  <a:gd name="T80" fmla="*/ 118 w 349"/>
                  <a:gd name="T81" fmla="*/ 385 h 390"/>
                  <a:gd name="T82" fmla="*/ 69 w 349"/>
                  <a:gd name="T83" fmla="*/ 381 h 390"/>
                  <a:gd name="T84" fmla="*/ 51 w 349"/>
                  <a:gd name="T85" fmla="*/ 366 h 390"/>
                  <a:gd name="T86" fmla="*/ 39 w 349"/>
                  <a:gd name="T87" fmla="*/ 339 h 390"/>
                  <a:gd name="T88" fmla="*/ 39 w 349"/>
                  <a:gd name="T89" fmla="*/ 333 h 390"/>
                  <a:gd name="T90" fmla="*/ 35 w 349"/>
                  <a:gd name="T91" fmla="*/ 305 h 390"/>
                  <a:gd name="T92" fmla="*/ 29 w 349"/>
                  <a:gd name="T93" fmla="*/ 260 h 390"/>
                  <a:gd name="T94" fmla="*/ 14 w 349"/>
                  <a:gd name="T95" fmla="*/ 136 h 390"/>
                  <a:gd name="T96" fmla="*/ 4 w 349"/>
                  <a:gd name="T97" fmla="*/ 58 h 390"/>
                  <a:gd name="T98" fmla="*/ 1 w 349"/>
                  <a:gd name="T99" fmla="*/ 37 h 390"/>
                  <a:gd name="T100" fmla="*/ 0 w 349"/>
                  <a:gd name="T101" fmla="*/ 29 h 390"/>
                  <a:gd name="T102" fmla="*/ 5 w 349"/>
                  <a:gd name="T103" fmla="*/ 10 h 390"/>
                  <a:gd name="T104" fmla="*/ 22 w 349"/>
                  <a:gd name="T105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49" h="390">
                    <a:moveTo>
                      <a:pt x="22" y="0"/>
                    </a:moveTo>
                    <a:lnTo>
                      <a:pt x="27" y="0"/>
                    </a:lnTo>
                    <a:lnTo>
                      <a:pt x="32" y="2"/>
                    </a:lnTo>
                    <a:lnTo>
                      <a:pt x="38" y="3"/>
                    </a:lnTo>
                    <a:lnTo>
                      <a:pt x="43" y="7"/>
                    </a:lnTo>
                    <a:lnTo>
                      <a:pt x="48" y="12"/>
                    </a:lnTo>
                    <a:lnTo>
                      <a:pt x="51" y="17"/>
                    </a:lnTo>
                    <a:lnTo>
                      <a:pt x="52" y="23"/>
                    </a:lnTo>
                    <a:lnTo>
                      <a:pt x="52" y="23"/>
                    </a:lnTo>
                    <a:lnTo>
                      <a:pt x="52" y="24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3" y="34"/>
                    </a:lnTo>
                    <a:lnTo>
                      <a:pt x="56" y="64"/>
                    </a:lnTo>
                    <a:lnTo>
                      <a:pt x="59" y="84"/>
                    </a:lnTo>
                    <a:lnTo>
                      <a:pt x="62" y="106"/>
                    </a:lnTo>
                    <a:lnTo>
                      <a:pt x="69" y="158"/>
                    </a:lnTo>
                    <a:lnTo>
                      <a:pt x="74" y="201"/>
                    </a:lnTo>
                    <a:lnTo>
                      <a:pt x="79" y="239"/>
                    </a:lnTo>
                    <a:lnTo>
                      <a:pt x="83" y="270"/>
                    </a:lnTo>
                    <a:lnTo>
                      <a:pt x="86" y="295"/>
                    </a:lnTo>
                    <a:lnTo>
                      <a:pt x="89" y="313"/>
                    </a:lnTo>
                    <a:lnTo>
                      <a:pt x="90" y="326"/>
                    </a:lnTo>
                    <a:lnTo>
                      <a:pt x="90" y="330"/>
                    </a:lnTo>
                    <a:lnTo>
                      <a:pt x="91" y="332"/>
                    </a:lnTo>
                    <a:lnTo>
                      <a:pt x="91" y="333"/>
                    </a:lnTo>
                    <a:lnTo>
                      <a:pt x="93" y="335"/>
                    </a:lnTo>
                    <a:lnTo>
                      <a:pt x="94" y="336"/>
                    </a:lnTo>
                    <a:lnTo>
                      <a:pt x="97" y="337"/>
                    </a:lnTo>
                    <a:lnTo>
                      <a:pt x="100" y="337"/>
                    </a:lnTo>
                    <a:lnTo>
                      <a:pt x="103" y="336"/>
                    </a:lnTo>
                    <a:lnTo>
                      <a:pt x="104" y="333"/>
                    </a:lnTo>
                    <a:lnTo>
                      <a:pt x="105" y="332"/>
                    </a:lnTo>
                    <a:lnTo>
                      <a:pt x="149" y="91"/>
                    </a:lnTo>
                    <a:lnTo>
                      <a:pt x="151" y="85"/>
                    </a:lnTo>
                    <a:lnTo>
                      <a:pt x="153" y="81"/>
                    </a:lnTo>
                    <a:lnTo>
                      <a:pt x="158" y="77"/>
                    </a:lnTo>
                    <a:lnTo>
                      <a:pt x="163" y="72"/>
                    </a:lnTo>
                    <a:lnTo>
                      <a:pt x="169" y="71"/>
                    </a:lnTo>
                    <a:lnTo>
                      <a:pt x="175" y="71"/>
                    </a:lnTo>
                    <a:lnTo>
                      <a:pt x="180" y="71"/>
                    </a:lnTo>
                    <a:lnTo>
                      <a:pt x="186" y="72"/>
                    </a:lnTo>
                    <a:lnTo>
                      <a:pt x="191" y="77"/>
                    </a:lnTo>
                    <a:lnTo>
                      <a:pt x="196" y="81"/>
                    </a:lnTo>
                    <a:lnTo>
                      <a:pt x="198" y="85"/>
                    </a:lnTo>
                    <a:lnTo>
                      <a:pt x="200" y="91"/>
                    </a:lnTo>
                    <a:lnTo>
                      <a:pt x="244" y="330"/>
                    </a:lnTo>
                    <a:lnTo>
                      <a:pt x="245" y="333"/>
                    </a:lnTo>
                    <a:lnTo>
                      <a:pt x="246" y="336"/>
                    </a:lnTo>
                    <a:lnTo>
                      <a:pt x="249" y="336"/>
                    </a:lnTo>
                    <a:lnTo>
                      <a:pt x="252" y="337"/>
                    </a:lnTo>
                    <a:lnTo>
                      <a:pt x="253" y="337"/>
                    </a:lnTo>
                    <a:lnTo>
                      <a:pt x="255" y="336"/>
                    </a:lnTo>
                    <a:lnTo>
                      <a:pt x="258" y="335"/>
                    </a:lnTo>
                    <a:lnTo>
                      <a:pt x="258" y="335"/>
                    </a:lnTo>
                    <a:lnTo>
                      <a:pt x="259" y="333"/>
                    </a:lnTo>
                    <a:lnTo>
                      <a:pt x="259" y="332"/>
                    </a:lnTo>
                    <a:lnTo>
                      <a:pt x="259" y="327"/>
                    </a:lnTo>
                    <a:lnTo>
                      <a:pt x="265" y="288"/>
                    </a:lnTo>
                    <a:lnTo>
                      <a:pt x="269" y="247"/>
                    </a:lnTo>
                    <a:lnTo>
                      <a:pt x="276" y="199"/>
                    </a:lnTo>
                    <a:lnTo>
                      <a:pt x="282" y="151"/>
                    </a:lnTo>
                    <a:lnTo>
                      <a:pt x="287" y="103"/>
                    </a:lnTo>
                    <a:lnTo>
                      <a:pt x="290" y="82"/>
                    </a:lnTo>
                    <a:lnTo>
                      <a:pt x="293" y="64"/>
                    </a:lnTo>
                    <a:lnTo>
                      <a:pt x="294" y="48"/>
                    </a:lnTo>
                    <a:lnTo>
                      <a:pt x="296" y="36"/>
                    </a:lnTo>
                    <a:lnTo>
                      <a:pt x="299" y="23"/>
                    </a:lnTo>
                    <a:lnTo>
                      <a:pt x="300" y="17"/>
                    </a:lnTo>
                    <a:lnTo>
                      <a:pt x="303" y="12"/>
                    </a:lnTo>
                    <a:lnTo>
                      <a:pt x="307" y="7"/>
                    </a:lnTo>
                    <a:lnTo>
                      <a:pt x="311" y="3"/>
                    </a:lnTo>
                    <a:lnTo>
                      <a:pt x="317" y="2"/>
                    </a:lnTo>
                    <a:lnTo>
                      <a:pt x="324" y="0"/>
                    </a:lnTo>
                    <a:lnTo>
                      <a:pt x="327" y="0"/>
                    </a:lnTo>
                    <a:lnTo>
                      <a:pt x="332" y="2"/>
                    </a:lnTo>
                    <a:lnTo>
                      <a:pt x="337" y="3"/>
                    </a:lnTo>
                    <a:lnTo>
                      <a:pt x="341" y="7"/>
                    </a:lnTo>
                    <a:lnTo>
                      <a:pt x="345" y="10"/>
                    </a:lnTo>
                    <a:lnTo>
                      <a:pt x="348" y="16"/>
                    </a:lnTo>
                    <a:lnTo>
                      <a:pt x="349" y="23"/>
                    </a:lnTo>
                    <a:lnTo>
                      <a:pt x="349" y="29"/>
                    </a:lnTo>
                    <a:lnTo>
                      <a:pt x="349" y="30"/>
                    </a:lnTo>
                    <a:lnTo>
                      <a:pt x="349" y="31"/>
                    </a:lnTo>
                    <a:lnTo>
                      <a:pt x="348" y="36"/>
                    </a:lnTo>
                    <a:lnTo>
                      <a:pt x="348" y="40"/>
                    </a:lnTo>
                    <a:lnTo>
                      <a:pt x="348" y="47"/>
                    </a:lnTo>
                    <a:lnTo>
                      <a:pt x="346" y="55"/>
                    </a:lnTo>
                    <a:lnTo>
                      <a:pt x="344" y="72"/>
                    </a:lnTo>
                    <a:lnTo>
                      <a:pt x="341" y="95"/>
                    </a:lnTo>
                    <a:lnTo>
                      <a:pt x="337" y="124"/>
                    </a:lnTo>
                    <a:lnTo>
                      <a:pt x="332" y="164"/>
                    </a:lnTo>
                    <a:lnTo>
                      <a:pt x="327" y="208"/>
                    </a:lnTo>
                    <a:lnTo>
                      <a:pt x="322" y="246"/>
                    </a:lnTo>
                    <a:lnTo>
                      <a:pt x="318" y="277"/>
                    </a:lnTo>
                    <a:lnTo>
                      <a:pt x="315" y="302"/>
                    </a:lnTo>
                    <a:lnTo>
                      <a:pt x="313" y="320"/>
                    </a:lnTo>
                    <a:lnTo>
                      <a:pt x="311" y="333"/>
                    </a:lnTo>
                    <a:lnTo>
                      <a:pt x="311" y="335"/>
                    </a:lnTo>
                    <a:lnTo>
                      <a:pt x="310" y="337"/>
                    </a:lnTo>
                    <a:lnTo>
                      <a:pt x="310" y="339"/>
                    </a:lnTo>
                    <a:lnTo>
                      <a:pt x="307" y="350"/>
                    </a:lnTo>
                    <a:lnTo>
                      <a:pt x="303" y="360"/>
                    </a:lnTo>
                    <a:lnTo>
                      <a:pt x="300" y="366"/>
                    </a:lnTo>
                    <a:lnTo>
                      <a:pt x="294" y="371"/>
                    </a:lnTo>
                    <a:lnTo>
                      <a:pt x="290" y="375"/>
                    </a:lnTo>
                    <a:lnTo>
                      <a:pt x="272" y="385"/>
                    </a:lnTo>
                    <a:lnTo>
                      <a:pt x="252" y="390"/>
                    </a:lnTo>
                    <a:lnTo>
                      <a:pt x="231" y="385"/>
                    </a:lnTo>
                    <a:lnTo>
                      <a:pt x="214" y="375"/>
                    </a:lnTo>
                    <a:lnTo>
                      <a:pt x="200" y="360"/>
                    </a:lnTo>
                    <a:lnTo>
                      <a:pt x="193" y="340"/>
                    </a:lnTo>
                    <a:lnTo>
                      <a:pt x="180" y="268"/>
                    </a:lnTo>
                    <a:lnTo>
                      <a:pt x="179" y="267"/>
                    </a:lnTo>
                    <a:lnTo>
                      <a:pt x="177" y="264"/>
                    </a:lnTo>
                    <a:lnTo>
                      <a:pt x="175" y="264"/>
                    </a:lnTo>
                    <a:lnTo>
                      <a:pt x="172" y="264"/>
                    </a:lnTo>
                    <a:lnTo>
                      <a:pt x="170" y="267"/>
                    </a:lnTo>
                    <a:lnTo>
                      <a:pt x="169" y="268"/>
                    </a:lnTo>
                    <a:lnTo>
                      <a:pt x="156" y="340"/>
                    </a:lnTo>
                    <a:lnTo>
                      <a:pt x="149" y="360"/>
                    </a:lnTo>
                    <a:lnTo>
                      <a:pt x="135" y="375"/>
                    </a:lnTo>
                    <a:lnTo>
                      <a:pt x="118" y="385"/>
                    </a:lnTo>
                    <a:lnTo>
                      <a:pt x="97" y="390"/>
                    </a:lnTo>
                    <a:lnTo>
                      <a:pt x="82" y="387"/>
                    </a:lnTo>
                    <a:lnTo>
                      <a:pt x="69" y="381"/>
                    </a:lnTo>
                    <a:lnTo>
                      <a:pt x="62" y="377"/>
                    </a:lnTo>
                    <a:lnTo>
                      <a:pt x="55" y="371"/>
                    </a:lnTo>
                    <a:lnTo>
                      <a:pt x="51" y="366"/>
                    </a:lnTo>
                    <a:lnTo>
                      <a:pt x="46" y="360"/>
                    </a:lnTo>
                    <a:lnTo>
                      <a:pt x="42" y="350"/>
                    </a:lnTo>
                    <a:lnTo>
                      <a:pt x="39" y="339"/>
                    </a:lnTo>
                    <a:lnTo>
                      <a:pt x="39" y="337"/>
                    </a:lnTo>
                    <a:lnTo>
                      <a:pt x="39" y="335"/>
                    </a:lnTo>
                    <a:lnTo>
                      <a:pt x="39" y="333"/>
                    </a:lnTo>
                    <a:lnTo>
                      <a:pt x="36" y="320"/>
                    </a:lnTo>
                    <a:lnTo>
                      <a:pt x="36" y="313"/>
                    </a:lnTo>
                    <a:lnTo>
                      <a:pt x="35" y="305"/>
                    </a:lnTo>
                    <a:lnTo>
                      <a:pt x="34" y="295"/>
                    </a:lnTo>
                    <a:lnTo>
                      <a:pt x="32" y="284"/>
                    </a:lnTo>
                    <a:lnTo>
                      <a:pt x="29" y="260"/>
                    </a:lnTo>
                    <a:lnTo>
                      <a:pt x="25" y="234"/>
                    </a:lnTo>
                    <a:lnTo>
                      <a:pt x="18" y="178"/>
                    </a:lnTo>
                    <a:lnTo>
                      <a:pt x="14" y="136"/>
                    </a:lnTo>
                    <a:lnTo>
                      <a:pt x="10" y="103"/>
                    </a:lnTo>
                    <a:lnTo>
                      <a:pt x="5" y="78"/>
                    </a:lnTo>
                    <a:lnTo>
                      <a:pt x="4" y="58"/>
                    </a:lnTo>
                    <a:lnTo>
                      <a:pt x="3" y="50"/>
                    </a:lnTo>
                    <a:lnTo>
                      <a:pt x="1" y="41"/>
                    </a:lnTo>
                    <a:lnTo>
                      <a:pt x="1" y="37"/>
                    </a:lnTo>
                    <a:lnTo>
                      <a:pt x="0" y="33"/>
                    </a:lnTo>
                    <a:lnTo>
                      <a:pt x="0" y="30"/>
                    </a:lnTo>
                    <a:lnTo>
                      <a:pt x="0" y="29"/>
                    </a:lnTo>
                    <a:lnTo>
                      <a:pt x="0" y="23"/>
                    </a:lnTo>
                    <a:lnTo>
                      <a:pt x="3" y="16"/>
                    </a:lnTo>
                    <a:lnTo>
                      <a:pt x="5" y="10"/>
                    </a:lnTo>
                    <a:lnTo>
                      <a:pt x="10" y="6"/>
                    </a:lnTo>
                    <a:lnTo>
                      <a:pt x="15" y="2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7" name="Line 7"/>
              <p:cNvSpPr>
                <a:spLocks noChangeShapeType="1"/>
              </p:cNvSpPr>
              <p:nvPr userDrawn="1"/>
            </p:nvSpPr>
            <p:spPr bwMode="auto">
              <a:xfrm flipH="1" flipV="1">
                <a:off x="13592175" y="1843088"/>
                <a:ext cx="4762" cy="333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8" name="Line 8"/>
              <p:cNvSpPr>
                <a:spLocks noChangeShapeType="1"/>
              </p:cNvSpPr>
              <p:nvPr userDrawn="1"/>
            </p:nvSpPr>
            <p:spPr bwMode="auto">
              <a:xfrm flipH="1" flipV="1">
                <a:off x="13589000" y="1817688"/>
                <a:ext cx="3175" cy="254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9" name="Line 9"/>
              <p:cNvSpPr>
                <a:spLocks noChangeShapeType="1"/>
              </p:cNvSpPr>
              <p:nvPr userDrawn="1"/>
            </p:nvSpPr>
            <p:spPr bwMode="auto">
              <a:xfrm flipH="1" flipV="1">
                <a:off x="13585825" y="1797050"/>
                <a:ext cx="3175" cy="206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0" name="Line 10"/>
              <p:cNvSpPr>
                <a:spLocks noChangeShapeType="1"/>
              </p:cNvSpPr>
              <p:nvPr userDrawn="1"/>
            </p:nvSpPr>
            <p:spPr bwMode="auto">
              <a:xfrm flipH="1" flipV="1">
                <a:off x="13585825" y="1781175"/>
                <a:ext cx="0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1" name="Line 11"/>
              <p:cNvSpPr>
                <a:spLocks noChangeShapeType="1"/>
              </p:cNvSpPr>
              <p:nvPr userDrawn="1"/>
            </p:nvSpPr>
            <p:spPr bwMode="auto">
              <a:xfrm flipH="1" flipV="1">
                <a:off x="13584238" y="1774825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2" name="Line 12"/>
              <p:cNvSpPr>
                <a:spLocks noChangeShapeType="1"/>
              </p:cNvSpPr>
              <p:nvPr userDrawn="1"/>
            </p:nvSpPr>
            <p:spPr bwMode="auto">
              <a:xfrm flipH="1" flipV="1">
                <a:off x="13582650" y="1768475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3" name="Line 13"/>
              <p:cNvSpPr>
                <a:spLocks noChangeShapeType="1"/>
              </p:cNvSpPr>
              <p:nvPr userDrawn="1"/>
            </p:nvSpPr>
            <p:spPr bwMode="auto">
              <a:xfrm flipV="1">
                <a:off x="13582650" y="1765300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4" name="Line 14"/>
              <p:cNvSpPr>
                <a:spLocks noChangeShapeType="1"/>
              </p:cNvSpPr>
              <p:nvPr userDrawn="1"/>
            </p:nvSpPr>
            <p:spPr bwMode="auto">
              <a:xfrm flipH="1" flipV="1">
                <a:off x="13581063" y="176053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5" name="Line 15"/>
              <p:cNvSpPr>
                <a:spLocks noChangeShapeType="1"/>
              </p:cNvSpPr>
              <p:nvPr userDrawn="1"/>
            </p:nvSpPr>
            <p:spPr bwMode="auto">
              <a:xfrm flipV="1">
                <a:off x="13581063" y="1758950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6" name="Line 16"/>
              <p:cNvSpPr>
                <a:spLocks noChangeShapeType="1"/>
              </p:cNvSpPr>
              <p:nvPr userDrawn="1"/>
            </p:nvSpPr>
            <p:spPr bwMode="auto">
              <a:xfrm flipV="1">
                <a:off x="13581063" y="1757363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7" name="Line 17"/>
              <p:cNvSpPr>
                <a:spLocks noChangeShapeType="1"/>
              </p:cNvSpPr>
              <p:nvPr userDrawn="1"/>
            </p:nvSpPr>
            <p:spPr bwMode="auto">
              <a:xfrm flipV="1">
                <a:off x="13581063" y="1752600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8" name="Line 18"/>
              <p:cNvSpPr>
                <a:spLocks noChangeShapeType="1"/>
              </p:cNvSpPr>
              <p:nvPr userDrawn="1"/>
            </p:nvSpPr>
            <p:spPr bwMode="auto">
              <a:xfrm flipV="1">
                <a:off x="13581063" y="174783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9" name="Line 19"/>
              <p:cNvSpPr>
                <a:spLocks noChangeShapeType="1"/>
              </p:cNvSpPr>
              <p:nvPr userDrawn="1"/>
            </p:nvSpPr>
            <p:spPr bwMode="auto">
              <a:xfrm flipV="1">
                <a:off x="13584238" y="1743075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0" name="Line 20"/>
              <p:cNvSpPr>
                <a:spLocks noChangeShapeType="1"/>
              </p:cNvSpPr>
              <p:nvPr userDrawn="1"/>
            </p:nvSpPr>
            <p:spPr bwMode="auto">
              <a:xfrm flipV="1">
                <a:off x="13585825" y="1739900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1" name="Line 21"/>
              <p:cNvSpPr>
                <a:spLocks noChangeShapeType="1"/>
              </p:cNvSpPr>
              <p:nvPr userDrawn="1"/>
            </p:nvSpPr>
            <p:spPr bwMode="auto">
              <a:xfrm flipV="1">
                <a:off x="13589000" y="1736725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2" name="Line 22"/>
              <p:cNvSpPr>
                <a:spLocks noChangeShapeType="1"/>
              </p:cNvSpPr>
              <p:nvPr userDrawn="1"/>
            </p:nvSpPr>
            <p:spPr bwMode="auto">
              <a:xfrm flipV="1">
                <a:off x="13593763" y="1735138"/>
                <a:ext cx="635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3" name="Line 23"/>
              <p:cNvSpPr>
                <a:spLocks noChangeShapeType="1"/>
              </p:cNvSpPr>
              <p:nvPr userDrawn="1"/>
            </p:nvSpPr>
            <p:spPr bwMode="auto">
              <a:xfrm>
                <a:off x="13600113" y="1735138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4" name="Line 24"/>
              <p:cNvSpPr>
                <a:spLocks noChangeShapeType="1"/>
              </p:cNvSpPr>
              <p:nvPr userDrawn="1"/>
            </p:nvSpPr>
            <p:spPr bwMode="auto">
              <a:xfrm>
                <a:off x="13603288" y="1735138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5" name="Line 25"/>
              <p:cNvSpPr>
                <a:spLocks noChangeShapeType="1"/>
              </p:cNvSpPr>
              <p:nvPr userDrawn="1"/>
            </p:nvSpPr>
            <p:spPr bwMode="auto">
              <a:xfrm>
                <a:off x="13608050" y="1736725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6" name="Line 26"/>
              <p:cNvSpPr>
                <a:spLocks noChangeShapeType="1"/>
              </p:cNvSpPr>
              <p:nvPr userDrawn="1"/>
            </p:nvSpPr>
            <p:spPr bwMode="auto">
              <a:xfrm>
                <a:off x="13611225" y="1738313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7" name="Line 27"/>
              <p:cNvSpPr>
                <a:spLocks noChangeShapeType="1"/>
              </p:cNvSpPr>
              <p:nvPr userDrawn="1"/>
            </p:nvSpPr>
            <p:spPr bwMode="auto">
              <a:xfrm>
                <a:off x="13615988" y="1741488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8" name="Line 28"/>
              <p:cNvSpPr>
                <a:spLocks noChangeShapeType="1"/>
              </p:cNvSpPr>
              <p:nvPr userDrawn="1"/>
            </p:nvSpPr>
            <p:spPr bwMode="auto">
              <a:xfrm>
                <a:off x="13619163" y="1744663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9" name="Line 29"/>
              <p:cNvSpPr>
                <a:spLocks noChangeShapeType="1"/>
              </p:cNvSpPr>
              <p:nvPr userDrawn="1"/>
            </p:nvSpPr>
            <p:spPr bwMode="auto">
              <a:xfrm>
                <a:off x="13622338" y="1749425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0" name="Line 30"/>
              <p:cNvSpPr>
                <a:spLocks noChangeShapeType="1"/>
              </p:cNvSpPr>
              <p:nvPr userDrawn="1"/>
            </p:nvSpPr>
            <p:spPr bwMode="auto">
              <a:xfrm>
                <a:off x="13622338" y="1752600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1" name="Line 31"/>
              <p:cNvSpPr>
                <a:spLocks noChangeShapeType="1"/>
              </p:cNvSpPr>
              <p:nvPr userDrawn="1"/>
            </p:nvSpPr>
            <p:spPr bwMode="auto">
              <a:xfrm>
                <a:off x="13622338" y="1752600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2" name="Line 32"/>
              <p:cNvSpPr>
                <a:spLocks noChangeShapeType="1"/>
              </p:cNvSpPr>
              <p:nvPr userDrawn="1"/>
            </p:nvSpPr>
            <p:spPr bwMode="auto">
              <a:xfrm>
                <a:off x="13622338" y="1754188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3" name="Line 33"/>
              <p:cNvSpPr>
                <a:spLocks noChangeShapeType="1"/>
              </p:cNvSpPr>
              <p:nvPr userDrawn="1"/>
            </p:nvSpPr>
            <p:spPr bwMode="auto">
              <a:xfrm>
                <a:off x="13622338" y="1755775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4" name="Line 34"/>
              <p:cNvSpPr>
                <a:spLocks noChangeShapeType="1"/>
              </p:cNvSpPr>
              <p:nvPr userDrawn="1"/>
            </p:nvSpPr>
            <p:spPr bwMode="auto">
              <a:xfrm>
                <a:off x="13622338" y="1758950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5" name="Line 35"/>
              <p:cNvSpPr>
                <a:spLocks noChangeShapeType="1"/>
              </p:cNvSpPr>
              <p:nvPr userDrawn="1"/>
            </p:nvSpPr>
            <p:spPr bwMode="auto">
              <a:xfrm>
                <a:off x="13623925" y="1762125"/>
                <a:ext cx="3175" cy="238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6" name="Line 36"/>
              <p:cNvSpPr>
                <a:spLocks noChangeShapeType="1"/>
              </p:cNvSpPr>
              <p:nvPr userDrawn="1"/>
            </p:nvSpPr>
            <p:spPr bwMode="auto">
              <a:xfrm>
                <a:off x="13627100" y="1785938"/>
                <a:ext cx="1587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7" name="Line 37"/>
              <p:cNvSpPr>
                <a:spLocks noChangeShapeType="1"/>
              </p:cNvSpPr>
              <p:nvPr userDrawn="1"/>
            </p:nvSpPr>
            <p:spPr bwMode="auto">
              <a:xfrm>
                <a:off x="13628688" y="1801813"/>
                <a:ext cx="1587" cy="174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8" name="Line 38"/>
              <p:cNvSpPr>
                <a:spLocks noChangeShapeType="1"/>
              </p:cNvSpPr>
              <p:nvPr userDrawn="1"/>
            </p:nvSpPr>
            <p:spPr bwMode="auto">
              <a:xfrm>
                <a:off x="13630275" y="1819275"/>
                <a:ext cx="6350" cy="412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9" name="Line 39"/>
              <p:cNvSpPr>
                <a:spLocks noChangeShapeType="1"/>
              </p:cNvSpPr>
              <p:nvPr userDrawn="1"/>
            </p:nvSpPr>
            <p:spPr bwMode="auto">
              <a:xfrm>
                <a:off x="13636625" y="1860550"/>
                <a:ext cx="4762" cy="333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0" name="Line 40"/>
              <p:cNvSpPr>
                <a:spLocks noChangeShapeType="1"/>
              </p:cNvSpPr>
              <p:nvPr userDrawn="1"/>
            </p:nvSpPr>
            <p:spPr bwMode="auto">
              <a:xfrm>
                <a:off x="13641388" y="1893888"/>
                <a:ext cx="3175" cy="301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1" name="Line 41"/>
              <p:cNvSpPr>
                <a:spLocks noChangeShapeType="1"/>
              </p:cNvSpPr>
              <p:nvPr userDrawn="1"/>
            </p:nvSpPr>
            <p:spPr bwMode="auto">
              <a:xfrm>
                <a:off x="13644563" y="1924050"/>
                <a:ext cx="3175" cy="254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2" name="Line 42"/>
              <p:cNvSpPr>
                <a:spLocks noChangeShapeType="1"/>
              </p:cNvSpPr>
              <p:nvPr userDrawn="1"/>
            </p:nvSpPr>
            <p:spPr bwMode="auto">
              <a:xfrm>
                <a:off x="13647738" y="1949450"/>
                <a:ext cx="1587" cy="206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3" name="Line 43"/>
              <p:cNvSpPr>
                <a:spLocks noChangeShapeType="1"/>
              </p:cNvSpPr>
              <p:nvPr userDrawn="1"/>
            </p:nvSpPr>
            <p:spPr bwMode="auto">
              <a:xfrm>
                <a:off x="13649325" y="1970088"/>
                <a:ext cx="3175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4" name="Line 44"/>
              <p:cNvSpPr>
                <a:spLocks noChangeShapeType="1"/>
              </p:cNvSpPr>
              <p:nvPr userDrawn="1"/>
            </p:nvSpPr>
            <p:spPr bwMode="auto">
              <a:xfrm>
                <a:off x="13652500" y="1984375"/>
                <a:ext cx="0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5" name="Line 55"/>
              <p:cNvSpPr>
                <a:spLocks noChangeShapeType="1"/>
              </p:cNvSpPr>
              <p:nvPr userDrawn="1"/>
            </p:nvSpPr>
            <p:spPr bwMode="auto">
              <a:xfrm flipV="1">
                <a:off x="13665200" y="1806575"/>
                <a:ext cx="34925" cy="1920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6" name="Line 56"/>
              <p:cNvSpPr>
                <a:spLocks noChangeShapeType="1"/>
              </p:cNvSpPr>
              <p:nvPr userDrawn="1"/>
            </p:nvSpPr>
            <p:spPr bwMode="auto">
              <a:xfrm flipV="1">
                <a:off x="13700125" y="1803400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7" name="Line 57"/>
              <p:cNvSpPr>
                <a:spLocks noChangeShapeType="1"/>
              </p:cNvSpPr>
              <p:nvPr userDrawn="1"/>
            </p:nvSpPr>
            <p:spPr bwMode="auto">
              <a:xfrm flipV="1">
                <a:off x="13701713" y="179863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8" name="Line 58"/>
              <p:cNvSpPr>
                <a:spLocks noChangeShapeType="1"/>
              </p:cNvSpPr>
              <p:nvPr userDrawn="1"/>
            </p:nvSpPr>
            <p:spPr bwMode="auto">
              <a:xfrm flipV="1">
                <a:off x="13703300" y="1795463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9" name="Line 59"/>
              <p:cNvSpPr>
                <a:spLocks noChangeShapeType="1"/>
              </p:cNvSpPr>
              <p:nvPr userDrawn="1"/>
            </p:nvSpPr>
            <p:spPr bwMode="auto">
              <a:xfrm flipV="1">
                <a:off x="13706475" y="1792288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0" name="Line 60"/>
              <p:cNvSpPr>
                <a:spLocks noChangeShapeType="1"/>
              </p:cNvSpPr>
              <p:nvPr userDrawn="1"/>
            </p:nvSpPr>
            <p:spPr bwMode="auto">
              <a:xfrm flipV="1">
                <a:off x="13711238" y="1790700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1" name="Line 61"/>
              <p:cNvSpPr>
                <a:spLocks noChangeShapeType="1"/>
              </p:cNvSpPr>
              <p:nvPr userDrawn="1"/>
            </p:nvSpPr>
            <p:spPr bwMode="auto">
              <a:xfrm>
                <a:off x="13716000" y="1790700"/>
                <a:ext cx="47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2" name="Line 62"/>
              <p:cNvSpPr>
                <a:spLocks noChangeShapeType="1"/>
              </p:cNvSpPr>
              <p:nvPr userDrawn="1"/>
            </p:nvSpPr>
            <p:spPr bwMode="auto">
              <a:xfrm>
                <a:off x="13720763" y="1790700"/>
                <a:ext cx="47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3" name="Line 63"/>
              <p:cNvSpPr>
                <a:spLocks noChangeShapeType="1"/>
              </p:cNvSpPr>
              <p:nvPr userDrawn="1"/>
            </p:nvSpPr>
            <p:spPr bwMode="auto">
              <a:xfrm>
                <a:off x="13725525" y="1790700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4" name="Line 64"/>
              <p:cNvSpPr>
                <a:spLocks noChangeShapeType="1"/>
              </p:cNvSpPr>
              <p:nvPr userDrawn="1"/>
            </p:nvSpPr>
            <p:spPr bwMode="auto">
              <a:xfrm>
                <a:off x="13728700" y="1792288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5" name="Line 65"/>
              <p:cNvSpPr>
                <a:spLocks noChangeShapeType="1"/>
              </p:cNvSpPr>
              <p:nvPr userDrawn="1"/>
            </p:nvSpPr>
            <p:spPr bwMode="auto">
              <a:xfrm>
                <a:off x="13733463" y="1795463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6" name="Line 66"/>
              <p:cNvSpPr>
                <a:spLocks noChangeShapeType="1"/>
              </p:cNvSpPr>
              <p:nvPr userDrawn="1"/>
            </p:nvSpPr>
            <p:spPr bwMode="auto">
              <a:xfrm>
                <a:off x="13736638" y="179863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7" name="Line 67"/>
              <p:cNvSpPr>
                <a:spLocks noChangeShapeType="1"/>
              </p:cNvSpPr>
              <p:nvPr userDrawn="1"/>
            </p:nvSpPr>
            <p:spPr bwMode="auto">
              <a:xfrm>
                <a:off x="13739813" y="1803400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8" name="Line 68"/>
              <p:cNvSpPr>
                <a:spLocks noChangeShapeType="1"/>
              </p:cNvSpPr>
              <p:nvPr userDrawn="1"/>
            </p:nvSpPr>
            <p:spPr bwMode="auto">
              <a:xfrm>
                <a:off x="13739813" y="1806575"/>
                <a:ext cx="34925" cy="1905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0" name="Line 80"/>
              <p:cNvSpPr>
                <a:spLocks noChangeShapeType="1"/>
              </p:cNvSpPr>
              <p:nvPr userDrawn="1"/>
            </p:nvSpPr>
            <p:spPr bwMode="auto">
              <a:xfrm flipV="1">
                <a:off x="13787438" y="1963738"/>
                <a:ext cx="4762" cy="317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1" name="Line 81"/>
              <p:cNvSpPr>
                <a:spLocks noChangeShapeType="1"/>
              </p:cNvSpPr>
              <p:nvPr userDrawn="1"/>
            </p:nvSpPr>
            <p:spPr bwMode="auto">
              <a:xfrm flipV="1">
                <a:off x="13792200" y="1931988"/>
                <a:ext cx="3175" cy="317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2" name="Line 82"/>
              <p:cNvSpPr>
                <a:spLocks noChangeShapeType="1"/>
              </p:cNvSpPr>
              <p:nvPr userDrawn="1"/>
            </p:nvSpPr>
            <p:spPr bwMode="auto">
              <a:xfrm flipV="1">
                <a:off x="13795375" y="1893888"/>
                <a:ext cx="4762" cy="381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3" name="Line 83"/>
              <p:cNvSpPr>
                <a:spLocks noChangeShapeType="1"/>
              </p:cNvSpPr>
              <p:nvPr userDrawn="1"/>
            </p:nvSpPr>
            <p:spPr bwMode="auto">
              <a:xfrm flipV="1">
                <a:off x="13800138" y="1855788"/>
                <a:ext cx="4762" cy="381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4" name="Line 84"/>
              <p:cNvSpPr>
                <a:spLocks noChangeShapeType="1"/>
              </p:cNvSpPr>
              <p:nvPr userDrawn="1"/>
            </p:nvSpPr>
            <p:spPr bwMode="auto">
              <a:xfrm flipV="1">
                <a:off x="13804900" y="1817688"/>
                <a:ext cx="4762" cy="381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5" name="Line 85"/>
              <p:cNvSpPr>
                <a:spLocks noChangeShapeType="1"/>
              </p:cNvSpPr>
              <p:nvPr userDrawn="1"/>
            </p:nvSpPr>
            <p:spPr bwMode="auto">
              <a:xfrm flipV="1">
                <a:off x="13809663" y="1800225"/>
                <a:ext cx="3175" cy="174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6" name="Line 86"/>
              <p:cNvSpPr>
                <a:spLocks noChangeShapeType="1"/>
              </p:cNvSpPr>
              <p:nvPr userDrawn="1"/>
            </p:nvSpPr>
            <p:spPr bwMode="auto">
              <a:xfrm flipV="1">
                <a:off x="13812838" y="1785938"/>
                <a:ext cx="1587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7" name="Line 87"/>
              <p:cNvSpPr>
                <a:spLocks noChangeShapeType="1"/>
              </p:cNvSpPr>
              <p:nvPr userDrawn="1"/>
            </p:nvSpPr>
            <p:spPr bwMode="auto">
              <a:xfrm flipV="1">
                <a:off x="13814425" y="1773238"/>
                <a:ext cx="1587" cy="127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8" name="Line 88"/>
              <p:cNvSpPr>
                <a:spLocks noChangeShapeType="1"/>
              </p:cNvSpPr>
              <p:nvPr userDrawn="1"/>
            </p:nvSpPr>
            <p:spPr bwMode="auto">
              <a:xfrm flipV="1">
                <a:off x="13816013" y="1763713"/>
                <a:ext cx="0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9" name="Line 89"/>
              <p:cNvSpPr>
                <a:spLocks noChangeShapeType="1"/>
              </p:cNvSpPr>
              <p:nvPr userDrawn="1"/>
            </p:nvSpPr>
            <p:spPr bwMode="auto">
              <a:xfrm flipV="1">
                <a:off x="13816013" y="1752600"/>
                <a:ext cx="3175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0" name="Line 90"/>
              <p:cNvSpPr>
                <a:spLocks noChangeShapeType="1"/>
              </p:cNvSpPr>
              <p:nvPr userDrawn="1"/>
            </p:nvSpPr>
            <p:spPr bwMode="auto">
              <a:xfrm flipV="1">
                <a:off x="13819188" y="1749425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1" name="Line 91"/>
              <p:cNvSpPr>
                <a:spLocks noChangeShapeType="1"/>
              </p:cNvSpPr>
              <p:nvPr userDrawn="1"/>
            </p:nvSpPr>
            <p:spPr bwMode="auto">
              <a:xfrm flipV="1">
                <a:off x="13819188" y="1744663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2" name="Line 92"/>
              <p:cNvSpPr>
                <a:spLocks noChangeShapeType="1"/>
              </p:cNvSpPr>
              <p:nvPr userDrawn="1"/>
            </p:nvSpPr>
            <p:spPr bwMode="auto">
              <a:xfrm flipV="1">
                <a:off x="13822363" y="1741488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3" name="Line 93"/>
              <p:cNvSpPr>
                <a:spLocks noChangeShapeType="1"/>
              </p:cNvSpPr>
              <p:nvPr userDrawn="1"/>
            </p:nvSpPr>
            <p:spPr bwMode="auto">
              <a:xfrm flipV="1">
                <a:off x="13825538" y="1738313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4" name="Line 94"/>
              <p:cNvSpPr>
                <a:spLocks noChangeShapeType="1"/>
              </p:cNvSpPr>
              <p:nvPr userDrawn="1"/>
            </p:nvSpPr>
            <p:spPr bwMode="auto">
              <a:xfrm flipV="1">
                <a:off x="13828713" y="1736725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5" name="Line 95"/>
              <p:cNvSpPr>
                <a:spLocks noChangeShapeType="1"/>
              </p:cNvSpPr>
              <p:nvPr userDrawn="1"/>
            </p:nvSpPr>
            <p:spPr bwMode="auto">
              <a:xfrm flipV="1">
                <a:off x="13833475" y="1735138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6" name="Line 96"/>
              <p:cNvSpPr>
                <a:spLocks noChangeShapeType="1"/>
              </p:cNvSpPr>
              <p:nvPr userDrawn="1"/>
            </p:nvSpPr>
            <p:spPr bwMode="auto">
              <a:xfrm>
                <a:off x="13838238" y="1735138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7" name="Line 97"/>
              <p:cNvSpPr>
                <a:spLocks noChangeShapeType="1"/>
              </p:cNvSpPr>
              <p:nvPr userDrawn="1"/>
            </p:nvSpPr>
            <p:spPr bwMode="auto">
              <a:xfrm>
                <a:off x="13841413" y="1735138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8" name="Line 98"/>
              <p:cNvSpPr>
                <a:spLocks noChangeShapeType="1"/>
              </p:cNvSpPr>
              <p:nvPr userDrawn="1"/>
            </p:nvSpPr>
            <p:spPr bwMode="auto">
              <a:xfrm>
                <a:off x="13846175" y="1736725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9" name="Line 99"/>
              <p:cNvSpPr>
                <a:spLocks noChangeShapeType="1"/>
              </p:cNvSpPr>
              <p:nvPr userDrawn="1"/>
            </p:nvSpPr>
            <p:spPr bwMode="auto">
              <a:xfrm>
                <a:off x="13849350" y="1738313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0" name="Line 100"/>
              <p:cNvSpPr>
                <a:spLocks noChangeShapeType="1"/>
              </p:cNvSpPr>
              <p:nvPr userDrawn="1"/>
            </p:nvSpPr>
            <p:spPr bwMode="auto">
              <a:xfrm>
                <a:off x="13852525" y="1741488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1" name="Line 101"/>
              <p:cNvSpPr>
                <a:spLocks noChangeShapeType="1"/>
              </p:cNvSpPr>
              <p:nvPr userDrawn="1"/>
            </p:nvSpPr>
            <p:spPr bwMode="auto">
              <a:xfrm>
                <a:off x="13855700" y="1743075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2" name="Line 102"/>
              <p:cNvSpPr>
                <a:spLocks noChangeShapeType="1"/>
              </p:cNvSpPr>
              <p:nvPr userDrawn="1"/>
            </p:nvSpPr>
            <p:spPr bwMode="auto">
              <a:xfrm>
                <a:off x="13857288" y="174783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3" name="Line 103"/>
              <p:cNvSpPr>
                <a:spLocks noChangeShapeType="1"/>
              </p:cNvSpPr>
              <p:nvPr userDrawn="1"/>
            </p:nvSpPr>
            <p:spPr bwMode="auto">
              <a:xfrm>
                <a:off x="13858875" y="1752600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4" name="Line 104"/>
              <p:cNvSpPr>
                <a:spLocks noChangeShapeType="1"/>
              </p:cNvSpPr>
              <p:nvPr userDrawn="1"/>
            </p:nvSpPr>
            <p:spPr bwMode="auto">
              <a:xfrm>
                <a:off x="13858875" y="1757363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5" name="Line 105"/>
              <p:cNvSpPr>
                <a:spLocks noChangeShapeType="1"/>
              </p:cNvSpPr>
              <p:nvPr userDrawn="1"/>
            </p:nvSpPr>
            <p:spPr bwMode="auto">
              <a:xfrm>
                <a:off x="13858875" y="1758950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6" name="Line 106"/>
              <p:cNvSpPr>
                <a:spLocks noChangeShapeType="1"/>
              </p:cNvSpPr>
              <p:nvPr userDrawn="1"/>
            </p:nvSpPr>
            <p:spPr bwMode="auto">
              <a:xfrm flipH="1">
                <a:off x="13857288" y="1760538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7" name="Line 107"/>
              <p:cNvSpPr>
                <a:spLocks noChangeShapeType="1"/>
              </p:cNvSpPr>
              <p:nvPr userDrawn="1"/>
            </p:nvSpPr>
            <p:spPr bwMode="auto">
              <a:xfrm>
                <a:off x="13857288" y="1763713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8" name="Line 108"/>
              <p:cNvSpPr>
                <a:spLocks noChangeShapeType="1"/>
              </p:cNvSpPr>
              <p:nvPr userDrawn="1"/>
            </p:nvSpPr>
            <p:spPr bwMode="auto">
              <a:xfrm>
                <a:off x="13857288" y="1766888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9" name="Line 109"/>
              <p:cNvSpPr>
                <a:spLocks noChangeShapeType="1"/>
              </p:cNvSpPr>
              <p:nvPr userDrawn="1"/>
            </p:nvSpPr>
            <p:spPr bwMode="auto">
              <a:xfrm flipH="1">
                <a:off x="13857288" y="1771650"/>
                <a:ext cx="0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0" name="Line 110"/>
              <p:cNvSpPr>
                <a:spLocks noChangeShapeType="1"/>
              </p:cNvSpPr>
              <p:nvPr userDrawn="1"/>
            </p:nvSpPr>
            <p:spPr bwMode="auto">
              <a:xfrm flipH="1">
                <a:off x="13854113" y="1779588"/>
                <a:ext cx="3175" cy="127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1" name="Line 111"/>
              <p:cNvSpPr>
                <a:spLocks noChangeShapeType="1"/>
              </p:cNvSpPr>
              <p:nvPr userDrawn="1"/>
            </p:nvSpPr>
            <p:spPr bwMode="auto">
              <a:xfrm flipH="1">
                <a:off x="13852525" y="1792288"/>
                <a:ext cx="1587" cy="174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2" name="Line 112"/>
              <p:cNvSpPr>
                <a:spLocks noChangeShapeType="1"/>
              </p:cNvSpPr>
              <p:nvPr userDrawn="1"/>
            </p:nvSpPr>
            <p:spPr bwMode="auto">
              <a:xfrm flipH="1">
                <a:off x="13849350" y="1809750"/>
                <a:ext cx="3175" cy="238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3" name="Line 113"/>
              <p:cNvSpPr>
                <a:spLocks noChangeShapeType="1"/>
              </p:cNvSpPr>
              <p:nvPr userDrawn="1"/>
            </p:nvSpPr>
            <p:spPr bwMode="auto">
              <a:xfrm flipH="1">
                <a:off x="13846175" y="1833563"/>
                <a:ext cx="3175" cy="317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4" name="Line 114"/>
              <p:cNvSpPr>
                <a:spLocks noChangeShapeType="1"/>
              </p:cNvSpPr>
              <p:nvPr userDrawn="1"/>
            </p:nvSpPr>
            <p:spPr bwMode="auto">
              <a:xfrm flipH="1">
                <a:off x="13841413" y="1865313"/>
                <a:ext cx="4762" cy="349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5" name="Line 115"/>
              <p:cNvSpPr>
                <a:spLocks noChangeShapeType="1"/>
              </p:cNvSpPr>
              <p:nvPr userDrawn="1"/>
            </p:nvSpPr>
            <p:spPr bwMode="auto">
              <a:xfrm flipH="1">
                <a:off x="13838238" y="1900238"/>
                <a:ext cx="3175" cy="301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6" name="Line 116"/>
              <p:cNvSpPr>
                <a:spLocks noChangeShapeType="1"/>
              </p:cNvSpPr>
              <p:nvPr userDrawn="1"/>
            </p:nvSpPr>
            <p:spPr bwMode="auto">
              <a:xfrm flipH="1">
                <a:off x="13835063" y="1930400"/>
                <a:ext cx="3175" cy="238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7" name="Line 117"/>
              <p:cNvSpPr>
                <a:spLocks noChangeShapeType="1"/>
              </p:cNvSpPr>
              <p:nvPr userDrawn="1"/>
            </p:nvSpPr>
            <p:spPr bwMode="auto">
              <a:xfrm flipH="1">
                <a:off x="13831888" y="1954213"/>
                <a:ext cx="3175" cy="206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8" name="Line 118"/>
              <p:cNvSpPr>
                <a:spLocks noChangeShapeType="1"/>
              </p:cNvSpPr>
              <p:nvPr userDrawn="1"/>
            </p:nvSpPr>
            <p:spPr bwMode="auto">
              <a:xfrm flipH="1">
                <a:off x="13830300" y="1974850"/>
                <a:ext cx="1587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9" name="Line 119"/>
              <p:cNvSpPr>
                <a:spLocks noChangeShapeType="1"/>
              </p:cNvSpPr>
              <p:nvPr userDrawn="1"/>
            </p:nvSpPr>
            <p:spPr bwMode="auto">
              <a:xfrm flipH="1">
                <a:off x="13828713" y="1989138"/>
                <a:ext cx="1587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4" name="Line 134"/>
              <p:cNvSpPr>
                <a:spLocks noChangeShapeType="1"/>
              </p:cNvSpPr>
              <p:nvPr userDrawn="1"/>
            </p:nvSpPr>
            <p:spPr bwMode="auto">
              <a:xfrm flipH="1" flipV="1">
                <a:off x="13725525" y="1947863"/>
                <a:ext cx="9525" cy="571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5" name="Line 135"/>
              <p:cNvSpPr>
                <a:spLocks noChangeShapeType="1"/>
              </p:cNvSpPr>
              <p:nvPr userDrawn="1"/>
            </p:nvSpPr>
            <p:spPr bwMode="auto">
              <a:xfrm flipH="1" flipV="1">
                <a:off x="13723938" y="1946275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6" name="Line 136"/>
              <p:cNvSpPr>
                <a:spLocks noChangeShapeType="1"/>
              </p:cNvSpPr>
              <p:nvPr userDrawn="1"/>
            </p:nvSpPr>
            <p:spPr bwMode="auto">
              <a:xfrm flipH="1" flipV="1">
                <a:off x="13722350" y="1944688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7" name="Line 137"/>
              <p:cNvSpPr>
                <a:spLocks noChangeShapeType="1"/>
              </p:cNvSpPr>
              <p:nvPr userDrawn="1"/>
            </p:nvSpPr>
            <p:spPr bwMode="auto">
              <a:xfrm flipH="1">
                <a:off x="13720763" y="1944688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8" name="Line 138"/>
              <p:cNvSpPr>
                <a:spLocks noChangeShapeType="1"/>
              </p:cNvSpPr>
              <p:nvPr userDrawn="1"/>
            </p:nvSpPr>
            <p:spPr bwMode="auto">
              <a:xfrm flipH="1">
                <a:off x="13717588" y="1944688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9" name="Line 139"/>
              <p:cNvSpPr>
                <a:spLocks noChangeShapeType="1"/>
              </p:cNvSpPr>
              <p:nvPr userDrawn="1"/>
            </p:nvSpPr>
            <p:spPr bwMode="auto">
              <a:xfrm flipH="1">
                <a:off x="13717588" y="1944688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0" name="Line 140"/>
              <p:cNvSpPr>
                <a:spLocks noChangeShapeType="1"/>
              </p:cNvSpPr>
              <p:nvPr userDrawn="1"/>
            </p:nvSpPr>
            <p:spPr bwMode="auto">
              <a:xfrm flipH="1">
                <a:off x="13716000" y="1946275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1" name="Line 141"/>
              <p:cNvSpPr>
                <a:spLocks noChangeShapeType="1"/>
              </p:cNvSpPr>
              <p:nvPr userDrawn="1"/>
            </p:nvSpPr>
            <p:spPr bwMode="auto">
              <a:xfrm flipH="1">
                <a:off x="13706475" y="1947863"/>
                <a:ext cx="9525" cy="571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7" name="Line 157"/>
              <p:cNvSpPr>
                <a:spLocks noChangeShapeType="1"/>
              </p:cNvSpPr>
              <p:nvPr userDrawn="1"/>
            </p:nvSpPr>
            <p:spPr bwMode="auto">
              <a:xfrm flipH="1" flipV="1">
                <a:off x="13611225" y="1989138"/>
                <a:ext cx="1587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8" name="Line 158"/>
              <p:cNvSpPr>
                <a:spLocks noChangeShapeType="1"/>
              </p:cNvSpPr>
              <p:nvPr userDrawn="1"/>
            </p:nvSpPr>
            <p:spPr bwMode="auto">
              <a:xfrm flipV="1">
                <a:off x="13611225" y="1984375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9" name="Line 159"/>
              <p:cNvSpPr>
                <a:spLocks noChangeShapeType="1"/>
              </p:cNvSpPr>
              <p:nvPr userDrawn="1"/>
            </p:nvSpPr>
            <p:spPr bwMode="auto">
              <a:xfrm flipH="1" flipV="1">
                <a:off x="13609638" y="1976438"/>
                <a:ext cx="1587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0" name="Line 160"/>
              <p:cNvSpPr>
                <a:spLocks noChangeShapeType="1"/>
              </p:cNvSpPr>
              <p:nvPr userDrawn="1"/>
            </p:nvSpPr>
            <p:spPr bwMode="auto">
              <a:xfrm flipH="1" flipV="1">
                <a:off x="13608050" y="1970088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1" name="Line 161"/>
              <p:cNvSpPr>
                <a:spLocks noChangeShapeType="1"/>
              </p:cNvSpPr>
              <p:nvPr userDrawn="1"/>
            </p:nvSpPr>
            <p:spPr bwMode="auto">
              <a:xfrm flipH="1" flipV="1">
                <a:off x="13608050" y="1960563"/>
                <a:ext cx="0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2" name="Line 162"/>
              <p:cNvSpPr>
                <a:spLocks noChangeShapeType="1"/>
              </p:cNvSpPr>
              <p:nvPr userDrawn="1"/>
            </p:nvSpPr>
            <p:spPr bwMode="auto">
              <a:xfrm flipH="1" flipV="1">
                <a:off x="13604875" y="1941513"/>
                <a:ext cx="3175" cy="190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3" name="Line 163"/>
              <p:cNvSpPr>
                <a:spLocks noChangeShapeType="1"/>
              </p:cNvSpPr>
              <p:nvPr userDrawn="1"/>
            </p:nvSpPr>
            <p:spPr bwMode="auto">
              <a:xfrm flipH="1" flipV="1">
                <a:off x="13601700" y="1920875"/>
                <a:ext cx="3175" cy="206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4" name="Line 164"/>
              <p:cNvSpPr>
                <a:spLocks noChangeShapeType="1"/>
              </p:cNvSpPr>
              <p:nvPr userDrawn="1"/>
            </p:nvSpPr>
            <p:spPr bwMode="auto">
              <a:xfrm flipH="1" flipV="1">
                <a:off x="13596938" y="1876425"/>
                <a:ext cx="4762" cy="444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5" name="Freeform 165"/>
              <p:cNvSpPr>
                <a:spLocks/>
              </p:cNvSpPr>
              <p:nvPr userDrawn="1"/>
            </p:nvSpPr>
            <p:spPr bwMode="auto">
              <a:xfrm>
                <a:off x="13908088" y="1738313"/>
                <a:ext cx="39687" cy="306388"/>
              </a:xfrm>
              <a:custGeom>
                <a:avLst/>
                <a:gdLst>
                  <a:gd name="T0" fmla="*/ 26 w 51"/>
                  <a:gd name="T1" fmla="*/ 0 h 387"/>
                  <a:gd name="T2" fmla="*/ 33 w 51"/>
                  <a:gd name="T3" fmla="*/ 2 h 387"/>
                  <a:gd name="T4" fmla="*/ 38 w 51"/>
                  <a:gd name="T5" fmla="*/ 3 h 387"/>
                  <a:gd name="T6" fmla="*/ 44 w 51"/>
                  <a:gd name="T7" fmla="*/ 7 h 387"/>
                  <a:gd name="T8" fmla="*/ 48 w 51"/>
                  <a:gd name="T9" fmla="*/ 13 h 387"/>
                  <a:gd name="T10" fmla="*/ 51 w 51"/>
                  <a:gd name="T11" fmla="*/ 20 h 387"/>
                  <a:gd name="T12" fmla="*/ 51 w 51"/>
                  <a:gd name="T13" fmla="*/ 26 h 387"/>
                  <a:gd name="T14" fmla="*/ 51 w 51"/>
                  <a:gd name="T15" fmla="*/ 360 h 387"/>
                  <a:gd name="T16" fmla="*/ 51 w 51"/>
                  <a:gd name="T17" fmla="*/ 367 h 387"/>
                  <a:gd name="T18" fmla="*/ 48 w 51"/>
                  <a:gd name="T19" fmla="*/ 372 h 387"/>
                  <a:gd name="T20" fmla="*/ 44 w 51"/>
                  <a:gd name="T21" fmla="*/ 378 h 387"/>
                  <a:gd name="T22" fmla="*/ 38 w 51"/>
                  <a:gd name="T23" fmla="*/ 382 h 387"/>
                  <a:gd name="T24" fmla="*/ 33 w 51"/>
                  <a:gd name="T25" fmla="*/ 385 h 387"/>
                  <a:gd name="T26" fmla="*/ 26 w 51"/>
                  <a:gd name="T27" fmla="*/ 387 h 387"/>
                  <a:gd name="T28" fmla="*/ 19 w 51"/>
                  <a:gd name="T29" fmla="*/ 385 h 387"/>
                  <a:gd name="T30" fmla="*/ 13 w 51"/>
                  <a:gd name="T31" fmla="*/ 382 h 387"/>
                  <a:gd name="T32" fmla="*/ 7 w 51"/>
                  <a:gd name="T33" fmla="*/ 378 h 387"/>
                  <a:gd name="T34" fmla="*/ 3 w 51"/>
                  <a:gd name="T35" fmla="*/ 372 h 387"/>
                  <a:gd name="T36" fmla="*/ 0 w 51"/>
                  <a:gd name="T37" fmla="*/ 367 h 387"/>
                  <a:gd name="T38" fmla="*/ 0 w 51"/>
                  <a:gd name="T39" fmla="*/ 360 h 387"/>
                  <a:gd name="T40" fmla="*/ 0 w 51"/>
                  <a:gd name="T41" fmla="*/ 26 h 387"/>
                  <a:gd name="T42" fmla="*/ 0 w 51"/>
                  <a:gd name="T43" fmla="*/ 20 h 387"/>
                  <a:gd name="T44" fmla="*/ 3 w 51"/>
                  <a:gd name="T45" fmla="*/ 13 h 387"/>
                  <a:gd name="T46" fmla="*/ 7 w 51"/>
                  <a:gd name="T47" fmla="*/ 7 h 387"/>
                  <a:gd name="T48" fmla="*/ 13 w 51"/>
                  <a:gd name="T49" fmla="*/ 3 h 387"/>
                  <a:gd name="T50" fmla="*/ 19 w 51"/>
                  <a:gd name="T51" fmla="*/ 2 h 387"/>
                  <a:gd name="T52" fmla="*/ 26 w 51"/>
                  <a:gd name="T53" fmla="*/ 0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1" h="387">
                    <a:moveTo>
                      <a:pt x="26" y="0"/>
                    </a:moveTo>
                    <a:lnTo>
                      <a:pt x="33" y="2"/>
                    </a:lnTo>
                    <a:lnTo>
                      <a:pt x="38" y="3"/>
                    </a:lnTo>
                    <a:lnTo>
                      <a:pt x="44" y="7"/>
                    </a:lnTo>
                    <a:lnTo>
                      <a:pt x="48" y="13"/>
                    </a:lnTo>
                    <a:lnTo>
                      <a:pt x="51" y="20"/>
                    </a:lnTo>
                    <a:lnTo>
                      <a:pt x="51" y="26"/>
                    </a:lnTo>
                    <a:lnTo>
                      <a:pt x="51" y="360"/>
                    </a:lnTo>
                    <a:lnTo>
                      <a:pt x="51" y="367"/>
                    </a:lnTo>
                    <a:lnTo>
                      <a:pt x="48" y="372"/>
                    </a:lnTo>
                    <a:lnTo>
                      <a:pt x="44" y="378"/>
                    </a:lnTo>
                    <a:lnTo>
                      <a:pt x="38" y="382"/>
                    </a:lnTo>
                    <a:lnTo>
                      <a:pt x="33" y="385"/>
                    </a:lnTo>
                    <a:lnTo>
                      <a:pt x="26" y="387"/>
                    </a:lnTo>
                    <a:lnTo>
                      <a:pt x="19" y="385"/>
                    </a:lnTo>
                    <a:lnTo>
                      <a:pt x="13" y="382"/>
                    </a:lnTo>
                    <a:lnTo>
                      <a:pt x="7" y="378"/>
                    </a:lnTo>
                    <a:lnTo>
                      <a:pt x="3" y="372"/>
                    </a:lnTo>
                    <a:lnTo>
                      <a:pt x="0" y="367"/>
                    </a:lnTo>
                    <a:lnTo>
                      <a:pt x="0" y="360"/>
                    </a:lnTo>
                    <a:lnTo>
                      <a:pt x="0" y="26"/>
                    </a:lnTo>
                    <a:lnTo>
                      <a:pt x="0" y="20"/>
                    </a:lnTo>
                    <a:lnTo>
                      <a:pt x="3" y="13"/>
                    </a:lnTo>
                    <a:lnTo>
                      <a:pt x="7" y="7"/>
                    </a:lnTo>
                    <a:lnTo>
                      <a:pt x="13" y="3"/>
                    </a:lnTo>
                    <a:lnTo>
                      <a:pt x="19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5" name="Line 175"/>
              <p:cNvSpPr>
                <a:spLocks noChangeShapeType="1"/>
              </p:cNvSpPr>
              <p:nvPr userDrawn="1"/>
            </p:nvSpPr>
            <p:spPr bwMode="auto">
              <a:xfrm flipV="1">
                <a:off x="13908088" y="1757363"/>
                <a:ext cx="0" cy="265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6" name="Line 176"/>
              <p:cNvSpPr>
                <a:spLocks noChangeShapeType="1"/>
              </p:cNvSpPr>
              <p:nvPr userDrawn="1"/>
            </p:nvSpPr>
            <p:spPr bwMode="auto">
              <a:xfrm flipV="1">
                <a:off x="13908088" y="1752600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7" name="Line 177"/>
              <p:cNvSpPr>
                <a:spLocks noChangeShapeType="1"/>
              </p:cNvSpPr>
              <p:nvPr userDrawn="1"/>
            </p:nvSpPr>
            <p:spPr bwMode="auto">
              <a:xfrm flipV="1">
                <a:off x="13908088" y="174783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8" name="Line 178"/>
              <p:cNvSpPr>
                <a:spLocks noChangeShapeType="1"/>
              </p:cNvSpPr>
              <p:nvPr userDrawn="1"/>
            </p:nvSpPr>
            <p:spPr bwMode="auto">
              <a:xfrm flipV="1">
                <a:off x="13911263" y="1743075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9" name="Line 179"/>
              <p:cNvSpPr>
                <a:spLocks noChangeShapeType="1"/>
              </p:cNvSpPr>
              <p:nvPr userDrawn="1"/>
            </p:nvSpPr>
            <p:spPr bwMode="auto">
              <a:xfrm flipV="1">
                <a:off x="13914438" y="1739900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0" name="Line 180"/>
              <p:cNvSpPr>
                <a:spLocks noChangeShapeType="1"/>
              </p:cNvSpPr>
              <p:nvPr userDrawn="1"/>
            </p:nvSpPr>
            <p:spPr bwMode="auto">
              <a:xfrm flipV="1">
                <a:off x="13917613" y="17383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1" name="Line 181"/>
              <p:cNvSpPr>
                <a:spLocks noChangeShapeType="1"/>
              </p:cNvSpPr>
              <p:nvPr userDrawn="1"/>
            </p:nvSpPr>
            <p:spPr bwMode="auto">
              <a:xfrm flipV="1">
                <a:off x="13922375" y="1738313"/>
                <a:ext cx="635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2" name="Line 182"/>
              <p:cNvSpPr>
                <a:spLocks noChangeShapeType="1"/>
              </p:cNvSpPr>
              <p:nvPr userDrawn="1"/>
            </p:nvSpPr>
            <p:spPr bwMode="auto">
              <a:xfrm>
                <a:off x="13928725" y="1738313"/>
                <a:ext cx="47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3" name="Line 183"/>
              <p:cNvSpPr>
                <a:spLocks noChangeShapeType="1"/>
              </p:cNvSpPr>
              <p:nvPr userDrawn="1"/>
            </p:nvSpPr>
            <p:spPr bwMode="auto">
              <a:xfrm>
                <a:off x="13933488" y="17383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4" name="Line 184"/>
              <p:cNvSpPr>
                <a:spLocks noChangeShapeType="1"/>
              </p:cNvSpPr>
              <p:nvPr userDrawn="1"/>
            </p:nvSpPr>
            <p:spPr bwMode="auto">
              <a:xfrm>
                <a:off x="13938250" y="1739900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5" name="Line 185"/>
              <p:cNvSpPr>
                <a:spLocks noChangeShapeType="1"/>
              </p:cNvSpPr>
              <p:nvPr userDrawn="1"/>
            </p:nvSpPr>
            <p:spPr bwMode="auto">
              <a:xfrm>
                <a:off x="13943013" y="1743075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6" name="Line 186"/>
              <p:cNvSpPr>
                <a:spLocks noChangeShapeType="1"/>
              </p:cNvSpPr>
              <p:nvPr userDrawn="1"/>
            </p:nvSpPr>
            <p:spPr bwMode="auto">
              <a:xfrm>
                <a:off x="13946188" y="174783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7" name="Line 187"/>
              <p:cNvSpPr>
                <a:spLocks noChangeShapeType="1"/>
              </p:cNvSpPr>
              <p:nvPr userDrawn="1"/>
            </p:nvSpPr>
            <p:spPr bwMode="auto">
              <a:xfrm>
                <a:off x="13947775" y="1752600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8" name="Line 188"/>
              <p:cNvSpPr>
                <a:spLocks noChangeShapeType="1"/>
              </p:cNvSpPr>
              <p:nvPr userDrawn="1"/>
            </p:nvSpPr>
            <p:spPr bwMode="auto">
              <a:xfrm>
                <a:off x="13947775" y="1757363"/>
                <a:ext cx="0" cy="265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2" name="Freeform 192"/>
              <p:cNvSpPr>
                <a:spLocks/>
              </p:cNvSpPr>
              <p:nvPr userDrawn="1"/>
            </p:nvSpPr>
            <p:spPr bwMode="auto">
              <a:xfrm>
                <a:off x="14008100" y="1738313"/>
                <a:ext cx="163512" cy="304800"/>
              </a:xfrm>
              <a:custGeom>
                <a:avLst/>
                <a:gdLst>
                  <a:gd name="T0" fmla="*/ 32 w 207"/>
                  <a:gd name="T1" fmla="*/ 0 h 385"/>
                  <a:gd name="T2" fmla="*/ 42 w 207"/>
                  <a:gd name="T3" fmla="*/ 7 h 385"/>
                  <a:gd name="T4" fmla="*/ 49 w 207"/>
                  <a:gd name="T5" fmla="*/ 14 h 385"/>
                  <a:gd name="T6" fmla="*/ 146 w 207"/>
                  <a:gd name="T7" fmla="*/ 222 h 385"/>
                  <a:gd name="T8" fmla="*/ 150 w 207"/>
                  <a:gd name="T9" fmla="*/ 223 h 385"/>
                  <a:gd name="T10" fmla="*/ 155 w 207"/>
                  <a:gd name="T11" fmla="*/ 220 h 385"/>
                  <a:gd name="T12" fmla="*/ 156 w 207"/>
                  <a:gd name="T13" fmla="*/ 26 h 385"/>
                  <a:gd name="T14" fmla="*/ 159 w 207"/>
                  <a:gd name="T15" fmla="*/ 13 h 385"/>
                  <a:gd name="T16" fmla="*/ 169 w 207"/>
                  <a:gd name="T17" fmla="*/ 3 h 385"/>
                  <a:gd name="T18" fmla="*/ 181 w 207"/>
                  <a:gd name="T19" fmla="*/ 0 h 385"/>
                  <a:gd name="T20" fmla="*/ 194 w 207"/>
                  <a:gd name="T21" fmla="*/ 3 h 385"/>
                  <a:gd name="T22" fmla="*/ 204 w 207"/>
                  <a:gd name="T23" fmla="*/ 13 h 385"/>
                  <a:gd name="T24" fmla="*/ 207 w 207"/>
                  <a:gd name="T25" fmla="*/ 26 h 385"/>
                  <a:gd name="T26" fmla="*/ 207 w 207"/>
                  <a:gd name="T27" fmla="*/ 365 h 385"/>
                  <a:gd name="T28" fmla="*/ 201 w 207"/>
                  <a:gd name="T29" fmla="*/ 375 h 385"/>
                  <a:gd name="T30" fmla="*/ 193 w 207"/>
                  <a:gd name="T31" fmla="*/ 384 h 385"/>
                  <a:gd name="T32" fmla="*/ 184 w 207"/>
                  <a:gd name="T33" fmla="*/ 385 h 385"/>
                  <a:gd name="T34" fmla="*/ 174 w 207"/>
                  <a:gd name="T35" fmla="*/ 385 h 385"/>
                  <a:gd name="T36" fmla="*/ 163 w 207"/>
                  <a:gd name="T37" fmla="*/ 378 h 385"/>
                  <a:gd name="T38" fmla="*/ 157 w 207"/>
                  <a:gd name="T39" fmla="*/ 371 h 385"/>
                  <a:gd name="T40" fmla="*/ 60 w 207"/>
                  <a:gd name="T41" fmla="*/ 162 h 385"/>
                  <a:gd name="T42" fmla="*/ 56 w 207"/>
                  <a:gd name="T43" fmla="*/ 161 h 385"/>
                  <a:gd name="T44" fmla="*/ 53 w 207"/>
                  <a:gd name="T45" fmla="*/ 162 h 385"/>
                  <a:gd name="T46" fmla="*/ 50 w 207"/>
                  <a:gd name="T47" fmla="*/ 168 h 385"/>
                  <a:gd name="T48" fmla="*/ 50 w 207"/>
                  <a:gd name="T49" fmla="*/ 367 h 385"/>
                  <a:gd name="T50" fmla="*/ 43 w 207"/>
                  <a:gd name="T51" fmla="*/ 378 h 385"/>
                  <a:gd name="T52" fmla="*/ 32 w 207"/>
                  <a:gd name="T53" fmla="*/ 385 h 385"/>
                  <a:gd name="T54" fmla="*/ 18 w 207"/>
                  <a:gd name="T55" fmla="*/ 385 h 385"/>
                  <a:gd name="T56" fmla="*/ 7 w 207"/>
                  <a:gd name="T57" fmla="*/ 378 h 385"/>
                  <a:gd name="T58" fmla="*/ 0 w 207"/>
                  <a:gd name="T59" fmla="*/ 367 h 385"/>
                  <a:gd name="T60" fmla="*/ 0 w 207"/>
                  <a:gd name="T61" fmla="*/ 26 h 385"/>
                  <a:gd name="T62" fmla="*/ 1 w 207"/>
                  <a:gd name="T63" fmla="*/ 14 h 385"/>
                  <a:gd name="T64" fmla="*/ 8 w 207"/>
                  <a:gd name="T65" fmla="*/ 6 h 385"/>
                  <a:gd name="T66" fmla="*/ 19 w 207"/>
                  <a:gd name="T67" fmla="*/ 0 h 385"/>
                  <a:gd name="T68" fmla="*/ 25 w 207"/>
                  <a:gd name="T69" fmla="*/ 0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7" h="385">
                    <a:moveTo>
                      <a:pt x="25" y="0"/>
                    </a:moveTo>
                    <a:lnTo>
                      <a:pt x="32" y="0"/>
                    </a:lnTo>
                    <a:lnTo>
                      <a:pt x="39" y="3"/>
                    </a:lnTo>
                    <a:lnTo>
                      <a:pt x="42" y="7"/>
                    </a:lnTo>
                    <a:lnTo>
                      <a:pt x="46" y="10"/>
                    </a:lnTo>
                    <a:lnTo>
                      <a:pt x="49" y="14"/>
                    </a:lnTo>
                    <a:lnTo>
                      <a:pt x="145" y="220"/>
                    </a:lnTo>
                    <a:lnTo>
                      <a:pt x="146" y="222"/>
                    </a:lnTo>
                    <a:lnTo>
                      <a:pt x="149" y="223"/>
                    </a:lnTo>
                    <a:lnTo>
                      <a:pt x="150" y="223"/>
                    </a:lnTo>
                    <a:lnTo>
                      <a:pt x="153" y="222"/>
                    </a:lnTo>
                    <a:lnTo>
                      <a:pt x="155" y="220"/>
                    </a:lnTo>
                    <a:lnTo>
                      <a:pt x="156" y="217"/>
                    </a:lnTo>
                    <a:lnTo>
                      <a:pt x="156" y="26"/>
                    </a:lnTo>
                    <a:lnTo>
                      <a:pt x="156" y="19"/>
                    </a:lnTo>
                    <a:lnTo>
                      <a:pt x="159" y="13"/>
                    </a:lnTo>
                    <a:lnTo>
                      <a:pt x="163" y="7"/>
                    </a:lnTo>
                    <a:lnTo>
                      <a:pt x="169" y="3"/>
                    </a:lnTo>
                    <a:lnTo>
                      <a:pt x="174" y="0"/>
                    </a:lnTo>
                    <a:lnTo>
                      <a:pt x="181" y="0"/>
                    </a:lnTo>
                    <a:lnTo>
                      <a:pt x="188" y="0"/>
                    </a:lnTo>
                    <a:lnTo>
                      <a:pt x="194" y="3"/>
                    </a:lnTo>
                    <a:lnTo>
                      <a:pt x="200" y="7"/>
                    </a:lnTo>
                    <a:lnTo>
                      <a:pt x="204" y="13"/>
                    </a:lnTo>
                    <a:lnTo>
                      <a:pt x="207" y="19"/>
                    </a:lnTo>
                    <a:lnTo>
                      <a:pt x="207" y="26"/>
                    </a:lnTo>
                    <a:lnTo>
                      <a:pt x="207" y="360"/>
                    </a:lnTo>
                    <a:lnTo>
                      <a:pt x="207" y="365"/>
                    </a:lnTo>
                    <a:lnTo>
                      <a:pt x="205" y="371"/>
                    </a:lnTo>
                    <a:lnTo>
                      <a:pt x="201" y="375"/>
                    </a:lnTo>
                    <a:lnTo>
                      <a:pt x="198" y="379"/>
                    </a:lnTo>
                    <a:lnTo>
                      <a:pt x="193" y="384"/>
                    </a:lnTo>
                    <a:lnTo>
                      <a:pt x="187" y="385"/>
                    </a:lnTo>
                    <a:lnTo>
                      <a:pt x="184" y="385"/>
                    </a:lnTo>
                    <a:lnTo>
                      <a:pt x="181" y="385"/>
                    </a:lnTo>
                    <a:lnTo>
                      <a:pt x="174" y="385"/>
                    </a:lnTo>
                    <a:lnTo>
                      <a:pt x="167" y="382"/>
                    </a:lnTo>
                    <a:lnTo>
                      <a:pt x="163" y="378"/>
                    </a:lnTo>
                    <a:lnTo>
                      <a:pt x="160" y="375"/>
                    </a:lnTo>
                    <a:lnTo>
                      <a:pt x="157" y="371"/>
                    </a:lnTo>
                    <a:lnTo>
                      <a:pt x="62" y="165"/>
                    </a:lnTo>
                    <a:lnTo>
                      <a:pt x="60" y="162"/>
                    </a:lnTo>
                    <a:lnTo>
                      <a:pt x="59" y="162"/>
                    </a:lnTo>
                    <a:lnTo>
                      <a:pt x="56" y="161"/>
                    </a:lnTo>
                    <a:lnTo>
                      <a:pt x="55" y="161"/>
                    </a:lnTo>
                    <a:lnTo>
                      <a:pt x="53" y="162"/>
                    </a:lnTo>
                    <a:lnTo>
                      <a:pt x="52" y="165"/>
                    </a:lnTo>
                    <a:lnTo>
                      <a:pt x="50" y="168"/>
                    </a:lnTo>
                    <a:lnTo>
                      <a:pt x="50" y="360"/>
                    </a:lnTo>
                    <a:lnTo>
                      <a:pt x="50" y="367"/>
                    </a:lnTo>
                    <a:lnTo>
                      <a:pt x="48" y="372"/>
                    </a:lnTo>
                    <a:lnTo>
                      <a:pt x="43" y="378"/>
                    </a:lnTo>
                    <a:lnTo>
                      <a:pt x="38" y="382"/>
                    </a:lnTo>
                    <a:lnTo>
                      <a:pt x="32" y="385"/>
                    </a:lnTo>
                    <a:lnTo>
                      <a:pt x="25" y="385"/>
                    </a:lnTo>
                    <a:lnTo>
                      <a:pt x="18" y="385"/>
                    </a:lnTo>
                    <a:lnTo>
                      <a:pt x="12" y="382"/>
                    </a:lnTo>
                    <a:lnTo>
                      <a:pt x="7" y="378"/>
                    </a:lnTo>
                    <a:lnTo>
                      <a:pt x="2" y="372"/>
                    </a:lnTo>
                    <a:lnTo>
                      <a:pt x="0" y="367"/>
                    </a:lnTo>
                    <a:lnTo>
                      <a:pt x="0" y="360"/>
                    </a:lnTo>
                    <a:lnTo>
                      <a:pt x="0" y="26"/>
                    </a:lnTo>
                    <a:lnTo>
                      <a:pt x="0" y="20"/>
                    </a:lnTo>
                    <a:lnTo>
                      <a:pt x="1" y="14"/>
                    </a:lnTo>
                    <a:lnTo>
                      <a:pt x="5" y="9"/>
                    </a:lnTo>
                    <a:lnTo>
                      <a:pt x="8" y="6"/>
                    </a:lnTo>
                    <a:lnTo>
                      <a:pt x="14" y="2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2" name="Line 202"/>
              <p:cNvSpPr>
                <a:spLocks noChangeShapeType="1"/>
              </p:cNvSpPr>
              <p:nvPr userDrawn="1"/>
            </p:nvSpPr>
            <p:spPr bwMode="auto">
              <a:xfrm flipV="1">
                <a:off x="14008100" y="1757363"/>
                <a:ext cx="0" cy="265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3" name="Line 203"/>
              <p:cNvSpPr>
                <a:spLocks noChangeShapeType="1"/>
              </p:cNvSpPr>
              <p:nvPr userDrawn="1"/>
            </p:nvSpPr>
            <p:spPr bwMode="auto">
              <a:xfrm flipV="1">
                <a:off x="14008100" y="1752600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4" name="Line 204"/>
              <p:cNvSpPr>
                <a:spLocks noChangeShapeType="1"/>
              </p:cNvSpPr>
              <p:nvPr userDrawn="1"/>
            </p:nvSpPr>
            <p:spPr bwMode="auto">
              <a:xfrm flipV="1">
                <a:off x="14008100" y="1749425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5" name="Line 206"/>
              <p:cNvSpPr>
                <a:spLocks noChangeShapeType="1"/>
              </p:cNvSpPr>
              <p:nvPr userDrawn="1"/>
            </p:nvSpPr>
            <p:spPr bwMode="auto">
              <a:xfrm flipV="1">
                <a:off x="14009688" y="1744663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6" name="Line 207"/>
              <p:cNvSpPr>
                <a:spLocks noChangeShapeType="1"/>
              </p:cNvSpPr>
              <p:nvPr userDrawn="1"/>
            </p:nvSpPr>
            <p:spPr bwMode="auto">
              <a:xfrm flipV="1">
                <a:off x="14012863" y="1741488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7" name="Line 208"/>
              <p:cNvSpPr>
                <a:spLocks noChangeShapeType="1"/>
              </p:cNvSpPr>
              <p:nvPr userDrawn="1"/>
            </p:nvSpPr>
            <p:spPr bwMode="auto">
              <a:xfrm flipV="1">
                <a:off x="14014450" y="1738313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8" name="Line 209"/>
              <p:cNvSpPr>
                <a:spLocks noChangeShapeType="1"/>
              </p:cNvSpPr>
              <p:nvPr userDrawn="1"/>
            </p:nvSpPr>
            <p:spPr bwMode="auto">
              <a:xfrm flipV="1">
                <a:off x="14019213" y="1738313"/>
                <a:ext cx="47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9" name="Line 210"/>
              <p:cNvSpPr>
                <a:spLocks noChangeShapeType="1"/>
              </p:cNvSpPr>
              <p:nvPr userDrawn="1"/>
            </p:nvSpPr>
            <p:spPr bwMode="auto">
              <a:xfrm>
                <a:off x="14023975" y="1738313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0" name="Line 211"/>
              <p:cNvSpPr>
                <a:spLocks noChangeShapeType="1"/>
              </p:cNvSpPr>
              <p:nvPr userDrawn="1"/>
            </p:nvSpPr>
            <p:spPr bwMode="auto">
              <a:xfrm>
                <a:off x="14025563" y="1738313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1" name="Line 212"/>
              <p:cNvSpPr>
                <a:spLocks noChangeShapeType="1"/>
              </p:cNvSpPr>
              <p:nvPr userDrawn="1"/>
            </p:nvSpPr>
            <p:spPr bwMode="auto">
              <a:xfrm>
                <a:off x="14028738" y="1738313"/>
                <a:ext cx="47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2" name="Line 213"/>
              <p:cNvSpPr>
                <a:spLocks noChangeShapeType="1"/>
              </p:cNvSpPr>
              <p:nvPr userDrawn="1"/>
            </p:nvSpPr>
            <p:spPr bwMode="auto">
              <a:xfrm>
                <a:off x="14033500" y="1738313"/>
                <a:ext cx="635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3" name="Line 214"/>
              <p:cNvSpPr>
                <a:spLocks noChangeShapeType="1"/>
              </p:cNvSpPr>
              <p:nvPr userDrawn="1"/>
            </p:nvSpPr>
            <p:spPr bwMode="auto">
              <a:xfrm>
                <a:off x="14039850" y="1739900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4" name="Line 215"/>
              <p:cNvSpPr>
                <a:spLocks noChangeShapeType="1"/>
              </p:cNvSpPr>
              <p:nvPr userDrawn="1"/>
            </p:nvSpPr>
            <p:spPr bwMode="auto">
              <a:xfrm>
                <a:off x="14041438" y="1743075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5" name="Line 216"/>
              <p:cNvSpPr>
                <a:spLocks noChangeShapeType="1"/>
              </p:cNvSpPr>
              <p:nvPr userDrawn="1"/>
            </p:nvSpPr>
            <p:spPr bwMode="auto">
              <a:xfrm>
                <a:off x="14044613" y="1746250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6" name="Line 217"/>
              <p:cNvSpPr>
                <a:spLocks noChangeShapeType="1"/>
              </p:cNvSpPr>
              <p:nvPr userDrawn="1"/>
            </p:nvSpPr>
            <p:spPr bwMode="auto">
              <a:xfrm>
                <a:off x="14046200" y="1749425"/>
                <a:ext cx="76200" cy="1635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7" name="Line 218"/>
              <p:cNvSpPr>
                <a:spLocks noChangeShapeType="1"/>
              </p:cNvSpPr>
              <p:nvPr userDrawn="1"/>
            </p:nvSpPr>
            <p:spPr bwMode="auto">
              <a:xfrm>
                <a:off x="14122400" y="1912938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8" name="Line 219"/>
              <p:cNvSpPr>
                <a:spLocks noChangeShapeType="1"/>
              </p:cNvSpPr>
              <p:nvPr userDrawn="1"/>
            </p:nvSpPr>
            <p:spPr bwMode="auto">
              <a:xfrm>
                <a:off x="14123988" y="1912938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9" name="Line 220"/>
              <p:cNvSpPr>
                <a:spLocks noChangeShapeType="1"/>
              </p:cNvSpPr>
              <p:nvPr userDrawn="1"/>
            </p:nvSpPr>
            <p:spPr bwMode="auto">
              <a:xfrm>
                <a:off x="14127163" y="1914525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0" name="Line 221"/>
              <p:cNvSpPr>
                <a:spLocks noChangeShapeType="1"/>
              </p:cNvSpPr>
              <p:nvPr userDrawn="1"/>
            </p:nvSpPr>
            <p:spPr bwMode="auto">
              <a:xfrm flipV="1">
                <a:off x="14127163" y="1912938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1" name="Line 222"/>
              <p:cNvSpPr>
                <a:spLocks noChangeShapeType="1"/>
              </p:cNvSpPr>
              <p:nvPr userDrawn="1"/>
            </p:nvSpPr>
            <p:spPr bwMode="auto">
              <a:xfrm flipV="1">
                <a:off x="14130338" y="1912938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2" name="Line 223"/>
              <p:cNvSpPr>
                <a:spLocks noChangeShapeType="1"/>
              </p:cNvSpPr>
              <p:nvPr userDrawn="1"/>
            </p:nvSpPr>
            <p:spPr bwMode="auto">
              <a:xfrm flipV="1">
                <a:off x="14130338" y="1909763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3" name="Line 224"/>
              <p:cNvSpPr>
                <a:spLocks noChangeShapeType="1"/>
              </p:cNvSpPr>
              <p:nvPr userDrawn="1"/>
            </p:nvSpPr>
            <p:spPr bwMode="auto">
              <a:xfrm flipV="1">
                <a:off x="14131925" y="1757363"/>
                <a:ext cx="0" cy="1524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4" name="Line 225"/>
              <p:cNvSpPr>
                <a:spLocks noChangeShapeType="1"/>
              </p:cNvSpPr>
              <p:nvPr userDrawn="1"/>
            </p:nvSpPr>
            <p:spPr bwMode="auto">
              <a:xfrm flipV="1">
                <a:off x="14131925" y="1752600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5" name="Line 226"/>
              <p:cNvSpPr>
                <a:spLocks noChangeShapeType="1"/>
              </p:cNvSpPr>
              <p:nvPr userDrawn="1"/>
            </p:nvSpPr>
            <p:spPr bwMode="auto">
              <a:xfrm flipV="1">
                <a:off x="14131925" y="174783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6" name="Line 227"/>
              <p:cNvSpPr>
                <a:spLocks noChangeShapeType="1"/>
              </p:cNvSpPr>
              <p:nvPr userDrawn="1"/>
            </p:nvSpPr>
            <p:spPr bwMode="auto">
              <a:xfrm flipV="1">
                <a:off x="14133513" y="1743075"/>
                <a:ext cx="4762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7" name="Line 228"/>
              <p:cNvSpPr>
                <a:spLocks noChangeShapeType="1"/>
              </p:cNvSpPr>
              <p:nvPr userDrawn="1"/>
            </p:nvSpPr>
            <p:spPr bwMode="auto">
              <a:xfrm flipV="1">
                <a:off x="14138275" y="1739900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8" name="Line 229"/>
              <p:cNvSpPr>
                <a:spLocks noChangeShapeType="1"/>
              </p:cNvSpPr>
              <p:nvPr userDrawn="1"/>
            </p:nvSpPr>
            <p:spPr bwMode="auto">
              <a:xfrm flipV="1">
                <a:off x="14141450" y="17383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9" name="Line 230"/>
              <p:cNvSpPr>
                <a:spLocks noChangeShapeType="1"/>
              </p:cNvSpPr>
              <p:nvPr userDrawn="1"/>
            </p:nvSpPr>
            <p:spPr bwMode="auto">
              <a:xfrm>
                <a:off x="14146213" y="1738313"/>
                <a:ext cx="635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0" name="Line 231"/>
              <p:cNvSpPr>
                <a:spLocks noChangeShapeType="1"/>
              </p:cNvSpPr>
              <p:nvPr userDrawn="1"/>
            </p:nvSpPr>
            <p:spPr bwMode="auto">
              <a:xfrm>
                <a:off x="14152563" y="1738313"/>
                <a:ext cx="47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1" name="Line 232"/>
              <p:cNvSpPr>
                <a:spLocks noChangeShapeType="1"/>
              </p:cNvSpPr>
              <p:nvPr userDrawn="1"/>
            </p:nvSpPr>
            <p:spPr bwMode="auto">
              <a:xfrm>
                <a:off x="14157325" y="17383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2" name="Line 233"/>
              <p:cNvSpPr>
                <a:spLocks noChangeShapeType="1"/>
              </p:cNvSpPr>
              <p:nvPr userDrawn="1"/>
            </p:nvSpPr>
            <p:spPr bwMode="auto">
              <a:xfrm>
                <a:off x="14162088" y="1739900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3" name="Line 234"/>
              <p:cNvSpPr>
                <a:spLocks noChangeShapeType="1"/>
              </p:cNvSpPr>
              <p:nvPr userDrawn="1"/>
            </p:nvSpPr>
            <p:spPr bwMode="auto">
              <a:xfrm>
                <a:off x="14166850" y="1743075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4" name="Line 235"/>
              <p:cNvSpPr>
                <a:spLocks noChangeShapeType="1"/>
              </p:cNvSpPr>
              <p:nvPr userDrawn="1"/>
            </p:nvSpPr>
            <p:spPr bwMode="auto">
              <a:xfrm>
                <a:off x="14170025" y="174783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5" name="Line 236"/>
              <p:cNvSpPr>
                <a:spLocks noChangeShapeType="1"/>
              </p:cNvSpPr>
              <p:nvPr userDrawn="1"/>
            </p:nvSpPr>
            <p:spPr bwMode="auto">
              <a:xfrm>
                <a:off x="14171613" y="1752600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6" name="Line 237"/>
              <p:cNvSpPr>
                <a:spLocks noChangeShapeType="1"/>
              </p:cNvSpPr>
              <p:nvPr userDrawn="1"/>
            </p:nvSpPr>
            <p:spPr bwMode="auto">
              <a:xfrm>
                <a:off x="14171613" y="1757363"/>
                <a:ext cx="0" cy="265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0" name="Line 251"/>
              <p:cNvSpPr>
                <a:spLocks noChangeShapeType="1"/>
              </p:cNvSpPr>
              <p:nvPr userDrawn="1"/>
            </p:nvSpPr>
            <p:spPr bwMode="auto">
              <a:xfrm flipH="1" flipV="1">
                <a:off x="14057313" y="1868488"/>
                <a:ext cx="76200" cy="1635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1" name="Line 252"/>
              <p:cNvSpPr>
                <a:spLocks noChangeShapeType="1"/>
              </p:cNvSpPr>
              <p:nvPr userDrawn="1"/>
            </p:nvSpPr>
            <p:spPr bwMode="auto">
              <a:xfrm flipH="1" flipV="1">
                <a:off x="14055725" y="1866900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2" name="Line 253"/>
              <p:cNvSpPr>
                <a:spLocks noChangeShapeType="1"/>
              </p:cNvSpPr>
              <p:nvPr userDrawn="1"/>
            </p:nvSpPr>
            <p:spPr bwMode="auto">
              <a:xfrm flipH="1">
                <a:off x="14054138" y="1866900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3" name="Line 254"/>
              <p:cNvSpPr>
                <a:spLocks noChangeShapeType="1"/>
              </p:cNvSpPr>
              <p:nvPr userDrawn="1"/>
            </p:nvSpPr>
            <p:spPr bwMode="auto">
              <a:xfrm flipH="1" flipV="1">
                <a:off x="14052550" y="1865313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4" name="Line 255"/>
              <p:cNvSpPr>
                <a:spLocks noChangeShapeType="1"/>
              </p:cNvSpPr>
              <p:nvPr userDrawn="1"/>
            </p:nvSpPr>
            <p:spPr bwMode="auto">
              <a:xfrm flipH="1">
                <a:off x="14050963" y="1865313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5" name="Line 256"/>
              <p:cNvSpPr>
                <a:spLocks noChangeShapeType="1"/>
              </p:cNvSpPr>
              <p:nvPr userDrawn="1"/>
            </p:nvSpPr>
            <p:spPr bwMode="auto">
              <a:xfrm flipH="1">
                <a:off x="14050963" y="1865313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6" name="Line 257"/>
              <p:cNvSpPr>
                <a:spLocks noChangeShapeType="1"/>
              </p:cNvSpPr>
              <p:nvPr userDrawn="1"/>
            </p:nvSpPr>
            <p:spPr bwMode="auto">
              <a:xfrm flipH="1">
                <a:off x="14049375" y="1866900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7" name="Line 258"/>
              <p:cNvSpPr>
                <a:spLocks noChangeShapeType="1"/>
              </p:cNvSpPr>
              <p:nvPr userDrawn="1"/>
            </p:nvSpPr>
            <p:spPr bwMode="auto">
              <a:xfrm flipH="1">
                <a:off x="14047788" y="1868488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8" name="Line 259"/>
              <p:cNvSpPr>
                <a:spLocks noChangeShapeType="1"/>
              </p:cNvSpPr>
              <p:nvPr userDrawn="1"/>
            </p:nvSpPr>
            <p:spPr bwMode="auto">
              <a:xfrm>
                <a:off x="14047788" y="1871663"/>
                <a:ext cx="0" cy="1508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2" name="Freeform 263"/>
              <p:cNvSpPr>
                <a:spLocks/>
              </p:cNvSpPr>
              <p:nvPr userDrawn="1"/>
            </p:nvSpPr>
            <p:spPr bwMode="auto">
              <a:xfrm>
                <a:off x="14325600" y="1736725"/>
                <a:ext cx="174625" cy="307975"/>
              </a:xfrm>
              <a:custGeom>
                <a:avLst/>
                <a:gdLst>
                  <a:gd name="T0" fmla="*/ 27 w 220"/>
                  <a:gd name="T1" fmla="*/ 0 h 388"/>
                  <a:gd name="T2" fmla="*/ 194 w 220"/>
                  <a:gd name="T3" fmla="*/ 0 h 388"/>
                  <a:gd name="T4" fmla="*/ 201 w 220"/>
                  <a:gd name="T5" fmla="*/ 1 h 388"/>
                  <a:gd name="T6" fmla="*/ 207 w 220"/>
                  <a:gd name="T7" fmla="*/ 4 h 388"/>
                  <a:gd name="T8" fmla="*/ 213 w 220"/>
                  <a:gd name="T9" fmla="*/ 8 h 388"/>
                  <a:gd name="T10" fmla="*/ 217 w 220"/>
                  <a:gd name="T11" fmla="*/ 13 h 388"/>
                  <a:gd name="T12" fmla="*/ 220 w 220"/>
                  <a:gd name="T13" fmla="*/ 20 h 388"/>
                  <a:gd name="T14" fmla="*/ 220 w 220"/>
                  <a:gd name="T15" fmla="*/ 27 h 388"/>
                  <a:gd name="T16" fmla="*/ 220 w 220"/>
                  <a:gd name="T17" fmla="*/ 32 h 388"/>
                  <a:gd name="T18" fmla="*/ 217 w 220"/>
                  <a:gd name="T19" fmla="*/ 39 h 388"/>
                  <a:gd name="T20" fmla="*/ 213 w 220"/>
                  <a:gd name="T21" fmla="*/ 44 h 388"/>
                  <a:gd name="T22" fmla="*/ 207 w 220"/>
                  <a:gd name="T23" fmla="*/ 48 h 388"/>
                  <a:gd name="T24" fmla="*/ 201 w 220"/>
                  <a:gd name="T25" fmla="*/ 51 h 388"/>
                  <a:gd name="T26" fmla="*/ 194 w 220"/>
                  <a:gd name="T27" fmla="*/ 52 h 388"/>
                  <a:gd name="T28" fmla="*/ 145 w 220"/>
                  <a:gd name="T29" fmla="*/ 52 h 388"/>
                  <a:gd name="T30" fmla="*/ 142 w 220"/>
                  <a:gd name="T31" fmla="*/ 52 h 388"/>
                  <a:gd name="T32" fmla="*/ 139 w 220"/>
                  <a:gd name="T33" fmla="*/ 55 h 388"/>
                  <a:gd name="T34" fmla="*/ 137 w 220"/>
                  <a:gd name="T35" fmla="*/ 58 h 388"/>
                  <a:gd name="T36" fmla="*/ 137 w 220"/>
                  <a:gd name="T37" fmla="*/ 62 h 388"/>
                  <a:gd name="T38" fmla="*/ 137 w 220"/>
                  <a:gd name="T39" fmla="*/ 361 h 388"/>
                  <a:gd name="T40" fmla="*/ 135 w 220"/>
                  <a:gd name="T41" fmla="*/ 368 h 388"/>
                  <a:gd name="T42" fmla="*/ 134 w 220"/>
                  <a:gd name="T43" fmla="*/ 373 h 388"/>
                  <a:gd name="T44" fmla="*/ 128 w 220"/>
                  <a:gd name="T45" fmla="*/ 379 h 388"/>
                  <a:gd name="T46" fmla="*/ 124 w 220"/>
                  <a:gd name="T47" fmla="*/ 383 h 388"/>
                  <a:gd name="T48" fmla="*/ 117 w 220"/>
                  <a:gd name="T49" fmla="*/ 386 h 388"/>
                  <a:gd name="T50" fmla="*/ 110 w 220"/>
                  <a:gd name="T51" fmla="*/ 388 h 388"/>
                  <a:gd name="T52" fmla="*/ 104 w 220"/>
                  <a:gd name="T53" fmla="*/ 386 h 388"/>
                  <a:gd name="T54" fmla="*/ 97 w 220"/>
                  <a:gd name="T55" fmla="*/ 383 h 388"/>
                  <a:gd name="T56" fmla="*/ 91 w 220"/>
                  <a:gd name="T57" fmla="*/ 379 h 388"/>
                  <a:gd name="T58" fmla="*/ 87 w 220"/>
                  <a:gd name="T59" fmla="*/ 373 h 388"/>
                  <a:gd name="T60" fmla="*/ 86 w 220"/>
                  <a:gd name="T61" fmla="*/ 368 h 388"/>
                  <a:gd name="T62" fmla="*/ 84 w 220"/>
                  <a:gd name="T63" fmla="*/ 361 h 388"/>
                  <a:gd name="T64" fmla="*/ 84 w 220"/>
                  <a:gd name="T65" fmla="*/ 62 h 388"/>
                  <a:gd name="T66" fmla="*/ 84 w 220"/>
                  <a:gd name="T67" fmla="*/ 58 h 388"/>
                  <a:gd name="T68" fmla="*/ 82 w 220"/>
                  <a:gd name="T69" fmla="*/ 55 h 388"/>
                  <a:gd name="T70" fmla="*/ 79 w 220"/>
                  <a:gd name="T71" fmla="*/ 52 h 388"/>
                  <a:gd name="T72" fmla="*/ 75 w 220"/>
                  <a:gd name="T73" fmla="*/ 52 h 388"/>
                  <a:gd name="T74" fmla="*/ 27 w 220"/>
                  <a:gd name="T75" fmla="*/ 52 h 388"/>
                  <a:gd name="T76" fmla="*/ 20 w 220"/>
                  <a:gd name="T77" fmla="*/ 51 h 388"/>
                  <a:gd name="T78" fmla="*/ 13 w 220"/>
                  <a:gd name="T79" fmla="*/ 48 h 388"/>
                  <a:gd name="T80" fmla="*/ 8 w 220"/>
                  <a:gd name="T81" fmla="*/ 44 h 388"/>
                  <a:gd name="T82" fmla="*/ 4 w 220"/>
                  <a:gd name="T83" fmla="*/ 39 h 388"/>
                  <a:gd name="T84" fmla="*/ 1 w 220"/>
                  <a:gd name="T85" fmla="*/ 32 h 388"/>
                  <a:gd name="T86" fmla="*/ 0 w 220"/>
                  <a:gd name="T87" fmla="*/ 27 h 388"/>
                  <a:gd name="T88" fmla="*/ 1 w 220"/>
                  <a:gd name="T89" fmla="*/ 20 h 388"/>
                  <a:gd name="T90" fmla="*/ 4 w 220"/>
                  <a:gd name="T91" fmla="*/ 13 h 388"/>
                  <a:gd name="T92" fmla="*/ 8 w 220"/>
                  <a:gd name="T93" fmla="*/ 8 h 388"/>
                  <a:gd name="T94" fmla="*/ 13 w 220"/>
                  <a:gd name="T95" fmla="*/ 4 h 388"/>
                  <a:gd name="T96" fmla="*/ 20 w 220"/>
                  <a:gd name="T97" fmla="*/ 1 h 388"/>
                  <a:gd name="T98" fmla="*/ 27 w 220"/>
                  <a:gd name="T99" fmla="*/ 0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20" h="388">
                    <a:moveTo>
                      <a:pt x="27" y="0"/>
                    </a:moveTo>
                    <a:lnTo>
                      <a:pt x="194" y="0"/>
                    </a:lnTo>
                    <a:lnTo>
                      <a:pt x="201" y="1"/>
                    </a:lnTo>
                    <a:lnTo>
                      <a:pt x="207" y="4"/>
                    </a:lnTo>
                    <a:lnTo>
                      <a:pt x="213" y="8"/>
                    </a:lnTo>
                    <a:lnTo>
                      <a:pt x="217" y="13"/>
                    </a:lnTo>
                    <a:lnTo>
                      <a:pt x="220" y="20"/>
                    </a:lnTo>
                    <a:lnTo>
                      <a:pt x="220" y="27"/>
                    </a:lnTo>
                    <a:lnTo>
                      <a:pt x="220" y="32"/>
                    </a:lnTo>
                    <a:lnTo>
                      <a:pt x="217" y="39"/>
                    </a:lnTo>
                    <a:lnTo>
                      <a:pt x="213" y="44"/>
                    </a:lnTo>
                    <a:lnTo>
                      <a:pt x="207" y="48"/>
                    </a:lnTo>
                    <a:lnTo>
                      <a:pt x="201" y="51"/>
                    </a:lnTo>
                    <a:lnTo>
                      <a:pt x="194" y="52"/>
                    </a:lnTo>
                    <a:lnTo>
                      <a:pt x="145" y="52"/>
                    </a:lnTo>
                    <a:lnTo>
                      <a:pt x="142" y="52"/>
                    </a:lnTo>
                    <a:lnTo>
                      <a:pt x="139" y="55"/>
                    </a:lnTo>
                    <a:lnTo>
                      <a:pt x="137" y="58"/>
                    </a:lnTo>
                    <a:lnTo>
                      <a:pt x="137" y="62"/>
                    </a:lnTo>
                    <a:lnTo>
                      <a:pt x="137" y="361"/>
                    </a:lnTo>
                    <a:lnTo>
                      <a:pt x="135" y="368"/>
                    </a:lnTo>
                    <a:lnTo>
                      <a:pt x="134" y="373"/>
                    </a:lnTo>
                    <a:lnTo>
                      <a:pt x="128" y="379"/>
                    </a:lnTo>
                    <a:lnTo>
                      <a:pt x="124" y="383"/>
                    </a:lnTo>
                    <a:lnTo>
                      <a:pt x="117" y="386"/>
                    </a:lnTo>
                    <a:lnTo>
                      <a:pt x="110" y="388"/>
                    </a:lnTo>
                    <a:lnTo>
                      <a:pt x="104" y="386"/>
                    </a:lnTo>
                    <a:lnTo>
                      <a:pt x="97" y="383"/>
                    </a:lnTo>
                    <a:lnTo>
                      <a:pt x="91" y="379"/>
                    </a:lnTo>
                    <a:lnTo>
                      <a:pt x="87" y="373"/>
                    </a:lnTo>
                    <a:lnTo>
                      <a:pt x="86" y="368"/>
                    </a:lnTo>
                    <a:lnTo>
                      <a:pt x="84" y="361"/>
                    </a:lnTo>
                    <a:lnTo>
                      <a:pt x="84" y="62"/>
                    </a:lnTo>
                    <a:lnTo>
                      <a:pt x="84" y="58"/>
                    </a:lnTo>
                    <a:lnTo>
                      <a:pt x="82" y="55"/>
                    </a:lnTo>
                    <a:lnTo>
                      <a:pt x="79" y="52"/>
                    </a:lnTo>
                    <a:lnTo>
                      <a:pt x="75" y="52"/>
                    </a:lnTo>
                    <a:lnTo>
                      <a:pt x="27" y="52"/>
                    </a:lnTo>
                    <a:lnTo>
                      <a:pt x="20" y="51"/>
                    </a:lnTo>
                    <a:lnTo>
                      <a:pt x="13" y="48"/>
                    </a:lnTo>
                    <a:lnTo>
                      <a:pt x="8" y="44"/>
                    </a:lnTo>
                    <a:lnTo>
                      <a:pt x="4" y="39"/>
                    </a:lnTo>
                    <a:lnTo>
                      <a:pt x="1" y="32"/>
                    </a:lnTo>
                    <a:lnTo>
                      <a:pt x="0" y="27"/>
                    </a:lnTo>
                    <a:lnTo>
                      <a:pt x="1" y="20"/>
                    </a:lnTo>
                    <a:lnTo>
                      <a:pt x="4" y="13"/>
                    </a:lnTo>
                    <a:lnTo>
                      <a:pt x="8" y="8"/>
                    </a:lnTo>
                    <a:lnTo>
                      <a:pt x="13" y="4"/>
                    </a:lnTo>
                    <a:lnTo>
                      <a:pt x="20" y="1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9" name="Line 270"/>
              <p:cNvSpPr>
                <a:spLocks noChangeShapeType="1"/>
              </p:cNvSpPr>
              <p:nvPr userDrawn="1"/>
            </p:nvSpPr>
            <p:spPr bwMode="auto">
              <a:xfrm flipV="1">
                <a:off x="14392275" y="1785938"/>
                <a:ext cx="0" cy="2365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0" name="Line 271"/>
              <p:cNvSpPr>
                <a:spLocks noChangeShapeType="1"/>
              </p:cNvSpPr>
              <p:nvPr userDrawn="1"/>
            </p:nvSpPr>
            <p:spPr bwMode="auto">
              <a:xfrm flipV="1">
                <a:off x="14392275" y="1782763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1" name="Line 272"/>
              <p:cNvSpPr>
                <a:spLocks noChangeShapeType="1"/>
              </p:cNvSpPr>
              <p:nvPr userDrawn="1"/>
            </p:nvSpPr>
            <p:spPr bwMode="auto">
              <a:xfrm flipH="1" flipV="1">
                <a:off x="14390688" y="1779588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2" name="Line 273"/>
              <p:cNvSpPr>
                <a:spLocks noChangeShapeType="1"/>
              </p:cNvSpPr>
              <p:nvPr userDrawn="1"/>
            </p:nvSpPr>
            <p:spPr bwMode="auto">
              <a:xfrm flipH="1" flipV="1">
                <a:off x="14387513" y="1778000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3" name="Line 274"/>
              <p:cNvSpPr>
                <a:spLocks noChangeShapeType="1"/>
              </p:cNvSpPr>
              <p:nvPr userDrawn="1"/>
            </p:nvSpPr>
            <p:spPr bwMode="auto">
              <a:xfrm flipH="1">
                <a:off x="14384338" y="1778000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4" name="Line 275"/>
              <p:cNvSpPr>
                <a:spLocks noChangeShapeType="1"/>
              </p:cNvSpPr>
              <p:nvPr userDrawn="1"/>
            </p:nvSpPr>
            <p:spPr bwMode="auto">
              <a:xfrm flipH="1">
                <a:off x="14346238" y="1778000"/>
                <a:ext cx="3810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5" name="Line 276"/>
              <p:cNvSpPr>
                <a:spLocks noChangeShapeType="1"/>
              </p:cNvSpPr>
              <p:nvPr userDrawn="1"/>
            </p:nvSpPr>
            <p:spPr bwMode="auto">
              <a:xfrm flipH="1" flipV="1">
                <a:off x="14341475" y="17764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6" name="Line 277"/>
              <p:cNvSpPr>
                <a:spLocks noChangeShapeType="1"/>
              </p:cNvSpPr>
              <p:nvPr userDrawn="1"/>
            </p:nvSpPr>
            <p:spPr bwMode="auto">
              <a:xfrm flipH="1" flipV="1">
                <a:off x="14335125" y="1774825"/>
                <a:ext cx="635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7" name="Line 278"/>
              <p:cNvSpPr>
                <a:spLocks noChangeShapeType="1"/>
              </p:cNvSpPr>
              <p:nvPr userDrawn="1"/>
            </p:nvSpPr>
            <p:spPr bwMode="auto">
              <a:xfrm flipH="1" flipV="1">
                <a:off x="14331950" y="1771650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8" name="Line 279"/>
              <p:cNvSpPr>
                <a:spLocks noChangeShapeType="1"/>
              </p:cNvSpPr>
              <p:nvPr userDrawn="1"/>
            </p:nvSpPr>
            <p:spPr bwMode="auto">
              <a:xfrm flipH="1" flipV="1">
                <a:off x="14328775" y="1768475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9" name="Line 280"/>
              <p:cNvSpPr>
                <a:spLocks noChangeShapeType="1"/>
              </p:cNvSpPr>
              <p:nvPr userDrawn="1"/>
            </p:nvSpPr>
            <p:spPr bwMode="auto">
              <a:xfrm flipH="1" flipV="1">
                <a:off x="14327188" y="1762125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0" name="Line 281"/>
              <p:cNvSpPr>
                <a:spLocks noChangeShapeType="1"/>
              </p:cNvSpPr>
              <p:nvPr userDrawn="1"/>
            </p:nvSpPr>
            <p:spPr bwMode="auto">
              <a:xfrm flipH="1" flipV="1">
                <a:off x="14325600" y="1757363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1" name="Line 282"/>
              <p:cNvSpPr>
                <a:spLocks noChangeShapeType="1"/>
              </p:cNvSpPr>
              <p:nvPr userDrawn="1"/>
            </p:nvSpPr>
            <p:spPr bwMode="auto">
              <a:xfrm flipV="1">
                <a:off x="14325600" y="1752600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2" name="Line 283"/>
              <p:cNvSpPr>
                <a:spLocks noChangeShapeType="1"/>
              </p:cNvSpPr>
              <p:nvPr userDrawn="1"/>
            </p:nvSpPr>
            <p:spPr bwMode="auto">
              <a:xfrm flipV="1">
                <a:off x="14327188" y="1746250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3" name="Line 284"/>
              <p:cNvSpPr>
                <a:spLocks noChangeShapeType="1"/>
              </p:cNvSpPr>
              <p:nvPr userDrawn="1"/>
            </p:nvSpPr>
            <p:spPr bwMode="auto">
              <a:xfrm flipV="1">
                <a:off x="14328775" y="1743075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4" name="Line 285"/>
              <p:cNvSpPr>
                <a:spLocks noChangeShapeType="1"/>
              </p:cNvSpPr>
              <p:nvPr userDrawn="1"/>
            </p:nvSpPr>
            <p:spPr bwMode="auto">
              <a:xfrm flipV="1">
                <a:off x="14331950" y="1739900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5" name="Line 286"/>
              <p:cNvSpPr>
                <a:spLocks noChangeShapeType="1"/>
              </p:cNvSpPr>
              <p:nvPr userDrawn="1"/>
            </p:nvSpPr>
            <p:spPr bwMode="auto">
              <a:xfrm flipV="1">
                <a:off x="14335125" y="1738313"/>
                <a:ext cx="635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6" name="Line 287"/>
              <p:cNvSpPr>
                <a:spLocks noChangeShapeType="1"/>
              </p:cNvSpPr>
              <p:nvPr userDrawn="1"/>
            </p:nvSpPr>
            <p:spPr bwMode="auto">
              <a:xfrm flipV="1">
                <a:off x="14341475" y="1736725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7" name="Line 288"/>
              <p:cNvSpPr>
                <a:spLocks noChangeShapeType="1"/>
              </p:cNvSpPr>
              <p:nvPr userDrawn="1"/>
            </p:nvSpPr>
            <p:spPr bwMode="auto">
              <a:xfrm>
                <a:off x="14346238" y="1736725"/>
                <a:ext cx="13335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8" name="Line 289"/>
              <p:cNvSpPr>
                <a:spLocks noChangeShapeType="1"/>
              </p:cNvSpPr>
              <p:nvPr userDrawn="1"/>
            </p:nvSpPr>
            <p:spPr bwMode="auto">
              <a:xfrm>
                <a:off x="14479588" y="1736725"/>
                <a:ext cx="635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9" name="Line 290"/>
              <p:cNvSpPr>
                <a:spLocks noChangeShapeType="1"/>
              </p:cNvSpPr>
              <p:nvPr userDrawn="1"/>
            </p:nvSpPr>
            <p:spPr bwMode="auto">
              <a:xfrm>
                <a:off x="14485938" y="1738313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0" name="Line 291"/>
              <p:cNvSpPr>
                <a:spLocks noChangeShapeType="1"/>
              </p:cNvSpPr>
              <p:nvPr userDrawn="1"/>
            </p:nvSpPr>
            <p:spPr bwMode="auto">
              <a:xfrm>
                <a:off x="14489113" y="1739900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1" name="Line 292"/>
              <p:cNvSpPr>
                <a:spLocks noChangeShapeType="1"/>
              </p:cNvSpPr>
              <p:nvPr userDrawn="1"/>
            </p:nvSpPr>
            <p:spPr bwMode="auto">
              <a:xfrm>
                <a:off x="14493875" y="1743075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2" name="Line 293"/>
              <p:cNvSpPr>
                <a:spLocks noChangeShapeType="1"/>
              </p:cNvSpPr>
              <p:nvPr userDrawn="1"/>
            </p:nvSpPr>
            <p:spPr bwMode="auto">
              <a:xfrm>
                <a:off x="14497050" y="1746250"/>
                <a:ext cx="3175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3" name="Line 294"/>
              <p:cNvSpPr>
                <a:spLocks noChangeShapeType="1"/>
              </p:cNvSpPr>
              <p:nvPr userDrawn="1"/>
            </p:nvSpPr>
            <p:spPr bwMode="auto">
              <a:xfrm>
                <a:off x="14500225" y="1752600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4" name="Line 295"/>
              <p:cNvSpPr>
                <a:spLocks noChangeShapeType="1"/>
              </p:cNvSpPr>
              <p:nvPr userDrawn="1"/>
            </p:nvSpPr>
            <p:spPr bwMode="auto">
              <a:xfrm>
                <a:off x="14500225" y="1757363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5" name="Line 296"/>
              <p:cNvSpPr>
                <a:spLocks noChangeShapeType="1"/>
              </p:cNvSpPr>
              <p:nvPr userDrawn="1"/>
            </p:nvSpPr>
            <p:spPr bwMode="auto">
              <a:xfrm flipH="1">
                <a:off x="14497050" y="1762125"/>
                <a:ext cx="3175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6" name="Line 297"/>
              <p:cNvSpPr>
                <a:spLocks noChangeShapeType="1"/>
              </p:cNvSpPr>
              <p:nvPr userDrawn="1"/>
            </p:nvSpPr>
            <p:spPr bwMode="auto">
              <a:xfrm flipH="1">
                <a:off x="14493875" y="1768475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7" name="Line 298"/>
              <p:cNvSpPr>
                <a:spLocks noChangeShapeType="1"/>
              </p:cNvSpPr>
              <p:nvPr userDrawn="1"/>
            </p:nvSpPr>
            <p:spPr bwMode="auto">
              <a:xfrm flipH="1">
                <a:off x="14489113" y="1771650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8" name="Line 299"/>
              <p:cNvSpPr>
                <a:spLocks noChangeShapeType="1"/>
              </p:cNvSpPr>
              <p:nvPr userDrawn="1"/>
            </p:nvSpPr>
            <p:spPr bwMode="auto">
              <a:xfrm flipH="1">
                <a:off x="14485938" y="1774825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9" name="Line 300"/>
              <p:cNvSpPr>
                <a:spLocks noChangeShapeType="1"/>
              </p:cNvSpPr>
              <p:nvPr userDrawn="1"/>
            </p:nvSpPr>
            <p:spPr bwMode="auto">
              <a:xfrm flipH="1">
                <a:off x="14479588" y="1776413"/>
                <a:ext cx="635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0" name="Line 301"/>
              <p:cNvSpPr>
                <a:spLocks noChangeShapeType="1"/>
              </p:cNvSpPr>
              <p:nvPr userDrawn="1"/>
            </p:nvSpPr>
            <p:spPr bwMode="auto">
              <a:xfrm flipH="1">
                <a:off x="14439900" y="1778000"/>
                <a:ext cx="396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1" name="Line 302"/>
              <p:cNvSpPr>
                <a:spLocks noChangeShapeType="1"/>
              </p:cNvSpPr>
              <p:nvPr userDrawn="1"/>
            </p:nvSpPr>
            <p:spPr bwMode="auto">
              <a:xfrm flipH="1">
                <a:off x="14438313" y="1778000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2" name="Line 303"/>
              <p:cNvSpPr>
                <a:spLocks noChangeShapeType="1"/>
              </p:cNvSpPr>
              <p:nvPr userDrawn="1"/>
            </p:nvSpPr>
            <p:spPr bwMode="auto">
              <a:xfrm flipH="1">
                <a:off x="14436725" y="1778000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3" name="Line 304"/>
              <p:cNvSpPr>
                <a:spLocks noChangeShapeType="1"/>
              </p:cNvSpPr>
              <p:nvPr userDrawn="1"/>
            </p:nvSpPr>
            <p:spPr bwMode="auto">
              <a:xfrm flipH="1">
                <a:off x="14433550" y="1779588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4" name="Line 305"/>
              <p:cNvSpPr>
                <a:spLocks noChangeShapeType="1"/>
              </p:cNvSpPr>
              <p:nvPr userDrawn="1"/>
            </p:nvSpPr>
            <p:spPr bwMode="auto">
              <a:xfrm>
                <a:off x="14433550" y="1782763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5" name="Line 306"/>
              <p:cNvSpPr>
                <a:spLocks noChangeShapeType="1"/>
              </p:cNvSpPr>
              <p:nvPr userDrawn="1"/>
            </p:nvSpPr>
            <p:spPr bwMode="auto">
              <a:xfrm>
                <a:off x="14433550" y="1785938"/>
                <a:ext cx="0" cy="2365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2" name="Freeform 313"/>
              <p:cNvSpPr>
                <a:spLocks noEditPoints="1"/>
              </p:cNvSpPr>
              <p:nvPr userDrawn="1"/>
            </p:nvSpPr>
            <p:spPr bwMode="auto">
              <a:xfrm>
                <a:off x="14524038" y="1738313"/>
                <a:ext cx="160337" cy="304800"/>
              </a:xfrm>
              <a:custGeom>
                <a:avLst/>
                <a:gdLst>
                  <a:gd name="T0" fmla="*/ 88 w 203"/>
                  <a:gd name="T1" fmla="*/ 54 h 385"/>
                  <a:gd name="T2" fmla="*/ 68 w 203"/>
                  <a:gd name="T3" fmla="*/ 64 h 385"/>
                  <a:gd name="T4" fmla="*/ 59 w 203"/>
                  <a:gd name="T5" fmla="*/ 75 h 385"/>
                  <a:gd name="T6" fmla="*/ 55 w 203"/>
                  <a:gd name="T7" fmla="*/ 86 h 385"/>
                  <a:gd name="T8" fmla="*/ 52 w 203"/>
                  <a:gd name="T9" fmla="*/ 100 h 385"/>
                  <a:gd name="T10" fmla="*/ 55 w 203"/>
                  <a:gd name="T11" fmla="*/ 299 h 385"/>
                  <a:gd name="T12" fmla="*/ 66 w 203"/>
                  <a:gd name="T13" fmla="*/ 319 h 385"/>
                  <a:gd name="T14" fmla="*/ 82 w 203"/>
                  <a:gd name="T15" fmla="*/ 330 h 385"/>
                  <a:gd name="T16" fmla="*/ 102 w 203"/>
                  <a:gd name="T17" fmla="*/ 333 h 385"/>
                  <a:gd name="T18" fmla="*/ 130 w 203"/>
                  <a:gd name="T19" fmla="*/ 324 h 385"/>
                  <a:gd name="T20" fmla="*/ 144 w 203"/>
                  <a:gd name="T21" fmla="*/ 312 h 385"/>
                  <a:gd name="T22" fmla="*/ 151 w 203"/>
                  <a:gd name="T23" fmla="*/ 293 h 385"/>
                  <a:gd name="T24" fmla="*/ 151 w 203"/>
                  <a:gd name="T25" fmla="*/ 100 h 385"/>
                  <a:gd name="T26" fmla="*/ 143 w 203"/>
                  <a:gd name="T27" fmla="*/ 74 h 385"/>
                  <a:gd name="T28" fmla="*/ 130 w 203"/>
                  <a:gd name="T29" fmla="*/ 59 h 385"/>
                  <a:gd name="T30" fmla="*/ 112 w 203"/>
                  <a:gd name="T31" fmla="*/ 52 h 385"/>
                  <a:gd name="T32" fmla="*/ 102 w 203"/>
                  <a:gd name="T33" fmla="*/ 0 h 385"/>
                  <a:gd name="T34" fmla="*/ 141 w 203"/>
                  <a:gd name="T35" fmla="*/ 7 h 385"/>
                  <a:gd name="T36" fmla="*/ 175 w 203"/>
                  <a:gd name="T37" fmla="*/ 30 h 385"/>
                  <a:gd name="T38" fmla="*/ 195 w 203"/>
                  <a:gd name="T39" fmla="*/ 61 h 385"/>
                  <a:gd name="T40" fmla="*/ 203 w 203"/>
                  <a:gd name="T41" fmla="*/ 100 h 385"/>
                  <a:gd name="T42" fmla="*/ 199 w 203"/>
                  <a:gd name="T43" fmla="*/ 313 h 385"/>
                  <a:gd name="T44" fmla="*/ 181 w 203"/>
                  <a:gd name="T45" fmla="*/ 348 h 385"/>
                  <a:gd name="T46" fmla="*/ 167 w 203"/>
                  <a:gd name="T47" fmla="*/ 363 h 385"/>
                  <a:gd name="T48" fmla="*/ 141 w 203"/>
                  <a:gd name="T49" fmla="*/ 378 h 385"/>
                  <a:gd name="T50" fmla="*/ 102 w 203"/>
                  <a:gd name="T51" fmla="*/ 385 h 385"/>
                  <a:gd name="T52" fmla="*/ 45 w 203"/>
                  <a:gd name="T53" fmla="*/ 368 h 385"/>
                  <a:gd name="T54" fmla="*/ 30 w 203"/>
                  <a:gd name="T55" fmla="*/ 356 h 385"/>
                  <a:gd name="T56" fmla="*/ 16 w 203"/>
                  <a:gd name="T57" fmla="*/ 337 h 385"/>
                  <a:gd name="T58" fmla="*/ 3 w 203"/>
                  <a:gd name="T59" fmla="*/ 303 h 385"/>
                  <a:gd name="T60" fmla="*/ 0 w 203"/>
                  <a:gd name="T61" fmla="*/ 100 h 385"/>
                  <a:gd name="T62" fmla="*/ 10 w 203"/>
                  <a:gd name="T63" fmla="*/ 57 h 385"/>
                  <a:gd name="T64" fmla="*/ 30 w 203"/>
                  <a:gd name="T65" fmla="*/ 28 h 385"/>
                  <a:gd name="T66" fmla="*/ 62 w 203"/>
                  <a:gd name="T67" fmla="*/ 7 h 385"/>
                  <a:gd name="T68" fmla="*/ 102 w 203"/>
                  <a:gd name="T69" fmla="*/ 0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03" h="385">
                    <a:moveTo>
                      <a:pt x="102" y="51"/>
                    </a:moveTo>
                    <a:lnTo>
                      <a:pt x="88" y="54"/>
                    </a:lnTo>
                    <a:lnTo>
                      <a:pt x="74" y="59"/>
                    </a:lnTo>
                    <a:lnTo>
                      <a:pt x="68" y="64"/>
                    </a:lnTo>
                    <a:lnTo>
                      <a:pt x="64" y="69"/>
                    </a:lnTo>
                    <a:lnTo>
                      <a:pt x="59" y="75"/>
                    </a:lnTo>
                    <a:lnTo>
                      <a:pt x="57" y="82"/>
                    </a:lnTo>
                    <a:lnTo>
                      <a:pt x="55" y="86"/>
                    </a:lnTo>
                    <a:lnTo>
                      <a:pt x="54" y="90"/>
                    </a:lnTo>
                    <a:lnTo>
                      <a:pt x="52" y="100"/>
                    </a:lnTo>
                    <a:lnTo>
                      <a:pt x="52" y="284"/>
                    </a:lnTo>
                    <a:lnTo>
                      <a:pt x="55" y="299"/>
                    </a:lnTo>
                    <a:lnTo>
                      <a:pt x="61" y="312"/>
                    </a:lnTo>
                    <a:lnTo>
                      <a:pt x="66" y="319"/>
                    </a:lnTo>
                    <a:lnTo>
                      <a:pt x="74" y="324"/>
                    </a:lnTo>
                    <a:lnTo>
                      <a:pt x="82" y="330"/>
                    </a:lnTo>
                    <a:lnTo>
                      <a:pt x="92" y="333"/>
                    </a:lnTo>
                    <a:lnTo>
                      <a:pt x="102" y="333"/>
                    </a:lnTo>
                    <a:lnTo>
                      <a:pt x="117" y="332"/>
                    </a:lnTo>
                    <a:lnTo>
                      <a:pt x="130" y="324"/>
                    </a:lnTo>
                    <a:lnTo>
                      <a:pt x="137" y="319"/>
                    </a:lnTo>
                    <a:lnTo>
                      <a:pt x="144" y="312"/>
                    </a:lnTo>
                    <a:lnTo>
                      <a:pt x="148" y="303"/>
                    </a:lnTo>
                    <a:lnTo>
                      <a:pt x="151" y="293"/>
                    </a:lnTo>
                    <a:lnTo>
                      <a:pt x="151" y="284"/>
                    </a:lnTo>
                    <a:lnTo>
                      <a:pt x="151" y="100"/>
                    </a:lnTo>
                    <a:lnTo>
                      <a:pt x="150" y="86"/>
                    </a:lnTo>
                    <a:lnTo>
                      <a:pt x="143" y="74"/>
                    </a:lnTo>
                    <a:lnTo>
                      <a:pt x="137" y="67"/>
                    </a:lnTo>
                    <a:lnTo>
                      <a:pt x="130" y="59"/>
                    </a:lnTo>
                    <a:lnTo>
                      <a:pt x="121" y="55"/>
                    </a:lnTo>
                    <a:lnTo>
                      <a:pt x="112" y="52"/>
                    </a:lnTo>
                    <a:lnTo>
                      <a:pt x="102" y="51"/>
                    </a:lnTo>
                    <a:close/>
                    <a:moveTo>
                      <a:pt x="102" y="0"/>
                    </a:moveTo>
                    <a:lnTo>
                      <a:pt x="123" y="2"/>
                    </a:lnTo>
                    <a:lnTo>
                      <a:pt x="141" y="7"/>
                    </a:lnTo>
                    <a:lnTo>
                      <a:pt x="159" y="17"/>
                    </a:lnTo>
                    <a:lnTo>
                      <a:pt x="175" y="30"/>
                    </a:lnTo>
                    <a:lnTo>
                      <a:pt x="186" y="44"/>
                    </a:lnTo>
                    <a:lnTo>
                      <a:pt x="195" y="61"/>
                    </a:lnTo>
                    <a:lnTo>
                      <a:pt x="202" y="81"/>
                    </a:lnTo>
                    <a:lnTo>
                      <a:pt x="203" y="100"/>
                    </a:lnTo>
                    <a:lnTo>
                      <a:pt x="203" y="284"/>
                    </a:lnTo>
                    <a:lnTo>
                      <a:pt x="199" y="313"/>
                    </a:lnTo>
                    <a:lnTo>
                      <a:pt x="186" y="341"/>
                    </a:lnTo>
                    <a:lnTo>
                      <a:pt x="181" y="348"/>
                    </a:lnTo>
                    <a:lnTo>
                      <a:pt x="174" y="356"/>
                    </a:lnTo>
                    <a:lnTo>
                      <a:pt x="167" y="363"/>
                    </a:lnTo>
                    <a:lnTo>
                      <a:pt x="155" y="371"/>
                    </a:lnTo>
                    <a:lnTo>
                      <a:pt x="141" y="378"/>
                    </a:lnTo>
                    <a:lnTo>
                      <a:pt x="123" y="384"/>
                    </a:lnTo>
                    <a:lnTo>
                      <a:pt x="102" y="385"/>
                    </a:lnTo>
                    <a:lnTo>
                      <a:pt x="72" y="381"/>
                    </a:lnTo>
                    <a:lnTo>
                      <a:pt x="45" y="368"/>
                    </a:lnTo>
                    <a:lnTo>
                      <a:pt x="37" y="363"/>
                    </a:lnTo>
                    <a:lnTo>
                      <a:pt x="30" y="356"/>
                    </a:lnTo>
                    <a:lnTo>
                      <a:pt x="24" y="348"/>
                    </a:lnTo>
                    <a:lnTo>
                      <a:pt x="16" y="337"/>
                    </a:lnTo>
                    <a:lnTo>
                      <a:pt x="9" y="323"/>
                    </a:lnTo>
                    <a:lnTo>
                      <a:pt x="3" y="303"/>
                    </a:lnTo>
                    <a:lnTo>
                      <a:pt x="0" y="284"/>
                    </a:lnTo>
                    <a:lnTo>
                      <a:pt x="0" y="100"/>
                    </a:lnTo>
                    <a:lnTo>
                      <a:pt x="4" y="71"/>
                    </a:lnTo>
                    <a:lnTo>
                      <a:pt x="10" y="57"/>
                    </a:lnTo>
                    <a:lnTo>
                      <a:pt x="17" y="44"/>
                    </a:lnTo>
                    <a:lnTo>
                      <a:pt x="30" y="28"/>
                    </a:lnTo>
                    <a:lnTo>
                      <a:pt x="45" y="17"/>
                    </a:lnTo>
                    <a:lnTo>
                      <a:pt x="62" y="7"/>
                    </a:lnTo>
                    <a:lnTo>
                      <a:pt x="82" y="2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3" name="Line 314"/>
              <p:cNvSpPr>
                <a:spLocks noChangeShapeType="1"/>
              </p:cNvSpPr>
              <p:nvPr userDrawn="1"/>
            </p:nvSpPr>
            <p:spPr bwMode="auto">
              <a:xfrm>
                <a:off x="14565313" y="1962150"/>
                <a:ext cx="1587" cy="127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4" name="Line 315"/>
              <p:cNvSpPr>
                <a:spLocks noChangeShapeType="1"/>
              </p:cNvSpPr>
              <p:nvPr userDrawn="1"/>
            </p:nvSpPr>
            <p:spPr bwMode="auto">
              <a:xfrm>
                <a:off x="14566900" y="1974850"/>
                <a:ext cx="4762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5" name="Line 316"/>
              <p:cNvSpPr>
                <a:spLocks noChangeShapeType="1"/>
              </p:cNvSpPr>
              <p:nvPr userDrawn="1"/>
            </p:nvSpPr>
            <p:spPr bwMode="auto">
              <a:xfrm>
                <a:off x="14571663" y="1984375"/>
                <a:ext cx="4762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6" name="Line 317"/>
              <p:cNvSpPr>
                <a:spLocks noChangeShapeType="1"/>
              </p:cNvSpPr>
              <p:nvPr userDrawn="1"/>
            </p:nvSpPr>
            <p:spPr bwMode="auto">
              <a:xfrm>
                <a:off x="14576425" y="1990725"/>
                <a:ext cx="4762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2" name="Line 323"/>
              <p:cNvSpPr>
                <a:spLocks noChangeShapeType="1"/>
              </p:cNvSpPr>
              <p:nvPr userDrawn="1"/>
            </p:nvSpPr>
            <p:spPr bwMode="auto">
              <a:xfrm flipV="1">
                <a:off x="14625638" y="1990725"/>
                <a:ext cx="635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3" name="Line 324"/>
              <p:cNvSpPr>
                <a:spLocks noChangeShapeType="1"/>
              </p:cNvSpPr>
              <p:nvPr userDrawn="1"/>
            </p:nvSpPr>
            <p:spPr bwMode="auto">
              <a:xfrm flipV="1">
                <a:off x="14631988" y="1984375"/>
                <a:ext cx="4762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4" name="Line 325"/>
              <p:cNvSpPr>
                <a:spLocks noChangeShapeType="1"/>
              </p:cNvSpPr>
              <p:nvPr userDrawn="1"/>
            </p:nvSpPr>
            <p:spPr bwMode="auto">
              <a:xfrm flipV="1">
                <a:off x="14636750" y="1978025"/>
                <a:ext cx="4762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5" name="Line 326"/>
              <p:cNvSpPr>
                <a:spLocks noChangeShapeType="1"/>
              </p:cNvSpPr>
              <p:nvPr userDrawn="1"/>
            </p:nvSpPr>
            <p:spPr bwMode="auto">
              <a:xfrm flipV="1">
                <a:off x="14641513" y="1970088"/>
                <a:ext cx="1587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6" name="Line 327"/>
              <p:cNvSpPr>
                <a:spLocks noChangeShapeType="1"/>
              </p:cNvSpPr>
              <p:nvPr userDrawn="1"/>
            </p:nvSpPr>
            <p:spPr bwMode="auto">
              <a:xfrm flipV="1">
                <a:off x="14643100" y="1962150"/>
                <a:ext cx="0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7" name="Line 328"/>
              <p:cNvSpPr>
                <a:spLocks noChangeShapeType="1"/>
              </p:cNvSpPr>
              <p:nvPr userDrawn="1"/>
            </p:nvSpPr>
            <p:spPr bwMode="auto">
              <a:xfrm flipV="1">
                <a:off x="14643100" y="1817688"/>
                <a:ext cx="0" cy="1444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8" name="Line 329"/>
              <p:cNvSpPr>
                <a:spLocks noChangeShapeType="1"/>
              </p:cNvSpPr>
              <p:nvPr userDrawn="1"/>
            </p:nvSpPr>
            <p:spPr bwMode="auto">
              <a:xfrm flipH="1" flipV="1">
                <a:off x="14641513" y="1806575"/>
                <a:ext cx="1587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9" name="Line 330"/>
              <p:cNvSpPr>
                <a:spLocks noChangeShapeType="1"/>
              </p:cNvSpPr>
              <p:nvPr userDrawn="1"/>
            </p:nvSpPr>
            <p:spPr bwMode="auto">
              <a:xfrm flipH="1" flipV="1">
                <a:off x="14636750" y="1795463"/>
                <a:ext cx="4762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0" name="Line 331"/>
              <p:cNvSpPr>
                <a:spLocks noChangeShapeType="1"/>
              </p:cNvSpPr>
              <p:nvPr userDrawn="1"/>
            </p:nvSpPr>
            <p:spPr bwMode="auto">
              <a:xfrm flipH="1" flipV="1">
                <a:off x="14631988" y="1790700"/>
                <a:ext cx="4762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1" name="Line 332"/>
              <p:cNvSpPr>
                <a:spLocks noChangeShapeType="1"/>
              </p:cNvSpPr>
              <p:nvPr userDrawn="1"/>
            </p:nvSpPr>
            <p:spPr bwMode="auto">
              <a:xfrm flipH="1" flipV="1">
                <a:off x="14625638" y="1784350"/>
                <a:ext cx="635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2" name="Line 333"/>
              <p:cNvSpPr>
                <a:spLocks noChangeShapeType="1"/>
              </p:cNvSpPr>
              <p:nvPr userDrawn="1"/>
            </p:nvSpPr>
            <p:spPr bwMode="auto">
              <a:xfrm flipH="1" flipV="1">
                <a:off x="14619288" y="1781175"/>
                <a:ext cx="635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3" name="Line 334"/>
              <p:cNvSpPr>
                <a:spLocks noChangeShapeType="1"/>
              </p:cNvSpPr>
              <p:nvPr userDrawn="1"/>
            </p:nvSpPr>
            <p:spPr bwMode="auto">
              <a:xfrm flipH="1" flipV="1">
                <a:off x="14611350" y="1779588"/>
                <a:ext cx="793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4" name="Line 335"/>
              <p:cNvSpPr>
                <a:spLocks noChangeShapeType="1"/>
              </p:cNvSpPr>
              <p:nvPr userDrawn="1"/>
            </p:nvSpPr>
            <p:spPr bwMode="auto">
              <a:xfrm flipH="1" flipV="1">
                <a:off x="14603413" y="1778000"/>
                <a:ext cx="793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5" name="Line 336"/>
              <p:cNvSpPr>
                <a:spLocks noChangeShapeType="1"/>
              </p:cNvSpPr>
              <p:nvPr userDrawn="1"/>
            </p:nvSpPr>
            <p:spPr bwMode="auto">
              <a:xfrm flipH="1">
                <a:off x="14592300" y="1778000"/>
                <a:ext cx="1111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6" name="Line 337"/>
              <p:cNvSpPr>
                <a:spLocks noChangeShapeType="1"/>
              </p:cNvSpPr>
              <p:nvPr userDrawn="1"/>
            </p:nvSpPr>
            <p:spPr bwMode="auto">
              <a:xfrm flipH="1">
                <a:off x="14581188" y="1779588"/>
                <a:ext cx="11112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7" name="Line 338"/>
              <p:cNvSpPr>
                <a:spLocks noChangeShapeType="1"/>
              </p:cNvSpPr>
              <p:nvPr userDrawn="1"/>
            </p:nvSpPr>
            <p:spPr bwMode="auto">
              <a:xfrm flipH="1">
                <a:off x="14576425" y="1784350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8" name="Line 339"/>
              <p:cNvSpPr>
                <a:spLocks noChangeShapeType="1"/>
              </p:cNvSpPr>
              <p:nvPr userDrawn="1"/>
            </p:nvSpPr>
            <p:spPr bwMode="auto">
              <a:xfrm flipH="1">
                <a:off x="14573250" y="1787525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9" name="Line 340"/>
              <p:cNvSpPr>
                <a:spLocks noChangeShapeType="1"/>
              </p:cNvSpPr>
              <p:nvPr userDrawn="1"/>
            </p:nvSpPr>
            <p:spPr bwMode="auto">
              <a:xfrm flipH="1">
                <a:off x="14570075" y="17922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0" name="Line 341"/>
              <p:cNvSpPr>
                <a:spLocks noChangeShapeType="1"/>
              </p:cNvSpPr>
              <p:nvPr userDrawn="1"/>
            </p:nvSpPr>
            <p:spPr bwMode="auto">
              <a:xfrm flipH="1">
                <a:off x="14568488" y="1797050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1" name="Line 342"/>
              <p:cNvSpPr>
                <a:spLocks noChangeShapeType="1"/>
              </p:cNvSpPr>
              <p:nvPr userDrawn="1"/>
            </p:nvSpPr>
            <p:spPr bwMode="auto">
              <a:xfrm flipH="1">
                <a:off x="14566900" y="1803400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2" name="Line 343"/>
              <p:cNvSpPr>
                <a:spLocks noChangeShapeType="1"/>
              </p:cNvSpPr>
              <p:nvPr userDrawn="1"/>
            </p:nvSpPr>
            <p:spPr bwMode="auto">
              <a:xfrm flipH="1">
                <a:off x="14565313" y="1806575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3" name="Line 344"/>
              <p:cNvSpPr>
                <a:spLocks noChangeShapeType="1"/>
              </p:cNvSpPr>
              <p:nvPr userDrawn="1"/>
            </p:nvSpPr>
            <p:spPr bwMode="auto">
              <a:xfrm flipH="1">
                <a:off x="14565313" y="1809750"/>
                <a:ext cx="0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4" name="Line 345"/>
              <p:cNvSpPr>
                <a:spLocks noChangeShapeType="1"/>
              </p:cNvSpPr>
              <p:nvPr userDrawn="1"/>
            </p:nvSpPr>
            <p:spPr bwMode="auto">
              <a:xfrm>
                <a:off x="14565313" y="1817688"/>
                <a:ext cx="0" cy="1444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0" name="Line 351"/>
              <p:cNvSpPr>
                <a:spLocks noChangeShapeType="1"/>
              </p:cNvSpPr>
              <p:nvPr userDrawn="1"/>
            </p:nvSpPr>
            <p:spPr bwMode="auto">
              <a:xfrm flipH="1" flipV="1">
                <a:off x="14525625" y="1978025"/>
                <a:ext cx="4762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1" name="Line 352"/>
              <p:cNvSpPr>
                <a:spLocks noChangeShapeType="1"/>
              </p:cNvSpPr>
              <p:nvPr userDrawn="1"/>
            </p:nvSpPr>
            <p:spPr bwMode="auto">
              <a:xfrm flipH="1" flipV="1">
                <a:off x="14524038" y="1962150"/>
                <a:ext cx="1587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2" name="Line 353"/>
              <p:cNvSpPr>
                <a:spLocks noChangeShapeType="1"/>
              </p:cNvSpPr>
              <p:nvPr userDrawn="1"/>
            </p:nvSpPr>
            <p:spPr bwMode="auto">
              <a:xfrm flipV="1">
                <a:off x="14524038" y="1817688"/>
                <a:ext cx="0" cy="1444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3" name="Line 354"/>
              <p:cNvSpPr>
                <a:spLocks noChangeShapeType="1"/>
              </p:cNvSpPr>
              <p:nvPr userDrawn="1"/>
            </p:nvSpPr>
            <p:spPr bwMode="auto">
              <a:xfrm flipV="1">
                <a:off x="14524038" y="1793875"/>
                <a:ext cx="3175" cy="238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4" name="Line 355"/>
              <p:cNvSpPr>
                <a:spLocks noChangeShapeType="1"/>
              </p:cNvSpPr>
              <p:nvPr userDrawn="1"/>
            </p:nvSpPr>
            <p:spPr bwMode="auto">
              <a:xfrm flipV="1">
                <a:off x="14527213" y="1782763"/>
                <a:ext cx="4762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5" name="Line 356"/>
              <p:cNvSpPr>
                <a:spLocks noChangeShapeType="1"/>
              </p:cNvSpPr>
              <p:nvPr userDrawn="1"/>
            </p:nvSpPr>
            <p:spPr bwMode="auto">
              <a:xfrm flipV="1">
                <a:off x="14531975" y="1771650"/>
                <a:ext cx="4762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6" name="Line 357"/>
              <p:cNvSpPr>
                <a:spLocks noChangeShapeType="1"/>
              </p:cNvSpPr>
              <p:nvPr userDrawn="1"/>
            </p:nvSpPr>
            <p:spPr bwMode="auto">
              <a:xfrm flipV="1">
                <a:off x="14536738" y="1760538"/>
                <a:ext cx="9525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7" name="Line 358"/>
              <p:cNvSpPr>
                <a:spLocks noChangeShapeType="1"/>
              </p:cNvSpPr>
              <p:nvPr userDrawn="1"/>
            </p:nvSpPr>
            <p:spPr bwMode="auto">
              <a:xfrm flipV="1">
                <a:off x="14546263" y="1751013"/>
                <a:ext cx="12700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8" name="Line 359"/>
              <p:cNvSpPr>
                <a:spLocks noChangeShapeType="1"/>
              </p:cNvSpPr>
              <p:nvPr userDrawn="1"/>
            </p:nvSpPr>
            <p:spPr bwMode="auto">
              <a:xfrm flipV="1">
                <a:off x="14558963" y="1743075"/>
                <a:ext cx="14287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9" name="Line 360"/>
              <p:cNvSpPr>
                <a:spLocks noChangeShapeType="1"/>
              </p:cNvSpPr>
              <p:nvPr userDrawn="1"/>
            </p:nvSpPr>
            <p:spPr bwMode="auto">
              <a:xfrm flipV="1">
                <a:off x="14573250" y="1738313"/>
                <a:ext cx="142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0" name="Line 361"/>
              <p:cNvSpPr>
                <a:spLocks noChangeShapeType="1"/>
              </p:cNvSpPr>
              <p:nvPr userDrawn="1"/>
            </p:nvSpPr>
            <p:spPr bwMode="auto">
              <a:xfrm flipV="1">
                <a:off x="14587538" y="1738313"/>
                <a:ext cx="158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1" name="Line 362"/>
              <p:cNvSpPr>
                <a:spLocks noChangeShapeType="1"/>
              </p:cNvSpPr>
              <p:nvPr userDrawn="1"/>
            </p:nvSpPr>
            <p:spPr bwMode="auto">
              <a:xfrm>
                <a:off x="14603413" y="1738313"/>
                <a:ext cx="174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2" name="Line 363"/>
              <p:cNvSpPr>
                <a:spLocks noChangeShapeType="1"/>
              </p:cNvSpPr>
              <p:nvPr userDrawn="1"/>
            </p:nvSpPr>
            <p:spPr bwMode="auto">
              <a:xfrm>
                <a:off x="14620875" y="1738313"/>
                <a:ext cx="142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3" name="Line 364"/>
              <p:cNvSpPr>
                <a:spLocks noChangeShapeType="1"/>
              </p:cNvSpPr>
              <p:nvPr userDrawn="1"/>
            </p:nvSpPr>
            <p:spPr bwMode="auto">
              <a:xfrm>
                <a:off x="14635163" y="1743075"/>
                <a:ext cx="14287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4" name="Line 365"/>
              <p:cNvSpPr>
                <a:spLocks noChangeShapeType="1"/>
              </p:cNvSpPr>
              <p:nvPr userDrawn="1"/>
            </p:nvSpPr>
            <p:spPr bwMode="auto">
              <a:xfrm>
                <a:off x="14649450" y="1751013"/>
                <a:ext cx="12700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5" name="Line 366"/>
              <p:cNvSpPr>
                <a:spLocks noChangeShapeType="1"/>
              </p:cNvSpPr>
              <p:nvPr userDrawn="1"/>
            </p:nvSpPr>
            <p:spPr bwMode="auto">
              <a:xfrm>
                <a:off x="14662150" y="1760538"/>
                <a:ext cx="9525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6" name="Line 367"/>
              <p:cNvSpPr>
                <a:spLocks noChangeShapeType="1"/>
              </p:cNvSpPr>
              <p:nvPr userDrawn="1"/>
            </p:nvSpPr>
            <p:spPr bwMode="auto">
              <a:xfrm>
                <a:off x="14671675" y="1771650"/>
                <a:ext cx="6350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7" name="Line 368"/>
              <p:cNvSpPr>
                <a:spLocks noChangeShapeType="1"/>
              </p:cNvSpPr>
              <p:nvPr userDrawn="1"/>
            </p:nvSpPr>
            <p:spPr bwMode="auto">
              <a:xfrm>
                <a:off x="14678025" y="1785938"/>
                <a:ext cx="4762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8" name="Line 369"/>
              <p:cNvSpPr>
                <a:spLocks noChangeShapeType="1"/>
              </p:cNvSpPr>
              <p:nvPr userDrawn="1"/>
            </p:nvSpPr>
            <p:spPr bwMode="auto">
              <a:xfrm>
                <a:off x="14682788" y="1801813"/>
                <a:ext cx="1587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9" name="Line 370"/>
              <p:cNvSpPr>
                <a:spLocks noChangeShapeType="1"/>
              </p:cNvSpPr>
              <p:nvPr userDrawn="1"/>
            </p:nvSpPr>
            <p:spPr bwMode="auto">
              <a:xfrm>
                <a:off x="14684375" y="1817688"/>
                <a:ext cx="0" cy="1444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0" name="Line 371"/>
              <p:cNvSpPr>
                <a:spLocks noChangeShapeType="1"/>
              </p:cNvSpPr>
              <p:nvPr userDrawn="1"/>
            </p:nvSpPr>
            <p:spPr bwMode="auto">
              <a:xfrm flipH="1">
                <a:off x="14681200" y="1962150"/>
                <a:ext cx="3175" cy="238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1" name="Line 372"/>
              <p:cNvSpPr>
                <a:spLocks noChangeShapeType="1"/>
              </p:cNvSpPr>
              <p:nvPr userDrawn="1"/>
            </p:nvSpPr>
            <p:spPr bwMode="auto">
              <a:xfrm flipH="1">
                <a:off x="14671675" y="1985963"/>
                <a:ext cx="9525" cy="222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1" name="Freeform 382"/>
              <p:cNvSpPr>
                <a:spLocks noEditPoints="1"/>
              </p:cNvSpPr>
              <p:nvPr userDrawn="1"/>
            </p:nvSpPr>
            <p:spPr bwMode="auto">
              <a:xfrm>
                <a:off x="14743113" y="1738313"/>
                <a:ext cx="157162" cy="304800"/>
              </a:xfrm>
              <a:custGeom>
                <a:avLst/>
                <a:gdLst>
                  <a:gd name="T0" fmla="*/ 61 w 199"/>
                  <a:gd name="T1" fmla="*/ 51 h 385"/>
                  <a:gd name="T2" fmla="*/ 58 w 199"/>
                  <a:gd name="T3" fmla="*/ 52 h 385"/>
                  <a:gd name="T4" fmla="*/ 55 w 199"/>
                  <a:gd name="T5" fmla="*/ 54 h 385"/>
                  <a:gd name="T6" fmla="*/ 53 w 199"/>
                  <a:gd name="T7" fmla="*/ 57 h 385"/>
                  <a:gd name="T8" fmla="*/ 53 w 199"/>
                  <a:gd name="T9" fmla="*/ 61 h 385"/>
                  <a:gd name="T10" fmla="*/ 53 w 199"/>
                  <a:gd name="T11" fmla="*/ 324 h 385"/>
                  <a:gd name="T12" fmla="*/ 53 w 199"/>
                  <a:gd name="T13" fmla="*/ 327 h 385"/>
                  <a:gd name="T14" fmla="*/ 55 w 199"/>
                  <a:gd name="T15" fmla="*/ 330 h 385"/>
                  <a:gd name="T16" fmla="*/ 58 w 199"/>
                  <a:gd name="T17" fmla="*/ 333 h 385"/>
                  <a:gd name="T18" fmla="*/ 61 w 199"/>
                  <a:gd name="T19" fmla="*/ 333 h 385"/>
                  <a:gd name="T20" fmla="*/ 91 w 199"/>
                  <a:gd name="T21" fmla="*/ 333 h 385"/>
                  <a:gd name="T22" fmla="*/ 108 w 199"/>
                  <a:gd name="T23" fmla="*/ 332 h 385"/>
                  <a:gd name="T24" fmla="*/ 123 w 199"/>
                  <a:gd name="T25" fmla="*/ 324 h 385"/>
                  <a:gd name="T26" fmla="*/ 136 w 199"/>
                  <a:gd name="T27" fmla="*/ 313 h 385"/>
                  <a:gd name="T28" fmla="*/ 143 w 199"/>
                  <a:gd name="T29" fmla="*/ 299 h 385"/>
                  <a:gd name="T30" fmla="*/ 148 w 199"/>
                  <a:gd name="T31" fmla="*/ 277 h 385"/>
                  <a:gd name="T32" fmla="*/ 148 w 199"/>
                  <a:gd name="T33" fmla="*/ 109 h 385"/>
                  <a:gd name="T34" fmla="*/ 146 w 199"/>
                  <a:gd name="T35" fmla="*/ 93 h 385"/>
                  <a:gd name="T36" fmla="*/ 139 w 199"/>
                  <a:gd name="T37" fmla="*/ 76 h 385"/>
                  <a:gd name="T38" fmla="*/ 127 w 199"/>
                  <a:gd name="T39" fmla="*/ 64 h 385"/>
                  <a:gd name="T40" fmla="*/ 113 w 199"/>
                  <a:gd name="T41" fmla="*/ 57 h 385"/>
                  <a:gd name="T42" fmla="*/ 106 w 199"/>
                  <a:gd name="T43" fmla="*/ 54 h 385"/>
                  <a:gd name="T44" fmla="*/ 98 w 199"/>
                  <a:gd name="T45" fmla="*/ 52 h 385"/>
                  <a:gd name="T46" fmla="*/ 91 w 199"/>
                  <a:gd name="T47" fmla="*/ 51 h 385"/>
                  <a:gd name="T48" fmla="*/ 61 w 199"/>
                  <a:gd name="T49" fmla="*/ 51 h 385"/>
                  <a:gd name="T50" fmla="*/ 26 w 199"/>
                  <a:gd name="T51" fmla="*/ 0 h 385"/>
                  <a:gd name="T52" fmla="*/ 91 w 199"/>
                  <a:gd name="T53" fmla="*/ 0 h 385"/>
                  <a:gd name="T54" fmla="*/ 112 w 199"/>
                  <a:gd name="T55" fmla="*/ 2 h 385"/>
                  <a:gd name="T56" fmla="*/ 133 w 199"/>
                  <a:gd name="T57" fmla="*/ 7 h 385"/>
                  <a:gd name="T58" fmla="*/ 151 w 199"/>
                  <a:gd name="T59" fmla="*/ 19 h 385"/>
                  <a:gd name="T60" fmla="*/ 168 w 199"/>
                  <a:gd name="T61" fmla="*/ 31 h 385"/>
                  <a:gd name="T62" fmla="*/ 181 w 199"/>
                  <a:gd name="T63" fmla="*/ 48 h 385"/>
                  <a:gd name="T64" fmla="*/ 191 w 199"/>
                  <a:gd name="T65" fmla="*/ 67 h 385"/>
                  <a:gd name="T66" fmla="*/ 198 w 199"/>
                  <a:gd name="T67" fmla="*/ 86 h 385"/>
                  <a:gd name="T68" fmla="*/ 199 w 199"/>
                  <a:gd name="T69" fmla="*/ 109 h 385"/>
                  <a:gd name="T70" fmla="*/ 199 w 199"/>
                  <a:gd name="T71" fmla="*/ 277 h 385"/>
                  <a:gd name="T72" fmla="*/ 198 w 199"/>
                  <a:gd name="T73" fmla="*/ 298 h 385"/>
                  <a:gd name="T74" fmla="*/ 192 w 199"/>
                  <a:gd name="T75" fmla="*/ 317 h 385"/>
                  <a:gd name="T76" fmla="*/ 181 w 199"/>
                  <a:gd name="T77" fmla="*/ 337 h 385"/>
                  <a:gd name="T78" fmla="*/ 168 w 199"/>
                  <a:gd name="T79" fmla="*/ 354 h 385"/>
                  <a:gd name="T80" fmla="*/ 151 w 199"/>
                  <a:gd name="T81" fmla="*/ 367 h 385"/>
                  <a:gd name="T82" fmla="*/ 133 w 199"/>
                  <a:gd name="T83" fmla="*/ 377 h 385"/>
                  <a:gd name="T84" fmla="*/ 112 w 199"/>
                  <a:gd name="T85" fmla="*/ 384 h 385"/>
                  <a:gd name="T86" fmla="*/ 91 w 199"/>
                  <a:gd name="T87" fmla="*/ 385 h 385"/>
                  <a:gd name="T88" fmla="*/ 26 w 199"/>
                  <a:gd name="T89" fmla="*/ 385 h 385"/>
                  <a:gd name="T90" fmla="*/ 20 w 199"/>
                  <a:gd name="T91" fmla="*/ 385 h 385"/>
                  <a:gd name="T92" fmla="*/ 13 w 199"/>
                  <a:gd name="T93" fmla="*/ 382 h 385"/>
                  <a:gd name="T94" fmla="*/ 7 w 199"/>
                  <a:gd name="T95" fmla="*/ 378 h 385"/>
                  <a:gd name="T96" fmla="*/ 3 w 199"/>
                  <a:gd name="T97" fmla="*/ 372 h 385"/>
                  <a:gd name="T98" fmla="*/ 0 w 199"/>
                  <a:gd name="T99" fmla="*/ 365 h 385"/>
                  <a:gd name="T100" fmla="*/ 0 w 199"/>
                  <a:gd name="T101" fmla="*/ 360 h 385"/>
                  <a:gd name="T102" fmla="*/ 0 w 199"/>
                  <a:gd name="T103" fmla="*/ 26 h 385"/>
                  <a:gd name="T104" fmla="*/ 0 w 199"/>
                  <a:gd name="T105" fmla="*/ 19 h 385"/>
                  <a:gd name="T106" fmla="*/ 3 w 199"/>
                  <a:gd name="T107" fmla="*/ 13 h 385"/>
                  <a:gd name="T108" fmla="*/ 7 w 199"/>
                  <a:gd name="T109" fmla="*/ 7 h 385"/>
                  <a:gd name="T110" fmla="*/ 13 w 199"/>
                  <a:gd name="T111" fmla="*/ 3 h 385"/>
                  <a:gd name="T112" fmla="*/ 19 w 199"/>
                  <a:gd name="T113" fmla="*/ 0 h 385"/>
                  <a:gd name="T114" fmla="*/ 26 w 199"/>
                  <a:gd name="T115" fmla="*/ 0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99" h="385">
                    <a:moveTo>
                      <a:pt x="61" y="51"/>
                    </a:moveTo>
                    <a:lnTo>
                      <a:pt x="58" y="52"/>
                    </a:lnTo>
                    <a:lnTo>
                      <a:pt x="55" y="54"/>
                    </a:lnTo>
                    <a:lnTo>
                      <a:pt x="53" y="57"/>
                    </a:lnTo>
                    <a:lnTo>
                      <a:pt x="53" y="61"/>
                    </a:lnTo>
                    <a:lnTo>
                      <a:pt x="53" y="324"/>
                    </a:lnTo>
                    <a:lnTo>
                      <a:pt x="53" y="327"/>
                    </a:lnTo>
                    <a:lnTo>
                      <a:pt x="55" y="330"/>
                    </a:lnTo>
                    <a:lnTo>
                      <a:pt x="58" y="333"/>
                    </a:lnTo>
                    <a:lnTo>
                      <a:pt x="61" y="333"/>
                    </a:lnTo>
                    <a:lnTo>
                      <a:pt x="91" y="333"/>
                    </a:lnTo>
                    <a:lnTo>
                      <a:pt x="108" y="332"/>
                    </a:lnTo>
                    <a:lnTo>
                      <a:pt x="123" y="324"/>
                    </a:lnTo>
                    <a:lnTo>
                      <a:pt x="136" y="313"/>
                    </a:lnTo>
                    <a:lnTo>
                      <a:pt x="143" y="299"/>
                    </a:lnTo>
                    <a:lnTo>
                      <a:pt x="148" y="277"/>
                    </a:lnTo>
                    <a:lnTo>
                      <a:pt x="148" y="109"/>
                    </a:lnTo>
                    <a:lnTo>
                      <a:pt x="146" y="93"/>
                    </a:lnTo>
                    <a:lnTo>
                      <a:pt x="139" y="76"/>
                    </a:lnTo>
                    <a:lnTo>
                      <a:pt x="127" y="64"/>
                    </a:lnTo>
                    <a:lnTo>
                      <a:pt x="113" y="57"/>
                    </a:lnTo>
                    <a:lnTo>
                      <a:pt x="106" y="54"/>
                    </a:lnTo>
                    <a:lnTo>
                      <a:pt x="98" y="52"/>
                    </a:lnTo>
                    <a:lnTo>
                      <a:pt x="91" y="51"/>
                    </a:lnTo>
                    <a:lnTo>
                      <a:pt x="61" y="51"/>
                    </a:lnTo>
                    <a:close/>
                    <a:moveTo>
                      <a:pt x="26" y="0"/>
                    </a:moveTo>
                    <a:lnTo>
                      <a:pt x="91" y="0"/>
                    </a:lnTo>
                    <a:lnTo>
                      <a:pt x="112" y="2"/>
                    </a:lnTo>
                    <a:lnTo>
                      <a:pt x="133" y="7"/>
                    </a:lnTo>
                    <a:lnTo>
                      <a:pt x="151" y="19"/>
                    </a:lnTo>
                    <a:lnTo>
                      <a:pt x="168" y="31"/>
                    </a:lnTo>
                    <a:lnTo>
                      <a:pt x="181" y="48"/>
                    </a:lnTo>
                    <a:lnTo>
                      <a:pt x="191" y="67"/>
                    </a:lnTo>
                    <a:lnTo>
                      <a:pt x="198" y="86"/>
                    </a:lnTo>
                    <a:lnTo>
                      <a:pt x="199" y="109"/>
                    </a:lnTo>
                    <a:lnTo>
                      <a:pt x="199" y="277"/>
                    </a:lnTo>
                    <a:lnTo>
                      <a:pt x="198" y="298"/>
                    </a:lnTo>
                    <a:lnTo>
                      <a:pt x="192" y="317"/>
                    </a:lnTo>
                    <a:lnTo>
                      <a:pt x="181" y="337"/>
                    </a:lnTo>
                    <a:lnTo>
                      <a:pt x="168" y="354"/>
                    </a:lnTo>
                    <a:lnTo>
                      <a:pt x="151" y="367"/>
                    </a:lnTo>
                    <a:lnTo>
                      <a:pt x="133" y="377"/>
                    </a:lnTo>
                    <a:lnTo>
                      <a:pt x="112" y="384"/>
                    </a:lnTo>
                    <a:lnTo>
                      <a:pt x="91" y="385"/>
                    </a:lnTo>
                    <a:lnTo>
                      <a:pt x="26" y="385"/>
                    </a:lnTo>
                    <a:lnTo>
                      <a:pt x="20" y="385"/>
                    </a:lnTo>
                    <a:lnTo>
                      <a:pt x="13" y="382"/>
                    </a:lnTo>
                    <a:lnTo>
                      <a:pt x="7" y="378"/>
                    </a:lnTo>
                    <a:lnTo>
                      <a:pt x="3" y="372"/>
                    </a:lnTo>
                    <a:lnTo>
                      <a:pt x="0" y="365"/>
                    </a:lnTo>
                    <a:lnTo>
                      <a:pt x="0" y="360"/>
                    </a:lnTo>
                    <a:lnTo>
                      <a:pt x="0" y="26"/>
                    </a:lnTo>
                    <a:lnTo>
                      <a:pt x="0" y="19"/>
                    </a:lnTo>
                    <a:lnTo>
                      <a:pt x="3" y="13"/>
                    </a:lnTo>
                    <a:lnTo>
                      <a:pt x="7" y="7"/>
                    </a:lnTo>
                    <a:lnTo>
                      <a:pt x="13" y="3"/>
                    </a:lnTo>
                    <a:lnTo>
                      <a:pt x="19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9" name="Line 390"/>
              <p:cNvSpPr>
                <a:spLocks noChangeShapeType="1"/>
              </p:cNvSpPr>
              <p:nvPr userDrawn="1"/>
            </p:nvSpPr>
            <p:spPr bwMode="auto">
              <a:xfrm flipV="1">
                <a:off x="14839950" y="1985963"/>
                <a:ext cx="9525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0" name="Line 391"/>
              <p:cNvSpPr>
                <a:spLocks noChangeShapeType="1"/>
              </p:cNvSpPr>
              <p:nvPr userDrawn="1"/>
            </p:nvSpPr>
            <p:spPr bwMode="auto">
              <a:xfrm flipV="1">
                <a:off x="14849475" y="1974850"/>
                <a:ext cx="6350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1" name="Line 392"/>
              <p:cNvSpPr>
                <a:spLocks noChangeShapeType="1"/>
              </p:cNvSpPr>
              <p:nvPr userDrawn="1"/>
            </p:nvSpPr>
            <p:spPr bwMode="auto">
              <a:xfrm flipV="1">
                <a:off x="14855825" y="1957388"/>
                <a:ext cx="4762" cy="174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2" name="Line 393"/>
              <p:cNvSpPr>
                <a:spLocks noChangeShapeType="1"/>
              </p:cNvSpPr>
              <p:nvPr userDrawn="1"/>
            </p:nvSpPr>
            <p:spPr bwMode="auto">
              <a:xfrm flipV="1">
                <a:off x="14860588" y="1824038"/>
                <a:ext cx="0" cy="133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3" name="Line 394"/>
              <p:cNvSpPr>
                <a:spLocks noChangeShapeType="1"/>
              </p:cNvSpPr>
              <p:nvPr userDrawn="1"/>
            </p:nvSpPr>
            <p:spPr bwMode="auto">
              <a:xfrm flipH="1" flipV="1">
                <a:off x="14857413" y="1811338"/>
                <a:ext cx="3175" cy="127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4" name="Line 395"/>
              <p:cNvSpPr>
                <a:spLocks noChangeShapeType="1"/>
              </p:cNvSpPr>
              <p:nvPr userDrawn="1"/>
            </p:nvSpPr>
            <p:spPr bwMode="auto">
              <a:xfrm flipH="1" flipV="1">
                <a:off x="14852650" y="1798638"/>
                <a:ext cx="4762" cy="127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5" name="Line 396"/>
              <p:cNvSpPr>
                <a:spLocks noChangeShapeType="1"/>
              </p:cNvSpPr>
              <p:nvPr userDrawn="1"/>
            </p:nvSpPr>
            <p:spPr bwMode="auto">
              <a:xfrm flipH="1" flipV="1">
                <a:off x="14843125" y="1787525"/>
                <a:ext cx="9525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6" name="Line 397"/>
              <p:cNvSpPr>
                <a:spLocks noChangeShapeType="1"/>
              </p:cNvSpPr>
              <p:nvPr userDrawn="1"/>
            </p:nvSpPr>
            <p:spPr bwMode="auto">
              <a:xfrm flipH="1" flipV="1">
                <a:off x="14832013" y="1782763"/>
                <a:ext cx="11112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7" name="Line 398"/>
              <p:cNvSpPr>
                <a:spLocks noChangeShapeType="1"/>
              </p:cNvSpPr>
              <p:nvPr userDrawn="1"/>
            </p:nvSpPr>
            <p:spPr bwMode="auto">
              <a:xfrm flipH="1" flipV="1">
                <a:off x="14827250" y="1779588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8" name="Line 399"/>
              <p:cNvSpPr>
                <a:spLocks noChangeShapeType="1"/>
              </p:cNvSpPr>
              <p:nvPr userDrawn="1"/>
            </p:nvSpPr>
            <p:spPr bwMode="auto">
              <a:xfrm flipH="1" flipV="1">
                <a:off x="14819313" y="1779588"/>
                <a:ext cx="793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9" name="Line 400"/>
              <p:cNvSpPr>
                <a:spLocks noChangeShapeType="1"/>
              </p:cNvSpPr>
              <p:nvPr userDrawn="1"/>
            </p:nvSpPr>
            <p:spPr bwMode="auto">
              <a:xfrm flipH="1" flipV="1">
                <a:off x="14814550" y="1778000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0" name="Line 401"/>
              <p:cNvSpPr>
                <a:spLocks noChangeShapeType="1"/>
              </p:cNvSpPr>
              <p:nvPr userDrawn="1"/>
            </p:nvSpPr>
            <p:spPr bwMode="auto">
              <a:xfrm flipH="1">
                <a:off x="14790738" y="1778000"/>
                <a:ext cx="2381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1" name="Line 402"/>
              <p:cNvSpPr>
                <a:spLocks noChangeShapeType="1"/>
              </p:cNvSpPr>
              <p:nvPr userDrawn="1"/>
            </p:nvSpPr>
            <p:spPr bwMode="auto">
              <a:xfrm flipH="1">
                <a:off x="14789150" y="1778000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2" name="Line 403"/>
              <p:cNvSpPr>
                <a:spLocks noChangeShapeType="1"/>
              </p:cNvSpPr>
              <p:nvPr userDrawn="1"/>
            </p:nvSpPr>
            <p:spPr bwMode="auto">
              <a:xfrm flipH="1">
                <a:off x="14785975" y="1779588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3" name="Line 404"/>
              <p:cNvSpPr>
                <a:spLocks noChangeShapeType="1"/>
              </p:cNvSpPr>
              <p:nvPr userDrawn="1"/>
            </p:nvSpPr>
            <p:spPr bwMode="auto">
              <a:xfrm flipH="1">
                <a:off x="14784388" y="1779588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4" name="Line 405"/>
              <p:cNvSpPr>
                <a:spLocks noChangeShapeType="1"/>
              </p:cNvSpPr>
              <p:nvPr userDrawn="1"/>
            </p:nvSpPr>
            <p:spPr bwMode="auto">
              <a:xfrm>
                <a:off x="14784388" y="1782763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15" name="Line 407"/>
              <p:cNvSpPr>
                <a:spLocks noChangeShapeType="1"/>
              </p:cNvSpPr>
              <p:nvPr userDrawn="1"/>
            </p:nvSpPr>
            <p:spPr bwMode="auto">
              <a:xfrm>
                <a:off x="14784388" y="1785938"/>
                <a:ext cx="0" cy="2095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22" name="Line 414"/>
              <p:cNvSpPr>
                <a:spLocks noChangeShapeType="1"/>
              </p:cNvSpPr>
              <p:nvPr userDrawn="1"/>
            </p:nvSpPr>
            <p:spPr bwMode="auto">
              <a:xfrm flipV="1">
                <a:off x="14743113" y="1757363"/>
                <a:ext cx="0" cy="265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23" name="Line 415"/>
              <p:cNvSpPr>
                <a:spLocks noChangeShapeType="1"/>
              </p:cNvSpPr>
              <p:nvPr userDrawn="1"/>
            </p:nvSpPr>
            <p:spPr bwMode="auto">
              <a:xfrm flipV="1">
                <a:off x="14743113" y="1752601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24" name="Line 416"/>
              <p:cNvSpPr>
                <a:spLocks noChangeShapeType="1"/>
              </p:cNvSpPr>
              <p:nvPr userDrawn="1"/>
            </p:nvSpPr>
            <p:spPr bwMode="auto">
              <a:xfrm flipV="1">
                <a:off x="14743113" y="174783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25" name="Line 417"/>
              <p:cNvSpPr>
                <a:spLocks noChangeShapeType="1"/>
              </p:cNvSpPr>
              <p:nvPr userDrawn="1"/>
            </p:nvSpPr>
            <p:spPr bwMode="auto">
              <a:xfrm flipV="1">
                <a:off x="14744700" y="1743076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26" name="Line 418"/>
              <p:cNvSpPr>
                <a:spLocks noChangeShapeType="1"/>
              </p:cNvSpPr>
              <p:nvPr userDrawn="1"/>
            </p:nvSpPr>
            <p:spPr bwMode="auto">
              <a:xfrm flipV="1">
                <a:off x="14747875" y="1739901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27" name="Line 419"/>
              <p:cNvSpPr>
                <a:spLocks noChangeShapeType="1"/>
              </p:cNvSpPr>
              <p:nvPr userDrawn="1"/>
            </p:nvSpPr>
            <p:spPr bwMode="auto">
              <a:xfrm flipV="1">
                <a:off x="14752638" y="17383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28" name="Line 420"/>
              <p:cNvSpPr>
                <a:spLocks noChangeShapeType="1"/>
              </p:cNvSpPr>
              <p:nvPr userDrawn="1"/>
            </p:nvSpPr>
            <p:spPr bwMode="auto">
              <a:xfrm>
                <a:off x="14757400" y="1738313"/>
                <a:ext cx="47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29" name="Line 421"/>
              <p:cNvSpPr>
                <a:spLocks noChangeShapeType="1"/>
              </p:cNvSpPr>
              <p:nvPr userDrawn="1"/>
            </p:nvSpPr>
            <p:spPr bwMode="auto">
              <a:xfrm>
                <a:off x="14762163" y="1738313"/>
                <a:ext cx="523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30" name="Line 422"/>
              <p:cNvSpPr>
                <a:spLocks noChangeShapeType="1"/>
              </p:cNvSpPr>
              <p:nvPr userDrawn="1"/>
            </p:nvSpPr>
            <p:spPr bwMode="auto">
              <a:xfrm>
                <a:off x="14814550" y="1738313"/>
                <a:ext cx="158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31" name="Line 423"/>
              <p:cNvSpPr>
                <a:spLocks noChangeShapeType="1"/>
              </p:cNvSpPr>
              <p:nvPr userDrawn="1"/>
            </p:nvSpPr>
            <p:spPr bwMode="auto">
              <a:xfrm>
                <a:off x="14830425" y="1738313"/>
                <a:ext cx="17462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32" name="Line 424"/>
              <p:cNvSpPr>
                <a:spLocks noChangeShapeType="1"/>
              </p:cNvSpPr>
              <p:nvPr userDrawn="1"/>
            </p:nvSpPr>
            <p:spPr bwMode="auto">
              <a:xfrm>
                <a:off x="14847888" y="1743076"/>
                <a:ext cx="14287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33" name="Line 425"/>
              <p:cNvSpPr>
                <a:spLocks noChangeShapeType="1"/>
              </p:cNvSpPr>
              <p:nvPr userDrawn="1"/>
            </p:nvSpPr>
            <p:spPr bwMode="auto">
              <a:xfrm>
                <a:off x="14862175" y="1752601"/>
                <a:ext cx="14287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34" name="Line 426"/>
              <p:cNvSpPr>
                <a:spLocks noChangeShapeType="1"/>
              </p:cNvSpPr>
              <p:nvPr userDrawn="1"/>
            </p:nvSpPr>
            <p:spPr bwMode="auto">
              <a:xfrm>
                <a:off x="14876463" y="1762126"/>
                <a:ext cx="9525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35" name="Line 427"/>
              <p:cNvSpPr>
                <a:spLocks noChangeShapeType="1"/>
              </p:cNvSpPr>
              <p:nvPr userDrawn="1"/>
            </p:nvSpPr>
            <p:spPr bwMode="auto">
              <a:xfrm>
                <a:off x="14885988" y="1776413"/>
                <a:ext cx="7937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36" name="Line 428"/>
              <p:cNvSpPr>
                <a:spLocks noChangeShapeType="1"/>
              </p:cNvSpPr>
              <p:nvPr userDrawn="1"/>
            </p:nvSpPr>
            <p:spPr bwMode="auto">
              <a:xfrm>
                <a:off x="14893925" y="1790701"/>
                <a:ext cx="4762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37" name="Line 429"/>
              <p:cNvSpPr>
                <a:spLocks noChangeShapeType="1"/>
              </p:cNvSpPr>
              <p:nvPr userDrawn="1"/>
            </p:nvSpPr>
            <p:spPr bwMode="auto">
              <a:xfrm>
                <a:off x="14898688" y="1806576"/>
                <a:ext cx="1587" cy="174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38" name="Line 430"/>
              <p:cNvSpPr>
                <a:spLocks noChangeShapeType="1"/>
              </p:cNvSpPr>
              <p:nvPr userDrawn="1"/>
            </p:nvSpPr>
            <p:spPr bwMode="auto">
              <a:xfrm>
                <a:off x="14900275" y="1824038"/>
                <a:ext cx="0" cy="133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39" name="Line 431"/>
              <p:cNvSpPr>
                <a:spLocks noChangeShapeType="1"/>
              </p:cNvSpPr>
              <p:nvPr userDrawn="1"/>
            </p:nvSpPr>
            <p:spPr bwMode="auto">
              <a:xfrm flipH="1">
                <a:off x="14898688" y="1957388"/>
                <a:ext cx="1587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0" name="Line 432"/>
              <p:cNvSpPr>
                <a:spLocks noChangeShapeType="1"/>
              </p:cNvSpPr>
              <p:nvPr userDrawn="1"/>
            </p:nvSpPr>
            <p:spPr bwMode="auto">
              <a:xfrm flipH="1">
                <a:off x="14895513" y="1973263"/>
                <a:ext cx="3175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1" name="Line 433"/>
              <p:cNvSpPr>
                <a:spLocks noChangeShapeType="1"/>
              </p:cNvSpPr>
              <p:nvPr userDrawn="1"/>
            </p:nvSpPr>
            <p:spPr bwMode="auto">
              <a:xfrm flipH="1">
                <a:off x="14885988" y="1989138"/>
                <a:ext cx="9525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8" name="Freeform 440"/>
              <p:cNvSpPr>
                <a:spLocks noEditPoints="1"/>
              </p:cNvSpPr>
              <p:nvPr userDrawn="1"/>
            </p:nvSpPr>
            <p:spPr bwMode="auto">
              <a:xfrm>
                <a:off x="14939963" y="1738313"/>
                <a:ext cx="182562" cy="306388"/>
              </a:xfrm>
              <a:custGeom>
                <a:avLst/>
                <a:gdLst>
                  <a:gd name="T0" fmla="*/ 112 w 232"/>
                  <a:gd name="T1" fmla="*/ 62 h 387"/>
                  <a:gd name="T2" fmla="*/ 108 w 232"/>
                  <a:gd name="T3" fmla="*/ 65 h 387"/>
                  <a:gd name="T4" fmla="*/ 105 w 232"/>
                  <a:gd name="T5" fmla="*/ 79 h 387"/>
                  <a:gd name="T6" fmla="*/ 96 w 232"/>
                  <a:gd name="T7" fmla="*/ 124 h 387"/>
                  <a:gd name="T8" fmla="*/ 81 w 232"/>
                  <a:gd name="T9" fmla="*/ 206 h 387"/>
                  <a:gd name="T10" fmla="*/ 84 w 232"/>
                  <a:gd name="T11" fmla="*/ 213 h 387"/>
                  <a:gd name="T12" fmla="*/ 88 w 232"/>
                  <a:gd name="T13" fmla="*/ 216 h 387"/>
                  <a:gd name="T14" fmla="*/ 141 w 232"/>
                  <a:gd name="T15" fmla="*/ 217 h 387"/>
                  <a:gd name="T16" fmla="*/ 148 w 232"/>
                  <a:gd name="T17" fmla="*/ 213 h 387"/>
                  <a:gd name="T18" fmla="*/ 150 w 232"/>
                  <a:gd name="T19" fmla="*/ 206 h 387"/>
                  <a:gd name="T20" fmla="*/ 136 w 232"/>
                  <a:gd name="T21" fmla="*/ 124 h 387"/>
                  <a:gd name="T22" fmla="*/ 127 w 232"/>
                  <a:gd name="T23" fmla="*/ 79 h 387"/>
                  <a:gd name="T24" fmla="*/ 123 w 232"/>
                  <a:gd name="T25" fmla="*/ 65 h 387"/>
                  <a:gd name="T26" fmla="*/ 119 w 232"/>
                  <a:gd name="T27" fmla="*/ 62 h 387"/>
                  <a:gd name="T28" fmla="*/ 116 w 232"/>
                  <a:gd name="T29" fmla="*/ 0 h 387"/>
                  <a:gd name="T30" fmla="*/ 154 w 232"/>
                  <a:gd name="T31" fmla="*/ 14 h 387"/>
                  <a:gd name="T32" fmla="*/ 174 w 232"/>
                  <a:gd name="T33" fmla="*/ 48 h 387"/>
                  <a:gd name="T34" fmla="*/ 175 w 232"/>
                  <a:gd name="T35" fmla="*/ 54 h 387"/>
                  <a:gd name="T36" fmla="*/ 177 w 232"/>
                  <a:gd name="T37" fmla="*/ 64 h 387"/>
                  <a:gd name="T38" fmla="*/ 184 w 232"/>
                  <a:gd name="T39" fmla="*/ 99 h 387"/>
                  <a:gd name="T40" fmla="*/ 192 w 232"/>
                  <a:gd name="T41" fmla="*/ 148 h 387"/>
                  <a:gd name="T42" fmla="*/ 216 w 232"/>
                  <a:gd name="T43" fmla="*/ 277 h 387"/>
                  <a:gd name="T44" fmla="*/ 232 w 232"/>
                  <a:gd name="T45" fmla="*/ 363 h 387"/>
                  <a:gd name="T46" fmla="*/ 226 w 232"/>
                  <a:gd name="T47" fmla="*/ 374 h 387"/>
                  <a:gd name="T48" fmla="*/ 219 w 232"/>
                  <a:gd name="T49" fmla="*/ 382 h 387"/>
                  <a:gd name="T50" fmla="*/ 210 w 232"/>
                  <a:gd name="T51" fmla="*/ 385 h 387"/>
                  <a:gd name="T52" fmla="*/ 205 w 232"/>
                  <a:gd name="T53" fmla="*/ 387 h 387"/>
                  <a:gd name="T54" fmla="*/ 193 w 232"/>
                  <a:gd name="T55" fmla="*/ 384 h 387"/>
                  <a:gd name="T56" fmla="*/ 185 w 232"/>
                  <a:gd name="T57" fmla="*/ 375 h 387"/>
                  <a:gd name="T58" fmla="*/ 179 w 232"/>
                  <a:gd name="T59" fmla="*/ 364 h 387"/>
                  <a:gd name="T60" fmla="*/ 162 w 232"/>
                  <a:gd name="T61" fmla="*/ 274 h 387"/>
                  <a:gd name="T62" fmla="*/ 158 w 232"/>
                  <a:gd name="T63" fmla="*/ 270 h 387"/>
                  <a:gd name="T64" fmla="*/ 78 w 232"/>
                  <a:gd name="T65" fmla="*/ 270 h 387"/>
                  <a:gd name="T66" fmla="*/ 71 w 232"/>
                  <a:gd name="T67" fmla="*/ 271 h 387"/>
                  <a:gd name="T68" fmla="*/ 68 w 232"/>
                  <a:gd name="T69" fmla="*/ 277 h 387"/>
                  <a:gd name="T70" fmla="*/ 50 w 232"/>
                  <a:gd name="T71" fmla="*/ 371 h 387"/>
                  <a:gd name="T72" fmla="*/ 43 w 232"/>
                  <a:gd name="T73" fmla="*/ 379 h 387"/>
                  <a:gd name="T74" fmla="*/ 33 w 232"/>
                  <a:gd name="T75" fmla="*/ 385 h 387"/>
                  <a:gd name="T76" fmla="*/ 24 w 232"/>
                  <a:gd name="T77" fmla="*/ 387 h 387"/>
                  <a:gd name="T78" fmla="*/ 17 w 232"/>
                  <a:gd name="T79" fmla="*/ 384 h 387"/>
                  <a:gd name="T80" fmla="*/ 9 w 232"/>
                  <a:gd name="T81" fmla="*/ 379 h 387"/>
                  <a:gd name="T82" fmla="*/ 2 w 232"/>
                  <a:gd name="T83" fmla="*/ 368 h 387"/>
                  <a:gd name="T84" fmla="*/ 2 w 232"/>
                  <a:gd name="T85" fmla="*/ 356 h 387"/>
                  <a:gd name="T86" fmla="*/ 29 w 232"/>
                  <a:gd name="T87" fmla="*/ 205 h 387"/>
                  <a:gd name="T88" fmla="*/ 44 w 232"/>
                  <a:gd name="T89" fmla="*/ 123 h 387"/>
                  <a:gd name="T90" fmla="*/ 51 w 232"/>
                  <a:gd name="T91" fmla="*/ 81 h 387"/>
                  <a:gd name="T92" fmla="*/ 55 w 232"/>
                  <a:gd name="T93" fmla="*/ 58 h 387"/>
                  <a:gd name="T94" fmla="*/ 57 w 232"/>
                  <a:gd name="T95" fmla="*/ 50 h 387"/>
                  <a:gd name="T96" fmla="*/ 65 w 232"/>
                  <a:gd name="T97" fmla="*/ 30 h 387"/>
                  <a:gd name="T98" fmla="*/ 96 w 232"/>
                  <a:gd name="T99" fmla="*/ 3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32" h="387">
                    <a:moveTo>
                      <a:pt x="116" y="61"/>
                    </a:moveTo>
                    <a:lnTo>
                      <a:pt x="112" y="62"/>
                    </a:lnTo>
                    <a:lnTo>
                      <a:pt x="110" y="64"/>
                    </a:lnTo>
                    <a:lnTo>
                      <a:pt x="108" y="65"/>
                    </a:lnTo>
                    <a:lnTo>
                      <a:pt x="106" y="69"/>
                    </a:lnTo>
                    <a:lnTo>
                      <a:pt x="105" y="79"/>
                    </a:lnTo>
                    <a:lnTo>
                      <a:pt x="102" y="92"/>
                    </a:lnTo>
                    <a:lnTo>
                      <a:pt x="96" y="124"/>
                    </a:lnTo>
                    <a:lnTo>
                      <a:pt x="89" y="164"/>
                    </a:lnTo>
                    <a:lnTo>
                      <a:pt x="81" y="206"/>
                    </a:lnTo>
                    <a:lnTo>
                      <a:pt x="82" y="210"/>
                    </a:lnTo>
                    <a:lnTo>
                      <a:pt x="84" y="213"/>
                    </a:lnTo>
                    <a:lnTo>
                      <a:pt x="85" y="216"/>
                    </a:lnTo>
                    <a:lnTo>
                      <a:pt x="88" y="216"/>
                    </a:lnTo>
                    <a:lnTo>
                      <a:pt x="91" y="217"/>
                    </a:lnTo>
                    <a:lnTo>
                      <a:pt x="141" y="217"/>
                    </a:lnTo>
                    <a:lnTo>
                      <a:pt x="146" y="216"/>
                    </a:lnTo>
                    <a:lnTo>
                      <a:pt x="148" y="213"/>
                    </a:lnTo>
                    <a:lnTo>
                      <a:pt x="150" y="210"/>
                    </a:lnTo>
                    <a:lnTo>
                      <a:pt x="150" y="206"/>
                    </a:lnTo>
                    <a:lnTo>
                      <a:pt x="143" y="164"/>
                    </a:lnTo>
                    <a:lnTo>
                      <a:pt x="136" y="124"/>
                    </a:lnTo>
                    <a:lnTo>
                      <a:pt x="129" y="92"/>
                    </a:lnTo>
                    <a:lnTo>
                      <a:pt x="127" y="79"/>
                    </a:lnTo>
                    <a:lnTo>
                      <a:pt x="124" y="69"/>
                    </a:lnTo>
                    <a:lnTo>
                      <a:pt x="123" y="65"/>
                    </a:lnTo>
                    <a:lnTo>
                      <a:pt x="122" y="64"/>
                    </a:lnTo>
                    <a:lnTo>
                      <a:pt x="119" y="62"/>
                    </a:lnTo>
                    <a:lnTo>
                      <a:pt x="116" y="61"/>
                    </a:lnTo>
                    <a:close/>
                    <a:moveTo>
                      <a:pt x="116" y="0"/>
                    </a:moveTo>
                    <a:lnTo>
                      <a:pt x="136" y="3"/>
                    </a:lnTo>
                    <a:lnTo>
                      <a:pt x="154" y="14"/>
                    </a:lnTo>
                    <a:lnTo>
                      <a:pt x="167" y="30"/>
                    </a:lnTo>
                    <a:lnTo>
                      <a:pt x="174" y="48"/>
                    </a:lnTo>
                    <a:lnTo>
                      <a:pt x="174" y="50"/>
                    </a:lnTo>
                    <a:lnTo>
                      <a:pt x="175" y="54"/>
                    </a:lnTo>
                    <a:lnTo>
                      <a:pt x="175" y="58"/>
                    </a:lnTo>
                    <a:lnTo>
                      <a:pt x="177" y="64"/>
                    </a:lnTo>
                    <a:lnTo>
                      <a:pt x="179" y="79"/>
                    </a:lnTo>
                    <a:lnTo>
                      <a:pt x="184" y="99"/>
                    </a:lnTo>
                    <a:lnTo>
                      <a:pt x="188" y="123"/>
                    </a:lnTo>
                    <a:lnTo>
                      <a:pt x="192" y="148"/>
                    </a:lnTo>
                    <a:lnTo>
                      <a:pt x="202" y="205"/>
                    </a:lnTo>
                    <a:lnTo>
                      <a:pt x="216" y="277"/>
                    </a:lnTo>
                    <a:lnTo>
                      <a:pt x="230" y="356"/>
                    </a:lnTo>
                    <a:lnTo>
                      <a:pt x="232" y="363"/>
                    </a:lnTo>
                    <a:lnTo>
                      <a:pt x="230" y="368"/>
                    </a:lnTo>
                    <a:lnTo>
                      <a:pt x="226" y="374"/>
                    </a:lnTo>
                    <a:lnTo>
                      <a:pt x="223" y="379"/>
                    </a:lnTo>
                    <a:lnTo>
                      <a:pt x="219" y="382"/>
                    </a:lnTo>
                    <a:lnTo>
                      <a:pt x="215" y="384"/>
                    </a:lnTo>
                    <a:lnTo>
                      <a:pt x="210" y="385"/>
                    </a:lnTo>
                    <a:lnTo>
                      <a:pt x="208" y="387"/>
                    </a:lnTo>
                    <a:lnTo>
                      <a:pt x="205" y="387"/>
                    </a:lnTo>
                    <a:lnTo>
                      <a:pt x="199" y="385"/>
                    </a:lnTo>
                    <a:lnTo>
                      <a:pt x="193" y="384"/>
                    </a:lnTo>
                    <a:lnTo>
                      <a:pt x="189" y="379"/>
                    </a:lnTo>
                    <a:lnTo>
                      <a:pt x="185" y="375"/>
                    </a:lnTo>
                    <a:lnTo>
                      <a:pt x="181" y="371"/>
                    </a:lnTo>
                    <a:lnTo>
                      <a:pt x="179" y="364"/>
                    </a:lnTo>
                    <a:lnTo>
                      <a:pt x="162" y="277"/>
                    </a:lnTo>
                    <a:lnTo>
                      <a:pt x="162" y="274"/>
                    </a:lnTo>
                    <a:lnTo>
                      <a:pt x="160" y="271"/>
                    </a:lnTo>
                    <a:lnTo>
                      <a:pt x="158" y="270"/>
                    </a:lnTo>
                    <a:lnTo>
                      <a:pt x="154" y="270"/>
                    </a:lnTo>
                    <a:lnTo>
                      <a:pt x="78" y="270"/>
                    </a:lnTo>
                    <a:lnTo>
                      <a:pt x="74" y="270"/>
                    </a:lnTo>
                    <a:lnTo>
                      <a:pt x="71" y="271"/>
                    </a:lnTo>
                    <a:lnTo>
                      <a:pt x="69" y="274"/>
                    </a:lnTo>
                    <a:lnTo>
                      <a:pt x="68" y="277"/>
                    </a:lnTo>
                    <a:lnTo>
                      <a:pt x="53" y="364"/>
                    </a:lnTo>
                    <a:lnTo>
                      <a:pt x="50" y="371"/>
                    </a:lnTo>
                    <a:lnTo>
                      <a:pt x="47" y="375"/>
                    </a:lnTo>
                    <a:lnTo>
                      <a:pt x="43" y="379"/>
                    </a:lnTo>
                    <a:lnTo>
                      <a:pt x="38" y="384"/>
                    </a:lnTo>
                    <a:lnTo>
                      <a:pt x="33" y="385"/>
                    </a:lnTo>
                    <a:lnTo>
                      <a:pt x="27" y="387"/>
                    </a:lnTo>
                    <a:lnTo>
                      <a:pt x="24" y="387"/>
                    </a:lnTo>
                    <a:lnTo>
                      <a:pt x="22" y="385"/>
                    </a:lnTo>
                    <a:lnTo>
                      <a:pt x="17" y="384"/>
                    </a:lnTo>
                    <a:lnTo>
                      <a:pt x="13" y="382"/>
                    </a:lnTo>
                    <a:lnTo>
                      <a:pt x="9" y="379"/>
                    </a:lnTo>
                    <a:lnTo>
                      <a:pt x="6" y="374"/>
                    </a:lnTo>
                    <a:lnTo>
                      <a:pt x="2" y="368"/>
                    </a:lnTo>
                    <a:lnTo>
                      <a:pt x="0" y="363"/>
                    </a:lnTo>
                    <a:lnTo>
                      <a:pt x="2" y="356"/>
                    </a:lnTo>
                    <a:lnTo>
                      <a:pt x="16" y="277"/>
                    </a:lnTo>
                    <a:lnTo>
                      <a:pt x="29" y="205"/>
                    </a:lnTo>
                    <a:lnTo>
                      <a:pt x="38" y="150"/>
                    </a:lnTo>
                    <a:lnTo>
                      <a:pt x="44" y="123"/>
                    </a:lnTo>
                    <a:lnTo>
                      <a:pt x="48" y="100"/>
                    </a:lnTo>
                    <a:lnTo>
                      <a:pt x="51" y="81"/>
                    </a:lnTo>
                    <a:lnTo>
                      <a:pt x="54" y="64"/>
                    </a:lnTo>
                    <a:lnTo>
                      <a:pt x="55" y="58"/>
                    </a:lnTo>
                    <a:lnTo>
                      <a:pt x="57" y="54"/>
                    </a:lnTo>
                    <a:lnTo>
                      <a:pt x="57" y="50"/>
                    </a:lnTo>
                    <a:lnTo>
                      <a:pt x="58" y="48"/>
                    </a:lnTo>
                    <a:lnTo>
                      <a:pt x="65" y="30"/>
                    </a:lnTo>
                    <a:lnTo>
                      <a:pt x="78" y="14"/>
                    </a:lnTo>
                    <a:lnTo>
                      <a:pt x="96" y="3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9" name="Line 441"/>
              <p:cNvSpPr>
                <a:spLocks noChangeShapeType="1"/>
              </p:cNvSpPr>
              <p:nvPr userDrawn="1"/>
            </p:nvSpPr>
            <p:spPr bwMode="auto">
              <a:xfrm>
                <a:off x="15003463" y="1901826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0" name="Line 442"/>
              <p:cNvSpPr>
                <a:spLocks noChangeShapeType="1"/>
              </p:cNvSpPr>
              <p:nvPr userDrawn="1"/>
            </p:nvSpPr>
            <p:spPr bwMode="auto">
              <a:xfrm>
                <a:off x="15005050" y="1905001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1" name="Line 443"/>
              <p:cNvSpPr>
                <a:spLocks noChangeShapeType="1"/>
              </p:cNvSpPr>
              <p:nvPr userDrawn="1"/>
            </p:nvSpPr>
            <p:spPr bwMode="auto">
              <a:xfrm>
                <a:off x="15005050" y="1906588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2" name="Line 444"/>
              <p:cNvSpPr>
                <a:spLocks noChangeShapeType="1"/>
              </p:cNvSpPr>
              <p:nvPr userDrawn="1"/>
            </p:nvSpPr>
            <p:spPr bwMode="auto">
              <a:xfrm>
                <a:off x="15006638" y="1908176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3" name="Line 445"/>
              <p:cNvSpPr>
                <a:spLocks noChangeShapeType="1"/>
              </p:cNvSpPr>
              <p:nvPr userDrawn="1"/>
            </p:nvSpPr>
            <p:spPr bwMode="auto">
              <a:xfrm>
                <a:off x="15008225" y="1908176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4" name="Line 446"/>
              <p:cNvSpPr>
                <a:spLocks noChangeShapeType="1"/>
              </p:cNvSpPr>
              <p:nvPr userDrawn="1"/>
            </p:nvSpPr>
            <p:spPr bwMode="auto">
              <a:xfrm>
                <a:off x="15011400" y="1909763"/>
                <a:ext cx="396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5" name="Line 447"/>
              <p:cNvSpPr>
                <a:spLocks noChangeShapeType="1"/>
              </p:cNvSpPr>
              <p:nvPr userDrawn="1"/>
            </p:nvSpPr>
            <p:spPr bwMode="auto">
              <a:xfrm flipV="1">
                <a:off x="15051088" y="1908176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6" name="Line 448"/>
              <p:cNvSpPr>
                <a:spLocks noChangeShapeType="1"/>
              </p:cNvSpPr>
              <p:nvPr userDrawn="1"/>
            </p:nvSpPr>
            <p:spPr bwMode="auto">
              <a:xfrm flipV="1">
                <a:off x="15054263" y="1906588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7" name="Line 449"/>
              <p:cNvSpPr>
                <a:spLocks noChangeShapeType="1"/>
              </p:cNvSpPr>
              <p:nvPr userDrawn="1"/>
            </p:nvSpPr>
            <p:spPr bwMode="auto">
              <a:xfrm flipV="1">
                <a:off x="15057438" y="1905001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8" name="Line 450"/>
              <p:cNvSpPr>
                <a:spLocks noChangeShapeType="1"/>
              </p:cNvSpPr>
              <p:nvPr userDrawn="1"/>
            </p:nvSpPr>
            <p:spPr bwMode="auto">
              <a:xfrm flipV="1">
                <a:off x="15057438" y="1901826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9" name="Line 451"/>
              <p:cNvSpPr>
                <a:spLocks noChangeShapeType="1"/>
              </p:cNvSpPr>
              <p:nvPr userDrawn="1"/>
            </p:nvSpPr>
            <p:spPr bwMode="auto">
              <a:xfrm flipH="1" flipV="1">
                <a:off x="15052675" y="1866901"/>
                <a:ext cx="4762" cy="349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0" name="Line 452"/>
              <p:cNvSpPr>
                <a:spLocks noChangeShapeType="1"/>
              </p:cNvSpPr>
              <p:nvPr userDrawn="1"/>
            </p:nvSpPr>
            <p:spPr bwMode="auto">
              <a:xfrm flipH="1" flipV="1">
                <a:off x="15046325" y="1836738"/>
                <a:ext cx="6350" cy="301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1" name="Line 453"/>
              <p:cNvSpPr>
                <a:spLocks noChangeShapeType="1"/>
              </p:cNvSpPr>
              <p:nvPr userDrawn="1"/>
            </p:nvSpPr>
            <p:spPr bwMode="auto">
              <a:xfrm flipH="1" flipV="1">
                <a:off x="15041563" y="1809751"/>
                <a:ext cx="4762" cy="269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2" name="Line 454"/>
              <p:cNvSpPr>
                <a:spLocks noChangeShapeType="1"/>
              </p:cNvSpPr>
              <p:nvPr userDrawn="1"/>
            </p:nvSpPr>
            <p:spPr bwMode="auto">
              <a:xfrm flipH="1" flipV="1">
                <a:off x="15039975" y="1800226"/>
                <a:ext cx="1587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3" name="Line 455"/>
              <p:cNvSpPr>
                <a:spLocks noChangeShapeType="1"/>
              </p:cNvSpPr>
              <p:nvPr userDrawn="1"/>
            </p:nvSpPr>
            <p:spPr bwMode="auto">
              <a:xfrm flipH="1" flipV="1">
                <a:off x="15038388" y="1792288"/>
                <a:ext cx="1587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4" name="Line 456"/>
              <p:cNvSpPr>
                <a:spLocks noChangeShapeType="1"/>
              </p:cNvSpPr>
              <p:nvPr userDrawn="1"/>
            </p:nvSpPr>
            <p:spPr bwMode="auto">
              <a:xfrm flipH="1" flipV="1">
                <a:off x="15036800" y="1789113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5" name="Line 457"/>
              <p:cNvSpPr>
                <a:spLocks noChangeShapeType="1"/>
              </p:cNvSpPr>
              <p:nvPr userDrawn="1"/>
            </p:nvSpPr>
            <p:spPr bwMode="auto">
              <a:xfrm flipH="1" flipV="1">
                <a:off x="15035213" y="1787526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6" name="Line 458"/>
              <p:cNvSpPr>
                <a:spLocks noChangeShapeType="1"/>
              </p:cNvSpPr>
              <p:nvPr userDrawn="1"/>
            </p:nvSpPr>
            <p:spPr bwMode="auto">
              <a:xfrm flipH="1" flipV="1">
                <a:off x="15033625" y="1787526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7" name="Line 459"/>
              <p:cNvSpPr>
                <a:spLocks noChangeShapeType="1"/>
              </p:cNvSpPr>
              <p:nvPr userDrawn="1"/>
            </p:nvSpPr>
            <p:spPr bwMode="auto">
              <a:xfrm flipH="1" flipV="1">
                <a:off x="15030450" y="1785938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8" name="Line 460"/>
              <p:cNvSpPr>
                <a:spLocks noChangeShapeType="1"/>
              </p:cNvSpPr>
              <p:nvPr userDrawn="1"/>
            </p:nvSpPr>
            <p:spPr bwMode="auto">
              <a:xfrm flipH="1">
                <a:off x="15027275" y="1785938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9" name="Line 461"/>
              <p:cNvSpPr>
                <a:spLocks noChangeShapeType="1"/>
              </p:cNvSpPr>
              <p:nvPr userDrawn="1"/>
            </p:nvSpPr>
            <p:spPr bwMode="auto">
              <a:xfrm flipH="1">
                <a:off x="15027275" y="1787526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0" name="Line 462"/>
              <p:cNvSpPr>
                <a:spLocks noChangeShapeType="1"/>
              </p:cNvSpPr>
              <p:nvPr userDrawn="1"/>
            </p:nvSpPr>
            <p:spPr bwMode="auto">
              <a:xfrm flipH="1">
                <a:off x="15024100" y="1787526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1" name="Line 463"/>
              <p:cNvSpPr>
                <a:spLocks noChangeShapeType="1"/>
              </p:cNvSpPr>
              <p:nvPr userDrawn="1"/>
            </p:nvSpPr>
            <p:spPr bwMode="auto">
              <a:xfrm flipH="1">
                <a:off x="15024100" y="1789113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2" name="Line 464"/>
              <p:cNvSpPr>
                <a:spLocks noChangeShapeType="1"/>
              </p:cNvSpPr>
              <p:nvPr userDrawn="1"/>
            </p:nvSpPr>
            <p:spPr bwMode="auto">
              <a:xfrm flipH="1">
                <a:off x="15022513" y="1792288"/>
                <a:ext cx="1587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3" name="Line 465"/>
              <p:cNvSpPr>
                <a:spLocks noChangeShapeType="1"/>
              </p:cNvSpPr>
              <p:nvPr userDrawn="1"/>
            </p:nvSpPr>
            <p:spPr bwMode="auto">
              <a:xfrm flipH="1">
                <a:off x="15019338" y="1800226"/>
                <a:ext cx="3175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4" name="Line 466"/>
              <p:cNvSpPr>
                <a:spLocks noChangeShapeType="1"/>
              </p:cNvSpPr>
              <p:nvPr userDrawn="1"/>
            </p:nvSpPr>
            <p:spPr bwMode="auto">
              <a:xfrm flipH="1">
                <a:off x="15016163" y="1809751"/>
                <a:ext cx="3175" cy="269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5" name="Line 467"/>
              <p:cNvSpPr>
                <a:spLocks noChangeShapeType="1"/>
              </p:cNvSpPr>
              <p:nvPr userDrawn="1"/>
            </p:nvSpPr>
            <p:spPr bwMode="auto">
              <a:xfrm flipH="1">
                <a:off x="15009813" y="1836738"/>
                <a:ext cx="6350" cy="301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6" name="Line 468"/>
              <p:cNvSpPr>
                <a:spLocks noChangeShapeType="1"/>
              </p:cNvSpPr>
              <p:nvPr userDrawn="1"/>
            </p:nvSpPr>
            <p:spPr bwMode="auto">
              <a:xfrm flipH="1">
                <a:off x="15003463" y="1866901"/>
                <a:ext cx="6350" cy="349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4" name="Line 476"/>
              <p:cNvSpPr>
                <a:spLocks noChangeShapeType="1"/>
              </p:cNvSpPr>
              <p:nvPr userDrawn="1"/>
            </p:nvSpPr>
            <p:spPr bwMode="auto">
              <a:xfrm flipV="1">
                <a:off x="14939963" y="1957388"/>
                <a:ext cx="11112" cy="619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5" name="Line 477"/>
              <p:cNvSpPr>
                <a:spLocks noChangeShapeType="1"/>
              </p:cNvSpPr>
              <p:nvPr userDrawn="1"/>
            </p:nvSpPr>
            <p:spPr bwMode="auto">
              <a:xfrm flipV="1">
                <a:off x="14951075" y="1900238"/>
                <a:ext cx="11112" cy="571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6" name="Line 478"/>
              <p:cNvSpPr>
                <a:spLocks noChangeShapeType="1"/>
              </p:cNvSpPr>
              <p:nvPr userDrawn="1"/>
            </p:nvSpPr>
            <p:spPr bwMode="auto">
              <a:xfrm flipV="1">
                <a:off x="14962188" y="1855788"/>
                <a:ext cx="7937" cy="444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7" name="Line 479"/>
              <p:cNvSpPr>
                <a:spLocks noChangeShapeType="1"/>
              </p:cNvSpPr>
              <p:nvPr userDrawn="1"/>
            </p:nvSpPr>
            <p:spPr bwMode="auto">
              <a:xfrm flipV="1">
                <a:off x="14970125" y="1835151"/>
                <a:ext cx="4762" cy="206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8" name="Line 480"/>
              <p:cNvSpPr>
                <a:spLocks noChangeShapeType="1"/>
              </p:cNvSpPr>
              <p:nvPr userDrawn="1"/>
            </p:nvSpPr>
            <p:spPr bwMode="auto">
              <a:xfrm flipV="1">
                <a:off x="14974888" y="1817688"/>
                <a:ext cx="3175" cy="174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9" name="Line 481"/>
              <p:cNvSpPr>
                <a:spLocks noChangeShapeType="1"/>
              </p:cNvSpPr>
              <p:nvPr userDrawn="1"/>
            </p:nvSpPr>
            <p:spPr bwMode="auto">
              <a:xfrm flipV="1">
                <a:off x="14978063" y="1801813"/>
                <a:ext cx="1587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0" name="Line 482"/>
              <p:cNvSpPr>
                <a:spLocks noChangeShapeType="1"/>
              </p:cNvSpPr>
              <p:nvPr userDrawn="1"/>
            </p:nvSpPr>
            <p:spPr bwMode="auto">
              <a:xfrm flipV="1">
                <a:off x="14979650" y="1787526"/>
                <a:ext cx="1587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1" name="Line 483"/>
              <p:cNvSpPr>
                <a:spLocks noChangeShapeType="1"/>
              </p:cNvSpPr>
              <p:nvPr userDrawn="1"/>
            </p:nvSpPr>
            <p:spPr bwMode="auto">
              <a:xfrm flipV="1">
                <a:off x="14981238" y="1784351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2" name="Line 484"/>
              <p:cNvSpPr>
                <a:spLocks noChangeShapeType="1"/>
              </p:cNvSpPr>
              <p:nvPr userDrawn="1"/>
            </p:nvSpPr>
            <p:spPr bwMode="auto">
              <a:xfrm flipV="1">
                <a:off x="14982825" y="177958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3" name="Line 485"/>
              <p:cNvSpPr>
                <a:spLocks noChangeShapeType="1"/>
              </p:cNvSpPr>
              <p:nvPr userDrawn="1"/>
            </p:nvSpPr>
            <p:spPr bwMode="auto">
              <a:xfrm flipV="1">
                <a:off x="14984413" y="1776413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4" name="Line 486"/>
              <p:cNvSpPr>
                <a:spLocks noChangeShapeType="1"/>
              </p:cNvSpPr>
              <p:nvPr userDrawn="1"/>
            </p:nvSpPr>
            <p:spPr bwMode="auto">
              <a:xfrm flipV="1">
                <a:off x="14984413" y="1776413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5" name="Line 487"/>
              <p:cNvSpPr>
                <a:spLocks noChangeShapeType="1"/>
              </p:cNvSpPr>
              <p:nvPr userDrawn="1"/>
            </p:nvSpPr>
            <p:spPr bwMode="auto">
              <a:xfrm flipV="1">
                <a:off x="14986000" y="1760538"/>
                <a:ext cx="4762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6" name="Line 488"/>
              <p:cNvSpPr>
                <a:spLocks noChangeShapeType="1"/>
              </p:cNvSpPr>
              <p:nvPr userDrawn="1"/>
            </p:nvSpPr>
            <p:spPr bwMode="auto">
              <a:xfrm flipV="1">
                <a:off x="14990763" y="1749426"/>
                <a:ext cx="9525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7" name="Line 489"/>
              <p:cNvSpPr>
                <a:spLocks noChangeShapeType="1"/>
              </p:cNvSpPr>
              <p:nvPr userDrawn="1"/>
            </p:nvSpPr>
            <p:spPr bwMode="auto">
              <a:xfrm flipV="1">
                <a:off x="15000288" y="1739901"/>
                <a:ext cx="15875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8" name="Line 490"/>
              <p:cNvSpPr>
                <a:spLocks noChangeShapeType="1"/>
              </p:cNvSpPr>
              <p:nvPr userDrawn="1"/>
            </p:nvSpPr>
            <p:spPr bwMode="auto">
              <a:xfrm flipV="1">
                <a:off x="15016163" y="1738313"/>
                <a:ext cx="142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9" name="Line 491"/>
              <p:cNvSpPr>
                <a:spLocks noChangeShapeType="1"/>
              </p:cNvSpPr>
              <p:nvPr userDrawn="1"/>
            </p:nvSpPr>
            <p:spPr bwMode="auto">
              <a:xfrm>
                <a:off x="15030450" y="1738313"/>
                <a:ext cx="158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0" name="Line 492"/>
              <p:cNvSpPr>
                <a:spLocks noChangeShapeType="1"/>
              </p:cNvSpPr>
              <p:nvPr userDrawn="1"/>
            </p:nvSpPr>
            <p:spPr bwMode="auto">
              <a:xfrm>
                <a:off x="15046325" y="1739901"/>
                <a:ext cx="15875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1" name="Line 493"/>
              <p:cNvSpPr>
                <a:spLocks noChangeShapeType="1"/>
              </p:cNvSpPr>
              <p:nvPr userDrawn="1"/>
            </p:nvSpPr>
            <p:spPr bwMode="auto">
              <a:xfrm>
                <a:off x="15062200" y="1749426"/>
                <a:ext cx="9525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2" name="Line 494"/>
              <p:cNvSpPr>
                <a:spLocks noChangeShapeType="1"/>
              </p:cNvSpPr>
              <p:nvPr userDrawn="1"/>
            </p:nvSpPr>
            <p:spPr bwMode="auto">
              <a:xfrm>
                <a:off x="15071725" y="1760538"/>
                <a:ext cx="4762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3" name="Line 495"/>
              <p:cNvSpPr>
                <a:spLocks noChangeShapeType="1"/>
              </p:cNvSpPr>
              <p:nvPr userDrawn="1"/>
            </p:nvSpPr>
            <p:spPr bwMode="auto">
              <a:xfrm>
                <a:off x="15076488" y="1776413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4" name="Line 496"/>
              <p:cNvSpPr>
                <a:spLocks noChangeShapeType="1"/>
              </p:cNvSpPr>
              <p:nvPr userDrawn="1"/>
            </p:nvSpPr>
            <p:spPr bwMode="auto">
              <a:xfrm>
                <a:off x="15076488" y="1776413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5" name="Line 497"/>
              <p:cNvSpPr>
                <a:spLocks noChangeShapeType="1"/>
              </p:cNvSpPr>
              <p:nvPr userDrawn="1"/>
            </p:nvSpPr>
            <p:spPr bwMode="auto">
              <a:xfrm>
                <a:off x="15078075" y="1779588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6" name="Line 498"/>
              <p:cNvSpPr>
                <a:spLocks noChangeShapeType="1"/>
              </p:cNvSpPr>
              <p:nvPr userDrawn="1"/>
            </p:nvSpPr>
            <p:spPr bwMode="auto">
              <a:xfrm>
                <a:off x="15078075" y="1784351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7" name="Line 499"/>
              <p:cNvSpPr>
                <a:spLocks noChangeShapeType="1"/>
              </p:cNvSpPr>
              <p:nvPr userDrawn="1"/>
            </p:nvSpPr>
            <p:spPr bwMode="auto">
              <a:xfrm>
                <a:off x="15079663" y="1787526"/>
                <a:ext cx="1587" cy="127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8" name="Line 500"/>
              <p:cNvSpPr>
                <a:spLocks noChangeShapeType="1"/>
              </p:cNvSpPr>
              <p:nvPr userDrawn="1"/>
            </p:nvSpPr>
            <p:spPr bwMode="auto">
              <a:xfrm>
                <a:off x="15081250" y="1800226"/>
                <a:ext cx="3175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9" name="Line 501"/>
              <p:cNvSpPr>
                <a:spLocks noChangeShapeType="1"/>
              </p:cNvSpPr>
              <p:nvPr userDrawn="1"/>
            </p:nvSpPr>
            <p:spPr bwMode="auto">
              <a:xfrm>
                <a:off x="15084425" y="1816101"/>
                <a:ext cx="3175" cy="190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0" name="Line 502"/>
              <p:cNvSpPr>
                <a:spLocks noChangeShapeType="1"/>
              </p:cNvSpPr>
              <p:nvPr userDrawn="1"/>
            </p:nvSpPr>
            <p:spPr bwMode="auto">
              <a:xfrm>
                <a:off x="15087600" y="1835151"/>
                <a:ext cx="4762" cy="206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1" name="Line 503"/>
              <p:cNvSpPr>
                <a:spLocks noChangeShapeType="1"/>
              </p:cNvSpPr>
              <p:nvPr userDrawn="1"/>
            </p:nvSpPr>
            <p:spPr bwMode="auto">
              <a:xfrm>
                <a:off x="15092363" y="1855788"/>
                <a:ext cx="6350" cy="444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2" name="Line 504"/>
              <p:cNvSpPr>
                <a:spLocks noChangeShapeType="1"/>
              </p:cNvSpPr>
              <p:nvPr userDrawn="1"/>
            </p:nvSpPr>
            <p:spPr bwMode="auto">
              <a:xfrm>
                <a:off x="15098713" y="1900238"/>
                <a:ext cx="12700" cy="571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3" name="Line 505"/>
              <p:cNvSpPr>
                <a:spLocks noChangeShapeType="1"/>
              </p:cNvSpPr>
              <p:nvPr userDrawn="1"/>
            </p:nvSpPr>
            <p:spPr bwMode="auto">
              <a:xfrm>
                <a:off x="15111413" y="1957388"/>
                <a:ext cx="11112" cy="619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9" name="Line 521"/>
              <p:cNvSpPr>
                <a:spLocks noChangeShapeType="1"/>
              </p:cNvSpPr>
              <p:nvPr userDrawn="1"/>
            </p:nvSpPr>
            <p:spPr bwMode="auto">
              <a:xfrm flipH="1" flipV="1">
                <a:off x="15068550" y="1957388"/>
                <a:ext cx="12700" cy="682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0" name="Line 522"/>
              <p:cNvSpPr>
                <a:spLocks noChangeShapeType="1"/>
              </p:cNvSpPr>
              <p:nvPr userDrawn="1"/>
            </p:nvSpPr>
            <p:spPr bwMode="auto">
              <a:xfrm flipV="1">
                <a:off x="15068550" y="1954213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1" name="Line 523"/>
              <p:cNvSpPr>
                <a:spLocks noChangeShapeType="1"/>
              </p:cNvSpPr>
              <p:nvPr userDrawn="1"/>
            </p:nvSpPr>
            <p:spPr bwMode="auto">
              <a:xfrm flipH="1" flipV="1">
                <a:off x="15065375" y="1952626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2" name="Line 524"/>
              <p:cNvSpPr>
                <a:spLocks noChangeShapeType="1"/>
              </p:cNvSpPr>
              <p:nvPr userDrawn="1"/>
            </p:nvSpPr>
            <p:spPr bwMode="auto">
              <a:xfrm flipH="1" flipV="1">
                <a:off x="15065375" y="1951038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3" name="Line 525"/>
              <p:cNvSpPr>
                <a:spLocks noChangeShapeType="1"/>
              </p:cNvSpPr>
              <p:nvPr userDrawn="1"/>
            </p:nvSpPr>
            <p:spPr bwMode="auto">
              <a:xfrm flipH="1">
                <a:off x="15062200" y="1951038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4" name="Line 526"/>
              <p:cNvSpPr>
                <a:spLocks noChangeShapeType="1"/>
              </p:cNvSpPr>
              <p:nvPr userDrawn="1"/>
            </p:nvSpPr>
            <p:spPr bwMode="auto">
              <a:xfrm flipH="1">
                <a:off x="15000288" y="1951038"/>
                <a:ext cx="6191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5" name="Line 527"/>
              <p:cNvSpPr>
                <a:spLocks noChangeShapeType="1"/>
              </p:cNvSpPr>
              <p:nvPr userDrawn="1"/>
            </p:nvSpPr>
            <p:spPr bwMode="auto">
              <a:xfrm flipH="1">
                <a:off x="14997113" y="1951038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6" name="Line 528"/>
              <p:cNvSpPr>
                <a:spLocks noChangeShapeType="1"/>
              </p:cNvSpPr>
              <p:nvPr userDrawn="1"/>
            </p:nvSpPr>
            <p:spPr bwMode="auto">
              <a:xfrm flipH="1">
                <a:off x="14995525" y="1951038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7" name="Line 529"/>
              <p:cNvSpPr>
                <a:spLocks noChangeShapeType="1"/>
              </p:cNvSpPr>
              <p:nvPr userDrawn="1"/>
            </p:nvSpPr>
            <p:spPr bwMode="auto">
              <a:xfrm flipH="1">
                <a:off x="14993938" y="1952626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8" name="Line 530"/>
              <p:cNvSpPr>
                <a:spLocks noChangeShapeType="1"/>
              </p:cNvSpPr>
              <p:nvPr userDrawn="1"/>
            </p:nvSpPr>
            <p:spPr bwMode="auto">
              <a:xfrm flipH="1">
                <a:off x="14993938" y="1954213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9" name="Line 531"/>
              <p:cNvSpPr>
                <a:spLocks noChangeShapeType="1"/>
              </p:cNvSpPr>
              <p:nvPr userDrawn="1"/>
            </p:nvSpPr>
            <p:spPr bwMode="auto">
              <a:xfrm flipH="1">
                <a:off x="14981238" y="1957388"/>
                <a:ext cx="12700" cy="682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8" name="Freeform 540"/>
              <p:cNvSpPr>
                <a:spLocks/>
              </p:cNvSpPr>
              <p:nvPr userDrawn="1"/>
            </p:nvSpPr>
            <p:spPr bwMode="auto">
              <a:xfrm>
                <a:off x="15141575" y="1738313"/>
                <a:ext cx="171450" cy="306388"/>
              </a:xfrm>
              <a:custGeom>
                <a:avLst/>
                <a:gdLst>
                  <a:gd name="T0" fmla="*/ 27 w 217"/>
                  <a:gd name="T1" fmla="*/ 0 h 387"/>
                  <a:gd name="T2" fmla="*/ 38 w 217"/>
                  <a:gd name="T3" fmla="*/ 3 h 387"/>
                  <a:gd name="T4" fmla="*/ 48 w 217"/>
                  <a:gd name="T5" fmla="*/ 12 h 387"/>
                  <a:gd name="T6" fmla="*/ 52 w 217"/>
                  <a:gd name="T7" fmla="*/ 23 h 387"/>
                  <a:gd name="T8" fmla="*/ 52 w 217"/>
                  <a:gd name="T9" fmla="*/ 26 h 387"/>
                  <a:gd name="T10" fmla="*/ 55 w 217"/>
                  <a:gd name="T11" fmla="*/ 36 h 387"/>
                  <a:gd name="T12" fmla="*/ 63 w 217"/>
                  <a:gd name="T13" fmla="*/ 102 h 387"/>
                  <a:gd name="T14" fmla="*/ 68 w 217"/>
                  <a:gd name="T15" fmla="*/ 131 h 387"/>
                  <a:gd name="T16" fmla="*/ 82 w 217"/>
                  <a:gd name="T17" fmla="*/ 157 h 387"/>
                  <a:gd name="T18" fmla="*/ 107 w 217"/>
                  <a:gd name="T19" fmla="*/ 167 h 387"/>
                  <a:gd name="T20" fmla="*/ 124 w 217"/>
                  <a:gd name="T21" fmla="*/ 164 h 387"/>
                  <a:gd name="T22" fmla="*/ 145 w 217"/>
                  <a:gd name="T23" fmla="*/ 145 h 387"/>
                  <a:gd name="T24" fmla="*/ 152 w 217"/>
                  <a:gd name="T25" fmla="*/ 119 h 387"/>
                  <a:gd name="T26" fmla="*/ 159 w 217"/>
                  <a:gd name="T27" fmla="*/ 67 h 387"/>
                  <a:gd name="T28" fmla="*/ 165 w 217"/>
                  <a:gd name="T29" fmla="*/ 30 h 387"/>
                  <a:gd name="T30" fmla="*/ 165 w 217"/>
                  <a:gd name="T31" fmla="*/ 23 h 387"/>
                  <a:gd name="T32" fmla="*/ 168 w 217"/>
                  <a:gd name="T33" fmla="*/ 16 h 387"/>
                  <a:gd name="T34" fmla="*/ 175 w 217"/>
                  <a:gd name="T35" fmla="*/ 6 h 387"/>
                  <a:gd name="T36" fmla="*/ 186 w 217"/>
                  <a:gd name="T37" fmla="*/ 0 h 387"/>
                  <a:gd name="T38" fmla="*/ 195 w 217"/>
                  <a:gd name="T39" fmla="*/ 0 h 387"/>
                  <a:gd name="T40" fmla="*/ 207 w 217"/>
                  <a:gd name="T41" fmla="*/ 6 h 387"/>
                  <a:gd name="T42" fmla="*/ 216 w 217"/>
                  <a:gd name="T43" fmla="*/ 17 h 387"/>
                  <a:gd name="T44" fmla="*/ 217 w 217"/>
                  <a:gd name="T45" fmla="*/ 30 h 387"/>
                  <a:gd name="T46" fmla="*/ 207 w 217"/>
                  <a:gd name="T47" fmla="*/ 98 h 387"/>
                  <a:gd name="T48" fmla="*/ 204 w 217"/>
                  <a:gd name="T49" fmla="*/ 116 h 387"/>
                  <a:gd name="T50" fmla="*/ 203 w 217"/>
                  <a:gd name="T51" fmla="*/ 130 h 387"/>
                  <a:gd name="T52" fmla="*/ 202 w 217"/>
                  <a:gd name="T53" fmla="*/ 140 h 387"/>
                  <a:gd name="T54" fmla="*/ 190 w 217"/>
                  <a:gd name="T55" fmla="*/ 171 h 387"/>
                  <a:gd name="T56" fmla="*/ 171 w 217"/>
                  <a:gd name="T57" fmla="*/ 196 h 387"/>
                  <a:gd name="T58" fmla="*/ 141 w 217"/>
                  <a:gd name="T59" fmla="*/ 213 h 387"/>
                  <a:gd name="T60" fmla="*/ 135 w 217"/>
                  <a:gd name="T61" fmla="*/ 219 h 387"/>
                  <a:gd name="T62" fmla="*/ 135 w 217"/>
                  <a:gd name="T63" fmla="*/ 360 h 387"/>
                  <a:gd name="T64" fmla="*/ 131 w 217"/>
                  <a:gd name="T65" fmla="*/ 372 h 387"/>
                  <a:gd name="T66" fmla="*/ 123 w 217"/>
                  <a:gd name="T67" fmla="*/ 382 h 387"/>
                  <a:gd name="T68" fmla="*/ 109 w 217"/>
                  <a:gd name="T69" fmla="*/ 387 h 387"/>
                  <a:gd name="T70" fmla="*/ 96 w 217"/>
                  <a:gd name="T71" fmla="*/ 382 h 387"/>
                  <a:gd name="T72" fmla="*/ 86 w 217"/>
                  <a:gd name="T73" fmla="*/ 372 h 387"/>
                  <a:gd name="T74" fmla="*/ 83 w 217"/>
                  <a:gd name="T75" fmla="*/ 360 h 387"/>
                  <a:gd name="T76" fmla="*/ 82 w 217"/>
                  <a:gd name="T77" fmla="*/ 219 h 387"/>
                  <a:gd name="T78" fmla="*/ 78 w 217"/>
                  <a:gd name="T79" fmla="*/ 213 h 387"/>
                  <a:gd name="T80" fmla="*/ 48 w 217"/>
                  <a:gd name="T81" fmla="*/ 196 h 387"/>
                  <a:gd name="T82" fmla="*/ 23 w 217"/>
                  <a:gd name="T83" fmla="*/ 161 h 387"/>
                  <a:gd name="T84" fmla="*/ 16 w 217"/>
                  <a:gd name="T85" fmla="*/ 134 h 387"/>
                  <a:gd name="T86" fmla="*/ 14 w 217"/>
                  <a:gd name="T87" fmla="*/ 120 h 387"/>
                  <a:gd name="T88" fmla="*/ 10 w 217"/>
                  <a:gd name="T89" fmla="*/ 93 h 387"/>
                  <a:gd name="T90" fmla="*/ 1 w 217"/>
                  <a:gd name="T91" fmla="*/ 30 h 387"/>
                  <a:gd name="T92" fmla="*/ 1 w 217"/>
                  <a:gd name="T93" fmla="*/ 23 h 387"/>
                  <a:gd name="T94" fmla="*/ 6 w 217"/>
                  <a:gd name="T95" fmla="*/ 10 h 387"/>
                  <a:gd name="T96" fmla="*/ 17 w 217"/>
                  <a:gd name="T97" fmla="*/ 2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17" h="387">
                    <a:moveTo>
                      <a:pt x="23" y="0"/>
                    </a:moveTo>
                    <a:lnTo>
                      <a:pt x="27" y="0"/>
                    </a:lnTo>
                    <a:lnTo>
                      <a:pt x="32" y="0"/>
                    </a:lnTo>
                    <a:lnTo>
                      <a:pt x="38" y="3"/>
                    </a:lnTo>
                    <a:lnTo>
                      <a:pt x="44" y="6"/>
                    </a:lnTo>
                    <a:lnTo>
                      <a:pt x="48" y="12"/>
                    </a:lnTo>
                    <a:lnTo>
                      <a:pt x="51" y="16"/>
                    </a:lnTo>
                    <a:lnTo>
                      <a:pt x="52" y="23"/>
                    </a:lnTo>
                    <a:lnTo>
                      <a:pt x="52" y="23"/>
                    </a:lnTo>
                    <a:lnTo>
                      <a:pt x="52" y="26"/>
                    </a:lnTo>
                    <a:lnTo>
                      <a:pt x="54" y="30"/>
                    </a:lnTo>
                    <a:lnTo>
                      <a:pt x="55" y="36"/>
                    </a:lnTo>
                    <a:lnTo>
                      <a:pt x="59" y="67"/>
                    </a:lnTo>
                    <a:lnTo>
                      <a:pt x="63" y="102"/>
                    </a:lnTo>
                    <a:lnTo>
                      <a:pt x="66" y="119"/>
                    </a:lnTo>
                    <a:lnTo>
                      <a:pt x="68" y="131"/>
                    </a:lnTo>
                    <a:lnTo>
                      <a:pt x="73" y="145"/>
                    </a:lnTo>
                    <a:lnTo>
                      <a:pt x="82" y="157"/>
                    </a:lnTo>
                    <a:lnTo>
                      <a:pt x="94" y="164"/>
                    </a:lnTo>
                    <a:lnTo>
                      <a:pt x="107" y="167"/>
                    </a:lnTo>
                    <a:lnTo>
                      <a:pt x="110" y="167"/>
                    </a:lnTo>
                    <a:lnTo>
                      <a:pt x="124" y="164"/>
                    </a:lnTo>
                    <a:lnTo>
                      <a:pt x="137" y="157"/>
                    </a:lnTo>
                    <a:lnTo>
                      <a:pt x="145" y="145"/>
                    </a:lnTo>
                    <a:lnTo>
                      <a:pt x="149" y="131"/>
                    </a:lnTo>
                    <a:lnTo>
                      <a:pt x="152" y="119"/>
                    </a:lnTo>
                    <a:lnTo>
                      <a:pt x="154" y="103"/>
                    </a:lnTo>
                    <a:lnTo>
                      <a:pt x="159" y="67"/>
                    </a:lnTo>
                    <a:lnTo>
                      <a:pt x="164" y="36"/>
                    </a:lnTo>
                    <a:lnTo>
                      <a:pt x="165" y="30"/>
                    </a:lnTo>
                    <a:lnTo>
                      <a:pt x="165" y="26"/>
                    </a:lnTo>
                    <a:lnTo>
                      <a:pt x="165" y="23"/>
                    </a:lnTo>
                    <a:lnTo>
                      <a:pt x="165" y="21"/>
                    </a:lnTo>
                    <a:lnTo>
                      <a:pt x="168" y="16"/>
                    </a:lnTo>
                    <a:lnTo>
                      <a:pt x="171" y="12"/>
                    </a:lnTo>
                    <a:lnTo>
                      <a:pt x="175" y="6"/>
                    </a:lnTo>
                    <a:lnTo>
                      <a:pt x="180" y="3"/>
                    </a:lnTo>
                    <a:lnTo>
                      <a:pt x="186" y="0"/>
                    </a:lnTo>
                    <a:lnTo>
                      <a:pt x="192" y="0"/>
                    </a:lnTo>
                    <a:lnTo>
                      <a:pt x="195" y="0"/>
                    </a:lnTo>
                    <a:lnTo>
                      <a:pt x="202" y="2"/>
                    </a:lnTo>
                    <a:lnTo>
                      <a:pt x="207" y="6"/>
                    </a:lnTo>
                    <a:lnTo>
                      <a:pt x="211" y="10"/>
                    </a:lnTo>
                    <a:lnTo>
                      <a:pt x="216" y="17"/>
                    </a:lnTo>
                    <a:lnTo>
                      <a:pt x="217" y="23"/>
                    </a:lnTo>
                    <a:lnTo>
                      <a:pt x="217" y="30"/>
                    </a:lnTo>
                    <a:lnTo>
                      <a:pt x="210" y="78"/>
                    </a:lnTo>
                    <a:lnTo>
                      <a:pt x="207" y="98"/>
                    </a:lnTo>
                    <a:lnTo>
                      <a:pt x="206" y="107"/>
                    </a:lnTo>
                    <a:lnTo>
                      <a:pt x="204" y="116"/>
                    </a:lnTo>
                    <a:lnTo>
                      <a:pt x="203" y="123"/>
                    </a:lnTo>
                    <a:lnTo>
                      <a:pt x="203" y="130"/>
                    </a:lnTo>
                    <a:lnTo>
                      <a:pt x="202" y="136"/>
                    </a:lnTo>
                    <a:lnTo>
                      <a:pt x="202" y="140"/>
                    </a:lnTo>
                    <a:lnTo>
                      <a:pt x="197" y="155"/>
                    </a:lnTo>
                    <a:lnTo>
                      <a:pt x="190" y="171"/>
                    </a:lnTo>
                    <a:lnTo>
                      <a:pt x="182" y="185"/>
                    </a:lnTo>
                    <a:lnTo>
                      <a:pt x="171" y="196"/>
                    </a:lnTo>
                    <a:lnTo>
                      <a:pt x="156" y="206"/>
                    </a:lnTo>
                    <a:lnTo>
                      <a:pt x="141" y="213"/>
                    </a:lnTo>
                    <a:lnTo>
                      <a:pt x="138" y="216"/>
                    </a:lnTo>
                    <a:lnTo>
                      <a:pt x="135" y="219"/>
                    </a:lnTo>
                    <a:lnTo>
                      <a:pt x="135" y="222"/>
                    </a:lnTo>
                    <a:lnTo>
                      <a:pt x="135" y="360"/>
                    </a:lnTo>
                    <a:lnTo>
                      <a:pt x="134" y="367"/>
                    </a:lnTo>
                    <a:lnTo>
                      <a:pt x="131" y="372"/>
                    </a:lnTo>
                    <a:lnTo>
                      <a:pt x="127" y="378"/>
                    </a:lnTo>
                    <a:lnTo>
                      <a:pt x="123" y="382"/>
                    </a:lnTo>
                    <a:lnTo>
                      <a:pt x="116" y="385"/>
                    </a:lnTo>
                    <a:lnTo>
                      <a:pt x="109" y="387"/>
                    </a:lnTo>
                    <a:lnTo>
                      <a:pt x="103" y="385"/>
                    </a:lnTo>
                    <a:lnTo>
                      <a:pt x="96" y="382"/>
                    </a:lnTo>
                    <a:lnTo>
                      <a:pt x="90" y="378"/>
                    </a:lnTo>
                    <a:lnTo>
                      <a:pt x="86" y="372"/>
                    </a:lnTo>
                    <a:lnTo>
                      <a:pt x="83" y="367"/>
                    </a:lnTo>
                    <a:lnTo>
                      <a:pt x="83" y="360"/>
                    </a:lnTo>
                    <a:lnTo>
                      <a:pt x="83" y="222"/>
                    </a:lnTo>
                    <a:lnTo>
                      <a:pt x="82" y="219"/>
                    </a:lnTo>
                    <a:lnTo>
                      <a:pt x="80" y="216"/>
                    </a:lnTo>
                    <a:lnTo>
                      <a:pt x="78" y="213"/>
                    </a:lnTo>
                    <a:lnTo>
                      <a:pt x="61" y="206"/>
                    </a:lnTo>
                    <a:lnTo>
                      <a:pt x="48" y="196"/>
                    </a:lnTo>
                    <a:lnTo>
                      <a:pt x="32" y="179"/>
                    </a:lnTo>
                    <a:lnTo>
                      <a:pt x="23" y="161"/>
                    </a:lnTo>
                    <a:lnTo>
                      <a:pt x="17" y="140"/>
                    </a:lnTo>
                    <a:lnTo>
                      <a:pt x="16" y="134"/>
                    </a:lnTo>
                    <a:lnTo>
                      <a:pt x="16" y="127"/>
                    </a:lnTo>
                    <a:lnTo>
                      <a:pt x="14" y="120"/>
                    </a:lnTo>
                    <a:lnTo>
                      <a:pt x="13" y="112"/>
                    </a:lnTo>
                    <a:lnTo>
                      <a:pt x="10" y="93"/>
                    </a:lnTo>
                    <a:lnTo>
                      <a:pt x="7" y="75"/>
                    </a:lnTo>
                    <a:lnTo>
                      <a:pt x="1" y="30"/>
                    </a:lnTo>
                    <a:lnTo>
                      <a:pt x="0" y="30"/>
                    </a:lnTo>
                    <a:lnTo>
                      <a:pt x="1" y="23"/>
                    </a:lnTo>
                    <a:lnTo>
                      <a:pt x="3" y="16"/>
                    </a:lnTo>
                    <a:lnTo>
                      <a:pt x="6" y="10"/>
                    </a:lnTo>
                    <a:lnTo>
                      <a:pt x="11" y="6"/>
                    </a:lnTo>
                    <a:lnTo>
                      <a:pt x="17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5" name="Line 547"/>
              <p:cNvSpPr>
                <a:spLocks noChangeShapeType="1"/>
              </p:cNvSpPr>
              <p:nvPr userDrawn="1"/>
            </p:nvSpPr>
            <p:spPr bwMode="auto">
              <a:xfrm flipV="1">
                <a:off x="15206663" y="1912938"/>
                <a:ext cx="0" cy="1095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6" name="Line 548"/>
              <p:cNvSpPr>
                <a:spLocks noChangeShapeType="1"/>
              </p:cNvSpPr>
              <p:nvPr userDrawn="1"/>
            </p:nvSpPr>
            <p:spPr bwMode="auto">
              <a:xfrm flipH="1" flipV="1">
                <a:off x="15205075" y="1911351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7" name="Line 549"/>
              <p:cNvSpPr>
                <a:spLocks noChangeShapeType="1"/>
              </p:cNvSpPr>
              <p:nvPr userDrawn="1"/>
            </p:nvSpPr>
            <p:spPr bwMode="auto">
              <a:xfrm flipH="1" flipV="1">
                <a:off x="15205075" y="1908176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8" name="Line 550"/>
              <p:cNvSpPr>
                <a:spLocks noChangeShapeType="1"/>
              </p:cNvSpPr>
              <p:nvPr userDrawn="1"/>
            </p:nvSpPr>
            <p:spPr bwMode="auto">
              <a:xfrm flipH="1" flipV="1">
                <a:off x="15201900" y="1906588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9" name="Line 551"/>
              <p:cNvSpPr>
                <a:spLocks noChangeShapeType="1"/>
              </p:cNvSpPr>
              <p:nvPr userDrawn="1"/>
            </p:nvSpPr>
            <p:spPr bwMode="auto">
              <a:xfrm flipH="1" flipV="1">
                <a:off x="15189200" y="1901826"/>
                <a:ext cx="1270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0" name="Line 552"/>
              <p:cNvSpPr>
                <a:spLocks noChangeShapeType="1"/>
              </p:cNvSpPr>
              <p:nvPr userDrawn="1"/>
            </p:nvSpPr>
            <p:spPr bwMode="auto">
              <a:xfrm flipH="1" flipV="1">
                <a:off x="15178088" y="1893888"/>
                <a:ext cx="11112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1" name="Line 553"/>
              <p:cNvSpPr>
                <a:spLocks noChangeShapeType="1"/>
              </p:cNvSpPr>
              <p:nvPr userDrawn="1"/>
            </p:nvSpPr>
            <p:spPr bwMode="auto">
              <a:xfrm flipH="1" flipV="1">
                <a:off x="15166975" y="1879601"/>
                <a:ext cx="11112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2" name="Line 554"/>
              <p:cNvSpPr>
                <a:spLocks noChangeShapeType="1"/>
              </p:cNvSpPr>
              <p:nvPr userDrawn="1"/>
            </p:nvSpPr>
            <p:spPr bwMode="auto">
              <a:xfrm flipH="1" flipV="1">
                <a:off x="15159038" y="1865313"/>
                <a:ext cx="7937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3" name="Line 555"/>
              <p:cNvSpPr>
                <a:spLocks noChangeShapeType="1"/>
              </p:cNvSpPr>
              <p:nvPr userDrawn="1"/>
            </p:nvSpPr>
            <p:spPr bwMode="auto">
              <a:xfrm flipH="1" flipV="1">
                <a:off x="15154275" y="1847851"/>
                <a:ext cx="4762" cy="174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4" name="Line 556"/>
              <p:cNvSpPr>
                <a:spLocks noChangeShapeType="1"/>
              </p:cNvSpPr>
              <p:nvPr userDrawn="1"/>
            </p:nvSpPr>
            <p:spPr bwMode="auto">
              <a:xfrm flipH="1" flipV="1">
                <a:off x="15152688" y="1844676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5" name="Line 557"/>
              <p:cNvSpPr>
                <a:spLocks noChangeShapeType="1"/>
              </p:cNvSpPr>
              <p:nvPr userDrawn="1"/>
            </p:nvSpPr>
            <p:spPr bwMode="auto">
              <a:xfrm flipV="1">
                <a:off x="15152688" y="1838326"/>
                <a:ext cx="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6" name="Line 558"/>
              <p:cNvSpPr>
                <a:spLocks noChangeShapeType="1"/>
              </p:cNvSpPr>
              <p:nvPr userDrawn="1"/>
            </p:nvSpPr>
            <p:spPr bwMode="auto">
              <a:xfrm flipH="1" flipV="1">
                <a:off x="15152688" y="1833563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7" name="Line 559"/>
              <p:cNvSpPr>
                <a:spLocks noChangeShapeType="1"/>
              </p:cNvSpPr>
              <p:nvPr userDrawn="1"/>
            </p:nvSpPr>
            <p:spPr bwMode="auto">
              <a:xfrm flipH="1" flipV="1">
                <a:off x="15151100" y="1825626"/>
                <a:ext cx="1587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8" name="Line 560"/>
              <p:cNvSpPr>
                <a:spLocks noChangeShapeType="1"/>
              </p:cNvSpPr>
              <p:nvPr userDrawn="1"/>
            </p:nvSpPr>
            <p:spPr bwMode="auto">
              <a:xfrm flipH="1" flipV="1">
                <a:off x="15147925" y="1811338"/>
                <a:ext cx="3175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9" name="Line 561"/>
              <p:cNvSpPr>
                <a:spLocks noChangeShapeType="1"/>
              </p:cNvSpPr>
              <p:nvPr userDrawn="1"/>
            </p:nvSpPr>
            <p:spPr bwMode="auto">
              <a:xfrm flipH="1" flipV="1">
                <a:off x="15146338" y="1797051"/>
                <a:ext cx="1587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0" name="Line 562"/>
              <p:cNvSpPr>
                <a:spLocks noChangeShapeType="1"/>
              </p:cNvSpPr>
              <p:nvPr userDrawn="1"/>
            </p:nvSpPr>
            <p:spPr bwMode="auto">
              <a:xfrm flipH="1" flipV="1">
                <a:off x="15141575" y="1760538"/>
                <a:ext cx="4762" cy="365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1" name="Line 563"/>
              <p:cNvSpPr>
                <a:spLocks noChangeShapeType="1"/>
              </p:cNvSpPr>
              <p:nvPr userDrawn="1"/>
            </p:nvSpPr>
            <p:spPr bwMode="auto">
              <a:xfrm flipH="1">
                <a:off x="15141575" y="1760538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2" name="Line 564"/>
              <p:cNvSpPr>
                <a:spLocks noChangeShapeType="1"/>
              </p:cNvSpPr>
              <p:nvPr userDrawn="1"/>
            </p:nvSpPr>
            <p:spPr bwMode="auto">
              <a:xfrm flipV="1">
                <a:off x="15141575" y="1755776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3" name="Line 565"/>
              <p:cNvSpPr>
                <a:spLocks noChangeShapeType="1"/>
              </p:cNvSpPr>
              <p:nvPr userDrawn="1"/>
            </p:nvSpPr>
            <p:spPr bwMode="auto">
              <a:xfrm flipV="1">
                <a:off x="15141575" y="1749426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4" name="Line 566"/>
              <p:cNvSpPr>
                <a:spLocks noChangeShapeType="1"/>
              </p:cNvSpPr>
              <p:nvPr userDrawn="1"/>
            </p:nvSpPr>
            <p:spPr bwMode="auto">
              <a:xfrm flipV="1">
                <a:off x="15143163" y="1746251"/>
                <a:ext cx="1587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5" name="Line 567"/>
              <p:cNvSpPr>
                <a:spLocks noChangeShapeType="1"/>
              </p:cNvSpPr>
              <p:nvPr userDrawn="1"/>
            </p:nvSpPr>
            <p:spPr bwMode="auto">
              <a:xfrm flipV="1">
                <a:off x="15144750" y="1741488"/>
                <a:ext cx="4762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6" name="Line 568"/>
              <p:cNvSpPr>
                <a:spLocks noChangeShapeType="1"/>
              </p:cNvSpPr>
              <p:nvPr userDrawn="1"/>
            </p:nvSpPr>
            <p:spPr bwMode="auto">
              <a:xfrm flipV="1">
                <a:off x="15149513" y="1738313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7" name="Line 569"/>
              <p:cNvSpPr>
                <a:spLocks noChangeShapeType="1"/>
              </p:cNvSpPr>
              <p:nvPr userDrawn="1"/>
            </p:nvSpPr>
            <p:spPr bwMode="auto">
              <a:xfrm flipV="1">
                <a:off x="15154275" y="1738313"/>
                <a:ext cx="47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8" name="Line 570"/>
              <p:cNvSpPr>
                <a:spLocks noChangeShapeType="1"/>
              </p:cNvSpPr>
              <p:nvPr userDrawn="1"/>
            </p:nvSpPr>
            <p:spPr bwMode="auto">
              <a:xfrm>
                <a:off x="15159038" y="1738313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9" name="Line 571"/>
              <p:cNvSpPr>
                <a:spLocks noChangeShapeType="1"/>
              </p:cNvSpPr>
              <p:nvPr userDrawn="1"/>
            </p:nvSpPr>
            <p:spPr bwMode="auto">
              <a:xfrm>
                <a:off x="15162213" y="1738313"/>
                <a:ext cx="47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0" name="Line 572"/>
              <p:cNvSpPr>
                <a:spLocks noChangeShapeType="1"/>
              </p:cNvSpPr>
              <p:nvPr userDrawn="1"/>
            </p:nvSpPr>
            <p:spPr bwMode="auto">
              <a:xfrm>
                <a:off x="15166975" y="17383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1" name="Line 573"/>
              <p:cNvSpPr>
                <a:spLocks noChangeShapeType="1"/>
              </p:cNvSpPr>
              <p:nvPr userDrawn="1"/>
            </p:nvSpPr>
            <p:spPr bwMode="auto">
              <a:xfrm>
                <a:off x="15171738" y="1739901"/>
                <a:ext cx="3175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2" name="Line 574"/>
              <p:cNvSpPr>
                <a:spLocks noChangeShapeType="1"/>
              </p:cNvSpPr>
              <p:nvPr userDrawn="1"/>
            </p:nvSpPr>
            <p:spPr bwMode="auto">
              <a:xfrm>
                <a:off x="15174913" y="17414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3" name="Line 575"/>
              <p:cNvSpPr>
                <a:spLocks noChangeShapeType="1"/>
              </p:cNvSpPr>
              <p:nvPr userDrawn="1"/>
            </p:nvSpPr>
            <p:spPr bwMode="auto">
              <a:xfrm>
                <a:off x="15178088" y="1746251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4" name="Line 576"/>
              <p:cNvSpPr>
                <a:spLocks noChangeShapeType="1"/>
              </p:cNvSpPr>
              <p:nvPr userDrawn="1"/>
            </p:nvSpPr>
            <p:spPr bwMode="auto">
              <a:xfrm>
                <a:off x="15181263" y="1749426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5" name="Line 577"/>
              <p:cNvSpPr>
                <a:spLocks noChangeShapeType="1"/>
              </p:cNvSpPr>
              <p:nvPr userDrawn="1"/>
            </p:nvSpPr>
            <p:spPr bwMode="auto">
              <a:xfrm>
                <a:off x="15182850" y="1755776"/>
                <a:ext cx="0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6" name="Line 578"/>
              <p:cNvSpPr>
                <a:spLocks noChangeShapeType="1"/>
              </p:cNvSpPr>
              <p:nvPr userDrawn="1"/>
            </p:nvSpPr>
            <p:spPr bwMode="auto">
              <a:xfrm>
                <a:off x="15182850" y="1755776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7" name="Line 579"/>
              <p:cNvSpPr>
                <a:spLocks noChangeShapeType="1"/>
              </p:cNvSpPr>
              <p:nvPr userDrawn="1"/>
            </p:nvSpPr>
            <p:spPr bwMode="auto">
              <a:xfrm>
                <a:off x="15182850" y="1757363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8" name="Line 580"/>
              <p:cNvSpPr>
                <a:spLocks noChangeShapeType="1"/>
              </p:cNvSpPr>
              <p:nvPr userDrawn="1"/>
            </p:nvSpPr>
            <p:spPr bwMode="auto">
              <a:xfrm>
                <a:off x="15182850" y="176053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9" name="Line 581"/>
              <p:cNvSpPr>
                <a:spLocks noChangeShapeType="1"/>
              </p:cNvSpPr>
              <p:nvPr userDrawn="1"/>
            </p:nvSpPr>
            <p:spPr bwMode="auto">
              <a:xfrm>
                <a:off x="15184438" y="1765301"/>
                <a:ext cx="3175" cy="254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0" name="Line 582"/>
              <p:cNvSpPr>
                <a:spLocks noChangeShapeType="1"/>
              </p:cNvSpPr>
              <p:nvPr userDrawn="1"/>
            </p:nvSpPr>
            <p:spPr bwMode="auto">
              <a:xfrm>
                <a:off x="15187613" y="1790701"/>
                <a:ext cx="3175" cy="269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1" name="Line 583"/>
              <p:cNvSpPr>
                <a:spLocks noChangeShapeType="1"/>
              </p:cNvSpPr>
              <p:nvPr userDrawn="1"/>
            </p:nvSpPr>
            <p:spPr bwMode="auto">
              <a:xfrm>
                <a:off x="15190788" y="1817688"/>
                <a:ext cx="3175" cy="142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2" name="Line 584"/>
              <p:cNvSpPr>
                <a:spLocks noChangeShapeType="1"/>
              </p:cNvSpPr>
              <p:nvPr userDrawn="1"/>
            </p:nvSpPr>
            <p:spPr bwMode="auto">
              <a:xfrm>
                <a:off x="15193963" y="1831976"/>
                <a:ext cx="0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3" name="Line 585"/>
              <p:cNvSpPr>
                <a:spLocks noChangeShapeType="1"/>
              </p:cNvSpPr>
              <p:nvPr userDrawn="1"/>
            </p:nvSpPr>
            <p:spPr bwMode="auto">
              <a:xfrm>
                <a:off x="15193963" y="1841501"/>
                <a:ext cx="4762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4" name="Line 586"/>
              <p:cNvSpPr>
                <a:spLocks noChangeShapeType="1"/>
              </p:cNvSpPr>
              <p:nvPr userDrawn="1"/>
            </p:nvSpPr>
            <p:spPr bwMode="auto">
              <a:xfrm>
                <a:off x="15198725" y="1852613"/>
                <a:ext cx="6350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5" name="Line 587"/>
              <p:cNvSpPr>
                <a:spLocks noChangeShapeType="1"/>
              </p:cNvSpPr>
              <p:nvPr userDrawn="1"/>
            </p:nvSpPr>
            <p:spPr bwMode="auto">
              <a:xfrm>
                <a:off x="15205075" y="1862138"/>
                <a:ext cx="11112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6" name="Line 588"/>
              <p:cNvSpPr>
                <a:spLocks noChangeShapeType="1"/>
              </p:cNvSpPr>
              <p:nvPr userDrawn="1"/>
            </p:nvSpPr>
            <p:spPr bwMode="auto">
              <a:xfrm>
                <a:off x="15216188" y="1866901"/>
                <a:ext cx="952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7" name="Line 589"/>
              <p:cNvSpPr>
                <a:spLocks noChangeShapeType="1"/>
              </p:cNvSpPr>
              <p:nvPr userDrawn="1"/>
            </p:nvSpPr>
            <p:spPr bwMode="auto">
              <a:xfrm>
                <a:off x="15225713" y="1870076"/>
                <a:ext cx="1587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8" name="Line 590"/>
              <p:cNvSpPr>
                <a:spLocks noChangeShapeType="1"/>
              </p:cNvSpPr>
              <p:nvPr userDrawn="1"/>
            </p:nvSpPr>
            <p:spPr bwMode="auto">
              <a:xfrm flipV="1">
                <a:off x="15227300" y="1866901"/>
                <a:ext cx="1270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9" name="Line 591"/>
              <p:cNvSpPr>
                <a:spLocks noChangeShapeType="1"/>
              </p:cNvSpPr>
              <p:nvPr userDrawn="1"/>
            </p:nvSpPr>
            <p:spPr bwMode="auto">
              <a:xfrm flipV="1">
                <a:off x="15240000" y="1862138"/>
                <a:ext cx="952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0" name="Line 592"/>
              <p:cNvSpPr>
                <a:spLocks noChangeShapeType="1"/>
              </p:cNvSpPr>
              <p:nvPr userDrawn="1"/>
            </p:nvSpPr>
            <p:spPr bwMode="auto">
              <a:xfrm flipV="1">
                <a:off x="15249525" y="1852613"/>
                <a:ext cx="6350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1" name="Line 593"/>
              <p:cNvSpPr>
                <a:spLocks noChangeShapeType="1"/>
              </p:cNvSpPr>
              <p:nvPr userDrawn="1"/>
            </p:nvSpPr>
            <p:spPr bwMode="auto">
              <a:xfrm flipV="1">
                <a:off x="15255875" y="1841501"/>
                <a:ext cx="3175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2" name="Line 594"/>
              <p:cNvSpPr>
                <a:spLocks noChangeShapeType="1"/>
              </p:cNvSpPr>
              <p:nvPr userDrawn="1"/>
            </p:nvSpPr>
            <p:spPr bwMode="auto">
              <a:xfrm flipV="1">
                <a:off x="15259050" y="1831976"/>
                <a:ext cx="3175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3" name="Line 595"/>
              <p:cNvSpPr>
                <a:spLocks noChangeShapeType="1"/>
              </p:cNvSpPr>
              <p:nvPr userDrawn="1"/>
            </p:nvSpPr>
            <p:spPr bwMode="auto">
              <a:xfrm flipV="1">
                <a:off x="15262225" y="1819276"/>
                <a:ext cx="0" cy="127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4" name="Line 596"/>
              <p:cNvSpPr>
                <a:spLocks noChangeShapeType="1"/>
              </p:cNvSpPr>
              <p:nvPr userDrawn="1"/>
            </p:nvSpPr>
            <p:spPr bwMode="auto">
              <a:xfrm flipV="1">
                <a:off x="15262225" y="1790701"/>
                <a:ext cx="4762" cy="285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5" name="Line 597"/>
              <p:cNvSpPr>
                <a:spLocks noChangeShapeType="1"/>
              </p:cNvSpPr>
              <p:nvPr userDrawn="1"/>
            </p:nvSpPr>
            <p:spPr bwMode="auto">
              <a:xfrm flipV="1">
                <a:off x="15266988" y="1765301"/>
                <a:ext cx="3175" cy="254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6" name="Line 598"/>
              <p:cNvSpPr>
                <a:spLocks noChangeShapeType="1"/>
              </p:cNvSpPr>
              <p:nvPr userDrawn="1"/>
            </p:nvSpPr>
            <p:spPr bwMode="auto">
              <a:xfrm flipV="1">
                <a:off x="15270163" y="1760538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7" name="Line 599"/>
              <p:cNvSpPr>
                <a:spLocks noChangeShapeType="1"/>
              </p:cNvSpPr>
              <p:nvPr userDrawn="1"/>
            </p:nvSpPr>
            <p:spPr bwMode="auto">
              <a:xfrm flipV="1">
                <a:off x="15271750" y="1757363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8" name="Line 600"/>
              <p:cNvSpPr>
                <a:spLocks noChangeShapeType="1"/>
              </p:cNvSpPr>
              <p:nvPr userDrawn="1"/>
            </p:nvSpPr>
            <p:spPr bwMode="auto">
              <a:xfrm flipV="1">
                <a:off x="15271750" y="1755776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9" name="Line 601"/>
              <p:cNvSpPr>
                <a:spLocks noChangeShapeType="1"/>
              </p:cNvSpPr>
              <p:nvPr userDrawn="1"/>
            </p:nvSpPr>
            <p:spPr bwMode="auto">
              <a:xfrm flipV="1">
                <a:off x="15271750" y="1754188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0" name="Line 602"/>
              <p:cNvSpPr>
                <a:spLocks noChangeShapeType="1"/>
              </p:cNvSpPr>
              <p:nvPr userDrawn="1"/>
            </p:nvSpPr>
            <p:spPr bwMode="auto">
              <a:xfrm flipV="1">
                <a:off x="15271750" y="1749426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1" name="Line 603"/>
              <p:cNvSpPr>
                <a:spLocks noChangeShapeType="1"/>
              </p:cNvSpPr>
              <p:nvPr userDrawn="1"/>
            </p:nvSpPr>
            <p:spPr bwMode="auto">
              <a:xfrm flipV="1">
                <a:off x="15273338" y="1746251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2" name="Line 604"/>
              <p:cNvSpPr>
                <a:spLocks noChangeShapeType="1"/>
              </p:cNvSpPr>
              <p:nvPr userDrawn="1"/>
            </p:nvSpPr>
            <p:spPr bwMode="auto">
              <a:xfrm flipV="1">
                <a:off x="15276513" y="17414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3" name="Line 605"/>
              <p:cNvSpPr>
                <a:spLocks noChangeShapeType="1"/>
              </p:cNvSpPr>
              <p:nvPr userDrawn="1"/>
            </p:nvSpPr>
            <p:spPr bwMode="auto">
              <a:xfrm flipV="1">
                <a:off x="15279688" y="1739901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4" name="Line 606"/>
              <p:cNvSpPr>
                <a:spLocks noChangeShapeType="1"/>
              </p:cNvSpPr>
              <p:nvPr userDrawn="1"/>
            </p:nvSpPr>
            <p:spPr bwMode="auto">
              <a:xfrm flipV="1">
                <a:off x="15284450" y="1738313"/>
                <a:ext cx="4762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15" name="Line 608"/>
              <p:cNvSpPr>
                <a:spLocks noChangeShapeType="1"/>
              </p:cNvSpPr>
              <p:nvPr userDrawn="1"/>
            </p:nvSpPr>
            <p:spPr bwMode="auto">
              <a:xfrm>
                <a:off x="15289213" y="1738313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16" name="Line 609"/>
              <p:cNvSpPr>
                <a:spLocks noChangeShapeType="1"/>
              </p:cNvSpPr>
              <p:nvPr userDrawn="1"/>
            </p:nvSpPr>
            <p:spPr bwMode="auto">
              <a:xfrm>
                <a:off x="15292388" y="1738313"/>
                <a:ext cx="3175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17" name="Line 610"/>
              <p:cNvSpPr>
                <a:spLocks noChangeShapeType="1"/>
              </p:cNvSpPr>
              <p:nvPr userDrawn="1"/>
            </p:nvSpPr>
            <p:spPr bwMode="auto">
              <a:xfrm>
                <a:off x="15295563" y="1738313"/>
                <a:ext cx="4762" cy="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18" name="Line 611"/>
              <p:cNvSpPr>
                <a:spLocks noChangeShapeType="1"/>
              </p:cNvSpPr>
              <p:nvPr userDrawn="1"/>
            </p:nvSpPr>
            <p:spPr bwMode="auto">
              <a:xfrm>
                <a:off x="15300325" y="1738313"/>
                <a:ext cx="4762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19" name="Line 612"/>
              <p:cNvSpPr>
                <a:spLocks noChangeShapeType="1"/>
              </p:cNvSpPr>
              <p:nvPr userDrawn="1"/>
            </p:nvSpPr>
            <p:spPr bwMode="auto">
              <a:xfrm>
                <a:off x="15305088" y="1741488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20" name="Line 613"/>
              <p:cNvSpPr>
                <a:spLocks noChangeShapeType="1"/>
              </p:cNvSpPr>
              <p:nvPr userDrawn="1"/>
            </p:nvSpPr>
            <p:spPr bwMode="auto">
              <a:xfrm>
                <a:off x="15308263" y="1746251"/>
                <a:ext cx="3175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21" name="Line 614"/>
              <p:cNvSpPr>
                <a:spLocks noChangeShapeType="1"/>
              </p:cNvSpPr>
              <p:nvPr userDrawn="1"/>
            </p:nvSpPr>
            <p:spPr bwMode="auto">
              <a:xfrm>
                <a:off x="15311438" y="1751013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22" name="Line 615"/>
              <p:cNvSpPr>
                <a:spLocks noChangeShapeType="1"/>
              </p:cNvSpPr>
              <p:nvPr userDrawn="1"/>
            </p:nvSpPr>
            <p:spPr bwMode="auto">
              <a:xfrm>
                <a:off x="15313025" y="1755776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23" name="Line 616"/>
              <p:cNvSpPr>
                <a:spLocks noChangeShapeType="1"/>
              </p:cNvSpPr>
              <p:nvPr userDrawn="1"/>
            </p:nvSpPr>
            <p:spPr bwMode="auto">
              <a:xfrm flipH="1">
                <a:off x="15308263" y="1760538"/>
                <a:ext cx="4762" cy="381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24" name="Line 617"/>
              <p:cNvSpPr>
                <a:spLocks noChangeShapeType="1"/>
              </p:cNvSpPr>
              <p:nvPr userDrawn="1"/>
            </p:nvSpPr>
            <p:spPr bwMode="auto">
              <a:xfrm flipH="1">
                <a:off x="15305088" y="1798638"/>
                <a:ext cx="3175" cy="158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25" name="Line 618"/>
              <p:cNvSpPr>
                <a:spLocks noChangeShapeType="1"/>
              </p:cNvSpPr>
              <p:nvPr userDrawn="1"/>
            </p:nvSpPr>
            <p:spPr bwMode="auto">
              <a:xfrm flipH="1">
                <a:off x="15303500" y="1814513"/>
                <a:ext cx="1587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26" name="Line 619"/>
              <p:cNvSpPr>
                <a:spLocks noChangeShapeType="1"/>
              </p:cNvSpPr>
              <p:nvPr userDrawn="1"/>
            </p:nvSpPr>
            <p:spPr bwMode="auto">
              <a:xfrm flipH="1">
                <a:off x="15303500" y="1822451"/>
                <a:ext cx="0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27" name="Line 620"/>
              <p:cNvSpPr>
                <a:spLocks noChangeShapeType="1"/>
              </p:cNvSpPr>
              <p:nvPr userDrawn="1"/>
            </p:nvSpPr>
            <p:spPr bwMode="auto">
              <a:xfrm flipH="1">
                <a:off x="15301913" y="1828801"/>
                <a:ext cx="1587" cy="635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28" name="Line 621"/>
              <p:cNvSpPr>
                <a:spLocks noChangeShapeType="1"/>
              </p:cNvSpPr>
              <p:nvPr userDrawn="1"/>
            </p:nvSpPr>
            <p:spPr bwMode="auto">
              <a:xfrm>
                <a:off x="15301913" y="1835151"/>
                <a:ext cx="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29" name="Line 622"/>
              <p:cNvSpPr>
                <a:spLocks noChangeShapeType="1"/>
              </p:cNvSpPr>
              <p:nvPr userDrawn="1"/>
            </p:nvSpPr>
            <p:spPr bwMode="auto">
              <a:xfrm flipH="1">
                <a:off x="15300325" y="1839913"/>
                <a:ext cx="1587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30" name="Line 623"/>
              <p:cNvSpPr>
                <a:spLocks noChangeShapeType="1"/>
              </p:cNvSpPr>
              <p:nvPr userDrawn="1"/>
            </p:nvSpPr>
            <p:spPr bwMode="auto">
              <a:xfrm>
                <a:off x="15300325" y="1844676"/>
                <a:ext cx="0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31" name="Line 624"/>
              <p:cNvSpPr>
                <a:spLocks noChangeShapeType="1"/>
              </p:cNvSpPr>
              <p:nvPr userDrawn="1"/>
            </p:nvSpPr>
            <p:spPr bwMode="auto">
              <a:xfrm flipH="1">
                <a:off x="15297150" y="1847851"/>
                <a:ext cx="3175" cy="127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32" name="Line 625"/>
              <p:cNvSpPr>
                <a:spLocks noChangeShapeType="1"/>
              </p:cNvSpPr>
              <p:nvPr userDrawn="1"/>
            </p:nvSpPr>
            <p:spPr bwMode="auto">
              <a:xfrm flipH="1">
                <a:off x="15292388" y="1860551"/>
                <a:ext cx="4762" cy="12700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33" name="Line 626"/>
              <p:cNvSpPr>
                <a:spLocks noChangeShapeType="1"/>
              </p:cNvSpPr>
              <p:nvPr userDrawn="1"/>
            </p:nvSpPr>
            <p:spPr bwMode="auto">
              <a:xfrm flipH="1">
                <a:off x="15284450" y="1873251"/>
                <a:ext cx="7937" cy="1111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34" name="Line 627"/>
              <p:cNvSpPr>
                <a:spLocks noChangeShapeType="1"/>
              </p:cNvSpPr>
              <p:nvPr userDrawn="1"/>
            </p:nvSpPr>
            <p:spPr bwMode="auto">
              <a:xfrm flipH="1">
                <a:off x="15276513" y="1884363"/>
                <a:ext cx="7937" cy="952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35" name="Line 628"/>
              <p:cNvSpPr>
                <a:spLocks noChangeShapeType="1"/>
              </p:cNvSpPr>
              <p:nvPr userDrawn="1"/>
            </p:nvSpPr>
            <p:spPr bwMode="auto">
              <a:xfrm flipH="1">
                <a:off x="15265400" y="1893888"/>
                <a:ext cx="11112" cy="79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36" name="Line 629"/>
              <p:cNvSpPr>
                <a:spLocks noChangeShapeType="1"/>
              </p:cNvSpPr>
              <p:nvPr userDrawn="1"/>
            </p:nvSpPr>
            <p:spPr bwMode="auto">
              <a:xfrm flipH="1">
                <a:off x="15252700" y="1901826"/>
                <a:ext cx="12700" cy="4763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37" name="Line 630"/>
              <p:cNvSpPr>
                <a:spLocks noChangeShapeType="1"/>
              </p:cNvSpPr>
              <p:nvPr userDrawn="1"/>
            </p:nvSpPr>
            <p:spPr bwMode="auto">
              <a:xfrm flipH="1">
                <a:off x="15251113" y="1906588"/>
                <a:ext cx="1587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38" name="Line 631"/>
              <p:cNvSpPr>
                <a:spLocks noChangeShapeType="1"/>
              </p:cNvSpPr>
              <p:nvPr userDrawn="1"/>
            </p:nvSpPr>
            <p:spPr bwMode="auto">
              <a:xfrm flipH="1">
                <a:off x="15247938" y="1908176"/>
                <a:ext cx="3175" cy="3175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39" name="Line 632"/>
              <p:cNvSpPr>
                <a:spLocks noChangeShapeType="1"/>
              </p:cNvSpPr>
              <p:nvPr userDrawn="1"/>
            </p:nvSpPr>
            <p:spPr bwMode="auto">
              <a:xfrm>
                <a:off x="15247938" y="1911351"/>
                <a:ext cx="0" cy="158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340" name="Line 633"/>
              <p:cNvSpPr>
                <a:spLocks noChangeShapeType="1"/>
              </p:cNvSpPr>
              <p:nvPr userDrawn="1"/>
            </p:nvSpPr>
            <p:spPr bwMode="auto">
              <a:xfrm>
                <a:off x="15247938" y="1912938"/>
                <a:ext cx="0" cy="109538"/>
              </a:xfrm>
              <a:prstGeom prst="line">
                <a:avLst/>
              </a:prstGeom>
              <a:grpFill/>
              <a:ln w="20638">
                <a:noFill/>
                <a:prstDash val="solid"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2120" name="Groep 2119"/>
            <p:cNvGrpSpPr/>
            <p:nvPr userDrawn="1"/>
          </p:nvGrpSpPr>
          <p:grpSpPr>
            <a:xfrm>
              <a:off x="13952538" y="530225"/>
              <a:ext cx="1036637" cy="995363"/>
              <a:chOff x="13952538" y="530225"/>
              <a:chExt cx="1036637" cy="995363"/>
            </a:xfrm>
          </p:grpSpPr>
          <p:sp>
            <p:nvSpPr>
              <p:cNvPr id="293" name="Freeform 1935"/>
              <p:cNvSpPr>
                <a:spLocks noEditPoints="1"/>
              </p:cNvSpPr>
              <p:nvPr userDrawn="1"/>
            </p:nvSpPr>
            <p:spPr bwMode="auto">
              <a:xfrm>
                <a:off x="14217650" y="1412875"/>
                <a:ext cx="180975" cy="112713"/>
              </a:xfrm>
              <a:custGeom>
                <a:avLst/>
                <a:gdLst>
                  <a:gd name="T0" fmla="*/ 25 w 228"/>
                  <a:gd name="T1" fmla="*/ 26 h 141"/>
                  <a:gd name="T2" fmla="*/ 25 w 228"/>
                  <a:gd name="T3" fmla="*/ 27 h 141"/>
                  <a:gd name="T4" fmla="*/ 28 w 228"/>
                  <a:gd name="T5" fmla="*/ 51 h 141"/>
                  <a:gd name="T6" fmla="*/ 38 w 228"/>
                  <a:gd name="T7" fmla="*/ 72 h 141"/>
                  <a:gd name="T8" fmla="*/ 52 w 228"/>
                  <a:gd name="T9" fmla="*/ 89 h 141"/>
                  <a:gd name="T10" fmla="*/ 69 w 228"/>
                  <a:gd name="T11" fmla="*/ 103 h 141"/>
                  <a:gd name="T12" fmla="*/ 90 w 228"/>
                  <a:gd name="T13" fmla="*/ 113 h 141"/>
                  <a:gd name="T14" fmla="*/ 114 w 228"/>
                  <a:gd name="T15" fmla="*/ 116 h 141"/>
                  <a:gd name="T16" fmla="*/ 138 w 228"/>
                  <a:gd name="T17" fmla="*/ 113 h 141"/>
                  <a:gd name="T18" fmla="*/ 159 w 228"/>
                  <a:gd name="T19" fmla="*/ 103 h 141"/>
                  <a:gd name="T20" fmla="*/ 177 w 228"/>
                  <a:gd name="T21" fmla="*/ 89 h 141"/>
                  <a:gd name="T22" fmla="*/ 191 w 228"/>
                  <a:gd name="T23" fmla="*/ 72 h 141"/>
                  <a:gd name="T24" fmla="*/ 200 w 228"/>
                  <a:gd name="T25" fmla="*/ 51 h 141"/>
                  <a:gd name="T26" fmla="*/ 202 w 228"/>
                  <a:gd name="T27" fmla="*/ 27 h 141"/>
                  <a:gd name="T28" fmla="*/ 202 w 228"/>
                  <a:gd name="T29" fmla="*/ 26 h 141"/>
                  <a:gd name="T30" fmla="*/ 25 w 228"/>
                  <a:gd name="T31" fmla="*/ 26 h 141"/>
                  <a:gd name="T32" fmla="*/ 2 w 228"/>
                  <a:gd name="T33" fmla="*/ 0 h 141"/>
                  <a:gd name="T34" fmla="*/ 226 w 228"/>
                  <a:gd name="T35" fmla="*/ 0 h 141"/>
                  <a:gd name="T36" fmla="*/ 228 w 228"/>
                  <a:gd name="T37" fmla="*/ 12 h 141"/>
                  <a:gd name="T38" fmla="*/ 228 w 228"/>
                  <a:gd name="T39" fmla="*/ 19 h 141"/>
                  <a:gd name="T40" fmla="*/ 228 w 228"/>
                  <a:gd name="T41" fmla="*/ 27 h 141"/>
                  <a:gd name="T42" fmla="*/ 225 w 228"/>
                  <a:gd name="T43" fmla="*/ 57 h 141"/>
                  <a:gd name="T44" fmla="*/ 212 w 228"/>
                  <a:gd name="T45" fmla="*/ 85 h 141"/>
                  <a:gd name="T46" fmla="*/ 195 w 228"/>
                  <a:gd name="T47" fmla="*/ 108 h 141"/>
                  <a:gd name="T48" fmla="*/ 171 w 228"/>
                  <a:gd name="T49" fmla="*/ 126 h 141"/>
                  <a:gd name="T50" fmla="*/ 145 w 228"/>
                  <a:gd name="T51" fmla="*/ 137 h 141"/>
                  <a:gd name="T52" fmla="*/ 114 w 228"/>
                  <a:gd name="T53" fmla="*/ 141 h 141"/>
                  <a:gd name="T54" fmla="*/ 84 w 228"/>
                  <a:gd name="T55" fmla="*/ 137 h 141"/>
                  <a:gd name="T56" fmla="*/ 56 w 228"/>
                  <a:gd name="T57" fmla="*/ 126 h 141"/>
                  <a:gd name="T58" fmla="*/ 33 w 228"/>
                  <a:gd name="T59" fmla="*/ 108 h 141"/>
                  <a:gd name="T60" fmla="*/ 15 w 228"/>
                  <a:gd name="T61" fmla="*/ 85 h 141"/>
                  <a:gd name="T62" fmla="*/ 4 w 228"/>
                  <a:gd name="T63" fmla="*/ 57 h 141"/>
                  <a:gd name="T64" fmla="*/ 0 w 228"/>
                  <a:gd name="T65" fmla="*/ 27 h 141"/>
                  <a:gd name="T66" fmla="*/ 0 w 228"/>
                  <a:gd name="T67" fmla="*/ 19 h 141"/>
                  <a:gd name="T68" fmla="*/ 1 w 228"/>
                  <a:gd name="T69" fmla="*/ 12 h 141"/>
                  <a:gd name="T70" fmla="*/ 2 w 228"/>
                  <a:gd name="T71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28" h="141">
                    <a:moveTo>
                      <a:pt x="25" y="26"/>
                    </a:moveTo>
                    <a:lnTo>
                      <a:pt x="25" y="27"/>
                    </a:lnTo>
                    <a:lnTo>
                      <a:pt x="28" y="51"/>
                    </a:lnTo>
                    <a:lnTo>
                      <a:pt x="38" y="72"/>
                    </a:lnTo>
                    <a:lnTo>
                      <a:pt x="52" y="89"/>
                    </a:lnTo>
                    <a:lnTo>
                      <a:pt x="69" y="103"/>
                    </a:lnTo>
                    <a:lnTo>
                      <a:pt x="90" y="113"/>
                    </a:lnTo>
                    <a:lnTo>
                      <a:pt x="114" y="116"/>
                    </a:lnTo>
                    <a:lnTo>
                      <a:pt x="138" y="113"/>
                    </a:lnTo>
                    <a:lnTo>
                      <a:pt x="159" y="103"/>
                    </a:lnTo>
                    <a:lnTo>
                      <a:pt x="177" y="89"/>
                    </a:lnTo>
                    <a:lnTo>
                      <a:pt x="191" y="72"/>
                    </a:lnTo>
                    <a:lnTo>
                      <a:pt x="200" y="51"/>
                    </a:lnTo>
                    <a:lnTo>
                      <a:pt x="202" y="27"/>
                    </a:lnTo>
                    <a:lnTo>
                      <a:pt x="202" y="26"/>
                    </a:lnTo>
                    <a:lnTo>
                      <a:pt x="25" y="26"/>
                    </a:lnTo>
                    <a:close/>
                    <a:moveTo>
                      <a:pt x="2" y="0"/>
                    </a:moveTo>
                    <a:lnTo>
                      <a:pt x="226" y="0"/>
                    </a:lnTo>
                    <a:lnTo>
                      <a:pt x="228" y="12"/>
                    </a:lnTo>
                    <a:lnTo>
                      <a:pt x="228" y="19"/>
                    </a:lnTo>
                    <a:lnTo>
                      <a:pt x="228" y="27"/>
                    </a:lnTo>
                    <a:lnTo>
                      <a:pt x="225" y="57"/>
                    </a:lnTo>
                    <a:lnTo>
                      <a:pt x="212" y="85"/>
                    </a:lnTo>
                    <a:lnTo>
                      <a:pt x="195" y="108"/>
                    </a:lnTo>
                    <a:lnTo>
                      <a:pt x="171" y="126"/>
                    </a:lnTo>
                    <a:lnTo>
                      <a:pt x="145" y="137"/>
                    </a:lnTo>
                    <a:lnTo>
                      <a:pt x="114" y="141"/>
                    </a:lnTo>
                    <a:lnTo>
                      <a:pt x="84" y="137"/>
                    </a:lnTo>
                    <a:lnTo>
                      <a:pt x="56" y="126"/>
                    </a:lnTo>
                    <a:lnTo>
                      <a:pt x="33" y="108"/>
                    </a:lnTo>
                    <a:lnTo>
                      <a:pt x="15" y="85"/>
                    </a:lnTo>
                    <a:lnTo>
                      <a:pt x="4" y="57"/>
                    </a:lnTo>
                    <a:lnTo>
                      <a:pt x="0" y="27"/>
                    </a:lnTo>
                    <a:lnTo>
                      <a:pt x="0" y="19"/>
                    </a:lnTo>
                    <a:lnTo>
                      <a:pt x="1" y="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8AD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Freeform 1934"/>
              <p:cNvSpPr>
                <a:spLocks/>
              </p:cNvSpPr>
              <p:nvPr userDrawn="1"/>
            </p:nvSpPr>
            <p:spPr bwMode="auto">
              <a:xfrm>
                <a:off x="14228763" y="1423988"/>
                <a:ext cx="160337" cy="90488"/>
              </a:xfrm>
              <a:custGeom>
                <a:avLst/>
                <a:gdLst>
                  <a:gd name="T0" fmla="*/ 2 w 203"/>
                  <a:gd name="T1" fmla="*/ 0 h 116"/>
                  <a:gd name="T2" fmla="*/ 203 w 203"/>
                  <a:gd name="T3" fmla="*/ 0 h 116"/>
                  <a:gd name="T4" fmla="*/ 203 w 203"/>
                  <a:gd name="T5" fmla="*/ 7 h 116"/>
                  <a:gd name="T6" fmla="*/ 203 w 203"/>
                  <a:gd name="T7" fmla="*/ 14 h 116"/>
                  <a:gd name="T8" fmla="*/ 200 w 203"/>
                  <a:gd name="T9" fmla="*/ 41 h 116"/>
                  <a:gd name="T10" fmla="*/ 189 w 203"/>
                  <a:gd name="T11" fmla="*/ 65 h 116"/>
                  <a:gd name="T12" fmla="*/ 174 w 203"/>
                  <a:gd name="T13" fmla="*/ 86 h 116"/>
                  <a:gd name="T14" fmla="*/ 154 w 203"/>
                  <a:gd name="T15" fmla="*/ 102 h 116"/>
                  <a:gd name="T16" fmla="*/ 128 w 203"/>
                  <a:gd name="T17" fmla="*/ 112 h 116"/>
                  <a:gd name="T18" fmla="*/ 102 w 203"/>
                  <a:gd name="T19" fmla="*/ 116 h 116"/>
                  <a:gd name="T20" fmla="*/ 75 w 203"/>
                  <a:gd name="T21" fmla="*/ 112 h 116"/>
                  <a:gd name="T22" fmla="*/ 51 w 203"/>
                  <a:gd name="T23" fmla="*/ 102 h 116"/>
                  <a:gd name="T24" fmla="*/ 30 w 203"/>
                  <a:gd name="T25" fmla="*/ 86 h 116"/>
                  <a:gd name="T26" fmla="*/ 14 w 203"/>
                  <a:gd name="T27" fmla="*/ 65 h 116"/>
                  <a:gd name="T28" fmla="*/ 4 w 203"/>
                  <a:gd name="T29" fmla="*/ 41 h 116"/>
                  <a:gd name="T30" fmla="*/ 0 w 203"/>
                  <a:gd name="T31" fmla="*/ 14 h 116"/>
                  <a:gd name="T32" fmla="*/ 2 w 203"/>
                  <a:gd name="T33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03" h="116">
                    <a:moveTo>
                      <a:pt x="2" y="0"/>
                    </a:moveTo>
                    <a:lnTo>
                      <a:pt x="203" y="0"/>
                    </a:lnTo>
                    <a:lnTo>
                      <a:pt x="203" y="7"/>
                    </a:lnTo>
                    <a:lnTo>
                      <a:pt x="203" y="14"/>
                    </a:lnTo>
                    <a:lnTo>
                      <a:pt x="200" y="41"/>
                    </a:lnTo>
                    <a:lnTo>
                      <a:pt x="189" y="65"/>
                    </a:lnTo>
                    <a:lnTo>
                      <a:pt x="174" y="86"/>
                    </a:lnTo>
                    <a:lnTo>
                      <a:pt x="154" y="102"/>
                    </a:lnTo>
                    <a:lnTo>
                      <a:pt x="128" y="112"/>
                    </a:lnTo>
                    <a:lnTo>
                      <a:pt x="102" y="116"/>
                    </a:lnTo>
                    <a:lnTo>
                      <a:pt x="75" y="112"/>
                    </a:lnTo>
                    <a:lnTo>
                      <a:pt x="51" y="102"/>
                    </a:lnTo>
                    <a:lnTo>
                      <a:pt x="30" y="86"/>
                    </a:lnTo>
                    <a:lnTo>
                      <a:pt x="14" y="65"/>
                    </a:lnTo>
                    <a:lnTo>
                      <a:pt x="4" y="41"/>
                    </a:lnTo>
                    <a:lnTo>
                      <a:pt x="0" y="1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8AD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Freeform 1936"/>
              <p:cNvSpPr>
                <a:spLocks/>
              </p:cNvSpPr>
              <p:nvPr userDrawn="1"/>
            </p:nvSpPr>
            <p:spPr bwMode="auto">
              <a:xfrm>
                <a:off x="14624050" y="1423988"/>
                <a:ext cx="160337" cy="90488"/>
              </a:xfrm>
              <a:custGeom>
                <a:avLst/>
                <a:gdLst>
                  <a:gd name="T0" fmla="*/ 0 w 203"/>
                  <a:gd name="T1" fmla="*/ 0 h 116"/>
                  <a:gd name="T2" fmla="*/ 202 w 203"/>
                  <a:gd name="T3" fmla="*/ 0 h 116"/>
                  <a:gd name="T4" fmla="*/ 203 w 203"/>
                  <a:gd name="T5" fmla="*/ 14 h 116"/>
                  <a:gd name="T6" fmla="*/ 199 w 203"/>
                  <a:gd name="T7" fmla="*/ 41 h 116"/>
                  <a:gd name="T8" fmla="*/ 189 w 203"/>
                  <a:gd name="T9" fmla="*/ 65 h 116"/>
                  <a:gd name="T10" fmla="*/ 173 w 203"/>
                  <a:gd name="T11" fmla="*/ 86 h 116"/>
                  <a:gd name="T12" fmla="*/ 152 w 203"/>
                  <a:gd name="T13" fmla="*/ 102 h 116"/>
                  <a:gd name="T14" fmla="*/ 128 w 203"/>
                  <a:gd name="T15" fmla="*/ 112 h 116"/>
                  <a:gd name="T16" fmla="*/ 102 w 203"/>
                  <a:gd name="T17" fmla="*/ 116 h 116"/>
                  <a:gd name="T18" fmla="*/ 75 w 203"/>
                  <a:gd name="T19" fmla="*/ 112 h 116"/>
                  <a:gd name="T20" fmla="*/ 49 w 203"/>
                  <a:gd name="T21" fmla="*/ 102 h 116"/>
                  <a:gd name="T22" fmla="*/ 30 w 203"/>
                  <a:gd name="T23" fmla="*/ 86 h 116"/>
                  <a:gd name="T24" fmla="*/ 14 w 203"/>
                  <a:gd name="T25" fmla="*/ 65 h 116"/>
                  <a:gd name="T26" fmla="*/ 3 w 203"/>
                  <a:gd name="T27" fmla="*/ 41 h 116"/>
                  <a:gd name="T28" fmla="*/ 0 w 203"/>
                  <a:gd name="T29" fmla="*/ 14 h 116"/>
                  <a:gd name="T30" fmla="*/ 0 w 203"/>
                  <a:gd name="T31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3" h="116">
                    <a:moveTo>
                      <a:pt x="0" y="0"/>
                    </a:moveTo>
                    <a:lnTo>
                      <a:pt x="202" y="0"/>
                    </a:lnTo>
                    <a:lnTo>
                      <a:pt x="203" y="14"/>
                    </a:lnTo>
                    <a:lnTo>
                      <a:pt x="199" y="41"/>
                    </a:lnTo>
                    <a:lnTo>
                      <a:pt x="189" y="65"/>
                    </a:lnTo>
                    <a:lnTo>
                      <a:pt x="173" y="86"/>
                    </a:lnTo>
                    <a:lnTo>
                      <a:pt x="152" y="102"/>
                    </a:lnTo>
                    <a:lnTo>
                      <a:pt x="128" y="112"/>
                    </a:lnTo>
                    <a:lnTo>
                      <a:pt x="102" y="116"/>
                    </a:lnTo>
                    <a:lnTo>
                      <a:pt x="75" y="112"/>
                    </a:lnTo>
                    <a:lnTo>
                      <a:pt x="49" y="102"/>
                    </a:lnTo>
                    <a:lnTo>
                      <a:pt x="30" y="86"/>
                    </a:lnTo>
                    <a:lnTo>
                      <a:pt x="14" y="65"/>
                    </a:lnTo>
                    <a:lnTo>
                      <a:pt x="3" y="41"/>
                    </a:ln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8AD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Freeform 1937"/>
              <p:cNvSpPr>
                <a:spLocks noEditPoints="1"/>
              </p:cNvSpPr>
              <p:nvPr userDrawn="1"/>
            </p:nvSpPr>
            <p:spPr bwMode="auto">
              <a:xfrm>
                <a:off x="14614525" y="1412875"/>
                <a:ext cx="180975" cy="112713"/>
              </a:xfrm>
              <a:custGeom>
                <a:avLst/>
                <a:gdLst>
                  <a:gd name="T0" fmla="*/ 26 w 229"/>
                  <a:gd name="T1" fmla="*/ 26 h 141"/>
                  <a:gd name="T2" fmla="*/ 26 w 229"/>
                  <a:gd name="T3" fmla="*/ 27 h 141"/>
                  <a:gd name="T4" fmla="*/ 29 w 229"/>
                  <a:gd name="T5" fmla="*/ 51 h 141"/>
                  <a:gd name="T6" fmla="*/ 37 w 229"/>
                  <a:gd name="T7" fmla="*/ 72 h 141"/>
                  <a:gd name="T8" fmla="*/ 51 w 229"/>
                  <a:gd name="T9" fmla="*/ 89 h 141"/>
                  <a:gd name="T10" fmla="*/ 69 w 229"/>
                  <a:gd name="T11" fmla="*/ 103 h 141"/>
                  <a:gd name="T12" fmla="*/ 91 w 229"/>
                  <a:gd name="T13" fmla="*/ 113 h 141"/>
                  <a:gd name="T14" fmla="*/ 115 w 229"/>
                  <a:gd name="T15" fmla="*/ 116 h 141"/>
                  <a:gd name="T16" fmla="*/ 138 w 229"/>
                  <a:gd name="T17" fmla="*/ 113 h 141"/>
                  <a:gd name="T18" fmla="*/ 160 w 229"/>
                  <a:gd name="T19" fmla="*/ 103 h 141"/>
                  <a:gd name="T20" fmla="*/ 177 w 229"/>
                  <a:gd name="T21" fmla="*/ 89 h 141"/>
                  <a:gd name="T22" fmla="*/ 191 w 229"/>
                  <a:gd name="T23" fmla="*/ 72 h 141"/>
                  <a:gd name="T24" fmla="*/ 200 w 229"/>
                  <a:gd name="T25" fmla="*/ 51 h 141"/>
                  <a:gd name="T26" fmla="*/ 203 w 229"/>
                  <a:gd name="T27" fmla="*/ 27 h 141"/>
                  <a:gd name="T28" fmla="*/ 203 w 229"/>
                  <a:gd name="T29" fmla="*/ 26 h 141"/>
                  <a:gd name="T30" fmla="*/ 26 w 229"/>
                  <a:gd name="T31" fmla="*/ 26 h 141"/>
                  <a:gd name="T32" fmla="*/ 2 w 229"/>
                  <a:gd name="T33" fmla="*/ 0 h 141"/>
                  <a:gd name="T34" fmla="*/ 226 w 229"/>
                  <a:gd name="T35" fmla="*/ 0 h 141"/>
                  <a:gd name="T36" fmla="*/ 227 w 229"/>
                  <a:gd name="T37" fmla="*/ 12 h 141"/>
                  <a:gd name="T38" fmla="*/ 229 w 229"/>
                  <a:gd name="T39" fmla="*/ 19 h 141"/>
                  <a:gd name="T40" fmla="*/ 229 w 229"/>
                  <a:gd name="T41" fmla="*/ 27 h 141"/>
                  <a:gd name="T42" fmla="*/ 224 w 229"/>
                  <a:gd name="T43" fmla="*/ 57 h 141"/>
                  <a:gd name="T44" fmla="*/ 213 w 229"/>
                  <a:gd name="T45" fmla="*/ 85 h 141"/>
                  <a:gd name="T46" fmla="*/ 195 w 229"/>
                  <a:gd name="T47" fmla="*/ 108 h 141"/>
                  <a:gd name="T48" fmla="*/ 172 w 229"/>
                  <a:gd name="T49" fmla="*/ 126 h 141"/>
                  <a:gd name="T50" fmla="*/ 144 w 229"/>
                  <a:gd name="T51" fmla="*/ 137 h 141"/>
                  <a:gd name="T52" fmla="*/ 115 w 229"/>
                  <a:gd name="T53" fmla="*/ 141 h 141"/>
                  <a:gd name="T54" fmla="*/ 84 w 229"/>
                  <a:gd name="T55" fmla="*/ 137 h 141"/>
                  <a:gd name="T56" fmla="*/ 57 w 229"/>
                  <a:gd name="T57" fmla="*/ 126 h 141"/>
                  <a:gd name="T58" fmla="*/ 33 w 229"/>
                  <a:gd name="T59" fmla="*/ 108 h 141"/>
                  <a:gd name="T60" fmla="*/ 16 w 229"/>
                  <a:gd name="T61" fmla="*/ 85 h 141"/>
                  <a:gd name="T62" fmla="*/ 3 w 229"/>
                  <a:gd name="T63" fmla="*/ 57 h 141"/>
                  <a:gd name="T64" fmla="*/ 0 w 229"/>
                  <a:gd name="T65" fmla="*/ 27 h 141"/>
                  <a:gd name="T66" fmla="*/ 0 w 229"/>
                  <a:gd name="T67" fmla="*/ 19 h 141"/>
                  <a:gd name="T68" fmla="*/ 0 w 229"/>
                  <a:gd name="T69" fmla="*/ 12 h 141"/>
                  <a:gd name="T70" fmla="*/ 2 w 229"/>
                  <a:gd name="T71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29" h="141">
                    <a:moveTo>
                      <a:pt x="26" y="26"/>
                    </a:moveTo>
                    <a:lnTo>
                      <a:pt x="26" y="27"/>
                    </a:lnTo>
                    <a:lnTo>
                      <a:pt x="29" y="51"/>
                    </a:lnTo>
                    <a:lnTo>
                      <a:pt x="37" y="72"/>
                    </a:lnTo>
                    <a:lnTo>
                      <a:pt x="51" y="89"/>
                    </a:lnTo>
                    <a:lnTo>
                      <a:pt x="69" y="103"/>
                    </a:lnTo>
                    <a:lnTo>
                      <a:pt x="91" y="113"/>
                    </a:lnTo>
                    <a:lnTo>
                      <a:pt x="115" y="116"/>
                    </a:lnTo>
                    <a:lnTo>
                      <a:pt x="138" y="113"/>
                    </a:lnTo>
                    <a:lnTo>
                      <a:pt x="160" y="103"/>
                    </a:lnTo>
                    <a:lnTo>
                      <a:pt x="177" y="89"/>
                    </a:lnTo>
                    <a:lnTo>
                      <a:pt x="191" y="72"/>
                    </a:lnTo>
                    <a:lnTo>
                      <a:pt x="200" y="51"/>
                    </a:lnTo>
                    <a:lnTo>
                      <a:pt x="203" y="27"/>
                    </a:lnTo>
                    <a:lnTo>
                      <a:pt x="203" y="26"/>
                    </a:lnTo>
                    <a:lnTo>
                      <a:pt x="26" y="26"/>
                    </a:lnTo>
                    <a:close/>
                    <a:moveTo>
                      <a:pt x="2" y="0"/>
                    </a:moveTo>
                    <a:lnTo>
                      <a:pt x="226" y="0"/>
                    </a:lnTo>
                    <a:lnTo>
                      <a:pt x="227" y="12"/>
                    </a:lnTo>
                    <a:lnTo>
                      <a:pt x="229" y="19"/>
                    </a:lnTo>
                    <a:lnTo>
                      <a:pt x="229" y="27"/>
                    </a:lnTo>
                    <a:lnTo>
                      <a:pt x="224" y="57"/>
                    </a:lnTo>
                    <a:lnTo>
                      <a:pt x="213" y="85"/>
                    </a:lnTo>
                    <a:lnTo>
                      <a:pt x="195" y="108"/>
                    </a:lnTo>
                    <a:lnTo>
                      <a:pt x="172" y="126"/>
                    </a:lnTo>
                    <a:lnTo>
                      <a:pt x="144" y="137"/>
                    </a:lnTo>
                    <a:lnTo>
                      <a:pt x="115" y="141"/>
                    </a:lnTo>
                    <a:lnTo>
                      <a:pt x="84" y="137"/>
                    </a:lnTo>
                    <a:lnTo>
                      <a:pt x="57" y="126"/>
                    </a:lnTo>
                    <a:lnTo>
                      <a:pt x="33" y="108"/>
                    </a:lnTo>
                    <a:lnTo>
                      <a:pt x="16" y="85"/>
                    </a:lnTo>
                    <a:lnTo>
                      <a:pt x="3" y="57"/>
                    </a:lnTo>
                    <a:lnTo>
                      <a:pt x="0" y="27"/>
                    </a:lnTo>
                    <a:lnTo>
                      <a:pt x="0" y="19"/>
                    </a:lnTo>
                    <a:lnTo>
                      <a:pt x="0" y="1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8AD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Freeform 1938"/>
              <p:cNvSpPr>
                <a:spLocks/>
              </p:cNvSpPr>
              <p:nvPr userDrawn="1"/>
            </p:nvSpPr>
            <p:spPr bwMode="auto">
              <a:xfrm>
                <a:off x="14139863" y="1211263"/>
                <a:ext cx="722312" cy="174625"/>
              </a:xfrm>
              <a:custGeom>
                <a:avLst/>
                <a:gdLst>
                  <a:gd name="T0" fmla="*/ 131 w 910"/>
                  <a:gd name="T1" fmla="*/ 0 h 218"/>
                  <a:gd name="T2" fmla="*/ 145 w 910"/>
                  <a:gd name="T3" fmla="*/ 5 h 218"/>
                  <a:gd name="T4" fmla="*/ 158 w 910"/>
                  <a:gd name="T5" fmla="*/ 17 h 218"/>
                  <a:gd name="T6" fmla="*/ 163 w 910"/>
                  <a:gd name="T7" fmla="*/ 31 h 218"/>
                  <a:gd name="T8" fmla="*/ 165 w 910"/>
                  <a:gd name="T9" fmla="*/ 46 h 218"/>
                  <a:gd name="T10" fmla="*/ 159 w 910"/>
                  <a:gd name="T11" fmla="*/ 62 h 218"/>
                  <a:gd name="T12" fmla="*/ 113 w 910"/>
                  <a:gd name="T13" fmla="*/ 138 h 218"/>
                  <a:gd name="T14" fmla="*/ 869 w 910"/>
                  <a:gd name="T15" fmla="*/ 138 h 218"/>
                  <a:gd name="T16" fmla="*/ 885 w 910"/>
                  <a:gd name="T17" fmla="*/ 141 h 218"/>
                  <a:gd name="T18" fmla="*/ 898 w 910"/>
                  <a:gd name="T19" fmla="*/ 149 h 218"/>
                  <a:gd name="T20" fmla="*/ 906 w 910"/>
                  <a:gd name="T21" fmla="*/ 163 h 218"/>
                  <a:gd name="T22" fmla="*/ 910 w 910"/>
                  <a:gd name="T23" fmla="*/ 179 h 218"/>
                  <a:gd name="T24" fmla="*/ 906 w 910"/>
                  <a:gd name="T25" fmla="*/ 194 h 218"/>
                  <a:gd name="T26" fmla="*/ 898 w 910"/>
                  <a:gd name="T27" fmla="*/ 207 h 218"/>
                  <a:gd name="T28" fmla="*/ 885 w 910"/>
                  <a:gd name="T29" fmla="*/ 215 h 218"/>
                  <a:gd name="T30" fmla="*/ 869 w 910"/>
                  <a:gd name="T31" fmla="*/ 218 h 218"/>
                  <a:gd name="T32" fmla="*/ 41 w 910"/>
                  <a:gd name="T33" fmla="*/ 218 h 218"/>
                  <a:gd name="T34" fmla="*/ 27 w 910"/>
                  <a:gd name="T35" fmla="*/ 217 h 218"/>
                  <a:gd name="T36" fmla="*/ 14 w 910"/>
                  <a:gd name="T37" fmla="*/ 210 h 218"/>
                  <a:gd name="T38" fmla="*/ 6 w 910"/>
                  <a:gd name="T39" fmla="*/ 198 h 218"/>
                  <a:gd name="T40" fmla="*/ 0 w 910"/>
                  <a:gd name="T41" fmla="*/ 184 h 218"/>
                  <a:gd name="T42" fmla="*/ 1 w 910"/>
                  <a:gd name="T43" fmla="*/ 170 h 218"/>
                  <a:gd name="T44" fmla="*/ 6 w 910"/>
                  <a:gd name="T45" fmla="*/ 158 h 218"/>
                  <a:gd name="T46" fmla="*/ 90 w 910"/>
                  <a:gd name="T47" fmla="*/ 19 h 218"/>
                  <a:gd name="T48" fmla="*/ 101 w 910"/>
                  <a:gd name="T49" fmla="*/ 8 h 218"/>
                  <a:gd name="T50" fmla="*/ 115 w 910"/>
                  <a:gd name="T51" fmla="*/ 1 h 218"/>
                  <a:gd name="T52" fmla="*/ 131 w 910"/>
                  <a:gd name="T53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910" h="218">
                    <a:moveTo>
                      <a:pt x="131" y="0"/>
                    </a:moveTo>
                    <a:lnTo>
                      <a:pt x="145" y="5"/>
                    </a:lnTo>
                    <a:lnTo>
                      <a:pt x="158" y="17"/>
                    </a:lnTo>
                    <a:lnTo>
                      <a:pt x="163" y="31"/>
                    </a:lnTo>
                    <a:lnTo>
                      <a:pt x="165" y="46"/>
                    </a:lnTo>
                    <a:lnTo>
                      <a:pt x="159" y="62"/>
                    </a:lnTo>
                    <a:lnTo>
                      <a:pt x="113" y="138"/>
                    </a:lnTo>
                    <a:lnTo>
                      <a:pt x="869" y="138"/>
                    </a:lnTo>
                    <a:lnTo>
                      <a:pt x="885" y="141"/>
                    </a:lnTo>
                    <a:lnTo>
                      <a:pt x="898" y="149"/>
                    </a:lnTo>
                    <a:lnTo>
                      <a:pt x="906" y="163"/>
                    </a:lnTo>
                    <a:lnTo>
                      <a:pt x="910" y="179"/>
                    </a:lnTo>
                    <a:lnTo>
                      <a:pt x="906" y="194"/>
                    </a:lnTo>
                    <a:lnTo>
                      <a:pt x="898" y="207"/>
                    </a:lnTo>
                    <a:lnTo>
                      <a:pt x="885" y="215"/>
                    </a:lnTo>
                    <a:lnTo>
                      <a:pt x="869" y="218"/>
                    </a:lnTo>
                    <a:lnTo>
                      <a:pt x="41" y="218"/>
                    </a:lnTo>
                    <a:lnTo>
                      <a:pt x="27" y="217"/>
                    </a:lnTo>
                    <a:lnTo>
                      <a:pt x="14" y="210"/>
                    </a:lnTo>
                    <a:lnTo>
                      <a:pt x="6" y="198"/>
                    </a:lnTo>
                    <a:lnTo>
                      <a:pt x="0" y="184"/>
                    </a:lnTo>
                    <a:lnTo>
                      <a:pt x="1" y="170"/>
                    </a:lnTo>
                    <a:lnTo>
                      <a:pt x="6" y="158"/>
                    </a:lnTo>
                    <a:lnTo>
                      <a:pt x="90" y="19"/>
                    </a:lnTo>
                    <a:lnTo>
                      <a:pt x="101" y="8"/>
                    </a:lnTo>
                    <a:lnTo>
                      <a:pt x="115" y="1"/>
                    </a:lnTo>
                    <a:lnTo>
                      <a:pt x="131" y="0"/>
                    </a:lnTo>
                    <a:close/>
                  </a:path>
                </a:pathLst>
              </a:custGeom>
              <a:solidFill>
                <a:srgbClr val="008AD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Freeform 1939"/>
              <p:cNvSpPr>
                <a:spLocks noEditPoints="1"/>
              </p:cNvSpPr>
              <p:nvPr userDrawn="1"/>
            </p:nvSpPr>
            <p:spPr bwMode="auto">
              <a:xfrm>
                <a:off x="14130338" y="1201738"/>
                <a:ext cx="741362" cy="193675"/>
              </a:xfrm>
              <a:custGeom>
                <a:avLst/>
                <a:gdLst>
                  <a:gd name="T0" fmla="*/ 137 w 936"/>
                  <a:gd name="T1" fmla="*/ 25 h 244"/>
                  <a:gd name="T2" fmla="*/ 131 w 936"/>
                  <a:gd name="T3" fmla="*/ 27 h 244"/>
                  <a:gd name="T4" fmla="*/ 124 w 936"/>
                  <a:gd name="T5" fmla="*/ 30 h 244"/>
                  <a:gd name="T6" fmla="*/ 119 w 936"/>
                  <a:gd name="T7" fmla="*/ 34 h 244"/>
                  <a:gd name="T8" fmla="*/ 114 w 936"/>
                  <a:gd name="T9" fmla="*/ 39 h 244"/>
                  <a:gd name="T10" fmla="*/ 30 w 936"/>
                  <a:gd name="T11" fmla="*/ 178 h 244"/>
                  <a:gd name="T12" fmla="*/ 26 w 936"/>
                  <a:gd name="T13" fmla="*/ 190 h 244"/>
                  <a:gd name="T14" fmla="*/ 30 w 936"/>
                  <a:gd name="T15" fmla="*/ 204 h 244"/>
                  <a:gd name="T16" fmla="*/ 35 w 936"/>
                  <a:gd name="T17" fmla="*/ 213 h 244"/>
                  <a:gd name="T18" fmla="*/ 44 w 936"/>
                  <a:gd name="T19" fmla="*/ 217 h 244"/>
                  <a:gd name="T20" fmla="*/ 54 w 936"/>
                  <a:gd name="T21" fmla="*/ 219 h 244"/>
                  <a:gd name="T22" fmla="*/ 882 w 936"/>
                  <a:gd name="T23" fmla="*/ 219 h 244"/>
                  <a:gd name="T24" fmla="*/ 896 w 936"/>
                  <a:gd name="T25" fmla="*/ 216 h 244"/>
                  <a:gd name="T26" fmla="*/ 906 w 936"/>
                  <a:gd name="T27" fmla="*/ 206 h 244"/>
                  <a:gd name="T28" fmla="*/ 911 w 936"/>
                  <a:gd name="T29" fmla="*/ 192 h 244"/>
                  <a:gd name="T30" fmla="*/ 906 w 936"/>
                  <a:gd name="T31" fmla="*/ 178 h 244"/>
                  <a:gd name="T32" fmla="*/ 896 w 936"/>
                  <a:gd name="T33" fmla="*/ 168 h 244"/>
                  <a:gd name="T34" fmla="*/ 882 w 936"/>
                  <a:gd name="T35" fmla="*/ 164 h 244"/>
                  <a:gd name="T36" fmla="*/ 102 w 936"/>
                  <a:gd name="T37" fmla="*/ 164 h 244"/>
                  <a:gd name="T38" fmla="*/ 161 w 936"/>
                  <a:gd name="T39" fmla="*/ 68 h 244"/>
                  <a:gd name="T40" fmla="*/ 165 w 936"/>
                  <a:gd name="T41" fmla="*/ 58 h 244"/>
                  <a:gd name="T42" fmla="*/ 164 w 936"/>
                  <a:gd name="T43" fmla="*/ 47 h 244"/>
                  <a:gd name="T44" fmla="*/ 159 w 936"/>
                  <a:gd name="T45" fmla="*/ 37 h 244"/>
                  <a:gd name="T46" fmla="*/ 152 w 936"/>
                  <a:gd name="T47" fmla="*/ 30 h 244"/>
                  <a:gd name="T48" fmla="*/ 145 w 936"/>
                  <a:gd name="T49" fmla="*/ 27 h 244"/>
                  <a:gd name="T50" fmla="*/ 137 w 936"/>
                  <a:gd name="T51" fmla="*/ 25 h 244"/>
                  <a:gd name="T52" fmla="*/ 145 w 936"/>
                  <a:gd name="T53" fmla="*/ 0 h 244"/>
                  <a:gd name="T54" fmla="*/ 165 w 936"/>
                  <a:gd name="T55" fmla="*/ 8 h 244"/>
                  <a:gd name="T56" fmla="*/ 178 w 936"/>
                  <a:gd name="T57" fmla="*/ 18 h 244"/>
                  <a:gd name="T58" fmla="*/ 186 w 936"/>
                  <a:gd name="T59" fmla="*/ 32 h 244"/>
                  <a:gd name="T60" fmla="*/ 190 w 936"/>
                  <a:gd name="T61" fmla="*/ 49 h 244"/>
                  <a:gd name="T62" fmla="*/ 189 w 936"/>
                  <a:gd name="T63" fmla="*/ 65 h 244"/>
                  <a:gd name="T64" fmla="*/ 183 w 936"/>
                  <a:gd name="T65" fmla="*/ 80 h 244"/>
                  <a:gd name="T66" fmla="*/ 148 w 936"/>
                  <a:gd name="T67" fmla="*/ 138 h 244"/>
                  <a:gd name="T68" fmla="*/ 882 w 936"/>
                  <a:gd name="T69" fmla="*/ 138 h 244"/>
                  <a:gd name="T70" fmla="*/ 903 w 936"/>
                  <a:gd name="T71" fmla="*/ 142 h 244"/>
                  <a:gd name="T72" fmla="*/ 920 w 936"/>
                  <a:gd name="T73" fmla="*/ 154 h 244"/>
                  <a:gd name="T74" fmla="*/ 932 w 936"/>
                  <a:gd name="T75" fmla="*/ 171 h 244"/>
                  <a:gd name="T76" fmla="*/ 936 w 936"/>
                  <a:gd name="T77" fmla="*/ 192 h 244"/>
                  <a:gd name="T78" fmla="*/ 932 w 936"/>
                  <a:gd name="T79" fmla="*/ 211 h 244"/>
                  <a:gd name="T80" fmla="*/ 920 w 936"/>
                  <a:gd name="T81" fmla="*/ 228 h 244"/>
                  <a:gd name="T82" fmla="*/ 903 w 936"/>
                  <a:gd name="T83" fmla="*/ 241 h 244"/>
                  <a:gd name="T84" fmla="*/ 882 w 936"/>
                  <a:gd name="T85" fmla="*/ 244 h 244"/>
                  <a:gd name="T86" fmla="*/ 54 w 936"/>
                  <a:gd name="T87" fmla="*/ 244 h 244"/>
                  <a:gd name="T88" fmla="*/ 35 w 936"/>
                  <a:gd name="T89" fmla="*/ 241 h 244"/>
                  <a:gd name="T90" fmla="*/ 19 w 936"/>
                  <a:gd name="T91" fmla="*/ 233 h 244"/>
                  <a:gd name="T92" fmla="*/ 7 w 936"/>
                  <a:gd name="T93" fmla="*/ 217 h 244"/>
                  <a:gd name="T94" fmla="*/ 0 w 936"/>
                  <a:gd name="T95" fmla="*/ 200 h 244"/>
                  <a:gd name="T96" fmla="*/ 2 w 936"/>
                  <a:gd name="T97" fmla="*/ 180 h 244"/>
                  <a:gd name="T98" fmla="*/ 7 w 936"/>
                  <a:gd name="T99" fmla="*/ 164 h 244"/>
                  <a:gd name="T100" fmla="*/ 92 w 936"/>
                  <a:gd name="T101" fmla="*/ 25 h 244"/>
                  <a:gd name="T102" fmla="*/ 100 w 936"/>
                  <a:gd name="T103" fmla="*/ 14 h 244"/>
                  <a:gd name="T104" fmla="*/ 112 w 936"/>
                  <a:gd name="T105" fmla="*/ 7 h 244"/>
                  <a:gd name="T106" fmla="*/ 126 w 936"/>
                  <a:gd name="T107" fmla="*/ 1 h 244"/>
                  <a:gd name="T108" fmla="*/ 145 w 936"/>
                  <a:gd name="T109" fmla="*/ 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36" h="244">
                    <a:moveTo>
                      <a:pt x="137" y="25"/>
                    </a:moveTo>
                    <a:lnTo>
                      <a:pt x="131" y="27"/>
                    </a:lnTo>
                    <a:lnTo>
                      <a:pt x="124" y="30"/>
                    </a:lnTo>
                    <a:lnTo>
                      <a:pt x="119" y="34"/>
                    </a:lnTo>
                    <a:lnTo>
                      <a:pt x="114" y="39"/>
                    </a:lnTo>
                    <a:lnTo>
                      <a:pt x="30" y="178"/>
                    </a:lnTo>
                    <a:lnTo>
                      <a:pt x="26" y="190"/>
                    </a:lnTo>
                    <a:lnTo>
                      <a:pt x="30" y="204"/>
                    </a:lnTo>
                    <a:lnTo>
                      <a:pt x="35" y="213"/>
                    </a:lnTo>
                    <a:lnTo>
                      <a:pt x="44" y="217"/>
                    </a:lnTo>
                    <a:lnTo>
                      <a:pt x="54" y="219"/>
                    </a:lnTo>
                    <a:lnTo>
                      <a:pt x="882" y="219"/>
                    </a:lnTo>
                    <a:lnTo>
                      <a:pt x="896" y="216"/>
                    </a:lnTo>
                    <a:lnTo>
                      <a:pt x="906" y="206"/>
                    </a:lnTo>
                    <a:lnTo>
                      <a:pt x="911" y="192"/>
                    </a:lnTo>
                    <a:lnTo>
                      <a:pt x="906" y="178"/>
                    </a:lnTo>
                    <a:lnTo>
                      <a:pt x="896" y="168"/>
                    </a:lnTo>
                    <a:lnTo>
                      <a:pt x="882" y="164"/>
                    </a:lnTo>
                    <a:lnTo>
                      <a:pt x="102" y="164"/>
                    </a:lnTo>
                    <a:lnTo>
                      <a:pt x="161" y="68"/>
                    </a:lnTo>
                    <a:lnTo>
                      <a:pt x="165" y="58"/>
                    </a:lnTo>
                    <a:lnTo>
                      <a:pt x="164" y="47"/>
                    </a:lnTo>
                    <a:lnTo>
                      <a:pt x="159" y="37"/>
                    </a:lnTo>
                    <a:lnTo>
                      <a:pt x="152" y="30"/>
                    </a:lnTo>
                    <a:lnTo>
                      <a:pt x="145" y="27"/>
                    </a:lnTo>
                    <a:lnTo>
                      <a:pt x="137" y="25"/>
                    </a:lnTo>
                    <a:close/>
                    <a:moveTo>
                      <a:pt x="145" y="0"/>
                    </a:moveTo>
                    <a:lnTo>
                      <a:pt x="165" y="8"/>
                    </a:lnTo>
                    <a:lnTo>
                      <a:pt x="178" y="18"/>
                    </a:lnTo>
                    <a:lnTo>
                      <a:pt x="186" y="32"/>
                    </a:lnTo>
                    <a:lnTo>
                      <a:pt x="190" y="49"/>
                    </a:lnTo>
                    <a:lnTo>
                      <a:pt x="189" y="65"/>
                    </a:lnTo>
                    <a:lnTo>
                      <a:pt x="183" y="80"/>
                    </a:lnTo>
                    <a:lnTo>
                      <a:pt x="148" y="138"/>
                    </a:lnTo>
                    <a:lnTo>
                      <a:pt x="882" y="138"/>
                    </a:lnTo>
                    <a:lnTo>
                      <a:pt x="903" y="142"/>
                    </a:lnTo>
                    <a:lnTo>
                      <a:pt x="920" y="154"/>
                    </a:lnTo>
                    <a:lnTo>
                      <a:pt x="932" y="171"/>
                    </a:lnTo>
                    <a:lnTo>
                      <a:pt x="936" y="192"/>
                    </a:lnTo>
                    <a:lnTo>
                      <a:pt x="932" y="211"/>
                    </a:lnTo>
                    <a:lnTo>
                      <a:pt x="920" y="228"/>
                    </a:lnTo>
                    <a:lnTo>
                      <a:pt x="903" y="241"/>
                    </a:lnTo>
                    <a:lnTo>
                      <a:pt x="882" y="244"/>
                    </a:lnTo>
                    <a:lnTo>
                      <a:pt x="54" y="244"/>
                    </a:lnTo>
                    <a:lnTo>
                      <a:pt x="35" y="241"/>
                    </a:lnTo>
                    <a:lnTo>
                      <a:pt x="19" y="233"/>
                    </a:lnTo>
                    <a:lnTo>
                      <a:pt x="7" y="217"/>
                    </a:lnTo>
                    <a:lnTo>
                      <a:pt x="0" y="200"/>
                    </a:lnTo>
                    <a:lnTo>
                      <a:pt x="2" y="180"/>
                    </a:lnTo>
                    <a:lnTo>
                      <a:pt x="7" y="164"/>
                    </a:lnTo>
                    <a:lnTo>
                      <a:pt x="92" y="25"/>
                    </a:lnTo>
                    <a:lnTo>
                      <a:pt x="100" y="14"/>
                    </a:lnTo>
                    <a:lnTo>
                      <a:pt x="112" y="7"/>
                    </a:lnTo>
                    <a:lnTo>
                      <a:pt x="126" y="1"/>
                    </a:lnTo>
                    <a:lnTo>
                      <a:pt x="145" y="0"/>
                    </a:lnTo>
                    <a:close/>
                  </a:path>
                </a:pathLst>
              </a:custGeom>
              <a:solidFill>
                <a:srgbClr val="008AD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Freeform 1940"/>
              <p:cNvSpPr>
                <a:spLocks/>
              </p:cNvSpPr>
              <p:nvPr userDrawn="1"/>
            </p:nvSpPr>
            <p:spPr bwMode="auto">
              <a:xfrm>
                <a:off x="13963650" y="539750"/>
                <a:ext cx="1014412" cy="728663"/>
              </a:xfrm>
              <a:custGeom>
                <a:avLst/>
                <a:gdLst>
                  <a:gd name="T0" fmla="*/ 40 w 1280"/>
                  <a:gd name="T1" fmla="*/ 0 h 916"/>
                  <a:gd name="T2" fmla="*/ 219 w 1280"/>
                  <a:gd name="T3" fmla="*/ 0 h 916"/>
                  <a:gd name="T4" fmla="*/ 234 w 1280"/>
                  <a:gd name="T5" fmla="*/ 3 h 916"/>
                  <a:gd name="T6" fmla="*/ 245 w 1280"/>
                  <a:gd name="T7" fmla="*/ 10 h 916"/>
                  <a:gd name="T8" fmla="*/ 254 w 1280"/>
                  <a:gd name="T9" fmla="*/ 21 h 916"/>
                  <a:gd name="T10" fmla="*/ 260 w 1280"/>
                  <a:gd name="T11" fmla="*/ 35 h 916"/>
                  <a:gd name="T12" fmla="*/ 271 w 1280"/>
                  <a:gd name="T13" fmla="*/ 125 h 916"/>
                  <a:gd name="T14" fmla="*/ 413 w 1280"/>
                  <a:gd name="T15" fmla="*/ 144 h 916"/>
                  <a:gd name="T16" fmla="*/ 402 w 1280"/>
                  <a:gd name="T17" fmla="*/ 169 h 916"/>
                  <a:gd name="T18" fmla="*/ 396 w 1280"/>
                  <a:gd name="T19" fmla="*/ 196 h 916"/>
                  <a:gd name="T20" fmla="*/ 398 w 1280"/>
                  <a:gd name="T21" fmla="*/ 224 h 916"/>
                  <a:gd name="T22" fmla="*/ 282 w 1280"/>
                  <a:gd name="T23" fmla="*/ 209 h 916"/>
                  <a:gd name="T24" fmla="*/ 365 w 1280"/>
                  <a:gd name="T25" fmla="*/ 833 h 916"/>
                  <a:gd name="T26" fmla="*/ 1112 w 1280"/>
                  <a:gd name="T27" fmla="*/ 784 h 916"/>
                  <a:gd name="T28" fmla="*/ 1194 w 1280"/>
                  <a:gd name="T29" fmla="*/ 330 h 916"/>
                  <a:gd name="T30" fmla="*/ 937 w 1280"/>
                  <a:gd name="T31" fmla="*/ 296 h 916"/>
                  <a:gd name="T32" fmla="*/ 967 w 1280"/>
                  <a:gd name="T33" fmla="*/ 266 h 916"/>
                  <a:gd name="T34" fmla="*/ 982 w 1280"/>
                  <a:gd name="T35" fmla="*/ 245 h 916"/>
                  <a:gd name="T36" fmla="*/ 994 w 1280"/>
                  <a:gd name="T37" fmla="*/ 221 h 916"/>
                  <a:gd name="T38" fmla="*/ 1246 w 1280"/>
                  <a:gd name="T39" fmla="*/ 255 h 916"/>
                  <a:gd name="T40" fmla="*/ 1261 w 1280"/>
                  <a:gd name="T41" fmla="*/ 259 h 916"/>
                  <a:gd name="T42" fmla="*/ 1273 w 1280"/>
                  <a:gd name="T43" fmla="*/ 271 h 916"/>
                  <a:gd name="T44" fmla="*/ 1280 w 1280"/>
                  <a:gd name="T45" fmla="*/ 286 h 916"/>
                  <a:gd name="T46" fmla="*/ 1280 w 1280"/>
                  <a:gd name="T47" fmla="*/ 302 h 916"/>
                  <a:gd name="T48" fmla="*/ 1185 w 1280"/>
                  <a:gd name="T49" fmla="*/ 829 h 916"/>
                  <a:gd name="T50" fmla="*/ 1180 w 1280"/>
                  <a:gd name="T51" fmla="*/ 846 h 916"/>
                  <a:gd name="T52" fmla="*/ 1166 w 1280"/>
                  <a:gd name="T53" fmla="*/ 857 h 916"/>
                  <a:gd name="T54" fmla="*/ 1149 w 1280"/>
                  <a:gd name="T55" fmla="*/ 863 h 916"/>
                  <a:gd name="T56" fmla="*/ 333 w 1280"/>
                  <a:gd name="T57" fmla="*/ 916 h 916"/>
                  <a:gd name="T58" fmla="*/ 330 w 1280"/>
                  <a:gd name="T59" fmla="*/ 916 h 916"/>
                  <a:gd name="T60" fmla="*/ 316 w 1280"/>
                  <a:gd name="T61" fmla="*/ 913 h 916"/>
                  <a:gd name="T62" fmla="*/ 305 w 1280"/>
                  <a:gd name="T63" fmla="*/ 906 h 916"/>
                  <a:gd name="T64" fmla="*/ 295 w 1280"/>
                  <a:gd name="T65" fmla="*/ 895 h 916"/>
                  <a:gd name="T66" fmla="*/ 291 w 1280"/>
                  <a:gd name="T67" fmla="*/ 881 h 916"/>
                  <a:gd name="T68" fmla="*/ 183 w 1280"/>
                  <a:gd name="T69" fmla="*/ 82 h 916"/>
                  <a:gd name="T70" fmla="*/ 40 w 1280"/>
                  <a:gd name="T71" fmla="*/ 82 h 916"/>
                  <a:gd name="T72" fmla="*/ 24 w 1280"/>
                  <a:gd name="T73" fmla="*/ 77 h 916"/>
                  <a:gd name="T74" fmla="*/ 12 w 1280"/>
                  <a:gd name="T75" fmla="*/ 69 h 916"/>
                  <a:gd name="T76" fmla="*/ 3 w 1280"/>
                  <a:gd name="T77" fmla="*/ 56 h 916"/>
                  <a:gd name="T78" fmla="*/ 0 w 1280"/>
                  <a:gd name="T79" fmla="*/ 41 h 916"/>
                  <a:gd name="T80" fmla="*/ 3 w 1280"/>
                  <a:gd name="T81" fmla="*/ 25 h 916"/>
                  <a:gd name="T82" fmla="*/ 12 w 1280"/>
                  <a:gd name="T83" fmla="*/ 13 h 916"/>
                  <a:gd name="T84" fmla="*/ 24 w 1280"/>
                  <a:gd name="T85" fmla="*/ 4 h 916"/>
                  <a:gd name="T86" fmla="*/ 40 w 1280"/>
                  <a:gd name="T87" fmla="*/ 0 h 9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80" h="916">
                    <a:moveTo>
                      <a:pt x="40" y="0"/>
                    </a:moveTo>
                    <a:lnTo>
                      <a:pt x="219" y="0"/>
                    </a:lnTo>
                    <a:lnTo>
                      <a:pt x="234" y="3"/>
                    </a:lnTo>
                    <a:lnTo>
                      <a:pt x="245" y="10"/>
                    </a:lnTo>
                    <a:lnTo>
                      <a:pt x="254" y="21"/>
                    </a:lnTo>
                    <a:lnTo>
                      <a:pt x="260" y="35"/>
                    </a:lnTo>
                    <a:lnTo>
                      <a:pt x="271" y="125"/>
                    </a:lnTo>
                    <a:lnTo>
                      <a:pt x="413" y="144"/>
                    </a:lnTo>
                    <a:lnTo>
                      <a:pt x="402" y="169"/>
                    </a:lnTo>
                    <a:lnTo>
                      <a:pt x="396" y="196"/>
                    </a:lnTo>
                    <a:lnTo>
                      <a:pt x="398" y="224"/>
                    </a:lnTo>
                    <a:lnTo>
                      <a:pt x="282" y="209"/>
                    </a:lnTo>
                    <a:lnTo>
                      <a:pt x="365" y="833"/>
                    </a:lnTo>
                    <a:lnTo>
                      <a:pt x="1112" y="784"/>
                    </a:lnTo>
                    <a:lnTo>
                      <a:pt x="1194" y="330"/>
                    </a:lnTo>
                    <a:lnTo>
                      <a:pt x="937" y="296"/>
                    </a:lnTo>
                    <a:lnTo>
                      <a:pt x="967" y="266"/>
                    </a:lnTo>
                    <a:lnTo>
                      <a:pt x="982" y="245"/>
                    </a:lnTo>
                    <a:lnTo>
                      <a:pt x="994" y="221"/>
                    </a:lnTo>
                    <a:lnTo>
                      <a:pt x="1246" y="255"/>
                    </a:lnTo>
                    <a:lnTo>
                      <a:pt x="1261" y="259"/>
                    </a:lnTo>
                    <a:lnTo>
                      <a:pt x="1273" y="271"/>
                    </a:lnTo>
                    <a:lnTo>
                      <a:pt x="1280" y="286"/>
                    </a:lnTo>
                    <a:lnTo>
                      <a:pt x="1280" y="302"/>
                    </a:lnTo>
                    <a:lnTo>
                      <a:pt x="1185" y="829"/>
                    </a:lnTo>
                    <a:lnTo>
                      <a:pt x="1180" y="846"/>
                    </a:lnTo>
                    <a:lnTo>
                      <a:pt x="1166" y="857"/>
                    </a:lnTo>
                    <a:lnTo>
                      <a:pt x="1149" y="863"/>
                    </a:lnTo>
                    <a:lnTo>
                      <a:pt x="333" y="916"/>
                    </a:lnTo>
                    <a:lnTo>
                      <a:pt x="330" y="916"/>
                    </a:lnTo>
                    <a:lnTo>
                      <a:pt x="316" y="913"/>
                    </a:lnTo>
                    <a:lnTo>
                      <a:pt x="305" y="906"/>
                    </a:lnTo>
                    <a:lnTo>
                      <a:pt x="295" y="895"/>
                    </a:lnTo>
                    <a:lnTo>
                      <a:pt x="291" y="881"/>
                    </a:lnTo>
                    <a:lnTo>
                      <a:pt x="183" y="82"/>
                    </a:lnTo>
                    <a:lnTo>
                      <a:pt x="40" y="82"/>
                    </a:lnTo>
                    <a:lnTo>
                      <a:pt x="24" y="77"/>
                    </a:lnTo>
                    <a:lnTo>
                      <a:pt x="12" y="69"/>
                    </a:lnTo>
                    <a:lnTo>
                      <a:pt x="3" y="56"/>
                    </a:lnTo>
                    <a:lnTo>
                      <a:pt x="0" y="41"/>
                    </a:lnTo>
                    <a:lnTo>
                      <a:pt x="3" y="25"/>
                    </a:lnTo>
                    <a:lnTo>
                      <a:pt x="12" y="13"/>
                    </a:lnTo>
                    <a:lnTo>
                      <a:pt x="24" y="4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008AD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9" name="Freeform 1941"/>
              <p:cNvSpPr>
                <a:spLocks noEditPoints="1"/>
              </p:cNvSpPr>
              <p:nvPr userDrawn="1"/>
            </p:nvSpPr>
            <p:spPr bwMode="auto">
              <a:xfrm>
                <a:off x="13952538" y="530225"/>
                <a:ext cx="1036637" cy="747713"/>
              </a:xfrm>
              <a:custGeom>
                <a:avLst/>
                <a:gdLst>
                  <a:gd name="T0" fmla="*/ 39 w 1306"/>
                  <a:gd name="T1" fmla="*/ 30 h 942"/>
                  <a:gd name="T2" fmla="*/ 25 w 1306"/>
                  <a:gd name="T3" fmla="*/ 54 h 942"/>
                  <a:gd name="T4" fmla="*/ 39 w 1306"/>
                  <a:gd name="T5" fmla="*/ 78 h 942"/>
                  <a:gd name="T6" fmla="*/ 207 w 1306"/>
                  <a:gd name="T7" fmla="*/ 82 h 942"/>
                  <a:gd name="T8" fmla="*/ 321 w 1306"/>
                  <a:gd name="T9" fmla="*/ 905 h 942"/>
                  <a:gd name="T10" fmla="*/ 342 w 1306"/>
                  <a:gd name="T11" fmla="*/ 917 h 942"/>
                  <a:gd name="T12" fmla="*/ 1172 w 1306"/>
                  <a:gd name="T13" fmla="*/ 859 h 942"/>
                  <a:gd name="T14" fmla="*/ 1185 w 1306"/>
                  <a:gd name="T15" fmla="*/ 840 h 942"/>
                  <a:gd name="T16" fmla="*/ 1280 w 1306"/>
                  <a:gd name="T17" fmla="*/ 308 h 942"/>
                  <a:gd name="T18" fmla="*/ 1278 w 1306"/>
                  <a:gd name="T19" fmla="*/ 296 h 942"/>
                  <a:gd name="T20" fmla="*/ 1271 w 1306"/>
                  <a:gd name="T21" fmla="*/ 288 h 942"/>
                  <a:gd name="T22" fmla="*/ 1262 w 1306"/>
                  <a:gd name="T23" fmla="*/ 282 h 942"/>
                  <a:gd name="T24" fmla="*/ 1014 w 1306"/>
                  <a:gd name="T25" fmla="*/ 248 h 942"/>
                  <a:gd name="T26" fmla="*/ 987 w 1306"/>
                  <a:gd name="T27" fmla="*/ 289 h 942"/>
                  <a:gd name="T28" fmla="*/ 1220 w 1306"/>
                  <a:gd name="T29" fmla="*/ 331 h 942"/>
                  <a:gd name="T30" fmla="*/ 366 w 1306"/>
                  <a:gd name="T31" fmla="*/ 860 h 942"/>
                  <a:gd name="T32" fmla="*/ 396 w 1306"/>
                  <a:gd name="T33" fmla="*/ 222 h 942"/>
                  <a:gd name="T34" fmla="*/ 405 w 1306"/>
                  <a:gd name="T35" fmla="*/ 168 h 942"/>
                  <a:gd name="T36" fmla="*/ 259 w 1306"/>
                  <a:gd name="T37" fmla="*/ 50 h 942"/>
                  <a:gd name="T38" fmla="*/ 243 w 1306"/>
                  <a:gd name="T39" fmla="*/ 30 h 942"/>
                  <a:gd name="T40" fmla="*/ 52 w 1306"/>
                  <a:gd name="T41" fmla="*/ 27 h 942"/>
                  <a:gd name="T42" fmla="*/ 231 w 1306"/>
                  <a:gd name="T43" fmla="*/ 0 h 942"/>
                  <a:gd name="T44" fmla="*/ 266 w 1306"/>
                  <a:gd name="T45" fmla="*/ 14 h 942"/>
                  <a:gd name="T46" fmla="*/ 284 w 1306"/>
                  <a:gd name="T47" fmla="*/ 47 h 942"/>
                  <a:gd name="T48" fmla="*/ 446 w 1306"/>
                  <a:gd name="T49" fmla="*/ 147 h 942"/>
                  <a:gd name="T50" fmla="*/ 425 w 1306"/>
                  <a:gd name="T51" fmla="*/ 186 h 942"/>
                  <a:gd name="T52" fmla="*/ 422 w 1306"/>
                  <a:gd name="T53" fmla="*/ 234 h 942"/>
                  <a:gd name="T54" fmla="*/ 310 w 1306"/>
                  <a:gd name="T55" fmla="*/ 236 h 942"/>
                  <a:gd name="T56" fmla="*/ 1113 w 1306"/>
                  <a:gd name="T57" fmla="*/ 785 h 942"/>
                  <a:gd name="T58" fmla="*/ 923 w 1306"/>
                  <a:gd name="T59" fmla="*/ 317 h 942"/>
                  <a:gd name="T60" fmla="*/ 983 w 1306"/>
                  <a:gd name="T61" fmla="*/ 253 h 942"/>
                  <a:gd name="T62" fmla="*/ 997 w 1306"/>
                  <a:gd name="T63" fmla="*/ 220 h 942"/>
                  <a:gd name="T64" fmla="*/ 1273 w 1306"/>
                  <a:gd name="T65" fmla="*/ 258 h 942"/>
                  <a:gd name="T66" fmla="*/ 1296 w 1306"/>
                  <a:gd name="T67" fmla="*/ 277 h 942"/>
                  <a:gd name="T68" fmla="*/ 1302 w 1306"/>
                  <a:gd name="T69" fmla="*/ 289 h 942"/>
                  <a:gd name="T70" fmla="*/ 1304 w 1306"/>
                  <a:gd name="T71" fmla="*/ 317 h 942"/>
                  <a:gd name="T72" fmla="*/ 1204 w 1306"/>
                  <a:gd name="T73" fmla="*/ 862 h 942"/>
                  <a:gd name="T74" fmla="*/ 1179 w 1306"/>
                  <a:gd name="T75" fmla="*/ 884 h 942"/>
                  <a:gd name="T76" fmla="*/ 342 w 1306"/>
                  <a:gd name="T77" fmla="*/ 942 h 942"/>
                  <a:gd name="T78" fmla="*/ 308 w 1306"/>
                  <a:gd name="T79" fmla="*/ 929 h 942"/>
                  <a:gd name="T80" fmla="*/ 290 w 1306"/>
                  <a:gd name="T81" fmla="*/ 897 h 942"/>
                  <a:gd name="T82" fmla="*/ 52 w 1306"/>
                  <a:gd name="T83" fmla="*/ 107 h 942"/>
                  <a:gd name="T84" fmla="*/ 15 w 1306"/>
                  <a:gd name="T85" fmla="*/ 92 h 942"/>
                  <a:gd name="T86" fmla="*/ 0 w 1306"/>
                  <a:gd name="T87" fmla="*/ 54 h 942"/>
                  <a:gd name="T88" fmla="*/ 15 w 1306"/>
                  <a:gd name="T89" fmla="*/ 16 h 942"/>
                  <a:gd name="T90" fmla="*/ 52 w 1306"/>
                  <a:gd name="T91" fmla="*/ 0 h 9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06" h="942">
                    <a:moveTo>
                      <a:pt x="52" y="27"/>
                    </a:moveTo>
                    <a:lnTo>
                      <a:pt x="39" y="30"/>
                    </a:lnTo>
                    <a:lnTo>
                      <a:pt x="29" y="40"/>
                    </a:lnTo>
                    <a:lnTo>
                      <a:pt x="25" y="54"/>
                    </a:lnTo>
                    <a:lnTo>
                      <a:pt x="29" y="68"/>
                    </a:lnTo>
                    <a:lnTo>
                      <a:pt x="39" y="78"/>
                    </a:lnTo>
                    <a:lnTo>
                      <a:pt x="52" y="82"/>
                    </a:lnTo>
                    <a:lnTo>
                      <a:pt x="207" y="82"/>
                    </a:lnTo>
                    <a:lnTo>
                      <a:pt x="315" y="893"/>
                    </a:lnTo>
                    <a:lnTo>
                      <a:pt x="321" y="905"/>
                    </a:lnTo>
                    <a:lnTo>
                      <a:pt x="329" y="914"/>
                    </a:lnTo>
                    <a:lnTo>
                      <a:pt x="342" y="917"/>
                    </a:lnTo>
                    <a:lnTo>
                      <a:pt x="1161" y="863"/>
                    </a:lnTo>
                    <a:lnTo>
                      <a:pt x="1172" y="859"/>
                    </a:lnTo>
                    <a:lnTo>
                      <a:pt x="1180" y="852"/>
                    </a:lnTo>
                    <a:lnTo>
                      <a:pt x="1185" y="840"/>
                    </a:lnTo>
                    <a:lnTo>
                      <a:pt x="1279" y="313"/>
                    </a:lnTo>
                    <a:lnTo>
                      <a:pt x="1280" y="308"/>
                    </a:lnTo>
                    <a:lnTo>
                      <a:pt x="1279" y="302"/>
                    </a:lnTo>
                    <a:lnTo>
                      <a:pt x="1278" y="296"/>
                    </a:lnTo>
                    <a:lnTo>
                      <a:pt x="1275" y="292"/>
                    </a:lnTo>
                    <a:lnTo>
                      <a:pt x="1271" y="288"/>
                    </a:lnTo>
                    <a:lnTo>
                      <a:pt x="1266" y="284"/>
                    </a:lnTo>
                    <a:lnTo>
                      <a:pt x="1262" y="282"/>
                    </a:lnTo>
                    <a:lnTo>
                      <a:pt x="1257" y="281"/>
                    </a:lnTo>
                    <a:lnTo>
                      <a:pt x="1014" y="248"/>
                    </a:lnTo>
                    <a:lnTo>
                      <a:pt x="1003" y="269"/>
                    </a:lnTo>
                    <a:lnTo>
                      <a:pt x="987" y="289"/>
                    </a:lnTo>
                    <a:lnTo>
                      <a:pt x="978" y="299"/>
                    </a:lnTo>
                    <a:lnTo>
                      <a:pt x="1220" y="331"/>
                    </a:lnTo>
                    <a:lnTo>
                      <a:pt x="1135" y="809"/>
                    </a:lnTo>
                    <a:lnTo>
                      <a:pt x="366" y="860"/>
                    </a:lnTo>
                    <a:lnTo>
                      <a:pt x="279" y="206"/>
                    </a:lnTo>
                    <a:lnTo>
                      <a:pt x="396" y="222"/>
                    </a:lnTo>
                    <a:lnTo>
                      <a:pt x="397" y="193"/>
                    </a:lnTo>
                    <a:lnTo>
                      <a:pt x="405" y="168"/>
                    </a:lnTo>
                    <a:lnTo>
                      <a:pt x="272" y="150"/>
                    </a:lnTo>
                    <a:lnTo>
                      <a:pt x="259" y="50"/>
                    </a:lnTo>
                    <a:lnTo>
                      <a:pt x="253" y="38"/>
                    </a:lnTo>
                    <a:lnTo>
                      <a:pt x="243" y="30"/>
                    </a:lnTo>
                    <a:lnTo>
                      <a:pt x="231" y="27"/>
                    </a:lnTo>
                    <a:lnTo>
                      <a:pt x="52" y="27"/>
                    </a:lnTo>
                    <a:close/>
                    <a:moveTo>
                      <a:pt x="52" y="0"/>
                    </a:moveTo>
                    <a:lnTo>
                      <a:pt x="231" y="0"/>
                    </a:lnTo>
                    <a:lnTo>
                      <a:pt x="250" y="4"/>
                    </a:lnTo>
                    <a:lnTo>
                      <a:pt x="266" y="14"/>
                    </a:lnTo>
                    <a:lnTo>
                      <a:pt x="279" y="28"/>
                    </a:lnTo>
                    <a:lnTo>
                      <a:pt x="284" y="47"/>
                    </a:lnTo>
                    <a:lnTo>
                      <a:pt x="294" y="127"/>
                    </a:lnTo>
                    <a:lnTo>
                      <a:pt x="446" y="147"/>
                    </a:lnTo>
                    <a:lnTo>
                      <a:pt x="436" y="164"/>
                    </a:lnTo>
                    <a:lnTo>
                      <a:pt x="425" y="186"/>
                    </a:lnTo>
                    <a:lnTo>
                      <a:pt x="421" y="210"/>
                    </a:lnTo>
                    <a:lnTo>
                      <a:pt x="422" y="234"/>
                    </a:lnTo>
                    <a:lnTo>
                      <a:pt x="425" y="251"/>
                    </a:lnTo>
                    <a:lnTo>
                      <a:pt x="310" y="236"/>
                    </a:lnTo>
                    <a:lnTo>
                      <a:pt x="389" y="833"/>
                    </a:lnTo>
                    <a:lnTo>
                      <a:pt x="1113" y="785"/>
                    </a:lnTo>
                    <a:lnTo>
                      <a:pt x="1190" y="353"/>
                    </a:lnTo>
                    <a:lnTo>
                      <a:pt x="923" y="317"/>
                    </a:lnTo>
                    <a:lnTo>
                      <a:pt x="969" y="271"/>
                    </a:lnTo>
                    <a:lnTo>
                      <a:pt x="983" y="253"/>
                    </a:lnTo>
                    <a:lnTo>
                      <a:pt x="993" y="230"/>
                    </a:lnTo>
                    <a:lnTo>
                      <a:pt x="997" y="220"/>
                    </a:lnTo>
                    <a:lnTo>
                      <a:pt x="1259" y="255"/>
                    </a:lnTo>
                    <a:lnTo>
                      <a:pt x="1273" y="258"/>
                    </a:lnTo>
                    <a:lnTo>
                      <a:pt x="1286" y="267"/>
                    </a:lnTo>
                    <a:lnTo>
                      <a:pt x="1296" y="277"/>
                    </a:lnTo>
                    <a:lnTo>
                      <a:pt x="1296" y="277"/>
                    </a:lnTo>
                    <a:lnTo>
                      <a:pt x="1302" y="289"/>
                    </a:lnTo>
                    <a:lnTo>
                      <a:pt x="1306" y="303"/>
                    </a:lnTo>
                    <a:lnTo>
                      <a:pt x="1304" y="317"/>
                    </a:lnTo>
                    <a:lnTo>
                      <a:pt x="1210" y="845"/>
                    </a:lnTo>
                    <a:lnTo>
                      <a:pt x="1204" y="862"/>
                    </a:lnTo>
                    <a:lnTo>
                      <a:pt x="1193" y="876"/>
                    </a:lnTo>
                    <a:lnTo>
                      <a:pt x="1179" y="884"/>
                    </a:lnTo>
                    <a:lnTo>
                      <a:pt x="1162" y="888"/>
                    </a:lnTo>
                    <a:lnTo>
                      <a:pt x="342" y="942"/>
                    </a:lnTo>
                    <a:lnTo>
                      <a:pt x="324" y="939"/>
                    </a:lnTo>
                    <a:lnTo>
                      <a:pt x="308" y="929"/>
                    </a:lnTo>
                    <a:lnTo>
                      <a:pt x="296" y="915"/>
                    </a:lnTo>
                    <a:lnTo>
                      <a:pt x="290" y="897"/>
                    </a:lnTo>
                    <a:lnTo>
                      <a:pt x="184" y="107"/>
                    </a:lnTo>
                    <a:lnTo>
                      <a:pt x="52" y="107"/>
                    </a:lnTo>
                    <a:lnTo>
                      <a:pt x="32" y="103"/>
                    </a:lnTo>
                    <a:lnTo>
                      <a:pt x="15" y="92"/>
                    </a:lnTo>
                    <a:lnTo>
                      <a:pt x="4" y="75"/>
                    </a:lnTo>
                    <a:lnTo>
                      <a:pt x="0" y="54"/>
                    </a:lnTo>
                    <a:lnTo>
                      <a:pt x="4" y="33"/>
                    </a:lnTo>
                    <a:lnTo>
                      <a:pt x="15" y="16"/>
                    </a:lnTo>
                    <a:lnTo>
                      <a:pt x="32" y="4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008AD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2121" name="Groep 2120"/>
            <p:cNvGrpSpPr/>
            <p:nvPr userDrawn="1"/>
          </p:nvGrpSpPr>
          <p:grpSpPr>
            <a:xfrm>
              <a:off x="14447838" y="785813"/>
              <a:ext cx="350837" cy="349250"/>
              <a:chOff x="14447838" y="785813"/>
              <a:chExt cx="350837" cy="349250"/>
            </a:xfrm>
          </p:grpSpPr>
          <p:sp>
            <p:nvSpPr>
              <p:cNvPr id="300" name="Freeform 1942"/>
              <p:cNvSpPr>
                <a:spLocks/>
              </p:cNvSpPr>
              <p:nvPr userDrawn="1"/>
            </p:nvSpPr>
            <p:spPr bwMode="auto">
              <a:xfrm>
                <a:off x="14458950" y="795338"/>
                <a:ext cx="328612" cy="330200"/>
              </a:xfrm>
              <a:custGeom>
                <a:avLst/>
                <a:gdLst>
                  <a:gd name="T0" fmla="*/ 19 w 414"/>
                  <a:gd name="T1" fmla="*/ 0 h 416"/>
                  <a:gd name="T2" fmla="*/ 25 w 414"/>
                  <a:gd name="T3" fmla="*/ 2 h 416"/>
                  <a:gd name="T4" fmla="*/ 376 w 414"/>
                  <a:gd name="T5" fmla="*/ 141 h 416"/>
                  <a:gd name="T6" fmla="*/ 380 w 414"/>
                  <a:gd name="T7" fmla="*/ 144 h 416"/>
                  <a:gd name="T8" fmla="*/ 383 w 414"/>
                  <a:gd name="T9" fmla="*/ 148 h 416"/>
                  <a:gd name="T10" fmla="*/ 386 w 414"/>
                  <a:gd name="T11" fmla="*/ 153 h 416"/>
                  <a:gd name="T12" fmla="*/ 387 w 414"/>
                  <a:gd name="T13" fmla="*/ 158 h 416"/>
                  <a:gd name="T14" fmla="*/ 387 w 414"/>
                  <a:gd name="T15" fmla="*/ 162 h 416"/>
                  <a:gd name="T16" fmla="*/ 384 w 414"/>
                  <a:gd name="T17" fmla="*/ 168 h 416"/>
                  <a:gd name="T18" fmla="*/ 381 w 414"/>
                  <a:gd name="T19" fmla="*/ 172 h 416"/>
                  <a:gd name="T20" fmla="*/ 377 w 414"/>
                  <a:gd name="T21" fmla="*/ 175 h 416"/>
                  <a:gd name="T22" fmla="*/ 300 w 414"/>
                  <a:gd name="T23" fmla="*/ 220 h 416"/>
                  <a:gd name="T24" fmla="*/ 410 w 414"/>
                  <a:gd name="T25" fmla="*/ 330 h 416"/>
                  <a:gd name="T26" fmla="*/ 414 w 414"/>
                  <a:gd name="T27" fmla="*/ 339 h 416"/>
                  <a:gd name="T28" fmla="*/ 414 w 414"/>
                  <a:gd name="T29" fmla="*/ 348 h 416"/>
                  <a:gd name="T30" fmla="*/ 410 w 414"/>
                  <a:gd name="T31" fmla="*/ 357 h 416"/>
                  <a:gd name="T32" fmla="*/ 356 w 414"/>
                  <a:gd name="T33" fmla="*/ 411 h 416"/>
                  <a:gd name="T34" fmla="*/ 352 w 414"/>
                  <a:gd name="T35" fmla="*/ 413 h 416"/>
                  <a:gd name="T36" fmla="*/ 348 w 414"/>
                  <a:gd name="T37" fmla="*/ 416 h 416"/>
                  <a:gd name="T38" fmla="*/ 342 w 414"/>
                  <a:gd name="T39" fmla="*/ 416 h 416"/>
                  <a:gd name="T40" fmla="*/ 338 w 414"/>
                  <a:gd name="T41" fmla="*/ 416 h 416"/>
                  <a:gd name="T42" fmla="*/ 333 w 414"/>
                  <a:gd name="T43" fmla="*/ 413 h 416"/>
                  <a:gd name="T44" fmla="*/ 329 w 414"/>
                  <a:gd name="T45" fmla="*/ 411 h 416"/>
                  <a:gd name="T46" fmla="*/ 219 w 414"/>
                  <a:gd name="T47" fmla="*/ 301 h 416"/>
                  <a:gd name="T48" fmla="*/ 174 w 414"/>
                  <a:gd name="T49" fmla="*/ 380 h 416"/>
                  <a:gd name="T50" fmla="*/ 170 w 414"/>
                  <a:gd name="T51" fmla="*/ 384 h 416"/>
                  <a:gd name="T52" fmla="*/ 166 w 414"/>
                  <a:gd name="T53" fmla="*/ 387 h 416"/>
                  <a:gd name="T54" fmla="*/ 162 w 414"/>
                  <a:gd name="T55" fmla="*/ 388 h 416"/>
                  <a:gd name="T56" fmla="*/ 156 w 414"/>
                  <a:gd name="T57" fmla="*/ 388 h 416"/>
                  <a:gd name="T58" fmla="*/ 152 w 414"/>
                  <a:gd name="T59" fmla="*/ 387 h 416"/>
                  <a:gd name="T60" fmla="*/ 147 w 414"/>
                  <a:gd name="T61" fmla="*/ 385 h 416"/>
                  <a:gd name="T62" fmla="*/ 143 w 414"/>
                  <a:gd name="T63" fmla="*/ 381 h 416"/>
                  <a:gd name="T64" fmla="*/ 140 w 414"/>
                  <a:gd name="T65" fmla="*/ 377 h 416"/>
                  <a:gd name="T66" fmla="*/ 1 w 414"/>
                  <a:gd name="T67" fmla="*/ 26 h 416"/>
                  <a:gd name="T68" fmla="*/ 0 w 414"/>
                  <a:gd name="T69" fmla="*/ 21 h 416"/>
                  <a:gd name="T70" fmla="*/ 0 w 414"/>
                  <a:gd name="T71" fmla="*/ 16 h 416"/>
                  <a:gd name="T72" fmla="*/ 2 w 414"/>
                  <a:gd name="T73" fmla="*/ 10 h 416"/>
                  <a:gd name="T74" fmla="*/ 5 w 414"/>
                  <a:gd name="T75" fmla="*/ 6 h 416"/>
                  <a:gd name="T76" fmla="*/ 9 w 414"/>
                  <a:gd name="T77" fmla="*/ 3 h 416"/>
                  <a:gd name="T78" fmla="*/ 14 w 414"/>
                  <a:gd name="T79" fmla="*/ 2 h 416"/>
                  <a:gd name="T80" fmla="*/ 19 w 414"/>
                  <a:gd name="T81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14" h="416">
                    <a:moveTo>
                      <a:pt x="19" y="0"/>
                    </a:moveTo>
                    <a:lnTo>
                      <a:pt x="25" y="2"/>
                    </a:lnTo>
                    <a:lnTo>
                      <a:pt x="376" y="141"/>
                    </a:lnTo>
                    <a:lnTo>
                      <a:pt x="380" y="144"/>
                    </a:lnTo>
                    <a:lnTo>
                      <a:pt x="383" y="148"/>
                    </a:lnTo>
                    <a:lnTo>
                      <a:pt x="386" y="153"/>
                    </a:lnTo>
                    <a:lnTo>
                      <a:pt x="387" y="158"/>
                    </a:lnTo>
                    <a:lnTo>
                      <a:pt x="387" y="162"/>
                    </a:lnTo>
                    <a:lnTo>
                      <a:pt x="384" y="168"/>
                    </a:lnTo>
                    <a:lnTo>
                      <a:pt x="381" y="172"/>
                    </a:lnTo>
                    <a:lnTo>
                      <a:pt x="377" y="175"/>
                    </a:lnTo>
                    <a:lnTo>
                      <a:pt x="300" y="220"/>
                    </a:lnTo>
                    <a:lnTo>
                      <a:pt x="410" y="330"/>
                    </a:lnTo>
                    <a:lnTo>
                      <a:pt x="414" y="339"/>
                    </a:lnTo>
                    <a:lnTo>
                      <a:pt x="414" y="348"/>
                    </a:lnTo>
                    <a:lnTo>
                      <a:pt x="410" y="357"/>
                    </a:lnTo>
                    <a:lnTo>
                      <a:pt x="356" y="411"/>
                    </a:lnTo>
                    <a:lnTo>
                      <a:pt x="352" y="413"/>
                    </a:lnTo>
                    <a:lnTo>
                      <a:pt x="348" y="416"/>
                    </a:lnTo>
                    <a:lnTo>
                      <a:pt x="342" y="416"/>
                    </a:lnTo>
                    <a:lnTo>
                      <a:pt x="338" y="416"/>
                    </a:lnTo>
                    <a:lnTo>
                      <a:pt x="333" y="413"/>
                    </a:lnTo>
                    <a:lnTo>
                      <a:pt x="329" y="411"/>
                    </a:lnTo>
                    <a:lnTo>
                      <a:pt x="219" y="301"/>
                    </a:lnTo>
                    <a:lnTo>
                      <a:pt x="174" y="380"/>
                    </a:lnTo>
                    <a:lnTo>
                      <a:pt x="170" y="384"/>
                    </a:lnTo>
                    <a:lnTo>
                      <a:pt x="166" y="387"/>
                    </a:lnTo>
                    <a:lnTo>
                      <a:pt x="162" y="388"/>
                    </a:lnTo>
                    <a:lnTo>
                      <a:pt x="156" y="388"/>
                    </a:lnTo>
                    <a:lnTo>
                      <a:pt x="152" y="387"/>
                    </a:lnTo>
                    <a:lnTo>
                      <a:pt x="147" y="385"/>
                    </a:lnTo>
                    <a:lnTo>
                      <a:pt x="143" y="381"/>
                    </a:lnTo>
                    <a:lnTo>
                      <a:pt x="140" y="377"/>
                    </a:lnTo>
                    <a:lnTo>
                      <a:pt x="1" y="26"/>
                    </a:lnTo>
                    <a:lnTo>
                      <a:pt x="0" y="21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5" y="6"/>
                    </a:lnTo>
                    <a:lnTo>
                      <a:pt x="9" y="3"/>
                    </a:lnTo>
                    <a:lnTo>
                      <a:pt x="14" y="2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008AD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1" name="Freeform 1943"/>
              <p:cNvSpPr>
                <a:spLocks noEditPoints="1"/>
              </p:cNvSpPr>
              <p:nvPr userDrawn="1"/>
            </p:nvSpPr>
            <p:spPr bwMode="auto">
              <a:xfrm>
                <a:off x="14447838" y="785813"/>
                <a:ext cx="350837" cy="349250"/>
              </a:xfrm>
              <a:custGeom>
                <a:avLst/>
                <a:gdLst>
                  <a:gd name="T0" fmla="*/ 29 w 441"/>
                  <a:gd name="T1" fmla="*/ 26 h 441"/>
                  <a:gd name="T2" fmla="*/ 25 w 441"/>
                  <a:gd name="T3" fmla="*/ 29 h 441"/>
                  <a:gd name="T4" fmla="*/ 25 w 441"/>
                  <a:gd name="T5" fmla="*/ 33 h 441"/>
                  <a:gd name="T6" fmla="*/ 168 w 441"/>
                  <a:gd name="T7" fmla="*/ 386 h 441"/>
                  <a:gd name="T8" fmla="*/ 173 w 441"/>
                  <a:gd name="T9" fmla="*/ 387 h 441"/>
                  <a:gd name="T10" fmla="*/ 176 w 441"/>
                  <a:gd name="T11" fmla="*/ 384 h 441"/>
                  <a:gd name="T12" fmla="*/ 352 w 441"/>
                  <a:gd name="T13" fmla="*/ 414 h 441"/>
                  <a:gd name="T14" fmla="*/ 356 w 441"/>
                  <a:gd name="T15" fmla="*/ 415 h 441"/>
                  <a:gd name="T16" fmla="*/ 413 w 441"/>
                  <a:gd name="T17" fmla="*/ 360 h 441"/>
                  <a:gd name="T18" fmla="*/ 414 w 441"/>
                  <a:gd name="T19" fmla="*/ 355 h 441"/>
                  <a:gd name="T20" fmla="*/ 292 w 441"/>
                  <a:gd name="T21" fmla="*/ 229 h 441"/>
                  <a:gd name="T22" fmla="*/ 386 w 441"/>
                  <a:gd name="T23" fmla="*/ 174 h 441"/>
                  <a:gd name="T24" fmla="*/ 386 w 441"/>
                  <a:gd name="T25" fmla="*/ 167 h 441"/>
                  <a:gd name="T26" fmla="*/ 34 w 441"/>
                  <a:gd name="T27" fmla="*/ 26 h 441"/>
                  <a:gd name="T28" fmla="*/ 31 w 441"/>
                  <a:gd name="T29" fmla="*/ 0 h 441"/>
                  <a:gd name="T30" fmla="*/ 393 w 441"/>
                  <a:gd name="T31" fmla="*/ 142 h 441"/>
                  <a:gd name="T32" fmla="*/ 410 w 441"/>
                  <a:gd name="T33" fmla="*/ 157 h 441"/>
                  <a:gd name="T34" fmla="*/ 411 w 441"/>
                  <a:gd name="T35" fmla="*/ 180 h 441"/>
                  <a:gd name="T36" fmla="*/ 397 w 441"/>
                  <a:gd name="T37" fmla="*/ 198 h 441"/>
                  <a:gd name="T38" fmla="*/ 431 w 441"/>
                  <a:gd name="T39" fmla="*/ 334 h 441"/>
                  <a:gd name="T40" fmla="*/ 441 w 441"/>
                  <a:gd name="T41" fmla="*/ 356 h 441"/>
                  <a:gd name="T42" fmla="*/ 431 w 441"/>
                  <a:gd name="T43" fmla="*/ 377 h 441"/>
                  <a:gd name="T44" fmla="*/ 373 w 441"/>
                  <a:gd name="T45" fmla="*/ 435 h 441"/>
                  <a:gd name="T46" fmla="*/ 362 w 441"/>
                  <a:gd name="T47" fmla="*/ 441 h 441"/>
                  <a:gd name="T48" fmla="*/ 349 w 441"/>
                  <a:gd name="T49" fmla="*/ 441 h 441"/>
                  <a:gd name="T50" fmla="*/ 338 w 441"/>
                  <a:gd name="T51" fmla="*/ 435 h 441"/>
                  <a:gd name="T52" fmla="*/ 235 w 441"/>
                  <a:gd name="T53" fmla="*/ 334 h 441"/>
                  <a:gd name="T54" fmla="*/ 190 w 441"/>
                  <a:gd name="T55" fmla="*/ 407 h 441"/>
                  <a:gd name="T56" fmla="*/ 169 w 441"/>
                  <a:gd name="T57" fmla="*/ 413 h 441"/>
                  <a:gd name="T58" fmla="*/ 148 w 441"/>
                  <a:gd name="T59" fmla="*/ 403 h 441"/>
                  <a:gd name="T60" fmla="*/ 1 w 441"/>
                  <a:gd name="T61" fmla="*/ 43 h 441"/>
                  <a:gd name="T62" fmla="*/ 3 w 441"/>
                  <a:gd name="T63" fmla="*/ 19 h 441"/>
                  <a:gd name="T64" fmla="*/ 20 w 441"/>
                  <a:gd name="T65" fmla="*/ 2 h 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41" h="441">
                    <a:moveTo>
                      <a:pt x="31" y="25"/>
                    </a:moveTo>
                    <a:lnTo>
                      <a:pt x="29" y="26"/>
                    </a:lnTo>
                    <a:lnTo>
                      <a:pt x="27" y="28"/>
                    </a:lnTo>
                    <a:lnTo>
                      <a:pt x="25" y="29"/>
                    </a:lnTo>
                    <a:lnTo>
                      <a:pt x="25" y="31"/>
                    </a:lnTo>
                    <a:lnTo>
                      <a:pt x="25" y="33"/>
                    </a:lnTo>
                    <a:lnTo>
                      <a:pt x="166" y="384"/>
                    </a:lnTo>
                    <a:lnTo>
                      <a:pt x="168" y="386"/>
                    </a:lnTo>
                    <a:lnTo>
                      <a:pt x="170" y="387"/>
                    </a:lnTo>
                    <a:lnTo>
                      <a:pt x="173" y="387"/>
                    </a:lnTo>
                    <a:lnTo>
                      <a:pt x="175" y="386"/>
                    </a:lnTo>
                    <a:lnTo>
                      <a:pt x="176" y="384"/>
                    </a:lnTo>
                    <a:lnTo>
                      <a:pt x="230" y="291"/>
                    </a:lnTo>
                    <a:lnTo>
                      <a:pt x="352" y="414"/>
                    </a:lnTo>
                    <a:lnTo>
                      <a:pt x="354" y="415"/>
                    </a:lnTo>
                    <a:lnTo>
                      <a:pt x="356" y="415"/>
                    </a:lnTo>
                    <a:lnTo>
                      <a:pt x="359" y="414"/>
                    </a:lnTo>
                    <a:lnTo>
                      <a:pt x="413" y="360"/>
                    </a:lnTo>
                    <a:lnTo>
                      <a:pt x="414" y="358"/>
                    </a:lnTo>
                    <a:lnTo>
                      <a:pt x="414" y="355"/>
                    </a:lnTo>
                    <a:lnTo>
                      <a:pt x="413" y="352"/>
                    </a:lnTo>
                    <a:lnTo>
                      <a:pt x="292" y="229"/>
                    </a:lnTo>
                    <a:lnTo>
                      <a:pt x="385" y="176"/>
                    </a:lnTo>
                    <a:lnTo>
                      <a:pt x="386" y="174"/>
                    </a:lnTo>
                    <a:lnTo>
                      <a:pt x="387" y="170"/>
                    </a:lnTo>
                    <a:lnTo>
                      <a:pt x="386" y="167"/>
                    </a:lnTo>
                    <a:lnTo>
                      <a:pt x="383" y="166"/>
                    </a:lnTo>
                    <a:lnTo>
                      <a:pt x="34" y="26"/>
                    </a:lnTo>
                    <a:lnTo>
                      <a:pt x="31" y="25"/>
                    </a:lnTo>
                    <a:close/>
                    <a:moveTo>
                      <a:pt x="31" y="0"/>
                    </a:moveTo>
                    <a:lnTo>
                      <a:pt x="42" y="2"/>
                    </a:lnTo>
                    <a:lnTo>
                      <a:pt x="393" y="142"/>
                    </a:lnTo>
                    <a:lnTo>
                      <a:pt x="403" y="148"/>
                    </a:lnTo>
                    <a:lnTo>
                      <a:pt x="410" y="157"/>
                    </a:lnTo>
                    <a:lnTo>
                      <a:pt x="413" y="169"/>
                    </a:lnTo>
                    <a:lnTo>
                      <a:pt x="411" y="180"/>
                    </a:lnTo>
                    <a:lnTo>
                      <a:pt x="406" y="191"/>
                    </a:lnTo>
                    <a:lnTo>
                      <a:pt x="397" y="198"/>
                    </a:lnTo>
                    <a:lnTo>
                      <a:pt x="334" y="235"/>
                    </a:lnTo>
                    <a:lnTo>
                      <a:pt x="431" y="334"/>
                    </a:lnTo>
                    <a:lnTo>
                      <a:pt x="438" y="344"/>
                    </a:lnTo>
                    <a:lnTo>
                      <a:pt x="441" y="356"/>
                    </a:lnTo>
                    <a:lnTo>
                      <a:pt x="438" y="368"/>
                    </a:lnTo>
                    <a:lnTo>
                      <a:pt x="431" y="377"/>
                    </a:lnTo>
                    <a:lnTo>
                      <a:pt x="377" y="432"/>
                    </a:lnTo>
                    <a:lnTo>
                      <a:pt x="373" y="435"/>
                    </a:lnTo>
                    <a:lnTo>
                      <a:pt x="368" y="438"/>
                    </a:lnTo>
                    <a:lnTo>
                      <a:pt x="362" y="441"/>
                    </a:lnTo>
                    <a:lnTo>
                      <a:pt x="355" y="441"/>
                    </a:lnTo>
                    <a:lnTo>
                      <a:pt x="349" y="441"/>
                    </a:lnTo>
                    <a:lnTo>
                      <a:pt x="344" y="438"/>
                    </a:lnTo>
                    <a:lnTo>
                      <a:pt x="338" y="435"/>
                    </a:lnTo>
                    <a:lnTo>
                      <a:pt x="334" y="432"/>
                    </a:lnTo>
                    <a:lnTo>
                      <a:pt x="235" y="334"/>
                    </a:lnTo>
                    <a:lnTo>
                      <a:pt x="199" y="397"/>
                    </a:lnTo>
                    <a:lnTo>
                      <a:pt x="190" y="407"/>
                    </a:lnTo>
                    <a:lnTo>
                      <a:pt x="180" y="411"/>
                    </a:lnTo>
                    <a:lnTo>
                      <a:pt x="169" y="413"/>
                    </a:lnTo>
                    <a:lnTo>
                      <a:pt x="158" y="410"/>
                    </a:lnTo>
                    <a:lnTo>
                      <a:pt x="148" y="403"/>
                    </a:lnTo>
                    <a:lnTo>
                      <a:pt x="142" y="393"/>
                    </a:lnTo>
                    <a:lnTo>
                      <a:pt x="1" y="43"/>
                    </a:lnTo>
                    <a:lnTo>
                      <a:pt x="0" y="31"/>
                    </a:lnTo>
                    <a:lnTo>
                      <a:pt x="3" y="19"/>
                    </a:lnTo>
                    <a:lnTo>
                      <a:pt x="8" y="9"/>
                    </a:lnTo>
                    <a:lnTo>
                      <a:pt x="20" y="2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008AD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2126" name="Groep 2125"/>
            <p:cNvGrpSpPr/>
            <p:nvPr userDrawn="1"/>
          </p:nvGrpSpPr>
          <p:grpSpPr>
            <a:xfrm>
              <a:off x="14330363" y="666750"/>
              <a:ext cx="125412" cy="125413"/>
              <a:chOff x="14330363" y="666750"/>
              <a:chExt cx="125412" cy="125413"/>
            </a:xfrm>
            <a:solidFill>
              <a:schemeClr val="accent5"/>
            </a:solidFill>
          </p:grpSpPr>
          <p:sp>
            <p:nvSpPr>
              <p:cNvPr id="302" name="Freeform 1944"/>
              <p:cNvSpPr>
                <a:spLocks/>
              </p:cNvSpPr>
              <p:nvPr userDrawn="1"/>
            </p:nvSpPr>
            <p:spPr bwMode="auto">
              <a:xfrm>
                <a:off x="14339888" y="676275"/>
                <a:ext cx="104775" cy="106363"/>
              </a:xfrm>
              <a:custGeom>
                <a:avLst/>
                <a:gdLst>
                  <a:gd name="T0" fmla="*/ 31 w 131"/>
                  <a:gd name="T1" fmla="*/ 0 h 132"/>
                  <a:gd name="T2" fmla="*/ 42 w 131"/>
                  <a:gd name="T3" fmla="*/ 3 h 132"/>
                  <a:gd name="T4" fmla="*/ 54 w 131"/>
                  <a:gd name="T5" fmla="*/ 10 h 132"/>
                  <a:gd name="T6" fmla="*/ 123 w 131"/>
                  <a:gd name="T7" fmla="*/ 79 h 132"/>
                  <a:gd name="T8" fmla="*/ 130 w 131"/>
                  <a:gd name="T9" fmla="*/ 89 h 132"/>
                  <a:gd name="T10" fmla="*/ 131 w 131"/>
                  <a:gd name="T11" fmla="*/ 101 h 132"/>
                  <a:gd name="T12" fmla="*/ 130 w 131"/>
                  <a:gd name="T13" fmla="*/ 113 h 132"/>
                  <a:gd name="T14" fmla="*/ 123 w 131"/>
                  <a:gd name="T15" fmla="*/ 123 h 132"/>
                  <a:gd name="T16" fmla="*/ 117 w 131"/>
                  <a:gd name="T17" fmla="*/ 127 h 132"/>
                  <a:gd name="T18" fmla="*/ 113 w 131"/>
                  <a:gd name="T19" fmla="*/ 130 h 132"/>
                  <a:gd name="T20" fmla="*/ 106 w 131"/>
                  <a:gd name="T21" fmla="*/ 131 h 132"/>
                  <a:gd name="T22" fmla="*/ 100 w 131"/>
                  <a:gd name="T23" fmla="*/ 132 h 132"/>
                  <a:gd name="T24" fmla="*/ 95 w 131"/>
                  <a:gd name="T25" fmla="*/ 131 h 132"/>
                  <a:gd name="T26" fmla="*/ 89 w 131"/>
                  <a:gd name="T27" fmla="*/ 130 h 132"/>
                  <a:gd name="T28" fmla="*/ 83 w 131"/>
                  <a:gd name="T29" fmla="*/ 127 h 132"/>
                  <a:gd name="T30" fmla="*/ 79 w 131"/>
                  <a:gd name="T31" fmla="*/ 123 h 132"/>
                  <a:gd name="T32" fmla="*/ 9 w 131"/>
                  <a:gd name="T33" fmla="*/ 53 h 132"/>
                  <a:gd name="T34" fmla="*/ 2 w 131"/>
                  <a:gd name="T35" fmla="*/ 44 h 132"/>
                  <a:gd name="T36" fmla="*/ 0 w 131"/>
                  <a:gd name="T37" fmla="*/ 31 h 132"/>
                  <a:gd name="T38" fmla="*/ 2 w 131"/>
                  <a:gd name="T39" fmla="*/ 20 h 132"/>
                  <a:gd name="T40" fmla="*/ 9 w 131"/>
                  <a:gd name="T41" fmla="*/ 10 h 132"/>
                  <a:gd name="T42" fmla="*/ 20 w 131"/>
                  <a:gd name="T43" fmla="*/ 3 h 132"/>
                  <a:gd name="T44" fmla="*/ 31 w 131"/>
                  <a:gd name="T45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1" h="132">
                    <a:moveTo>
                      <a:pt x="31" y="0"/>
                    </a:moveTo>
                    <a:lnTo>
                      <a:pt x="42" y="3"/>
                    </a:lnTo>
                    <a:lnTo>
                      <a:pt x="54" y="10"/>
                    </a:lnTo>
                    <a:lnTo>
                      <a:pt x="123" y="79"/>
                    </a:lnTo>
                    <a:lnTo>
                      <a:pt x="130" y="89"/>
                    </a:lnTo>
                    <a:lnTo>
                      <a:pt x="131" y="101"/>
                    </a:lnTo>
                    <a:lnTo>
                      <a:pt x="130" y="113"/>
                    </a:lnTo>
                    <a:lnTo>
                      <a:pt x="123" y="123"/>
                    </a:lnTo>
                    <a:lnTo>
                      <a:pt x="117" y="127"/>
                    </a:lnTo>
                    <a:lnTo>
                      <a:pt x="113" y="130"/>
                    </a:lnTo>
                    <a:lnTo>
                      <a:pt x="106" y="131"/>
                    </a:lnTo>
                    <a:lnTo>
                      <a:pt x="100" y="132"/>
                    </a:lnTo>
                    <a:lnTo>
                      <a:pt x="95" y="131"/>
                    </a:lnTo>
                    <a:lnTo>
                      <a:pt x="89" y="130"/>
                    </a:lnTo>
                    <a:lnTo>
                      <a:pt x="83" y="127"/>
                    </a:lnTo>
                    <a:lnTo>
                      <a:pt x="79" y="123"/>
                    </a:lnTo>
                    <a:lnTo>
                      <a:pt x="9" y="53"/>
                    </a:lnTo>
                    <a:lnTo>
                      <a:pt x="2" y="44"/>
                    </a:lnTo>
                    <a:lnTo>
                      <a:pt x="0" y="31"/>
                    </a:lnTo>
                    <a:lnTo>
                      <a:pt x="2" y="20"/>
                    </a:lnTo>
                    <a:lnTo>
                      <a:pt x="9" y="10"/>
                    </a:lnTo>
                    <a:lnTo>
                      <a:pt x="20" y="3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3" name="Freeform 1945"/>
              <p:cNvSpPr>
                <a:spLocks noEditPoints="1"/>
              </p:cNvSpPr>
              <p:nvPr userDrawn="1"/>
            </p:nvSpPr>
            <p:spPr bwMode="auto">
              <a:xfrm>
                <a:off x="14330363" y="666750"/>
                <a:ext cx="125412" cy="125413"/>
              </a:xfrm>
              <a:custGeom>
                <a:avLst/>
                <a:gdLst>
                  <a:gd name="T0" fmla="*/ 44 w 158"/>
                  <a:gd name="T1" fmla="*/ 26 h 158"/>
                  <a:gd name="T2" fmla="*/ 40 w 158"/>
                  <a:gd name="T3" fmla="*/ 27 h 158"/>
                  <a:gd name="T4" fmla="*/ 34 w 158"/>
                  <a:gd name="T5" fmla="*/ 28 h 158"/>
                  <a:gd name="T6" fmla="*/ 31 w 158"/>
                  <a:gd name="T7" fmla="*/ 31 h 158"/>
                  <a:gd name="T8" fmla="*/ 26 w 158"/>
                  <a:gd name="T9" fmla="*/ 40 h 158"/>
                  <a:gd name="T10" fmla="*/ 26 w 158"/>
                  <a:gd name="T11" fmla="*/ 50 h 158"/>
                  <a:gd name="T12" fmla="*/ 31 w 158"/>
                  <a:gd name="T13" fmla="*/ 57 h 158"/>
                  <a:gd name="T14" fmla="*/ 101 w 158"/>
                  <a:gd name="T15" fmla="*/ 127 h 158"/>
                  <a:gd name="T16" fmla="*/ 109 w 158"/>
                  <a:gd name="T17" fmla="*/ 131 h 158"/>
                  <a:gd name="T18" fmla="*/ 119 w 158"/>
                  <a:gd name="T19" fmla="*/ 131 h 158"/>
                  <a:gd name="T20" fmla="*/ 126 w 158"/>
                  <a:gd name="T21" fmla="*/ 127 h 158"/>
                  <a:gd name="T22" fmla="*/ 132 w 158"/>
                  <a:gd name="T23" fmla="*/ 119 h 158"/>
                  <a:gd name="T24" fmla="*/ 132 w 158"/>
                  <a:gd name="T25" fmla="*/ 109 h 158"/>
                  <a:gd name="T26" fmla="*/ 126 w 158"/>
                  <a:gd name="T27" fmla="*/ 100 h 158"/>
                  <a:gd name="T28" fmla="*/ 57 w 158"/>
                  <a:gd name="T29" fmla="*/ 31 h 158"/>
                  <a:gd name="T30" fmla="*/ 53 w 158"/>
                  <a:gd name="T31" fmla="*/ 28 h 158"/>
                  <a:gd name="T32" fmla="*/ 48 w 158"/>
                  <a:gd name="T33" fmla="*/ 27 h 158"/>
                  <a:gd name="T34" fmla="*/ 44 w 158"/>
                  <a:gd name="T35" fmla="*/ 26 h 158"/>
                  <a:gd name="T36" fmla="*/ 44 w 158"/>
                  <a:gd name="T37" fmla="*/ 0 h 158"/>
                  <a:gd name="T38" fmla="*/ 61 w 158"/>
                  <a:gd name="T39" fmla="*/ 3 h 158"/>
                  <a:gd name="T40" fmla="*/ 75 w 158"/>
                  <a:gd name="T41" fmla="*/ 13 h 158"/>
                  <a:gd name="T42" fmla="*/ 144 w 158"/>
                  <a:gd name="T43" fmla="*/ 82 h 158"/>
                  <a:gd name="T44" fmla="*/ 154 w 158"/>
                  <a:gd name="T45" fmla="*/ 97 h 158"/>
                  <a:gd name="T46" fmla="*/ 158 w 158"/>
                  <a:gd name="T47" fmla="*/ 114 h 158"/>
                  <a:gd name="T48" fmla="*/ 154 w 158"/>
                  <a:gd name="T49" fmla="*/ 130 h 158"/>
                  <a:gd name="T50" fmla="*/ 144 w 158"/>
                  <a:gd name="T51" fmla="*/ 145 h 158"/>
                  <a:gd name="T52" fmla="*/ 130 w 158"/>
                  <a:gd name="T53" fmla="*/ 155 h 158"/>
                  <a:gd name="T54" fmla="*/ 113 w 158"/>
                  <a:gd name="T55" fmla="*/ 158 h 158"/>
                  <a:gd name="T56" fmla="*/ 96 w 158"/>
                  <a:gd name="T57" fmla="*/ 155 h 158"/>
                  <a:gd name="T58" fmla="*/ 82 w 158"/>
                  <a:gd name="T59" fmla="*/ 145 h 158"/>
                  <a:gd name="T60" fmla="*/ 13 w 158"/>
                  <a:gd name="T61" fmla="*/ 75 h 158"/>
                  <a:gd name="T62" fmla="*/ 3 w 158"/>
                  <a:gd name="T63" fmla="*/ 61 h 158"/>
                  <a:gd name="T64" fmla="*/ 0 w 158"/>
                  <a:gd name="T65" fmla="*/ 44 h 158"/>
                  <a:gd name="T66" fmla="*/ 3 w 158"/>
                  <a:gd name="T67" fmla="*/ 27 h 158"/>
                  <a:gd name="T68" fmla="*/ 13 w 158"/>
                  <a:gd name="T69" fmla="*/ 13 h 158"/>
                  <a:gd name="T70" fmla="*/ 27 w 158"/>
                  <a:gd name="T71" fmla="*/ 3 h 158"/>
                  <a:gd name="T72" fmla="*/ 44 w 158"/>
                  <a:gd name="T73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158">
                    <a:moveTo>
                      <a:pt x="44" y="26"/>
                    </a:moveTo>
                    <a:lnTo>
                      <a:pt x="40" y="27"/>
                    </a:lnTo>
                    <a:lnTo>
                      <a:pt x="34" y="28"/>
                    </a:lnTo>
                    <a:lnTo>
                      <a:pt x="31" y="31"/>
                    </a:lnTo>
                    <a:lnTo>
                      <a:pt x="26" y="40"/>
                    </a:lnTo>
                    <a:lnTo>
                      <a:pt x="26" y="50"/>
                    </a:lnTo>
                    <a:lnTo>
                      <a:pt x="31" y="57"/>
                    </a:lnTo>
                    <a:lnTo>
                      <a:pt x="101" y="127"/>
                    </a:lnTo>
                    <a:lnTo>
                      <a:pt x="109" y="131"/>
                    </a:lnTo>
                    <a:lnTo>
                      <a:pt x="119" y="131"/>
                    </a:lnTo>
                    <a:lnTo>
                      <a:pt x="126" y="127"/>
                    </a:lnTo>
                    <a:lnTo>
                      <a:pt x="132" y="119"/>
                    </a:lnTo>
                    <a:lnTo>
                      <a:pt x="132" y="109"/>
                    </a:lnTo>
                    <a:lnTo>
                      <a:pt x="126" y="100"/>
                    </a:lnTo>
                    <a:lnTo>
                      <a:pt x="57" y="31"/>
                    </a:lnTo>
                    <a:lnTo>
                      <a:pt x="53" y="28"/>
                    </a:lnTo>
                    <a:lnTo>
                      <a:pt x="48" y="27"/>
                    </a:lnTo>
                    <a:lnTo>
                      <a:pt x="44" y="26"/>
                    </a:lnTo>
                    <a:close/>
                    <a:moveTo>
                      <a:pt x="44" y="0"/>
                    </a:moveTo>
                    <a:lnTo>
                      <a:pt x="61" y="3"/>
                    </a:lnTo>
                    <a:lnTo>
                      <a:pt x="75" y="13"/>
                    </a:lnTo>
                    <a:lnTo>
                      <a:pt x="144" y="82"/>
                    </a:lnTo>
                    <a:lnTo>
                      <a:pt x="154" y="97"/>
                    </a:lnTo>
                    <a:lnTo>
                      <a:pt x="158" y="114"/>
                    </a:lnTo>
                    <a:lnTo>
                      <a:pt x="154" y="130"/>
                    </a:lnTo>
                    <a:lnTo>
                      <a:pt x="144" y="145"/>
                    </a:lnTo>
                    <a:lnTo>
                      <a:pt x="130" y="155"/>
                    </a:lnTo>
                    <a:lnTo>
                      <a:pt x="113" y="158"/>
                    </a:lnTo>
                    <a:lnTo>
                      <a:pt x="96" y="155"/>
                    </a:lnTo>
                    <a:lnTo>
                      <a:pt x="82" y="145"/>
                    </a:lnTo>
                    <a:lnTo>
                      <a:pt x="13" y="75"/>
                    </a:lnTo>
                    <a:lnTo>
                      <a:pt x="3" y="61"/>
                    </a:lnTo>
                    <a:lnTo>
                      <a:pt x="0" y="44"/>
                    </a:lnTo>
                    <a:lnTo>
                      <a:pt x="3" y="27"/>
                    </a:lnTo>
                    <a:lnTo>
                      <a:pt x="13" y="13"/>
                    </a:lnTo>
                    <a:lnTo>
                      <a:pt x="27" y="3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2124" name="Groep 2123"/>
            <p:cNvGrpSpPr/>
            <p:nvPr userDrawn="1"/>
          </p:nvGrpSpPr>
          <p:grpSpPr>
            <a:xfrm>
              <a:off x="14262100" y="820738"/>
              <a:ext cx="147637" cy="69850"/>
              <a:chOff x="14262100" y="820738"/>
              <a:chExt cx="147637" cy="69850"/>
            </a:xfrm>
            <a:solidFill>
              <a:schemeClr val="accent4"/>
            </a:solidFill>
          </p:grpSpPr>
          <p:sp>
            <p:nvSpPr>
              <p:cNvPr id="304" name="Freeform 1946"/>
              <p:cNvSpPr>
                <a:spLocks/>
              </p:cNvSpPr>
              <p:nvPr userDrawn="1"/>
            </p:nvSpPr>
            <p:spPr bwMode="auto">
              <a:xfrm>
                <a:off x="14273213" y="831850"/>
                <a:ext cx="127000" cy="49213"/>
              </a:xfrm>
              <a:custGeom>
                <a:avLst/>
                <a:gdLst>
                  <a:gd name="T0" fmla="*/ 31 w 160"/>
                  <a:gd name="T1" fmla="*/ 0 h 62"/>
                  <a:gd name="T2" fmla="*/ 129 w 160"/>
                  <a:gd name="T3" fmla="*/ 0 h 62"/>
                  <a:gd name="T4" fmla="*/ 142 w 160"/>
                  <a:gd name="T5" fmla="*/ 3 h 62"/>
                  <a:gd name="T6" fmla="*/ 152 w 160"/>
                  <a:gd name="T7" fmla="*/ 9 h 62"/>
                  <a:gd name="T8" fmla="*/ 159 w 160"/>
                  <a:gd name="T9" fmla="*/ 19 h 62"/>
                  <a:gd name="T10" fmla="*/ 160 w 160"/>
                  <a:gd name="T11" fmla="*/ 31 h 62"/>
                  <a:gd name="T12" fmla="*/ 159 w 160"/>
                  <a:gd name="T13" fmla="*/ 44 h 62"/>
                  <a:gd name="T14" fmla="*/ 152 w 160"/>
                  <a:gd name="T15" fmla="*/ 54 h 62"/>
                  <a:gd name="T16" fmla="*/ 142 w 160"/>
                  <a:gd name="T17" fmla="*/ 60 h 62"/>
                  <a:gd name="T18" fmla="*/ 129 w 160"/>
                  <a:gd name="T19" fmla="*/ 62 h 62"/>
                  <a:gd name="T20" fmla="*/ 31 w 160"/>
                  <a:gd name="T21" fmla="*/ 62 h 62"/>
                  <a:gd name="T22" fmla="*/ 19 w 160"/>
                  <a:gd name="T23" fmla="*/ 60 h 62"/>
                  <a:gd name="T24" fmla="*/ 9 w 160"/>
                  <a:gd name="T25" fmla="*/ 54 h 62"/>
                  <a:gd name="T26" fmla="*/ 2 w 160"/>
                  <a:gd name="T27" fmla="*/ 44 h 62"/>
                  <a:gd name="T28" fmla="*/ 0 w 160"/>
                  <a:gd name="T29" fmla="*/ 31 h 62"/>
                  <a:gd name="T30" fmla="*/ 2 w 160"/>
                  <a:gd name="T31" fmla="*/ 19 h 62"/>
                  <a:gd name="T32" fmla="*/ 9 w 160"/>
                  <a:gd name="T33" fmla="*/ 9 h 62"/>
                  <a:gd name="T34" fmla="*/ 19 w 160"/>
                  <a:gd name="T35" fmla="*/ 3 h 62"/>
                  <a:gd name="T36" fmla="*/ 31 w 160"/>
                  <a:gd name="T37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0" h="62">
                    <a:moveTo>
                      <a:pt x="31" y="0"/>
                    </a:moveTo>
                    <a:lnTo>
                      <a:pt x="129" y="0"/>
                    </a:lnTo>
                    <a:lnTo>
                      <a:pt x="142" y="3"/>
                    </a:lnTo>
                    <a:lnTo>
                      <a:pt x="152" y="9"/>
                    </a:lnTo>
                    <a:lnTo>
                      <a:pt x="159" y="19"/>
                    </a:lnTo>
                    <a:lnTo>
                      <a:pt x="160" y="31"/>
                    </a:lnTo>
                    <a:lnTo>
                      <a:pt x="159" y="44"/>
                    </a:lnTo>
                    <a:lnTo>
                      <a:pt x="152" y="54"/>
                    </a:lnTo>
                    <a:lnTo>
                      <a:pt x="142" y="60"/>
                    </a:lnTo>
                    <a:lnTo>
                      <a:pt x="129" y="62"/>
                    </a:lnTo>
                    <a:lnTo>
                      <a:pt x="31" y="62"/>
                    </a:lnTo>
                    <a:lnTo>
                      <a:pt x="19" y="60"/>
                    </a:lnTo>
                    <a:lnTo>
                      <a:pt x="9" y="54"/>
                    </a:lnTo>
                    <a:lnTo>
                      <a:pt x="2" y="44"/>
                    </a:lnTo>
                    <a:lnTo>
                      <a:pt x="0" y="31"/>
                    </a:lnTo>
                    <a:lnTo>
                      <a:pt x="2" y="19"/>
                    </a:lnTo>
                    <a:lnTo>
                      <a:pt x="9" y="9"/>
                    </a:lnTo>
                    <a:lnTo>
                      <a:pt x="19" y="3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5" name="Freeform 1947"/>
              <p:cNvSpPr>
                <a:spLocks noEditPoints="1"/>
              </p:cNvSpPr>
              <p:nvPr userDrawn="1"/>
            </p:nvSpPr>
            <p:spPr bwMode="auto">
              <a:xfrm>
                <a:off x="14262100" y="820738"/>
                <a:ext cx="147637" cy="69850"/>
              </a:xfrm>
              <a:custGeom>
                <a:avLst/>
                <a:gdLst>
                  <a:gd name="T0" fmla="*/ 44 w 186"/>
                  <a:gd name="T1" fmla="*/ 25 h 87"/>
                  <a:gd name="T2" fmla="*/ 38 w 186"/>
                  <a:gd name="T3" fmla="*/ 27 h 87"/>
                  <a:gd name="T4" fmla="*/ 34 w 186"/>
                  <a:gd name="T5" fmla="*/ 28 h 87"/>
                  <a:gd name="T6" fmla="*/ 30 w 186"/>
                  <a:gd name="T7" fmla="*/ 32 h 87"/>
                  <a:gd name="T8" fmla="*/ 27 w 186"/>
                  <a:gd name="T9" fmla="*/ 38 h 87"/>
                  <a:gd name="T10" fmla="*/ 25 w 186"/>
                  <a:gd name="T11" fmla="*/ 43 h 87"/>
                  <a:gd name="T12" fmla="*/ 27 w 186"/>
                  <a:gd name="T13" fmla="*/ 49 h 87"/>
                  <a:gd name="T14" fmla="*/ 30 w 186"/>
                  <a:gd name="T15" fmla="*/ 55 h 87"/>
                  <a:gd name="T16" fmla="*/ 34 w 186"/>
                  <a:gd name="T17" fmla="*/ 59 h 87"/>
                  <a:gd name="T18" fmla="*/ 38 w 186"/>
                  <a:gd name="T19" fmla="*/ 60 h 87"/>
                  <a:gd name="T20" fmla="*/ 44 w 186"/>
                  <a:gd name="T21" fmla="*/ 62 h 87"/>
                  <a:gd name="T22" fmla="*/ 142 w 186"/>
                  <a:gd name="T23" fmla="*/ 62 h 87"/>
                  <a:gd name="T24" fmla="*/ 148 w 186"/>
                  <a:gd name="T25" fmla="*/ 60 h 87"/>
                  <a:gd name="T26" fmla="*/ 154 w 186"/>
                  <a:gd name="T27" fmla="*/ 59 h 87"/>
                  <a:gd name="T28" fmla="*/ 158 w 186"/>
                  <a:gd name="T29" fmla="*/ 55 h 87"/>
                  <a:gd name="T30" fmla="*/ 161 w 186"/>
                  <a:gd name="T31" fmla="*/ 49 h 87"/>
                  <a:gd name="T32" fmla="*/ 161 w 186"/>
                  <a:gd name="T33" fmla="*/ 43 h 87"/>
                  <a:gd name="T34" fmla="*/ 161 w 186"/>
                  <a:gd name="T35" fmla="*/ 38 h 87"/>
                  <a:gd name="T36" fmla="*/ 158 w 186"/>
                  <a:gd name="T37" fmla="*/ 32 h 87"/>
                  <a:gd name="T38" fmla="*/ 154 w 186"/>
                  <a:gd name="T39" fmla="*/ 28 h 87"/>
                  <a:gd name="T40" fmla="*/ 148 w 186"/>
                  <a:gd name="T41" fmla="*/ 27 h 87"/>
                  <a:gd name="T42" fmla="*/ 142 w 186"/>
                  <a:gd name="T43" fmla="*/ 25 h 87"/>
                  <a:gd name="T44" fmla="*/ 44 w 186"/>
                  <a:gd name="T45" fmla="*/ 25 h 87"/>
                  <a:gd name="T46" fmla="*/ 44 w 186"/>
                  <a:gd name="T47" fmla="*/ 0 h 87"/>
                  <a:gd name="T48" fmla="*/ 142 w 186"/>
                  <a:gd name="T49" fmla="*/ 0 h 87"/>
                  <a:gd name="T50" fmla="*/ 159 w 186"/>
                  <a:gd name="T51" fmla="*/ 3 h 87"/>
                  <a:gd name="T52" fmla="*/ 173 w 186"/>
                  <a:gd name="T53" fmla="*/ 12 h 87"/>
                  <a:gd name="T54" fmla="*/ 183 w 186"/>
                  <a:gd name="T55" fmla="*/ 27 h 87"/>
                  <a:gd name="T56" fmla="*/ 186 w 186"/>
                  <a:gd name="T57" fmla="*/ 43 h 87"/>
                  <a:gd name="T58" fmla="*/ 183 w 186"/>
                  <a:gd name="T59" fmla="*/ 60 h 87"/>
                  <a:gd name="T60" fmla="*/ 173 w 186"/>
                  <a:gd name="T61" fmla="*/ 74 h 87"/>
                  <a:gd name="T62" fmla="*/ 159 w 186"/>
                  <a:gd name="T63" fmla="*/ 84 h 87"/>
                  <a:gd name="T64" fmla="*/ 142 w 186"/>
                  <a:gd name="T65" fmla="*/ 87 h 87"/>
                  <a:gd name="T66" fmla="*/ 44 w 186"/>
                  <a:gd name="T67" fmla="*/ 87 h 87"/>
                  <a:gd name="T68" fmla="*/ 27 w 186"/>
                  <a:gd name="T69" fmla="*/ 84 h 87"/>
                  <a:gd name="T70" fmla="*/ 13 w 186"/>
                  <a:gd name="T71" fmla="*/ 74 h 87"/>
                  <a:gd name="T72" fmla="*/ 3 w 186"/>
                  <a:gd name="T73" fmla="*/ 60 h 87"/>
                  <a:gd name="T74" fmla="*/ 0 w 186"/>
                  <a:gd name="T75" fmla="*/ 43 h 87"/>
                  <a:gd name="T76" fmla="*/ 3 w 186"/>
                  <a:gd name="T77" fmla="*/ 27 h 87"/>
                  <a:gd name="T78" fmla="*/ 13 w 186"/>
                  <a:gd name="T79" fmla="*/ 12 h 87"/>
                  <a:gd name="T80" fmla="*/ 27 w 186"/>
                  <a:gd name="T81" fmla="*/ 3 h 87"/>
                  <a:gd name="T82" fmla="*/ 44 w 186"/>
                  <a:gd name="T83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6" h="87">
                    <a:moveTo>
                      <a:pt x="44" y="25"/>
                    </a:moveTo>
                    <a:lnTo>
                      <a:pt x="38" y="27"/>
                    </a:lnTo>
                    <a:lnTo>
                      <a:pt x="34" y="28"/>
                    </a:lnTo>
                    <a:lnTo>
                      <a:pt x="30" y="32"/>
                    </a:lnTo>
                    <a:lnTo>
                      <a:pt x="27" y="38"/>
                    </a:lnTo>
                    <a:lnTo>
                      <a:pt x="25" y="43"/>
                    </a:lnTo>
                    <a:lnTo>
                      <a:pt x="27" y="49"/>
                    </a:lnTo>
                    <a:lnTo>
                      <a:pt x="30" y="55"/>
                    </a:lnTo>
                    <a:lnTo>
                      <a:pt x="34" y="59"/>
                    </a:lnTo>
                    <a:lnTo>
                      <a:pt x="38" y="60"/>
                    </a:lnTo>
                    <a:lnTo>
                      <a:pt x="44" y="62"/>
                    </a:lnTo>
                    <a:lnTo>
                      <a:pt x="142" y="62"/>
                    </a:lnTo>
                    <a:lnTo>
                      <a:pt x="148" y="60"/>
                    </a:lnTo>
                    <a:lnTo>
                      <a:pt x="154" y="59"/>
                    </a:lnTo>
                    <a:lnTo>
                      <a:pt x="158" y="55"/>
                    </a:lnTo>
                    <a:lnTo>
                      <a:pt x="161" y="49"/>
                    </a:lnTo>
                    <a:lnTo>
                      <a:pt x="161" y="43"/>
                    </a:lnTo>
                    <a:lnTo>
                      <a:pt x="161" y="38"/>
                    </a:lnTo>
                    <a:lnTo>
                      <a:pt x="158" y="32"/>
                    </a:lnTo>
                    <a:lnTo>
                      <a:pt x="154" y="28"/>
                    </a:lnTo>
                    <a:lnTo>
                      <a:pt x="148" y="27"/>
                    </a:lnTo>
                    <a:lnTo>
                      <a:pt x="142" y="25"/>
                    </a:lnTo>
                    <a:lnTo>
                      <a:pt x="44" y="25"/>
                    </a:lnTo>
                    <a:close/>
                    <a:moveTo>
                      <a:pt x="44" y="0"/>
                    </a:moveTo>
                    <a:lnTo>
                      <a:pt x="142" y="0"/>
                    </a:lnTo>
                    <a:lnTo>
                      <a:pt x="159" y="3"/>
                    </a:lnTo>
                    <a:lnTo>
                      <a:pt x="173" y="12"/>
                    </a:lnTo>
                    <a:lnTo>
                      <a:pt x="183" y="27"/>
                    </a:lnTo>
                    <a:lnTo>
                      <a:pt x="186" y="43"/>
                    </a:lnTo>
                    <a:lnTo>
                      <a:pt x="183" y="60"/>
                    </a:lnTo>
                    <a:lnTo>
                      <a:pt x="173" y="74"/>
                    </a:lnTo>
                    <a:lnTo>
                      <a:pt x="159" y="84"/>
                    </a:lnTo>
                    <a:lnTo>
                      <a:pt x="142" y="87"/>
                    </a:lnTo>
                    <a:lnTo>
                      <a:pt x="44" y="87"/>
                    </a:lnTo>
                    <a:lnTo>
                      <a:pt x="27" y="84"/>
                    </a:lnTo>
                    <a:lnTo>
                      <a:pt x="13" y="74"/>
                    </a:lnTo>
                    <a:lnTo>
                      <a:pt x="3" y="60"/>
                    </a:lnTo>
                    <a:lnTo>
                      <a:pt x="0" y="43"/>
                    </a:lnTo>
                    <a:lnTo>
                      <a:pt x="3" y="27"/>
                    </a:lnTo>
                    <a:lnTo>
                      <a:pt x="13" y="12"/>
                    </a:lnTo>
                    <a:lnTo>
                      <a:pt x="27" y="3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2122" name="Groep 2121"/>
            <p:cNvGrpSpPr/>
            <p:nvPr userDrawn="1"/>
          </p:nvGrpSpPr>
          <p:grpSpPr>
            <a:xfrm>
              <a:off x="14317663" y="915988"/>
              <a:ext cx="125412" cy="125413"/>
              <a:chOff x="14317663" y="915988"/>
              <a:chExt cx="125412" cy="125413"/>
            </a:xfrm>
            <a:solidFill>
              <a:schemeClr val="accent3"/>
            </a:solidFill>
          </p:grpSpPr>
          <p:sp>
            <p:nvSpPr>
              <p:cNvPr id="306" name="Freeform 1948"/>
              <p:cNvSpPr>
                <a:spLocks/>
              </p:cNvSpPr>
              <p:nvPr userDrawn="1"/>
            </p:nvSpPr>
            <p:spPr bwMode="auto">
              <a:xfrm>
                <a:off x="14327188" y="925513"/>
                <a:ext cx="106362" cy="104775"/>
              </a:xfrm>
              <a:custGeom>
                <a:avLst/>
                <a:gdLst>
                  <a:gd name="T0" fmla="*/ 101 w 132"/>
                  <a:gd name="T1" fmla="*/ 0 h 132"/>
                  <a:gd name="T2" fmla="*/ 112 w 132"/>
                  <a:gd name="T3" fmla="*/ 3 h 132"/>
                  <a:gd name="T4" fmla="*/ 124 w 132"/>
                  <a:gd name="T5" fmla="*/ 10 h 132"/>
                  <a:gd name="T6" fmla="*/ 131 w 132"/>
                  <a:gd name="T7" fmla="*/ 20 h 132"/>
                  <a:gd name="T8" fmla="*/ 132 w 132"/>
                  <a:gd name="T9" fmla="*/ 31 h 132"/>
                  <a:gd name="T10" fmla="*/ 131 w 132"/>
                  <a:gd name="T11" fmla="*/ 44 h 132"/>
                  <a:gd name="T12" fmla="*/ 124 w 132"/>
                  <a:gd name="T13" fmla="*/ 53 h 132"/>
                  <a:gd name="T14" fmla="*/ 53 w 132"/>
                  <a:gd name="T15" fmla="*/ 122 h 132"/>
                  <a:gd name="T16" fmla="*/ 49 w 132"/>
                  <a:gd name="T17" fmla="*/ 127 h 132"/>
                  <a:gd name="T18" fmla="*/ 43 w 132"/>
                  <a:gd name="T19" fmla="*/ 130 h 132"/>
                  <a:gd name="T20" fmla="*/ 38 w 132"/>
                  <a:gd name="T21" fmla="*/ 131 h 132"/>
                  <a:gd name="T22" fmla="*/ 32 w 132"/>
                  <a:gd name="T23" fmla="*/ 132 h 132"/>
                  <a:gd name="T24" fmla="*/ 25 w 132"/>
                  <a:gd name="T25" fmla="*/ 131 h 132"/>
                  <a:gd name="T26" fmla="*/ 19 w 132"/>
                  <a:gd name="T27" fmla="*/ 130 h 132"/>
                  <a:gd name="T28" fmla="*/ 14 w 132"/>
                  <a:gd name="T29" fmla="*/ 127 h 132"/>
                  <a:gd name="T30" fmla="*/ 10 w 132"/>
                  <a:gd name="T31" fmla="*/ 122 h 132"/>
                  <a:gd name="T32" fmla="*/ 2 w 132"/>
                  <a:gd name="T33" fmla="*/ 113 h 132"/>
                  <a:gd name="T34" fmla="*/ 0 w 132"/>
                  <a:gd name="T35" fmla="*/ 101 h 132"/>
                  <a:gd name="T36" fmla="*/ 2 w 132"/>
                  <a:gd name="T37" fmla="*/ 89 h 132"/>
                  <a:gd name="T38" fmla="*/ 10 w 132"/>
                  <a:gd name="T39" fmla="*/ 79 h 132"/>
                  <a:gd name="T40" fmla="*/ 79 w 132"/>
                  <a:gd name="T41" fmla="*/ 10 h 132"/>
                  <a:gd name="T42" fmla="*/ 90 w 132"/>
                  <a:gd name="T43" fmla="*/ 3 h 132"/>
                  <a:gd name="T44" fmla="*/ 101 w 132"/>
                  <a:gd name="T45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2" h="132">
                    <a:moveTo>
                      <a:pt x="101" y="0"/>
                    </a:moveTo>
                    <a:lnTo>
                      <a:pt x="112" y="3"/>
                    </a:lnTo>
                    <a:lnTo>
                      <a:pt x="124" y="10"/>
                    </a:lnTo>
                    <a:lnTo>
                      <a:pt x="131" y="20"/>
                    </a:lnTo>
                    <a:lnTo>
                      <a:pt x="132" y="31"/>
                    </a:lnTo>
                    <a:lnTo>
                      <a:pt x="131" y="44"/>
                    </a:lnTo>
                    <a:lnTo>
                      <a:pt x="124" y="53"/>
                    </a:lnTo>
                    <a:lnTo>
                      <a:pt x="53" y="122"/>
                    </a:lnTo>
                    <a:lnTo>
                      <a:pt x="49" y="127"/>
                    </a:lnTo>
                    <a:lnTo>
                      <a:pt x="43" y="130"/>
                    </a:lnTo>
                    <a:lnTo>
                      <a:pt x="38" y="131"/>
                    </a:lnTo>
                    <a:lnTo>
                      <a:pt x="32" y="132"/>
                    </a:lnTo>
                    <a:lnTo>
                      <a:pt x="25" y="131"/>
                    </a:lnTo>
                    <a:lnTo>
                      <a:pt x="19" y="130"/>
                    </a:lnTo>
                    <a:lnTo>
                      <a:pt x="14" y="127"/>
                    </a:lnTo>
                    <a:lnTo>
                      <a:pt x="10" y="122"/>
                    </a:lnTo>
                    <a:lnTo>
                      <a:pt x="2" y="113"/>
                    </a:lnTo>
                    <a:lnTo>
                      <a:pt x="0" y="101"/>
                    </a:lnTo>
                    <a:lnTo>
                      <a:pt x="2" y="89"/>
                    </a:lnTo>
                    <a:lnTo>
                      <a:pt x="10" y="79"/>
                    </a:lnTo>
                    <a:lnTo>
                      <a:pt x="79" y="10"/>
                    </a:lnTo>
                    <a:lnTo>
                      <a:pt x="90" y="3"/>
                    </a:lnTo>
                    <a:lnTo>
                      <a:pt x="10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7" name="Freeform 1949"/>
              <p:cNvSpPr>
                <a:spLocks noEditPoints="1"/>
              </p:cNvSpPr>
              <p:nvPr userDrawn="1"/>
            </p:nvSpPr>
            <p:spPr bwMode="auto">
              <a:xfrm>
                <a:off x="14317663" y="915988"/>
                <a:ext cx="125412" cy="125413"/>
              </a:xfrm>
              <a:custGeom>
                <a:avLst/>
                <a:gdLst>
                  <a:gd name="T0" fmla="*/ 110 w 158"/>
                  <a:gd name="T1" fmla="*/ 27 h 158"/>
                  <a:gd name="T2" fmla="*/ 101 w 158"/>
                  <a:gd name="T3" fmla="*/ 31 h 158"/>
                  <a:gd name="T4" fmla="*/ 31 w 158"/>
                  <a:gd name="T5" fmla="*/ 100 h 158"/>
                  <a:gd name="T6" fmla="*/ 27 w 158"/>
                  <a:gd name="T7" fmla="*/ 109 h 158"/>
                  <a:gd name="T8" fmla="*/ 27 w 158"/>
                  <a:gd name="T9" fmla="*/ 119 h 158"/>
                  <a:gd name="T10" fmla="*/ 31 w 158"/>
                  <a:gd name="T11" fmla="*/ 127 h 158"/>
                  <a:gd name="T12" fmla="*/ 39 w 158"/>
                  <a:gd name="T13" fmla="*/ 131 h 158"/>
                  <a:gd name="T14" fmla="*/ 49 w 158"/>
                  <a:gd name="T15" fmla="*/ 131 h 158"/>
                  <a:gd name="T16" fmla="*/ 58 w 158"/>
                  <a:gd name="T17" fmla="*/ 127 h 158"/>
                  <a:gd name="T18" fmla="*/ 127 w 158"/>
                  <a:gd name="T19" fmla="*/ 57 h 158"/>
                  <a:gd name="T20" fmla="*/ 130 w 158"/>
                  <a:gd name="T21" fmla="*/ 54 h 158"/>
                  <a:gd name="T22" fmla="*/ 132 w 158"/>
                  <a:gd name="T23" fmla="*/ 49 h 158"/>
                  <a:gd name="T24" fmla="*/ 132 w 158"/>
                  <a:gd name="T25" fmla="*/ 44 h 158"/>
                  <a:gd name="T26" fmla="*/ 132 w 158"/>
                  <a:gd name="T27" fmla="*/ 40 h 158"/>
                  <a:gd name="T28" fmla="*/ 130 w 158"/>
                  <a:gd name="T29" fmla="*/ 35 h 158"/>
                  <a:gd name="T30" fmla="*/ 127 w 158"/>
                  <a:gd name="T31" fmla="*/ 31 h 158"/>
                  <a:gd name="T32" fmla="*/ 118 w 158"/>
                  <a:gd name="T33" fmla="*/ 27 h 158"/>
                  <a:gd name="T34" fmla="*/ 110 w 158"/>
                  <a:gd name="T35" fmla="*/ 27 h 158"/>
                  <a:gd name="T36" fmla="*/ 114 w 158"/>
                  <a:gd name="T37" fmla="*/ 0 h 158"/>
                  <a:gd name="T38" fmla="*/ 131 w 158"/>
                  <a:gd name="T39" fmla="*/ 3 h 158"/>
                  <a:gd name="T40" fmla="*/ 145 w 158"/>
                  <a:gd name="T41" fmla="*/ 13 h 158"/>
                  <a:gd name="T42" fmla="*/ 155 w 158"/>
                  <a:gd name="T43" fmla="*/ 27 h 158"/>
                  <a:gd name="T44" fmla="*/ 158 w 158"/>
                  <a:gd name="T45" fmla="*/ 44 h 158"/>
                  <a:gd name="T46" fmla="*/ 155 w 158"/>
                  <a:gd name="T47" fmla="*/ 61 h 158"/>
                  <a:gd name="T48" fmla="*/ 145 w 158"/>
                  <a:gd name="T49" fmla="*/ 75 h 158"/>
                  <a:gd name="T50" fmla="*/ 76 w 158"/>
                  <a:gd name="T51" fmla="*/ 145 h 158"/>
                  <a:gd name="T52" fmla="*/ 62 w 158"/>
                  <a:gd name="T53" fmla="*/ 155 h 158"/>
                  <a:gd name="T54" fmla="*/ 45 w 158"/>
                  <a:gd name="T55" fmla="*/ 158 h 158"/>
                  <a:gd name="T56" fmla="*/ 28 w 158"/>
                  <a:gd name="T57" fmla="*/ 155 h 158"/>
                  <a:gd name="T58" fmla="*/ 14 w 158"/>
                  <a:gd name="T59" fmla="*/ 145 h 158"/>
                  <a:gd name="T60" fmla="*/ 4 w 158"/>
                  <a:gd name="T61" fmla="*/ 130 h 158"/>
                  <a:gd name="T62" fmla="*/ 0 w 158"/>
                  <a:gd name="T63" fmla="*/ 114 h 158"/>
                  <a:gd name="T64" fmla="*/ 4 w 158"/>
                  <a:gd name="T65" fmla="*/ 97 h 158"/>
                  <a:gd name="T66" fmla="*/ 14 w 158"/>
                  <a:gd name="T67" fmla="*/ 82 h 158"/>
                  <a:gd name="T68" fmla="*/ 83 w 158"/>
                  <a:gd name="T69" fmla="*/ 13 h 158"/>
                  <a:gd name="T70" fmla="*/ 97 w 158"/>
                  <a:gd name="T71" fmla="*/ 3 h 158"/>
                  <a:gd name="T72" fmla="*/ 114 w 158"/>
                  <a:gd name="T73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158">
                    <a:moveTo>
                      <a:pt x="110" y="27"/>
                    </a:moveTo>
                    <a:lnTo>
                      <a:pt x="101" y="31"/>
                    </a:lnTo>
                    <a:lnTo>
                      <a:pt x="31" y="100"/>
                    </a:lnTo>
                    <a:lnTo>
                      <a:pt x="27" y="109"/>
                    </a:lnTo>
                    <a:lnTo>
                      <a:pt x="27" y="119"/>
                    </a:lnTo>
                    <a:lnTo>
                      <a:pt x="31" y="127"/>
                    </a:lnTo>
                    <a:lnTo>
                      <a:pt x="39" y="131"/>
                    </a:lnTo>
                    <a:lnTo>
                      <a:pt x="49" y="131"/>
                    </a:lnTo>
                    <a:lnTo>
                      <a:pt x="58" y="127"/>
                    </a:lnTo>
                    <a:lnTo>
                      <a:pt x="127" y="57"/>
                    </a:lnTo>
                    <a:lnTo>
                      <a:pt x="130" y="54"/>
                    </a:lnTo>
                    <a:lnTo>
                      <a:pt x="132" y="49"/>
                    </a:lnTo>
                    <a:lnTo>
                      <a:pt x="132" y="44"/>
                    </a:lnTo>
                    <a:lnTo>
                      <a:pt x="132" y="40"/>
                    </a:lnTo>
                    <a:lnTo>
                      <a:pt x="130" y="35"/>
                    </a:lnTo>
                    <a:lnTo>
                      <a:pt x="127" y="31"/>
                    </a:lnTo>
                    <a:lnTo>
                      <a:pt x="118" y="27"/>
                    </a:lnTo>
                    <a:lnTo>
                      <a:pt x="110" y="27"/>
                    </a:lnTo>
                    <a:close/>
                    <a:moveTo>
                      <a:pt x="114" y="0"/>
                    </a:moveTo>
                    <a:lnTo>
                      <a:pt x="131" y="3"/>
                    </a:lnTo>
                    <a:lnTo>
                      <a:pt x="145" y="13"/>
                    </a:lnTo>
                    <a:lnTo>
                      <a:pt x="155" y="27"/>
                    </a:lnTo>
                    <a:lnTo>
                      <a:pt x="158" y="44"/>
                    </a:lnTo>
                    <a:lnTo>
                      <a:pt x="155" y="61"/>
                    </a:lnTo>
                    <a:lnTo>
                      <a:pt x="145" y="75"/>
                    </a:lnTo>
                    <a:lnTo>
                      <a:pt x="76" y="145"/>
                    </a:lnTo>
                    <a:lnTo>
                      <a:pt x="62" y="155"/>
                    </a:lnTo>
                    <a:lnTo>
                      <a:pt x="45" y="158"/>
                    </a:lnTo>
                    <a:lnTo>
                      <a:pt x="28" y="155"/>
                    </a:lnTo>
                    <a:lnTo>
                      <a:pt x="14" y="145"/>
                    </a:lnTo>
                    <a:lnTo>
                      <a:pt x="4" y="130"/>
                    </a:lnTo>
                    <a:lnTo>
                      <a:pt x="0" y="114"/>
                    </a:lnTo>
                    <a:lnTo>
                      <a:pt x="4" y="97"/>
                    </a:lnTo>
                    <a:lnTo>
                      <a:pt x="14" y="82"/>
                    </a:lnTo>
                    <a:lnTo>
                      <a:pt x="83" y="13"/>
                    </a:lnTo>
                    <a:lnTo>
                      <a:pt x="97" y="3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2125" name="Groep 2124"/>
            <p:cNvGrpSpPr/>
            <p:nvPr userDrawn="1"/>
          </p:nvGrpSpPr>
          <p:grpSpPr>
            <a:xfrm>
              <a:off x="14482763" y="600075"/>
              <a:ext cx="71437" cy="149225"/>
              <a:chOff x="14482763" y="600075"/>
              <a:chExt cx="71437" cy="149225"/>
            </a:xfrm>
            <a:solidFill>
              <a:schemeClr val="accent6"/>
            </a:solidFill>
          </p:grpSpPr>
          <p:sp>
            <p:nvSpPr>
              <p:cNvPr id="308" name="Freeform 1950"/>
              <p:cNvSpPr>
                <a:spLocks/>
              </p:cNvSpPr>
              <p:nvPr userDrawn="1"/>
            </p:nvSpPr>
            <p:spPr bwMode="auto">
              <a:xfrm>
                <a:off x="14493875" y="609600"/>
                <a:ext cx="49212" cy="128588"/>
              </a:xfrm>
              <a:custGeom>
                <a:avLst/>
                <a:gdLst>
                  <a:gd name="T0" fmla="*/ 33 w 64"/>
                  <a:gd name="T1" fmla="*/ 0 h 162"/>
                  <a:gd name="T2" fmla="*/ 44 w 64"/>
                  <a:gd name="T3" fmla="*/ 3 h 162"/>
                  <a:gd name="T4" fmla="*/ 54 w 64"/>
                  <a:gd name="T5" fmla="*/ 10 h 162"/>
                  <a:gd name="T6" fmla="*/ 61 w 64"/>
                  <a:gd name="T7" fmla="*/ 20 h 162"/>
                  <a:gd name="T8" fmla="*/ 64 w 64"/>
                  <a:gd name="T9" fmla="*/ 33 h 162"/>
                  <a:gd name="T10" fmla="*/ 64 w 64"/>
                  <a:gd name="T11" fmla="*/ 130 h 162"/>
                  <a:gd name="T12" fmla="*/ 61 w 64"/>
                  <a:gd name="T13" fmla="*/ 143 h 162"/>
                  <a:gd name="T14" fmla="*/ 54 w 64"/>
                  <a:gd name="T15" fmla="*/ 153 h 162"/>
                  <a:gd name="T16" fmla="*/ 44 w 64"/>
                  <a:gd name="T17" fmla="*/ 160 h 162"/>
                  <a:gd name="T18" fmla="*/ 33 w 64"/>
                  <a:gd name="T19" fmla="*/ 162 h 162"/>
                  <a:gd name="T20" fmla="*/ 20 w 64"/>
                  <a:gd name="T21" fmla="*/ 160 h 162"/>
                  <a:gd name="T22" fmla="*/ 10 w 64"/>
                  <a:gd name="T23" fmla="*/ 153 h 162"/>
                  <a:gd name="T24" fmla="*/ 3 w 64"/>
                  <a:gd name="T25" fmla="*/ 143 h 162"/>
                  <a:gd name="T26" fmla="*/ 0 w 64"/>
                  <a:gd name="T27" fmla="*/ 130 h 162"/>
                  <a:gd name="T28" fmla="*/ 0 w 64"/>
                  <a:gd name="T29" fmla="*/ 33 h 162"/>
                  <a:gd name="T30" fmla="*/ 3 w 64"/>
                  <a:gd name="T31" fmla="*/ 20 h 162"/>
                  <a:gd name="T32" fmla="*/ 10 w 64"/>
                  <a:gd name="T33" fmla="*/ 10 h 162"/>
                  <a:gd name="T34" fmla="*/ 20 w 64"/>
                  <a:gd name="T35" fmla="*/ 3 h 162"/>
                  <a:gd name="T36" fmla="*/ 33 w 64"/>
                  <a:gd name="T37" fmla="*/ 0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4" h="162">
                    <a:moveTo>
                      <a:pt x="33" y="0"/>
                    </a:moveTo>
                    <a:lnTo>
                      <a:pt x="44" y="3"/>
                    </a:lnTo>
                    <a:lnTo>
                      <a:pt x="54" y="10"/>
                    </a:lnTo>
                    <a:lnTo>
                      <a:pt x="61" y="20"/>
                    </a:lnTo>
                    <a:lnTo>
                      <a:pt x="64" y="33"/>
                    </a:lnTo>
                    <a:lnTo>
                      <a:pt x="64" y="130"/>
                    </a:lnTo>
                    <a:lnTo>
                      <a:pt x="61" y="143"/>
                    </a:lnTo>
                    <a:lnTo>
                      <a:pt x="54" y="153"/>
                    </a:lnTo>
                    <a:lnTo>
                      <a:pt x="44" y="160"/>
                    </a:lnTo>
                    <a:lnTo>
                      <a:pt x="33" y="162"/>
                    </a:lnTo>
                    <a:lnTo>
                      <a:pt x="20" y="160"/>
                    </a:lnTo>
                    <a:lnTo>
                      <a:pt x="10" y="153"/>
                    </a:lnTo>
                    <a:lnTo>
                      <a:pt x="3" y="143"/>
                    </a:lnTo>
                    <a:lnTo>
                      <a:pt x="0" y="130"/>
                    </a:lnTo>
                    <a:lnTo>
                      <a:pt x="0" y="33"/>
                    </a:lnTo>
                    <a:lnTo>
                      <a:pt x="3" y="20"/>
                    </a:lnTo>
                    <a:lnTo>
                      <a:pt x="10" y="10"/>
                    </a:lnTo>
                    <a:lnTo>
                      <a:pt x="20" y="3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9" name="Freeform 1951"/>
              <p:cNvSpPr>
                <a:spLocks noEditPoints="1"/>
              </p:cNvSpPr>
              <p:nvPr userDrawn="1"/>
            </p:nvSpPr>
            <p:spPr bwMode="auto">
              <a:xfrm>
                <a:off x="14482763" y="600075"/>
                <a:ext cx="71437" cy="149225"/>
              </a:xfrm>
              <a:custGeom>
                <a:avLst/>
                <a:gdLst>
                  <a:gd name="T0" fmla="*/ 45 w 88"/>
                  <a:gd name="T1" fmla="*/ 26 h 187"/>
                  <a:gd name="T2" fmla="*/ 39 w 88"/>
                  <a:gd name="T3" fmla="*/ 26 h 187"/>
                  <a:gd name="T4" fmla="*/ 33 w 88"/>
                  <a:gd name="T5" fmla="*/ 29 h 187"/>
                  <a:gd name="T6" fmla="*/ 29 w 88"/>
                  <a:gd name="T7" fmla="*/ 33 h 187"/>
                  <a:gd name="T8" fmla="*/ 26 w 88"/>
                  <a:gd name="T9" fmla="*/ 39 h 187"/>
                  <a:gd name="T10" fmla="*/ 26 w 88"/>
                  <a:gd name="T11" fmla="*/ 45 h 187"/>
                  <a:gd name="T12" fmla="*/ 26 w 88"/>
                  <a:gd name="T13" fmla="*/ 142 h 187"/>
                  <a:gd name="T14" fmla="*/ 26 w 88"/>
                  <a:gd name="T15" fmla="*/ 149 h 187"/>
                  <a:gd name="T16" fmla="*/ 29 w 88"/>
                  <a:gd name="T17" fmla="*/ 153 h 187"/>
                  <a:gd name="T18" fmla="*/ 33 w 88"/>
                  <a:gd name="T19" fmla="*/ 157 h 187"/>
                  <a:gd name="T20" fmla="*/ 39 w 88"/>
                  <a:gd name="T21" fmla="*/ 160 h 187"/>
                  <a:gd name="T22" fmla="*/ 45 w 88"/>
                  <a:gd name="T23" fmla="*/ 162 h 187"/>
                  <a:gd name="T24" fmla="*/ 50 w 88"/>
                  <a:gd name="T25" fmla="*/ 160 h 187"/>
                  <a:gd name="T26" fmla="*/ 54 w 88"/>
                  <a:gd name="T27" fmla="*/ 157 h 187"/>
                  <a:gd name="T28" fmla="*/ 59 w 88"/>
                  <a:gd name="T29" fmla="*/ 153 h 187"/>
                  <a:gd name="T30" fmla="*/ 62 w 88"/>
                  <a:gd name="T31" fmla="*/ 149 h 187"/>
                  <a:gd name="T32" fmla="*/ 63 w 88"/>
                  <a:gd name="T33" fmla="*/ 142 h 187"/>
                  <a:gd name="T34" fmla="*/ 63 w 88"/>
                  <a:gd name="T35" fmla="*/ 45 h 187"/>
                  <a:gd name="T36" fmla="*/ 62 w 88"/>
                  <a:gd name="T37" fmla="*/ 39 h 187"/>
                  <a:gd name="T38" fmla="*/ 59 w 88"/>
                  <a:gd name="T39" fmla="*/ 33 h 187"/>
                  <a:gd name="T40" fmla="*/ 54 w 88"/>
                  <a:gd name="T41" fmla="*/ 29 h 187"/>
                  <a:gd name="T42" fmla="*/ 50 w 88"/>
                  <a:gd name="T43" fmla="*/ 26 h 187"/>
                  <a:gd name="T44" fmla="*/ 45 w 88"/>
                  <a:gd name="T45" fmla="*/ 26 h 187"/>
                  <a:gd name="T46" fmla="*/ 45 w 88"/>
                  <a:gd name="T47" fmla="*/ 0 h 187"/>
                  <a:gd name="T48" fmla="*/ 62 w 88"/>
                  <a:gd name="T49" fmla="*/ 4 h 187"/>
                  <a:gd name="T50" fmla="*/ 76 w 88"/>
                  <a:gd name="T51" fmla="*/ 14 h 187"/>
                  <a:gd name="T52" fmla="*/ 85 w 88"/>
                  <a:gd name="T53" fmla="*/ 26 h 187"/>
                  <a:gd name="T54" fmla="*/ 88 w 88"/>
                  <a:gd name="T55" fmla="*/ 45 h 187"/>
                  <a:gd name="T56" fmla="*/ 88 w 88"/>
                  <a:gd name="T57" fmla="*/ 142 h 187"/>
                  <a:gd name="T58" fmla="*/ 85 w 88"/>
                  <a:gd name="T59" fmla="*/ 160 h 187"/>
                  <a:gd name="T60" fmla="*/ 76 w 88"/>
                  <a:gd name="T61" fmla="*/ 174 h 187"/>
                  <a:gd name="T62" fmla="*/ 62 w 88"/>
                  <a:gd name="T63" fmla="*/ 183 h 187"/>
                  <a:gd name="T64" fmla="*/ 45 w 88"/>
                  <a:gd name="T65" fmla="*/ 187 h 187"/>
                  <a:gd name="T66" fmla="*/ 28 w 88"/>
                  <a:gd name="T67" fmla="*/ 183 h 187"/>
                  <a:gd name="T68" fmla="*/ 14 w 88"/>
                  <a:gd name="T69" fmla="*/ 174 h 187"/>
                  <a:gd name="T70" fmla="*/ 4 w 88"/>
                  <a:gd name="T71" fmla="*/ 160 h 187"/>
                  <a:gd name="T72" fmla="*/ 0 w 88"/>
                  <a:gd name="T73" fmla="*/ 142 h 187"/>
                  <a:gd name="T74" fmla="*/ 0 w 88"/>
                  <a:gd name="T75" fmla="*/ 45 h 187"/>
                  <a:gd name="T76" fmla="*/ 4 w 88"/>
                  <a:gd name="T77" fmla="*/ 26 h 187"/>
                  <a:gd name="T78" fmla="*/ 14 w 88"/>
                  <a:gd name="T79" fmla="*/ 14 h 187"/>
                  <a:gd name="T80" fmla="*/ 28 w 88"/>
                  <a:gd name="T81" fmla="*/ 4 h 187"/>
                  <a:gd name="T82" fmla="*/ 45 w 88"/>
                  <a:gd name="T83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8" h="187">
                    <a:moveTo>
                      <a:pt x="45" y="26"/>
                    </a:moveTo>
                    <a:lnTo>
                      <a:pt x="39" y="26"/>
                    </a:lnTo>
                    <a:lnTo>
                      <a:pt x="33" y="29"/>
                    </a:lnTo>
                    <a:lnTo>
                      <a:pt x="29" y="33"/>
                    </a:lnTo>
                    <a:lnTo>
                      <a:pt x="26" y="39"/>
                    </a:lnTo>
                    <a:lnTo>
                      <a:pt x="26" y="45"/>
                    </a:lnTo>
                    <a:lnTo>
                      <a:pt x="26" y="142"/>
                    </a:lnTo>
                    <a:lnTo>
                      <a:pt x="26" y="149"/>
                    </a:lnTo>
                    <a:lnTo>
                      <a:pt x="29" y="153"/>
                    </a:lnTo>
                    <a:lnTo>
                      <a:pt x="33" y="157"/>
                    </a:lnTo>
                    <a:lnTo>
                      <a:pt x="39" y="160"/>
                    </a:lnTo>
                    <a:lnTo>
                      <a:pt x="45" y="162"/>
                    </a:lnTo>
                    <a:lnTo>
                      <a:pt x="50" y="160"/>
                    </a:lnTo>
                    <a:lnTo>
                      <a:pt x="54" y="157"/>
                    </a:lnTo>
                    <a:lnTo>
                      <a:pt x="59" y="153"/>
                    </a:lnTo>
                    <a:lnTo>
                      <a:pt x="62" y="149"/>
                    </a:lnTo>
                    <a:lnTo>
                      <a:pt x="63" y="142"/>
                    </a:lnTo>
                    <a:lnTo>
                      <a:pt x="63" y="45"/>
                    </a:lnTo>
                    <a:lnTo>
                      <a:pt x="62" y="39"/>
                    </a:lnTo>
                    <a:lnTo>
                      <a:pt x="59" y="33"/>
                    </a:lnTo>
                    <a:lnTo>
                      <a:pt x="54" y="29"/>
                    </a:lnTo>
                    <a:lnTo>
                      <a:pt x="50" y="26"/>
                    </a:lnTo>
                    <a:lnTo>
                      <a:pt x="45" y="26"/>
                    </a:lnTo>
                    <a:close/>
                    <a:moveTo>
                      <a:pt x="45" y="0"/>
                    </a:moveTo>
                    <a:lnTo>
                      <a:pt x="62" y="4"/>
                    </a:lnTo>
                    <a:lnTo>
                      <a:pt x="76" y="14"/>
                    </a:lnTo>
                    <a:lnTo>
                      <a:pt x="85" y="26"/>
                    </a:lnTo>
                    <a:lnTo>
                      <a:pt x="88" y="45"/>
                    </a:lnTo>
                    <a:lnTo>
                      <a:pt x="88" y="142"/>
                    </a:lnTo>
                    <a:lnTo>
                      <a:pt x="85" y="160"/>
                    </a:lnTo>
                    <a:lnTo>
                      <a:pt x="76" y="174"/>
                    </a:lnTo>
                    <a:lnTo>
                      <a:pt x="62" y="183"/>
                    </a:lnTo>
                    <a:lnTo>
                      <a:pt x="45" y="187"/>
                    </a:lnTo>
                    <a:lnTo>
                      <a:pt x="28" y="183"/>
                    </a:lnTo>
                    <a:lnTo>
                      <a:pt x="14" y="174"/>
                    </a:lnTo>
                    <a:lnTo>
                      <a:pt x="4" y="160"/>
                    </a:lnTo>
                    <a:lnTo>
                      <a:pt x="0" y="142"/>
                    </a:lnTo>
                    <a:lnTo>
                      <a:pt x="0" y="45"/>
                    </a:lnTo>
                    <a:lnTo>
                      <a:pt x="4" y="26"/>
                    </a:lnTo>
                    <a:lnTo>
                      <a:pt x="14" y="14"/>
                    </a:lnTo>
                    <a:lnTo>
                      <a:pt x="28" y="4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2123" name="Groep 2122"/>
            <p:cNvGrpSpPr/>
            <p:nvPr userDrawn="1"/>
          </p:nvGrpSpPr>
          <p:grpSpPr>
            <a:xfrm>
              <a:off x="14578013" y="655638"/>
              <a:ext cx="125412" cy="125413"/>
              <a:chOff x="14578013" y="655638"/>
              <a:chExt cx="125412" cy="125413"/>
            </a:xfrm>
            <a:solidFill>
              <a:schemeClr val="accent1"/>
            </a:solidFill>
          </p:grpSpPr>
          <p:sp>
            <p:nvSpPr>
              <p:cNvPr id="310" name="Freeform 1952"/>
              <p:cNvSpPr>
                <a:spLocks/>
              </p:cNvSpPr>
              <p:nvPr userDrawn="1"/>
            </p:nvSpPr>
            <p:spPr bwMode="auto">
              <a:xfrm>
                <a:off x="14587538" y="665163"/>
                <a:ext cx="104775" cy="106363"/>
              </a:xfrm>
              <a:custGeom>
                <a:avLst/>
                <a:gdLst>
                  <a:gd name="T0" fmla="*/ 100 w 131"/>
                  <a:gd name="T1" fmla="*/ 0 h 132"/>
                  <a:gd name="T2" fmla="*/ 113 w 131"/>
                  <a:gd name="T3" fmla="*/ 1 h 132"/>
                  <a:gd name="T4" fmla="*/ 123 w 131"/>
                  <a:gd name="T5" fmla="*/ 8 h 132"/>
                  <a:gd name="T6" fmla="*/ 130 w 131"/>
                  <a:gd name="T7" fmla="*/ 20 h 132"/>
                  <a:gd name="T8" fmla="*/ 131 w 131"/>
                  <a:gd name="T9" fmla="*/ 31 h 132"/>
                  <a:gd name="T10" fmla="*/ 130 w 131"/>
                  <a:gd name="T11" fmla="*/ 42 h 132"/>
                  <a:gd name="T12" fmla="*/ 123 w 131"/>
                  <a:gd name="T13" fmla="*/ 53 h 132"/>
                  <a:gd name="T14" fmla="*/ 54 w 131"/>
                  <a:gd name="T15" fmla="*/ 122 h 132"/>
                  <a:gd name="T16" fmla="*/ 48 w 131"/>
                  <a:gd name="T17" fmla="*/ 127 h 132"/>
                  <a:gd name="T18" fmla="*/ 42 w 131"/>
                  <a:gd name="T19" fmla="*/ 129 h 132"/>
                  <a:gd name="T20" fmla="*/ 37 w 131"/>
                  <a:gd name="T21" fmla="*/ 131 h 132"/>
                  <a:gd name="T22" fmla="*/ 31 w 131"/>
                  <a:gd name="T23" fmla="*/ 132 h 132"/>
                  <a:gd name="T24" fmla="*/ 25 w 131"/>
                  <a:gd name="T25" fmla="*/ 131 h 132"/>
                  <a:gd name="T26" fmla="*/ 20 w 131"/>
                  <a:gd name="T27" fmla="*/ 129 h 132"/>
                  <a:gd name="T28" fmla="*/ 14 w 131"/>
                  <a:gd name="T29" fmla="*/ 127 h 132"/>
                  <a:gd name="T30" fmla="*/ 8 w 131"/>
                  <a:gd name="T31" fmla="*/ 122 h 132"/>
                  <a:gd name="T32" fmla="*/ 1 w 131"/>
                  <a:gd name="T33" fmla="*/ 113 h 132"/>
                  <a:gd name="T34" fmla="*/ 0 w 131"/>
                  <a:gd name="T35" fmla="*/ 100 h 132"/>
                  <a:gd name="T36" fmla="*/ 1 w 131"/>
                  <a:gd name="T37" fmla="*/ 89 h 132"/>
                  <a:gd name="T38" fmla="*/ 8 w 131"/>
                  <a:gd name="T39" fmla="*/ 79 h 132"/>
                  <a:gd name="T40" fmla="*/ 79 w 131"/>
                  <a:gd name="T41" fmla="*/ 8 h 132"/>
                  <a:gd name="T42" fmla="*/ 89 w 131"/>
                  <a:gd name="T43" fmla="*/ 1 h 132"/>
                  <a:gd name="T44" fmla="*/ 100 w 131"/>
                  <a:gd name="T45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31" h="132">
                    <a:moveTo>
                      <a:pt x="100" y="0"/>
                    </a:moveTo>
                    <a:lnTo>
                      <a:pt x="113" y="1"/>
                    </a:lnTo>
                    <a:lnTo>
                      <a:pt x="123" y="8"/>
                    </a:lnTo>
                    <a:lnTo>
                      <a:pt x="130" y="20"/>
                    </a:lnTo>
                    <a:lnTo>
                      <a:pt x="131" y="31"/>
                    </a:lnTo>
                    <a:lnTo>
                      <a:pt x="130" y="42"/>
                    </a:lnTo>
                    <a:lnTo>
                      <a:pt x="123" y="53"/>
                    </a:lnTo>
                    <a:lnTo>
                      <a:pt x="54" y="122"/>
                    </a:lnTo>
                    <a:lnTo>
                      <a:pt x="48" y="127"/>
                    </a:lnTo>
                    <a:lnTo>
                      <a:pt x="42" y="129"/>
                    </a:lnTo>
                    <a:lnTo>
                      <a:pt x="37" y="131"/>
                    </a:lnTo>
                    <a:lnTo>
                      <a:pt x="31" y="132"/>
                    </a:lnTo>
                    <a:lnTo>
                      <a:pt x="25" y="131"/>
                    </a:lnTo>
                    <a:lnTo>
                      <a:pt x="20" y="129"/>
                    </a:lnTo>
                    <a:lnTo>
                      <a:pt x="14" y="127"/>
                    </a:lnTo>
                    <a:lnTo>
                      <a:pt x="8" y="122"/>
                    </a:lnTo>
                    <a:lnTo>
                      <a:pt x="1" y="113"/>
                    </a:lnTo>
                    <a:lnTo>
                      <a:pt x="0" y="100"/>
                    </a:lnTo>
                    <a:lnTo>
                      <a:pt x="1" y="89"/>
                    </a:lnTo>
                    <a:lnTo>
                      <a:pt x="8" y="79"/>
                    </a:lnTo>
                    <a:lnTo>
                      <a:pt x="79" y="8"/>
                    </a:lnTo>
                    <a:lnTo>
                      <a:pt x="89" y="1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1" name="Freeform 1953"/>
              <p:cNvSpPr>
                <a:spLocks noEditPoints="1"/>
              </p:cNvSpPr>
              <p:nvPr userDrawn="1"/>
            </p:nvSpPr>
            <p:spPr bwMode="auto">
              <a:xfrm>
                <a:off x="14578013" y="655638"/>
                <a:ext cx="125412" cy="125413"/>
              </a:xfrm>
              <a:custGeom>
                <a:avLst/>
                <a:gdLst>
                  <a:gd name="T0" fmla="*/ 113 w 158"/>
                  <a:gd name="T1" fmla="*/ 25 h 158"/>
                  <a:gd name="T2" fmla="*/ 109 w 158"/>
                  <a:gd name="T3" fmla="*/ 25 h 158"/>
                  <a:gd name="T4" fmla="*/ 105 w 158"/>
                  <a:gd name="T5" fmla="*/ 28 h 158"/>
                  <a:gd name="T6" fmla="*/ 100 w 158"/>
                  <a:gd name="T7" fmla="*/ 31 h 158"/>
                  <a:gd name="T8" fmla="*/ 31 w 158"/>
                  <a:gd name="T9" fmla="*/ 100 h 158"/>
                  <a:gd name="T10" fmla="*/ 28 w 158"/>
                  <a:gd name="T11" fmla="*/ 104 h 158"/>
                  <a:gd name="T12" fmla="*/ 26 w 158"/>
                  <a:gd name="T13" fmla="*/ 109 h 158"/>
                  <a:gd name="T14" fmla="*/ 26 w 158"/>
                  <a:gd name="T15" fmla="*/ 113 h 158"/>
                  <a:gd name="T16" fmla="*/ 26 w 158"/>
                  <a:gd name="T17" fmla="*/ 119 h 158"/>
                  <a:gd name="T18" fmla="*/ 28 w 158"/>
                  <a:gd name="T19" fmla="*/ 123 h 158"/>
                  <a:gd name="T20" fmla="*/ 31 w 158"/>
                  <a:gd name="T21" fmla="*/ 127 h 158"/>
                  <a:gd name="T22" fmla="*/ 40 w 158"/>
                  <a:gd name="T23" fmla="*/ 131 h 158"/>
                  <a:gd name="T24" fmla="*/ 48 w 158"/>
                  <a:gd name="T25" fmla="*/ 131 h 158"/>
                  <a:gd name="T26" fmla="*/ 57 w 158"/>
                  <a:gd name="T27" fmla="*/ 127 h 158"/>
                  <a:gd name="T28" fmla="*/ 127 w 158"/>
                  <a:gd name="T29" fmla="*/ 56 h 158"/>
                  <a:gd name="T30" fmla="*/ 131 w 158"/>
                  <a:gd name="T31" fmla="*/ 48 h 158"/>
                  <a:gd name="T32" fmla="*/ 131 w 158"/>
                  <a:gd name="T33" fmla="*/ 40 h 158"/>
                  <a:gd name="T34" fmla="*/ 127 w 158"/>
                  <a:gd name="T35" fmla="*/ 31 h 158"/>
                  <a:gd name="T36" fmla="*/ 123 w 158"/>
                  <a:gd name="T37" fmla="*/ 28 h 158"/>
                  <a:gd name="T38" fmla="*/ 119 w 158"/>
                  <a:gd name="T39" fmla="*/ 25 h 158"/>
                  <a:gd name="T40" fmla="*/ 113 w 158"/>
                  <a:gd name="T41" fmla="*/ 25 h 158"/>
                  <a:gd name="T42" fmla="*/ 113 w 158"/>
                  <a:gd name="T43" fmla="*/ 0 h 158"/>
                  <a:gd name="T44" fmla="*/ 130 w 158"/>
                  <a:gd name="T45" fmla="*/ 3 h 158"/>
                  <a:gd name="T46" fmla="*/ 144 w 158"/>
                  <a:gd name="T47" fmla="*/ 13 h 158"/>
                  <a:gd name="T48" fmla="*/ 154 w 158"/>
                  <a:gd name="T49" fmla="*/ 27 h 158"/>
                  <a:gd name="T50" fmla="*/ 158 w 158"/>
                  <a:gd name="T51" fmla="*/ 44 h 158"/>
                  <a:gd name="T52" fmla="*/ 154 w 158"/>
                  <a:gd name="T53" fmla="*/ 61 h 158"/>
                  <a:gd name="T54" fmla="*/ 144 w 158"/>
                  <a:gd name="T55" fmla="*/ 75 h 158"/>
                  <a:gd name="T56" fmla="*/ 75 w 158"/>
                  <a:gd name="T57" fmla="*/ 145 h 158"/>
                  <a:gd name="T58" fmla="*/ 61 w 158"/>
                  <a:gd name="T59" fmla="*/ 154 h 158"/>
                  <a:gd name="T60" fmla="*/ 44 w 158"/>
                  <a:gd name="T61" fmla="*/ 158 h 158"/>
                  <a:gd name="T62" fmla="*/ 27 w 158"/>
                  <a:gd name="T63" fmla="*/ 154 h 158"/>
                  <a:gd name="T64" fmla="*/ 13 w 158"/>
                  <a:gd name="T65" fmla="*/ 145 h 158"/>
                  <a:gd name="T66" fmla="*/ 3 w 158"/>
                  <a:gd name="T67" fmla="*/ 130 h 158"/>
                  <a:gd name="T68" fmla="*/ 0 w 158"/>
                  <a:gd name="T69" fmla="*/ 113 h 158"/>
                  <a:gd name="T70" fmla="*/ 3 w 158"/>
                  <a:gd name="T71" fmla="*/ 96 h 158"/>
                  <a:gd name="T72" fmla="*/ 13 w 158"/>
                  <a:gd name="T73" fmla="*/ 82 h 158"/>
                  <a:gd name="T74" fmla="*/ 82 w 158"/>
                  <a:gd name="T75" fmla="*/ 13 h 158"/>
                  <a:gd name="T76" fmla="*/ 96 w 158"/>
                  <a:gd name="T77" fmla="*/ 3 h 158"/>
                  <a:gd name="T78" fmla="*/ 113 w 158"/>
                  <a:gd name="T79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58" h="158">
                    <a:moveTo>
                      <a:pt x="113" y="25"/>
                    </a:moveTo>
                    <a:lnTo>
                      <a:pt x="109" y="25"/>
                    </a:lnTo>
                    <a:lnTo>
                      <a:pt x="105" y="28"/>
                    </a:lnTo>
                    <a:lnTo>
                      <a:pt x="100" y="31"/>
                    </a:lnTo>
                    <a:lnTo>
                      <a:pt x="31" y="100"/>
                    </a:lnTo>
                    <a:lnTo>
                      <a:pt x="28" y="104"/>
                    </a:lnTo>
                    <a:lnTo>
                      <a:pt x="26" y="109"/>
                    </a:lnTo>
                    <a:lnTo>
                      <a:pt x="26" y="113"/>
                    </a:lnTo>
                    <a:lnTo>
                      <a:pt x="26" y="119"/>
                    </a:lnTo>
                    <a:lnTo>
                      <a:pt x="28" y="123"/>
                    </a:lnTo>
                    <a:lnTo>
                      <a:pt x="31" y="127"/>
                    </a:lnTo>
                    <a:lnTo>
                      <a:pt x="40" y="131"/>
                    </a:lnTo>
                    <a:lnTo>
                      <a:pt x="48" y="131"/>
                    </a:lnTo>
                    <a:lnTo>
                      <a:pt x="57" y="127"/>
                    </a:lnTo>
                    <a:lnTo>
                      <a:pt x="127" y="56"/>
                    </a:lnTo>
                    <a:lnTo>
                      <a:pt x="131" y="48"/>
                    </a:lnTo>
                    <a:lnTo>
                      <a:pt x="131" y="40"/>
                    </a:lnTo>
                    <a:lnTo>
                      <a:pt x="127" y="31"/>
                    </a:lnTo>
                    <a:lnTo>
                      <a:pt x="123" y="28"/>
                    </a:lnTo>
                    <a:lnTo>
                      <a:pt x="119" y="25"/>
                    </a:lnTo>
                    <a:lnTo>
                      <a:pt x="113" y="25"/>
                    </a:lnTo>
                    <a:close/>
                    <a:moveTo>
                      <a:pt x="113" y="0"/>
                    </a:moveTo>
                    <a:lnTo>
                      <a:pt x="130" y="3"/>
                    </a:lnTo>
                    <a:lnTo>
                      <a:pt x="144" y="13"/>
                    </a:lnTo>
                    <a:lnTo>
                      <a:pt x="154" y="27"/>
                    </a:lnTo>
                    <a:lnTo>
                      <a:pt x="158" y="44"/>
                    </a:lnTo>
                    <a:lnTo>
                      <a:pt x="154" y="61"/>
                    </a:lnTo>
                    <a:lnTo>
                      <a:pt x="144" y="75"/>
                    </a:lnTo>
                    <a:lnTo>
                      <a:pt x="75" y="145"/>
                    </a:lnTo>
                    <a:lnTo>
                      <a:pt x="61" y="154"/>
                    </a:lnTo>
                    <a:lnTo>
                      <a:pt x="44" y="158"/>
                    </a:lnTo>
                    <a:lnTo>
                      <a:pt x="27" y="154"/>
                    </a:lnTo>
                    <a:lnTo>
                      <a:pt x="13" y="145"/>
                    </a:lnTo>
                    <a:lnTo>
                      <a:pt x="3" y="130"/>
                    </a:lnTo>
                    <a:lnTo>
                      <a:pt x="0" y="113"/>
                    </a:lnTo>
                    <a:lnTo>
                      <a:pt x="3" y="96"/>
                    </a:lnTo>
                    <a:lnTo>
                      <a:pt x="13" y="82"/>
                    </a:lnTo>
                    <a:lnTo>
                      <a:pt x="82" y="13"/>
                    </a:lnTo>
                    <a:lnTo>
                      <a:pt x="96" y="3"/>
                    </a:lnTo>
                    <a:lnTo>
                      <a:pt x="11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2119" name="Groep 2118"/>
            <p:cNvGrpSpPr/>
            <p:nvPr userDrawn="1"/>
          </p:nvGrpSpPr>
          <p:grpSpPr>
            <a:xfrm>
              <a:off x="13298488" y="-319088"/>
              <a:ext cx="2271712" cy="1881188"/>
              <a:chOff x="13298488" y="-319088"/>
              <a:chExt cx="2271712" cy="1881188"/>
            </a:xfrm>
            <a:solidFill>
              <a:srgbClr val="85C2EB"/>
            </a:solidFill>
          </p:grpSpPr>
          <p:sp>
            <p:nvSpPr>
              <p:cNvPr id="312" name="Freeform 1954"/>
              <p:cNvSpPr>
                <a:spLocks/>
              </p:cNvSpPr>
              <p:nvPr userDrawn="1"/>
            </p:nvSpPr>
            <p:spPr bwMode="auto">
              <a:xfrm>
                <a:off x="13298488" y="-319088"/>
                <a:ext cx="2271712" cy="1881188"/>
              </a:xfrm>
              <a:custGeom>
                <a:avLst/>
                <a:gdLst>
                  <a:gd name="T0" fmla="*/ 1347 w 2862"/>
                  <a:gd name="T1" fmla="*/ 134 h 2370"/>
                  <a:gd name="T2" fmla="*/ 1378 w 2862"/>
                  <a:gd name="T3" fmla="*/ 355 h 2370"/>
                  <a:gd name="T4" fmla="*/ 1490 w 2862"/>
                  <a:gd name="T5" fmla="*/ 319 h 2370"/>
                  <a:gd name="T6" fmla="*/ 1632 w 2862"/>
                  <a:gd name="T7" fmla="*/ 379 h 2370"/>
                  <a:gd name="T8" fmla="*/ 1800 w 2862"/>
                  <a:gd name="T9" fmla="*/ 402 h 2370"/>
                  <a:gd name="T10" fmla="*/ 2035 w 2862"/>
                  <a:gd name="T11" fmla="*/ 354 h 2370"/>
                  <a:gd name="T12" fmla="*/ 2291 w 2862"/>
                  <a:gd name="T13" fmla="*/ 653 h 2370"/>
                  <a:gd name="T14" fmla="*/ 2390 w 2862"/>
                  <a:gd name="T15" fmla="*/ 884 h 2370"/>
                  <a:gd name="T16" fmla="*/ 2521 w 2862"/>
                  <a:gd name="T17" fmla="*/ 1050 h 2370"/>
                  <a:gd name="T18" fmla="*/ 2632 w 2862"/>
                  <a:gd name="T19" fmla="*/ 1183 h 2370"/>
                  <a:gd name="T20" fmla="*/ 2780 w 2862"/>
                  <a:gd name="T21" fmla="*/ 1125 h 2370"/>
                  <a:gd name="T22" fmla="*/ 2852 w 2862"/>
                  <a:gd name="T23" fmla="*/ 1248 h 2370"/>
                  <a:gd name="T24" fmla="*/ 2699 w 2862"/>
                  <a:gd name="T25" fmla="*/ 1308 h 2370"/>
                  <a:gd name="T26" fmla="*/ 2609 w 2862"/>
                  <a:gd name="T27" fmla="*/ 1393 h 2370"/>
                  <a:gd name="T28" fmla="*/ 2534 w 2862"/>
                  <a:gd name="T29" fmla="*/ 1527 h 2370"/>
                  <a:gd name="T30" fmla="*/ 2558 w 2862"/>
                  <a:gd name="T31" fmla="*/ 1751 h 2370"/>
                  <a:gd name="T32" fmla="*/ 2486 w 2862"/>
                  <a:gd name="T33" fmla="*/ 1932 h 2370"/>
                  <a:gd name="T34" fmla="*/ 2632 w 2862"/>
                  <a:gd name="T35" fmla="*/ 2120 h 2370"/>
                  <a:gd name="T36" fmla="*/ 2678 w 2862"/>
                  <a:gd name="T37" fmla="*/ 2330 h 2370"/>
                  <a:gd name="T38" fmla="*/ 2528 w 2862"/>
                  <a:gd name="T39" fmla="*/ 2328 h 2370"/>
                  <a:gd name="T40" fmla="*/ 2477 w 2862"/>
                  <a:gd name="T41" fmla="*/ 2164 h 2370"/>
                  <a:gd name="T42" fmla="*/ 2313 w 2862"/>
                  <a:gd name="T43" fmla="*/ 2144 h 2370"/>
                  <a:gd name="T44" fmla="*/ 2198 w 2862"/>
                  <a:gd name="T45" fmla="*/ 2278 h 2370"/>
                  <a:gd name="T46" fmla="*/ 2034 w 2862"/>
                  <a:gd name="T47" fmla="*/ 2339 h 2370"/>
                  <a:gd name="T48" fmla="*/ 1980 w 2862"/>
                  <a:gd name="T49" fmla="*/ 2281 h 2370"/>
                  <a:gd name="T50" fmla="*/ 2322 w 2862"/>
                  <a:gd name="T51" fmla="*/ 1758 h 2370"/>
                  <a:gd name="T52" fmla="*/ 2211 w 2862"/>
                  <a:gd name="T53" fmla="*/ 1129 h 2370"/>
                  <a:gd name="T54" fmla="*/ 1726 w 2862"/>
                  <a:gd name="T55" fmla="*/ 761 h 2370"/>
                  <a:gd name="T56" fmla="*/ 1102 w 2862"/>
                  <a:gd name="T57" fmla="*/ 816 h 2370"/>
                  <a:gd name="T58" fmla="*/ 689 w 2862"/>
                  <a:gd name="T59" fmla="*/ 1268 h 2370"/>
                  <a:gd name="T60" fmla="*/ 687 w 2862"/>
                  <a:gd name="T61" fmla="*/ 1889 h 2370"/>
                  <a:gd name="T62" fmla="*/ 1026 w 2862"/>
                  <a:gd name="T63" fmla="*/ 2311 h 2370"/>
                  <a:gd name="T64" fmla="*/ 927 w 2862"/>
                  <a:gd name="T65" fmla="*/ 2329 h 2370"/>
                  <a:gd name="T66" fmla="*/ 736 w 2862"/>
                  <a:gd name="T67" fmla="*/ 2260 h 2370"/>
                  <a:gd name="T68" fmla="*/ 625 w 2862"/>
                  <a:gd name="T69" fmla="*/ 2027 h 2370"/>
                  <a:gd name="T70" fmla="*/ 441 w 2862"/>
                  <a:gd name="T71" fmla="*/ 2026 h 2370"/>
                  <a:gd name="T72" fmla="*/ 254 w 2862"/>
                  <a:gd name="T73" fmla="*/ 2130 h 2370"/>
                  <a:gd name="T74" fmla="*/ 37 w 2862"/>
                  <a:gd name="T75" fmla="*/ 2116 h 2370"/>
                  <a:gd name="T76" fmla="*/ 69 w 2862"/>
                  <a:gd name="T77" fmla="*/ 1926 h 2370"/>
                  <a:gd name="T78" fmla="*/ 269 w 2862"/>
                  <a:gd name="T79" fmla="*/ 1838 h 2370"/>
                  <a:gd name="T80" fmla="*/ 470 w 2862"/>
                  <a:gd name="T81" fmla="*/ 1767 h 2370"/>
                  <a:gd name="T82" fmla="*/ 460 w 2862"/>
                  <a:gd name="T83" fmla="*/ 1641 h 2370"/>
                  <a:gd name="T84" fmla="*/ 326 w 2862"/>
                  <a:gd name="T85" fmla="*/ 1668 h 2370"/>
                  <a:gd name="T86" fmla="*/ 275 w 2862"/>
                  <a:gd name="T87" fmla="*/ 1572 h 2370"/>
                  <a:gd name="T88" fmla="*/ 379 w 2862"/>
                  <a:gd name="T89" fmla="*/ 1538 h 2370"/>
                  <a:gd name="T90" fmla="*/ 371 w 2862"/>
                  <a:gd name="T91" fmla="*/ 1375 h 2370"/>
                  <a:gd name="T92" fmla="*/ 491 w 2862"/>
                  <a:gd name="T93" fmla="*/ 1145 h 2370"/>
                  <a:gd name="T94" fmla="*/ 423 w 2862"/>
                  <a:gd name="T95" fmla="*/ 1026 h 2370"/>
                  <a:gd name="T96" fmla="*/ 358 w 2862"/>
                  <a:gd name="T97" fmla="*/ 909 h 2370"/>
                  <a:gd name="T98" fmla="*/ 519 w 2862"/>
                  <a:gd name="T99" fmla="*/ 898 h 2370"/>
                  <a:gd name="T100" fmla="*/ 674 w 2862"/>
                  <a:gd name="T101" fmla="*/ 890 h 2370"/>
                  <a:gd name="T102" fmla="*/ 733 w 2862"/>
                  <a:gd name="T103" fmla="*/ 678 h 2370"/>
                  <a:gd name="T104" fmla="*/ 944 w 2862"/>
                  <a:gd name="T105" fmla="*/ 570 h 2370"/>
                  <a:gd name="T106" fmla="*/ 1111 w 2862"/>
                  <a:gd name="T107" fmla="*/ 439 h 2370"/>
                  <a:gd name="T108" fmla="*/ 1025 w 2862"/>
                  <a:gd name="T109" fmla="*/ 171 h 2370"/>
                  <a:gd name="T110" fmla="*/ 1154 w 2862"/>
                  <a:gd name="T111" fmla="*/ 0 h 2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62" h="2370">
                    <a:moveTo>
                      <a:pt x="1191" y="0"/>
                    </a:moveTo>
                    <a:lnTo>
                      <a:pt x="1223" y="6"/>
                    </a:lnTo>
                    <a:lnTo>
                      <a:pt x="1253" y="17"/>
                    </a:lnTo>
                    <a:lnTo>
                      <a:pt x="1280" y="33"/>
                    </a:lnTo>
                    <a:lnTo>
                      <a:pt x="1302" y="52"/>
                    </a:lnTo>
                    <a:lnTo>
                      <a:pt x="1322" y="78"/>
                    </a:lnTo>
                    <a:lnTo>
                      <a:pt x="1336" y="105"/>
                    </a:lnTo>
                    <a:lnTo>
                      <a:pt x="1347" y="134"/>
                    </a:lnTo>
                    <a:lnTo>
                      <a:pt x="1354" y="167"/>
                    </a:lnTo>
                    <a:lnTo>
                      <a:pt x="1357" y="215"/>
                    </a:lnTo>
                    <a:lnTo>
                      <a:pt x="1356" y="262"/>
                    </a:lnTo>
                    <a:lnTo>
                      <a:pt x="1357" y="295"/>
                    </a:lnTo>
                    <a:lnTo>
                      <a:pt x="1360" y="319"/>
                    </a:lnTo>
                    <a:lnTo>
                      <a:pt x="1364" y="337"/>
                    </a:lnTo>
                    <a:lnTo>
                      <a:pt x="1371" y="348"/>
                    </a:lnTo>
                    <a:lnTo>
                      <a:pt x="1378" y="355"/>
                    </a:lnTo>
                    <a:lnTo>
                      <a:pt x="1390" y="358"/>
                    </a:lnTo>
                    <a:lnTo>
                      <a:pt x="1401" y="358"/>
                    </a:lnTo>
                    <a:lnTo>
                      <a:pt x="1414" y="354"/>
                    </a:lnTo>
                    <a:lnTo>
                      <a:pt x="1426" y="348"/>
                    </a:lnTo>
                    <a:lnTo>
                      <a:pt x="1442" y="341"/>
                    </a:lnTo>
                    <a:lnTo>
                      <a:pt x="1457" y="333"/>
                    </a:lnTo>
                    <a:lnTo>
                      <a:pt x="1473" y="326"/>
                    </a:lnTo>
                    <a:lnTo>
                      <a:pt x="1490" y="319"/>
                    </a:lnTo>
                    <a:lnTo>
                      <a:pt x="1507" y="313"/>
                    </a:lnTo>
                    <a:lnTo>
                      <a:pt x="1524" y="310"/>
                    </a:lnTo>
                    <a:lnTo>
                      <a:pt x="1540" y="310"/>
                    </a:lnTo>
                    <a:lnTo>
                      <a:pt x="1563" y="316"/>
                    </a:lnTo>
                    <a:lnTo>
                      <a:pt x="1583" y="327"/>
                    </a:lnTo>
                    <a:lnTo>
                      <a:pt x="1600" y="343"/>
                    </a:lnTo>
                    <a:lnTo>
                      <a:pt x="1617" y="360"/>
                    </a:lnTo>
                    <a:lnTo>
                      <a:pt x="1632" y="379"/>
                    </a:lnTo>
                    <a:lnTo>
                      <a:pt x="1649" y="398"/>
                    </a:lnTo>
                    <a:lnTo>
                      <a:pt x="1666" y="413"/>
                    </a:lnTo>
                    <a:lnTo>
                      <a:pt x="1686" y="427"/>
                    </a:lnTo>
                    <a:lnTo>
                      <a:pt x="1707" y="433"/>
                    </a:lnTo>
                    <a:lnTo>
                      <a:pt x="1729" y="433"/>
                    </a:lnTo>
                    <a:lnTo>
                      <a:pt x="1752" y="426"/>
                    </a:lnTo>
                    <a:lnTo>
                      <a:pt x="1776" y="416"/>
                    </a:lnTo>
                    <a:lnTo>
                      <a:pt x="1800" y="402"/>
                    </a:lnTo>
                    <a:lnTo>
                      <a:pt x="1825" y="386"/>
                    </a:lnTo>
                    <a:lnTo>
                      <a:pt x="1849" y="371"/>
                    </a:lnTo>
                    <a:lnTo>
                      <a:pt x="1872" y="358"/>
                    </a:lnTo>
                    <a:lnTo>
                      <a:pt x="1894" y="347"/>
                    </a:lnTo>
                    <a:lnTo>
                      <a:pt x="1915" y="341"/>
                    </a:lnTo>
                    <a:lnTo>
                      <a:pt x="1956" y="337"/>
                    </a:lnTo>
                    <a:lnTo>
                      <a:pt x="1997" y="343"/>
                    </a:lnTo>
                    <a:lnTo>
                      <a:pt x="2035" y="354"/>
                    </a:lnTo>
                    <a:lnTo>
                      <a:pt x="2070" y="371"/>
                    </a:lnTo>
                    <a:lnTo>
                      <a:pt x="2105" y="394"/>
                    </a:lnTo>
                    <a:lnTo>
                      <a:pt x="2145" y="427"/>
                    </a:lnTo>
                    <a:lnTo>
                      <a:pt x="2182" y="465"/>
                    </a:lnTo>
                    <a:lnTo>
                      <a:pt x="2215" y="509"/>
                    </a:lnTo>
                    <a:lnTo>
                      <a:pt x="2245" y="554"/>
                    </a:lnTo>
                    <a:lnTo>
                      <a:pt x="2270" y="604"/>
                    </a:lnTo>
                    <a:lnTo>
                      <a:pt x="2291" y="653"/>
                    </a:lnTo>
                    <a:lnTo>
                      <a:pt x="2310" y="704"/>
                    </a:lnTo>
                    <a:lnTo>
                      <a:pt x="2324" y="753"/>
                    </a:lnTo>
                    <a:lnTo>
                      <a:pt x="2330" y="778"/>
                    </a:lnTo>
                    <a:lnTo>
                      <a:pt x="2335" y="804"/>
                    </a:lnTo>
                    <a:lnTo>
                      <a:pt x="2344" y="828"/>
                    </a:lnTo>
                    <a:lnTo>
                      <a:pt x="2355" y="850"/>
                    </a:lnTo>
                    <a:lnTo>
                      <a:pt x="2370" y="870"/>
                    </a:lnTo>
                    <a:lnTo>
                      <a:pt x="2390" y="884"/>
                    </a:lnTo>
                    <a:lnTo>
                      <a:pt x="2411" y="894"/>
                    </a:lnTo>
                    <a:lnTo>
                      <a:pt x="2432" y="905"/>
                    </a:lnTo>
                    <a:lnTo>
                      <a:pt x="2456" y="921"/>
                    </a:lnTo>
                    <a:lnTo>
                      <a:pt x="2476" y="938"/>
                    </a:lnTo>
                    <a:lnTo>
                      <a:pt x="2492" y="959"/>
                    </a:lnTo>
                    <a:lnTo>
                      <a:pt x="2504" y="984"/>
                    </a:lnTo>
                    <a:lnTo>
                      <a:pt x="2514" y="1017"/>
                    </a:lnTo>
                    <a:lnTo>
                      <a:pt x="2521" y="1050"/>
                    </a:lnTo>
                    <a:lnTo>
                      <a:pt x="2527" y="1084"/>
                    </a:lnTo>
                    <a:lnTo>
                      <a:pt x="2534" y="1117"/>
                    </a:lnTo>
                    <a:lnTo>
                      <a:pt x="2548" y="1148"/>
                    </a:lnTo>
                    <a:lnTo>
                      <a:pt x="2562" y="1169"/>
                    </a:lnTo>
                    <a:lnTo>
                      <a:pt x="2578" y="1180"/>
                    </a:lnTo>
                    <a:lnTo>
                      <a:pt x="2594" y="1187"/>
                    </a:lnTo>
                    <a:lnTo>
                      <a:pt x="2613" y="1187"/>
                    </a:lnTo>
                    <a:lnTo>
                      <a:pt x="2632" y="1183"/>
                    </a:lnTo>
                    <a:lnTo>
                      <a:pt x="2651" y="1177"/>
                    </a:lnTo>
                    <a:lnTo>
                      <a:pt x="2669" y="1167"/>
                    </a:lnTo>
                    <a:lnTo>
                      <a:pt x="2689" y="1158"/>
                    </a:lnTo>
                    <a:lnTo>
                      <a:pt x="2706" y="1148"/>
                    </a:lnTo>
                    <a:lnTo>
                      <a:pt x="2724" y="1139"/>
                    </a:lnTo>
                    <a:lnTo>
                      <a:pt x="2742" y="1132"/>
                    </a:lnTo>
                    <a:lnTo>
                      <a:pt x="2761" y="1128"/>
                    </a:lnTo>
                    <a:lnTo>
                      <a:pt x="2780" y="1125"/>
                    </a:lnTo>
                    <a:lnTo>
                      <a:pt x="2797" y="1125"/>
                    </a:lnTo>
                    <a:lnTo>
                      <a:pt x="2816" y="1129"/>
                    </a:lnTo>
                    <a:lnTo>
                      <a:pt x="2831" y="1139"/>
                    </a:lnTo>
                    <a:lnTo>
                      <a:pt x="2844" y="1152"/>
                    </a:lnTo>
                    <a:lnTo>
                      <a:pt x="2855" y="1172"/>
                    </a:lnTo>
                    <a:lnTo>
                      <a:pt x="2862" y="1198"/>
                    </a:lnTo>
                    <a:lnTo>
                      <a:pt x="2861" y="1224"/>
                    </a:lnTo>
                    <a:lnTo>
                      <a:pt x="2852" y="1248"/>
                    </a:lnTo>
                    <a:lnTo>
                      <a:pt x="2838" y="1269"/>
                    </a:lnTo>
                    <a:lnTo>
                      <a:pt x="2818" y="1287"/>
                    </a:lnTo>
                    <a:lnTo>
                      <a:pt x="2796" y="1300"/>
                    </a:lnTo>
                    <a:lnTo>
                      <a:pt x="2772" y="1308"/>
                    </a:lnTo>
                    <a:lnTo>
                      <a:pt x="2754" y="1311"/>
                    </a:lnTo>
                    <a:lnTo>
                      <a:pt x="2735" y="1311"/>
                    </a:lnTo>
                    <a:lnTo>
                      <a:pt x="2717" y="1310"/>
                    </a:lnTo>
                    <a:lnTo>
                      <a:pt x="2699" y="1308"/>
                    </a:lnTo>
                    <a:lnTo>
                      <a:pt x="2682" y="1308"/>
                    </a:lnTo>
                    <a:lnTo>
                      <a:pt x="2665" y="1310"/>
                    </a:lnTo>
                    <a:lnTo>
                      <a:pt x="2651" y="1314"/>
                    </a:lnTo>
                    <a:lnTo>
                      <a:pt x="2637" y="1321"/>
                    </a:lnTo>
                    <a:lnTo>
                      <a:pt x="2625" y="1334"/>
                    </a:lnTo>
                    <a:lnTo>
                      <a:pt x="2616" y="1354"/>
                    </a:lnTo>
                    <a:lnTo>
                      <a:pt x="2610" y="1373"/>
                    </a:lnTo>
                    <a:lnTo>
                      <a:pt x="2609" y="1393"/>
                    </a:lnTo>
                    <a:lnTo>
                      <a:pt x="2606" y="1413"/>
                    </a:lnTo>
                    <a:lnTo>
                      <a:pt x="2601" y="1432"/>
                    </a:lnTo>
                    <a:lnTo>
                      <a:pt x="2593" y="1451"/>
                    </a:lnTo>
                    <a:lnTo>
                      <a:pt x="2582" y="1465"/>
                    </a:lnTo>
                    <a:lnTo>
                      <a:pt x="2569" y="1476"/>
                    </a:lnTo>
                    <a:lnTo>
                      <a:pt x="2555" y="1487"/>
                    </a:lnTo>
                    <a:lnTo>
                      <a:pt x="2545" y="1500"/>
                    </a:lnTo>
                    <a:lnTo>
                      <a:pt x="2534" y="1527"/>
                    </a:lnTo>
                    <a:lnTo>
                      <a:pt x="2531" y="1555"/>
                    </a:lnTo>
                    <a:lnTo>
                      <a:pt x="2535" y="1583"/>
                    </a:lnTo>
                    <a:lnTo>
                      <a:pt x="2544" y="1610"/>
                    </a:lnTo>
                    <a:lnTo>
                      <a:pt x="2552" y="1638"/>
                    </a:lnTo>
                    <a:lnTo>
                      <a:pt x="2561" y="1667"/>
                    </a:lnTo>
                    <a:lnTo>
                      <a:pt x="2565" y="1695"/>
                    </a:lnTo>
                    <a:lnTo>
                      <a:pt x="2563" y="1724"/>
                    </a:lnTo>
                    <a:lnTo>
                      <a:pt x="2558" y="1751"/>
                    </a:lnTo>
                    <a:lnTo>
                      <a:pt x="2549" y="1775"/>
                    </a:lnTo>
                    <a:lnTo>
                      <a:pt x="2538" y="1799"/>
                    </a:lnTo>
                    <a:lnTo>
                      <a:pt x="2527" y="1822"/>
                    </a:lnTo>
                    <a:lnTo>
                      <a:pt x="2514" y="1843"/>
                    </a:lnTo>
                    <a:lnTo>
                      <a:pt x="2503" y="1865"/>
                    </a:lnTo>
                    <a:lnTo>
                      <a:pt x="2493" y="1886"/>
                    </a:lnTo>
                    <a:lnTo>
                      <a:pt x="2487" y="1909"/>
                    </a:lnTo>
                    <a:lnTo>
                      <a:pt x="2486" y="1932"/>
                    </a:lnTo>
                    <a:lnTo>
                      <a:pt x="2489" y="1955"/>
                    </a:lnTo>
                    <a:lnTo>
                      <a:pt x="2499" y="1981"/>
                    </a:lnTo>
                    <a:lnTo>
                      <a:pt x="2516" y="2009"/>
                    </a:lnTo>
                    <a:lnTo>
                      <a:pt x="2535" y="2033"/>
                    </a:lnTo>
                    <a:lnTo>
                      <a:pt x="2559" y="2056"/>
                    </a:lnTo>
                    <a:lnTo>
                      <a:pt x="2583" y="2078"/>
                    </a:lnTo>
                    <a:lnTo>
                      <a:pt x="2609" y="2099"/>
                    </a:lnTo>
                    <a:lnTo>
                      <a:pt x="2632" y="2120"/>
                    </a:lnTo>
                    <a:lnTo>
                      <a:pt x="2655" y="2143"/>
                    </a:lnTo>
                    <a:lnTo>
                      <a:pt x="2675" y="2168"/>
                    </a:lnTo>
                    <a:lnTo>
                      <a:pt x="2690" y="2197"/>
                    </a:lnTo>
                    <a:lnTo>
                      <a:pt x="2700" y="2230"/>
                    </a:lnTo>
                    <a:lnTo>
                      <a:pt x="2703" y="2257"/>
                    </a:lnTo>
                    <a:lnTo>
                      <a:pt x="2700" y="2284"/>
                    </a:lnTo>
                    <a:lnTo>
                      <a:pt x="2692" y="2308"/>
                    </a:lnTo>
                    <a:lnTo>
                      <a:pt x="2678" y="2330"/>
                    </a:lnTo>
                    <a:lnTo>
                      <a:pt x="2661" y="2349"/>
                    </a:lnTo>
                    <a:lnTo>
                      <a:pt x="2638" y="2361"/>
                    </a:lnTo>
                    <a:lnTo>
                      <a:pt x="2610" y="2370"/>
                    </a:lnTo>
                    <a:lnTo>
                      <a:pt x="2587" y="2370"/>
                    </a:lnTo>
                    <a:lnTo>
                      <a:pt x="2568" y="2366"/>
                    </a:lnTo>
                    <a:lnTo>
                      <a:pt x="2551" y="2356"/>
                    </a:lnTo>
                    <a:lnTo>
                      <a:pt x="2538" y="2343"/>
                    </a:lnTo>
                    <a:lnTo>
                      <a:pt x="2528" y="2328"/>
                    </a:lnTo>
                    <a:lnTo>
                      <a:pt x="2521" y="2309"/>
                    </a:lnTo>
                    <a:lnTo>
                      <a:pt x="2514" y="2290"/>
                    </a:lnTo>
                    <a:lnTo>
                      <a:pt x="2510" y="2268"/>
                    </a:lnTo>
                    <a:lnTo>
                      <a:pt x="2507" y="2249"/>
                    </a:lnTo>
                    <a:lnTo>
                      <a:pt x="2503" y="2226"/>
                    </a:lnTo>
                    <a:lnTo>
                      <a:pt x="2497" y="2204"/>
                    </a:lnTo>
                    <a:lnTo>
                      <a:pt x="2489" y="2182"/>
                    </a:lnTo>
                    <a:lnTo>
                      <a:pt x="2477" y="2164"/>
                    </a:lnTo>
                    <a:lnTo>
                      <a:pt x="2463" y="2146"/>
                    </a:lnTo>
                    <a:lnTo>
                      <a:pt x="2446" y="2132"/>
                    </a:lnTo>
                    <a:lnTo>
                      <a:pt x="2425" y="2122"/>
                    </a:lnTo>
                    <a:lnTo>
                      <a:pt x="2400" y="2116"/>
                    </a:lnTo>
                    <a:lnTo>
                      <a:pt x="2376" y="2115"/>
                    </a:lnTo>
                    <a:lnTo>
                      <a:pt x="2353" y="2119"/>
                    </a:lnTo>
                    <a:lnTo>
                      <a:pt x="2332" y="2129"/>
                    </a:lnTo>
                    <a:lnTo>
                      <a:pt x="2313" y="2144"/>
                    </a:lnTo>
                    <a:lnTo>
                      <a:pt x="2297" y="2164"/>
                    </a:lnTo>
                    <a:lnTo>
                      <a:pt x="2286" y="2184"/>
                    </a:lnTo>
                    <a:lnTo>
                      <a:pt x="2277" y="2205"/>
                    </a:lnTo>
                    <a:lnTo>
                      <a:pt x="2269" y="2226"/>
                    </a:lnTo>
                    <a:lnTo>
                      <a:pt x="2256" y="2244"/>
                    </a:lnTo>
                    <a:lnTo>
                      <a:pt x="2241" y="2261"/>
                    </a:lnTo>
                    <a:lnTo>
                      <a:pt x="2220" y="2273"/>
                    </a:lnTo>
                    <a:lnTo>
                      <a:pt x="2198" y="2278"/>
                    </a:lnTo>
                    <a:lnTo>
                      <a:pt x="2176" y="2277"/>
                    </a:lnTo>
                    <a:lnTo>
                      <a:pt x="2156" y="2268"/>
                    </a:lnTo>
                    <a:lnTo>
                      <a:pt x="2141" y="2291"/>
                    </a:lnTo>
                    <a:lnTo>
                      <a:pt x="2121" y="2311"/>
                    </a:lnTo>
                    <a:lnTo>
                      <a:pt x="2096" y="2325"/>
                    </a:lnTo>
                    <a:lnTo>
                      <a:pt x="2076" y="2333"/>
                    </a:lnTo>
                    <a:lnTo>
                      <a:pt x="2055" y="2338"/>
                    </a:lnTo>
                    <a:lnTo>
                      <a:pt x="2034" y="2339"/>
                    </a:lnTo>
                    <a:lnTo>
                      <a:pt x="2014" y="2339"/>
                    </a:lnTo>
                    <a:lnTo>
                      <a:pt x="1996" y="2336"/>
                    </a:lnTo>
                    <a:lnTo>
                      <a:pt x="1980" y="2332"/>
                    </a:lnTo>
                    <a:lnTo>
                      <a:pt x="1969" y="2325"/>
                    </a:lnTo>
                    <a:lnTo>
                      <a:pt x="1963" y="2315"/>
                    </a:lnTo>
                    <a:lnTo>
                      <a:pt x="1962" y="2305"/>
                    </a:lnTo>
                    <a:lnTo>
                      <a:pt x="1967" y="2294"/>
                    </a:lnTo>
                    <a:lnTo>
                      <a:pt x="1980" y="2281"/>
                    </a:lnTo>
                    <a:lnTo>
                      <a:pt x="2043" y="2230"/>
                    </a:lnTo>
                    <a:lnTo>
                      <a:pt x="2103" y="2175"/>
                    </a:lnTo>
                    <a:lnTo>
                      <a:pt x="2155" y="2116"/>
                    </a:lnTo>
                    <a:lnTo>
                      <a:pt x="2201" y="2051"/>
                    </a:lnTo>
                    <a:lnTo>
                      <a:pt x="2242" y="1982"/>
                    </a:lnTo>
                    <a:lnTo>
                      <a:pt x="2276" y="1910"/>
                    </a:lnTo>
                    <a:lnTo>
                      <a:pt x="2303" y="1836"/>
                    </a:lnTo>
                    <a:lnTo>
                      <a:pt x="2322" y="1758"/>
                    </a:lnTo>
                    <a:lnTo>
                      <a:pt x="2335" y="1679"/>
                    </a:lnTo>
                    <a:lnTo>
                      <a:pt x="2341" y="1599"/>
                    </a:lnTo>
                    <a:lnTo>
                      <a:pt x="2339" y="1516"/>
                    </a:lnTo>
                    <a:lnTo>
                      <a:pt x="2328" y="1434"/>
                    </a:lnTo>
                    <a:lnTo>
                      <a:pt x="2310" y="1351"/>
                    </a:lnTo>
                    <a:lnTo>
                      <a:pt x="2283" y="1273"/>
                    </a:lnTo>
                    <a:lnTo>
                      <a:pt x="2251" y="1198"/>
                    </a:lnTo>
                    <a:lnTo>
                      <a:pt x="2211" y="1129"/>
                    </a:lnTo>
                    <a:lnTo>
                      <a:pt x="2166" y="1065"/>
                    </a:lnTo>
                    <a:lnTo>
                      <a:pt x="2117" y="1004"/>
                    </a:lnTo>
                    <a:lnTo>
                      <a:pt x="2062" y="949"/>
                    </a:lnTo>
                    <a:lnTo>
                      <a:pt x="2001" y="900"/>
                    </a:lnTo>
                    <a:lnTo>
                      <a:pt x="1938" y="856"/>
                    </a:lnTo>
                    <a:lnTo>
                      <a:pt x="1870" y="818"/>
                    </a:lnTo>
                    <a:lnTo>
                      <a:pt x="1800" y="785"/>
                    </a:lnTo>
                    <a:lnTo>
                      <a:pt x="1726" y="761"/>
                    </a:lnTo>
                    <a:lnTo>
                      <a:pt x="1652" y="742"/>
                    </a:lnTo>
                    <a:lnTo>
                      <a:pt x="1574" y="730"/>
                    </a:lnTo>
                    <a:lnTo>
                      <a:pt x="1495" y="726"/>
                    </a:lnTo>
                    <a:lnTo>
                      <a:pt x="1415" y="729"/>
                    </a:lnTo>
                    <a:lnTo>
                      <a:pt x="1335" y="739"/>
                    </a:lnTo>
                    <a:lnTo>
                      <a:pt x="1254" y="759"/>
                    </a:lnTo>
                    <a:lnTo>
                      <a:pt x="1177" y="784"/>
                    </a:lnTo>
                    <a:lnTo>
                      <a:pt x="1102" y="816"/>
                    </a:lnTo>
                    <a:lnTo>
                      <a:pt x="1033" y="856"/>
                    </a:lnTo>
                    <a:lnTo>
                      <a:pt x="968" y="901"/>
                    </a:lnTo>
                    <a:lnTo>
                      <a:pt x="908" y="950"/>
                    </a:lnTo>
                    <a:lnTo>
                      <a:pt x="853" y="1007"/>
                    </a:lnTo>
                    <a:lnTo>
                      <a:pt x="803" y="1066"/>
                    </a:lnTo>
                    <a:lnTo>
                      <a:pt x="760" y="1129"/>
                    </a:lnTo>
                    <a:lnTo>
                      <a:pt x="722" y="1197"/>
                    </a:lnTo>
                    <a:lnTo>
                      <a:pt x="689" y="1268"/>
                    </a:lnTo>
                    <a:lnTo>
                      <a:pt x="665" y="1341"/>
                    </a:lnTo>
                    <a:lnTo>
                      <a:pt x="646" y="1417"/>
                    </a:lnTo>
                    <a:lnTo>
                      <a:pt x="634" y="1493"/>
                    </a:lnTo>
                    <a:lnTo>
                      <a:pt x="630" y="1572"/>
                    </a:lnTo>
                    <a:lnTo>
                      <a:pt x="633" y="1652"/>
                    </a:lnTo>
                    <a:lnTo>
                      <a:pt x="643" y="1733"/>
                    </a:lnTo>
                    <a:lnTo>
                      <a:pt x="663" y="1813"/>
                    </a:lnTo>
                    <a:lnTo>
                      <a:pt x="687" y="1889"/>
                    </a:lnTo>
                    <a:lnTo>
                      <a:pt x="719" y="1961"/>
                    </a:lnTo>
                    <a:lnTo>
                      <a:pt x="756" y="2029"/>
                    </a:lnTo>
                    <a:lnTo>
                      <a:pt x="798" y="2091"/>
                    </a:lnTo>
                    <a:lnTo>
                      <a:pt x="846" y="2150"/>
                    </a:lnTo>
                    <a:lnTo>
                      <a:pt x="898" y="2204"/>
                    </a:lnTo>
                    <a:lnTo>
                      <a:pt x="954" y="2253"/>
                    </a:lnTo>
                    <a:lnTo>
                      <a:pt x="1015" y="2297"/>
                    </a:lnTo>
                    <a:lnTo>
                      <a:pt x="1026" y="2311"/>
                    </a:lnTo>
                    <a:lnTo>
                      <a:pt x="1029" y="2323"/>
                    </a:lnTo>
                    <a:lnTo>
                      <a:pt x="1028" y="2336"/>
                    </a:lnTo>
                    <a:lnTo>
                      <a:pt x="1019" y="2347"/>
                    </a:lnTo>
                    <a:lnTo>
                      <a:pt x="1008" y="2354"/>
                    </a:lnTo>
                    <a:lnTo>
                      <a:pt x="992" y="2356"/>
                    </a:lnTo>
                    <a:lnTo>
                      <a:pt x="977" y="2350"/>
                    </a:lnTo>
                    <a:lnTo>
                      <a:pt x="953" y="2339"/>
                    </a:lnTo>
                    <a:lnTo>
                      <a:pt x="927" y="2329"/>
                    </a:lnTo>
                    <a:lnTo>
                      <a:pt x="902" y="2322"/>
                    </a:lnTo>
                    <a:lnTo>
                      <a:pt x="874" y="2319"/>
                    </a:lnTo>
                    <a:lnTo>
                      <a:pt x="846" y="2319"/>
                    </a:lnTo>
                    <a:lnTo>
                      <a:pt x="818" y="2316"/>
                    </a:lnTo>
                    <a:lnTo>
                      <a:pt x="795" y="2309"/>
                    </a:lnTo>
                    <a:lnTo>
                      <a:pt x="775" y="2298"/>
                    </a:lnTo>
                    <a:lnTo>
                      <a:pt x="757" y="2284"/>
                    </a:lnTo>
                    <a:lnTo>
                      <a:pt x="736" y="2260"/>
                    </a:lnTo>
                    <a:lnTo>
                      <a:pt x="719" y="2233"/>
                    </a:lnTo>
                    <a:lnTo>
                      <a:pt x="705" y="2204"/>
                    </a:lnTo>
                    <a:lnTo>
                      <a:pt x="694" y="2174"/>
                    </a:lnTo>
                    <a:lnTo>
                      <a:pt x="684" y="2143"/>
                    </a:lnTo>
                    <a:lnTo>
                      <a:pt x="672" y="2113"/>
                    </a:lnTo>
                    <a:lnTo>
                      <a:pt x="661" y="2084"/>
                    </a:lnTo>
                    <a:lnTo>
                      <a:pt x="646" y="2057"/>
                    </a:lnTo>
                    <a:lnTo>
                      <a:pt x="625" y="2027"/>
                    </a:lnTo>
                    <a:lnTo>
                      <a:pt x="603" y="2008"/>
                    </a:lnTo>
                    <a:lnTo>
                      <a:pt x="581" y="1995"/>
                    </a:lnTo>
                    <a:lnTo>
                      <a:pt x="558" y="1988"/>
                    </a:lnTo>
                    <a:lnTo>
                      <a:pt x="534" y="1988"/>
                    </a:lnTo>
                    <a:lnTo>
                      <a:pt x="512" y="1992"/>
                    </a:lnTo>
                    <a:lnTo>
                      <a:pt x="488" y="2001"/>
                    </a:lnTo>
                    <a:lnTo>
                      <a:pt x="465" y="2012"/>
                    </a:lnTo>
                    <a:lnTo>
                      <a:pt x="441" y="2026"/>
                    </a:lnTo>
                    <a:lnTo>
                      <a:pt x="419" y="2041"/>
                    </a:lnTo>
                    <a:lnTo>
                      <a:pt x="395" y="2057"/>
                    </a:lnTo>
                    <a:lnTo>
                      <a:pt x="372" y="2072"/>
                    </a:lnTo>
                    <a:lnTo>
                      <a:pt x="350" y="2088"/>
                    </a:lnTo>
                    <a:lnTo>
                      <a:pt x="330" y="2099"/>
                    </a:lnTo>
                    <a:lnTo>
                      <a:pt x="307" y="2111"/>
                    </a:lnTo>
                    <a:lnTo>
                      <a:pt x="282" y="2120"/>
                    </a:lnTo>
                    <a:lnTo>
                      <a:pt x="254" y="2130"/>
                    </a:lnTo>
                    <a:lnTo>
                      <a:pt x="224" y="2139"/>
                    </a:lnTo>
                    <a:lnTo>
                      <a:pt x="195" y="2144"/>
                    </a:lnTo>
                    <a:lnTo>
                      <a:pt x="165" y="2149"/>
                    </a:lnTo>
                    <a:lnTo>
                      <a:pt x="136" y="2150"/>
                    </a:lnTo>
                    <a:lnTo>
                      <a:pt x="107" y="2147"/>
                    </a:lnTo>
                    <a:lnTo>
                      <a:pt x="81" y="2142"/>
                    </a:lnTo>
                    <a:lnTo>
                      <a:pt x="57" y="2132"/>
                    </a:lnTo>
                    <a:lnTo>
                      <a:pt x="37" y="2116"/>
                    </a:lnTo>
                    <a:lnTo>
                      <a:pt x="20" y="2096"/>
                    </a:lnTo>
                    <a:lnTo>
                      <a:pt x="6" y="2071"/>
                    </a:lnTo>
                    <a:lnTo>
                      <a:pt x="0" y="2041"/>
                    </a:lnTo>
                    <a:lnTo>
                      <a:pt x="2" y="2015"/>
                    </a:lnTo>
                    <a:lnTo>
                      <a:pt x="12" y="1991"/>
                    </a:lnTo>
                    <a:lnTo>
                      <a:pt x="26" y="1967"/>
                    </a:lnTo>
                    <a:lnTo>
                      <a:pt x="45" y="1946"/>
                    </a:lnTo>
                    <a:lnTo>
                      <a:pt x="69" y="1926"/>
                    </a:lnTo>
                    <a:lnTo>
                      <a:pt x="95" y="1909"/>
                    </a:lnTo>
                    <a:lnTo>
                      <a:pt x="123" y="1893"/>
                    </a:lnTo>
                    <a:lnTo>
                      <a:pt x="151" y="1879"/>
                    </a:lnTo>
                    <a:lnTo>
                      <a:pt x="178" y="1868"/>
                    </a:lnTo>
                    <a:lnTo>
                      <a:pt x="203" y="1858"/>
                    </a:lnTo>
                    <a:lnTo>
                      <a:pt x="226" y="1850"/>
                    </a:lnTo>
                    <a:lnTo>
                      <a:pt x="245" y="1844"/>
                    </a:lnTo>
                    <a:lnTo>
                      <a:pt x="269" y="1838"/>
                    </a:lnTo>
                    <a:lnTo>
                      <a:pt x="295" y="1834"/>
                    </a:lnTo>
                    <a:lnTo>
                      <a:pt x="323" y="1829"/>
                    </a:lnTo>
                    <a:lnTo>
                      <a:pt x="350" y="1822"/>
                    </a:lnTo>
                    <a:lnTo>
                      <a:pt x="378" y="1815"/>
                    </a:lnTo>
                    <a:lnTo>
                      <a:pt x="405" y="1805"/>
                    </a:lnTo>
                    <a:lnTo>
                      <a:pt x="429" y="1795"/>
                    </a:lnTo>
                    <a:lnTo>
                      <a:pt x="451" y="1782"/>
                    </a:lnTo>
                    <a:lnTo>
                      <a:pt x="470" y="1767"/>
                    </a:lnTo>
                    <a:lnTo>
                      <a:pt x="484" y="1748"/>
                    </a:lnTo>
                    <a:lnTo>
                      <a:pt x="493" y="1726"/>
                    </a:lnTo>
                    <a:lnTo>
                      <a:pt x="496" y="1702"/>
                    </a:lnTo>
                    <a:lnTo>
                      <a:pt x="495" y="1679"/>
                    </a:lnTo>
                    <a:lnTo>
                      <a:pt x="489" y="1662"/>
                    </a:lnTo>
                    <a:lnTo>
                      <a:pt x="482" y="1651"/>
                    </a:lnTo>
                    <a:lnTo>
                      <a:pt x="471" y="1644"/>
                    </a:lnTo>
                    <a:lnTo>
                      <a:pt x="460" y="1641"/>
                    </a:lnTo>
                    <a:lnTo>
                      <a:pt x="444" y="1641"/>
                    </a:lnTo>
                    <a:lnTo>
                      <a:pt x="429" y="1643"/>
                    </a:lnTo>
                    <a:lnTo>
                      <a:pt x="412" y="1647"/>
                    </a:lnTo>
                    <a:lnTo>
                      <a:pt x="395" y="1652"/>
                    </a:lnTo>
                    <a:lnTo>
                      <a:pt x="378" y="1657"/>
                    </a:lnTo>
                    <a:lnTo>
                      <a:pt x="360" y="1662"/>
                    </a:lnTo>
                    <a:lnTo>
                      <a:pt x="343" y="1665"/>
                    </a:lnTo>
                    <a:lnTo>
                      <a:pt x="326" y="1668"/>
                    </a:lnTo>
                    <a:lnTo>
                      <a:pt x="312" y="1667"/>
                    </a:lnTo>
                    <a:lnTo>
                      <a:pt x="298" y="1664"/>
                    </a:lnTo>
                    <a:lnTo>
                      <a:pt x="281" y="1654"/>
                    </a:lnTo>
                    <a:lnTo>
                      <a:pt x="268" y="1638"/>
                    </a:lnTo>
                    <a:lnTo>
                      <a:pt x="260" y="1621"/>
                    </a:lnTo>
                    <a:lnTo>
                      <a:pt x="258" y="1603"/>
                    </a:lnTo>
                    <a:lnTo>
                      <a:pt x="265" y="1585"/>
                    </a:lnTo>
                    <a:lnTo>
                      <a:pt x="275" y="1572"/>
                    </a:lnTo>
                    <a:lnTo>
                      <a:pt x="288" y="1564"/>
                    </a:lnTo>
                    <a:lnTo>
                      <a:pt x="302" y="1557"/>
                    </a:lnTo>
                    <a:lnTo>
                      <a:pt x="316" y="1552"/>
                    </a:lnTo>
                    <a:lnTo>
                      <a:pt x="331" y="1551"/>
                    </a:lnTo>
                    <a:lnTo>
                      <a:pt x="346" y="1551"/>
                    </a:lnTo>
                    <a:lnTo>
                      <a:pt x="358" y="1549"/>
                    </a:lnTo>
                    <a:lnTo>
                      <a:pt x="371" y="1545"/>
                    </a:lnTo>
                    <a:lnTo>
                      <a:pt x="379" y="1538"/>
                    </a:lnTo>
                    <a:lnTo>
                      <a:pt x="386" y="1526"/>
                    </a:lnTo>
                    <a:lnTo>
                      <a:pt x="389" y="1507"/>
                    </a:lnTo>
                    <a:lnTo>
                      <a:pt x="385" y="1490"/>
                    </a:lnTo>
                    <a:lnTo>
                      <a:pt x="377" y="1472"/>
                    </a:lnTo>
                    <a:lnTo>
                      <a:pt x="369" y="1454"/>
                    </a:lnTo>
                    <a:lnTo>
                      <a:pt x="365" y="1434"/>
                    </a:lnTo>
                    <a:lnTo>
                      <a:pt x="365" y="1404"/>
                    </a:lnTo>
                    <a:lnTo>
                      <a:pt x="371" y="1375"/>
                    </a:lnTo>
                    <a:lnTo>
                      <a:pt x="381" y="1347"/>
                    </a:lnTo>
                    <a:lnTo>
                      <a:pt x="395" y="1317"/>
                    </a:lnTo>
                    <a:lnTo>
                      <a:pt x="412" y="1289"/>
                    </a:lnTo>
                    <a:lnTo>
                      <a:pt x="430" y="1262"/>
                    </a:lnTo>
                    <a:lnTo>
                      <a:pt x="450" y="1234"/>
                    </a:lnTo>
                    <a:lnTo>
                      <a:pt x="467" y="1206"/>
                    </a:lnTo>
                    <a:lnTo>
                      <a:pt x="481" y="1177"/>
                    </a:lnTo>
                    <a:lnTo>
                      <a:pt x="491" y="1145"/>
                    </a:lnTo>
                    <a:lnTo>
                      <a:pt x="493" y="1120"/>
                    </a:lnTo>
                    <a:lnTo>
                      <a:pt x="492" y="1098"/>
                    </a:lnTo>
                    <a:lnTo>
                      <a:pt x="486" y="1080"/>
                    </a:lnTo>
                    <a:lnTo>
                      <a:pt x="478" y="1066"/>
                    </a:lnTo>
                    <a:lnTo>
                      <a:pt x="467" y="1055"/>
                    </a:lnTo>
                    <a:lnTo>
                      <a:pt x="453" y="1045"/>
                    </a:lnTo>
                    <a:lnTo>
                      <a:pt x="439" y="1035"/>
                    </a:lnTo>
                    <a:lnTo>
                      <a:pt x="423" y="1026"/>
                    </a:lnTo>
                    <a:lnTo>
                      <a:pt x="408" y="1018"/>
                    </a:lnTo>
                    <a:lnTo>
                      <a:pt x="392" y="1008"/>
                    </a:lnTo>
                    <a:lnTo>
                      <a:pt x="378" y="997"/>
                    </a:lnTo>
                    <a:lnTo>
                      <a:pt x="367" y="984"/>
                    </a:lnTo>
                    <a:lnTo>
                      <a:pt x="357" y="967"/>
                    </a:lnTo>
                    <a:lnTo>
                      <a:pt x="351" y="948"/>
                    </a:lnTo>
                    <a:lnTo>
                      <a:pt x="353" y="928"/>
                    </a:lnTo>
                    <a:lnTo>
                      <a:pt x="358" y="909"/>
                    </a:lnTo>
                    <a:lnTo>
                      <a:pt x="369" y="894"/>
                    </a:lnTo>
                    <a:lnTo>
                      <a:pt x="386" y="881"/>
                    </a:lnTo>
                    <a:lnTo>
                      <a:pt x="409" y="873"/>
                    </a:lnTo>
                    <a:lnTo>
                      <a:pt x="431" y="870"/>
                    </a:lnTo>
                    <a:lnTo>
                      <a:pt x="454" y="873"/>
                    </a:lnTo>
                    <a:lnTo>
                      <a:pt x="477" y="878"/>
                    </a:lnTo>
                    <a:lnTo>
                      <a:pt x="498" y="888"/>
                    </a:lnTo>
                    <a:lnTo>
                      <a:pt x="519" y="898"/>
                    </a:lnTo>
                    <a:lnTo>
                      <a:pt x="537" y="911"/>
                    </a:lnTo>
                    <a:lnTo>
                      <a:pt x="557" y="922"/>
                    </a:lnTo>
                    <a:lnTo>
                      <a:pt x="578" y="931"/>
                    </a:lnTo>
                    <a:lnTo>
                      <a:pt x="602" y="933"/>
                    </a:lnTo>
                    <a:lnTo>
                      <a:pt x="625" y="929"/>
                    </a:lnTo>
                    <a:lnTo>
                      <a:pt x="643" y="919"/>
                    </a:lnTo>
                    <a:lnTo>
                      <a:pt x="660" y="907"/>
                    </a:lnTo>
                    <a:lnTo>
                      <a:pt x="674" y="890"/>
                    </a:lnTo>
                    <a:lnTo>
                      <a:pt x="687" y="871"/>
                    </a:lnTo>
                    <a:lnTo>
                      <a:pt x="695" y="852"/>
                    </a:lnTo>
                    <a:lnTo>
                      <a:pt x="703" y="822"/>
                    </a:lnTo>
                    <a:lnTo>
                      <a:pt x="708" y="794"/>
                    </a:lnTo>
                    <a:lnTo>
                      <a:pt x="710" y="764"/>
                    </a:lnTo>
                    <a:lnTo>
                      <a:pt x="713" y="735"/>
                    </a:lnTo>
                    <a:lnTo>
                      <a:pt x="720" y="704"/>
                    </a:lnTo>
                    <a:lnTo>
                      <a:pt x="733" y="678"/>
                    </a:lnTo>
                    <a:lnTo>
                      <a:pt x="751" y="657"/>
                    </a:lnTo>
                    <a:lnTo>
                      <a:pt x="772" y="639"/>
                    </a:lnTo>
                    <a:lnTo>
                      <a:pt x="796" y="623"/>
                    </a:lnTo>
                    <a:lnTo>
                      <a:pt x="823" y="611"/>
                    </a:lnTo>
                    <a:lnTo>
                      <a:pt x="853" y="599"/>
                    </a:lnTo>
                    <a:lnTo>
                      <a:pt x="882" y="588"/>
                    </a:lnTo>
                    <a:lnTo>
                      <a:pt x="913" y="580"/>
                    </a:lnTo>
                    <a:lnTo>
                      <a:pt x="944" y="570"/>
                    </a:lnTo>
                    <a:lnTo>
                      <a:pt x="974" y="561"/>
                    </a:lnTo>
                    <a:lnTo>
                      <a:pt x="1002" y="550"/>
                    </a:lnTo>
                    <a:lnTo>
                      <a:pt x="1029" y="539"/>
                    </a:lnTo>
                    <a:lnTo>
                      <a:pt x="1054" y="525"/>
                    </a:lnTo>
                    <a:lnTo>
                      <a:pt x="1074" y="508"/>
                    </a:lnTo>
                    <a:lnTo>
                      <a:pt x="1091" y="488"/>
                    </a:lnTo>
                    <a:lnTo>
                      <a:pt x="1104" y="465"/>
                    </a:lnTo>
                    <a:lnTo>
                      <a:pt x="1111" y="439"/>
                    </a:lnTo>
                    <a:lnTo>
                      <a:pt x="1111" y="406"/>
                    </a:lnTo>
                    <a:lnTo>
                      <a:pt x="1104" y="374"/>
                    </a:lnTo>
                    <a:lnTo>
                      <a:pt x="1090" y="341"/>
                    </a:lnTo>
                    <a:lnTo>
                      <a:pt x="1074" y="308"/>
                    </a:lnTo>
                    <a:lnTo>
                      <a:pt x="1057" y="274"/>
                    </a:lnTo>
                    <a:lnTo>
                      <a:pt x="1042" y="238"/>
                    </a:lnTo>
                    <a:lnTo>
                      <a:pt x="1030" y="205"/>
                    </a:lnTo>
                    <a:lnTo>
                      <a:pt x="1025" y="171"/>
                    </a:lnTo>
                    <a:lnTo>
                      <a:pt x="1025" y="145"/>
                    </a:lnTo>
                    <a:lnTo>
                      <a:pt x="1029" y="112"/>
                    </a:lnTo>
                    <a:lnTo>
                      <a:pt x="1037" y="82"/>
                    </a:lnTo>
                    <a:lnTo>
                      <a:pt x="1051" y="57"/>
                    </a:lnTo>
                    <a:lnTo>
                      <a:pt x="1071" y="35"/>
                    </a:lnTo>
                    <a:lnTo>
                      <a:pt x="1094" y="19"/>
                    </a:lnTo>
                    <a:lnTo>
                      <a:pt x="1122" y="7"/>
                    </a:lnTo>
                    <a:lnTo>
                      <a:pt x="1154" y="0"/>
                    </a:lnTo>
                    <a:lnTo>
                      <a:pt x="11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3" name="Freeform 1955"/>
              <p:cNvSpPr>
                <a:spLocks/>
              </p:cNvSpPr>
              <p:nvPr userDrawn="1"/>
            </p:nvSpPr>
            <p:spPr bwMode="auto">
              <a:xfrm>
                <a:off x="13866813" y="-93663"/>
                <a:ext cx="150812" cy="171450"/>
              </a:xfrm>
              <a:custGeom>
                <a:avLst/>
                <a:gdLst>
                  <a:gd name="T0" fmla="*/ 55 w 190"/>
                  <a:gd name="T1" fmla="*/ 0 h 215"/>
                  <a:gd name="T2" fmla="*/ 73 w 190"/>
                  <a:gd name="T3" fmla="*/ 1 h 215"/>
                  <a:gd name="T4" fmla="*/ 92 w 190"/>
                  <a:gd name="T5" fmla="*/ 7 h 215"/>
                  <a:gd name="T6" fmla="*/ 110 w 190"/>
                  <a:gd name="T7" fmla="*/ 17 h 215"/>
                  <a:gd name="T8" fmla="*/ 126 w 190"/>
                  <a:gd name="T9" fmla="*/ 26 h 215"/>
                  <a:gd name="T10" fmla="*/ 145 w 190"/>
                  <a:gd name="T11" fmla="*/ 49 h 215"/>
                  <a:gd name="T12" fmla="*/ 162 w 190"/>
                  <a:gd name="T13" fmla="*/ 76 h 215"/>
                  <a:gd name="T14" fmla="*/ 173 w 190"/>
                  <a:gd name="T15" fmla="*/ 105 h 215"/>
                  <a:gd name="T16" fmla="*/ 183 w 190"/>
                  <a:gd name="T17" fmla="*/ 135 h 215"/>
                  <a:gd name="T18" fmla="*/ 189 w 190"/>
                  <a:gd name="T19" fmla="*/ 166 h 215"/>
                  <a:gd name="T20" fmla="*/ 190 w 190"/>
                  <a:gd name="T21" fmla="*/ 180 h 215"/>
                  <a:gd name="T22" fmla="*/ 188 w 190"/>
                  <a:gd name="T23" fmla="*/ 193 h 215"/>
                  <a:gd name="T24" fmla="*/ 182 w 190"/>
                  <a:gd name="T25" fmla="*/ 204 h 215"/>
                  <a:gd name="T26" fmla="*/ 173 w 190"/>
                  <a:gd name="T27" fmla="*/ 212 h 215"/>
                  <a:gd name="T28" fmla="*/ 161 w 190"/>
                  <a:gd name="T29" fmla="*/ 215 h 215"/>
                  <a:gd name="T30" fmla="*/ 147 w 190"/>
                  <a:gd name="T31" fmla="*/ 212 h 215"/>
                  <a:gd name="T32" fmla="*/ 135 w 190"/>
                  <a:gd name="T33" fmla="*/ 208 h 215"/>
                  <a:gd name="T34" fmla="*/ 121 w 190"/>
                  <a:gd name="T35" fmla="*/ 200 h 215"/>
                  <a:gd name="T36" fmla="*/ 106 w 190"/>
                  <a:gd name="T37" fmla="*/ 188 h 215"/>
                  <a:gd name="T38" fmla="*/ 89 w 190"/>
                  <a:gd name="T39" fmla="*/ 174 h 215"/>
                  <a:gd name="T40" fmla="*/ 72 w 190"/>
                  <a:gd name="T41" fmla="*/ 159 h 215"/>
                  <a:gd name="T42" fmla="*/ 55 w 190"/>
                  <a:gd name="T43" fmla="*/ 142 h 215"/>
                  <a:gd name="T44" fmla="*/ 40 w 190"/>
                  <a:gd name="T45" fmla="*/ 124 h 215"/>
                  <a:gd name="T46" fmla="*/ 25 w 190"/>
                  <a:gd name="T47" fmla="*/ 104 h 215"/>
                  <a:gd name="T48" fmla="*/ 13 w 190"/>
                  <a:gd name="T49" fmla="*/ 86 h 215"/>
                  <a:gd name="T50" fmla="*/ 4 w 190"/>
                  <a:gd name="T51" fmla="*/ 67 h 215"/>
                  <a:gd name="T52" fmla="*/ 0 w 190"/>
                  <a:gd name="T53" fmla="*/ 50 h 215"/>
                  <a:gd name="T54" fmla="*/ 0 w 190"/>
                  <a:gd name="T55" fmla="*/ 35 h 215"/>
                  <a:gd name="T56" fmla="*/ 6 w 190"/>
                  <a:gd name="T57" fmla="*/ 21 h 215"/>
                  <a:gd name="T58" fmla="*/ 18 w 190"/>
                  <a:gd name="T59" fmla="*/ 9 h 215"/>
                  <a:gd name="T60" fmla="*/ 35 w 190"/>
                  <a:gd name="T61" fmla="*/ 2 h 215"/>
                  <a:gd name="T62" fmla="*/ 55 w 190"/>
                  <a:gd name="T63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90" h="215">
                    <a:moveTo>
                      <a:pt x="55" y="0"/>
                    </a:moveTo>
                    <a:lnTo>
                      <a:pt x="73" y="1"/>
                    </a:lnTo>
                    <a:lnTo>
                      <a:pt x="92" y="7"/>
                    </a:lnTo>
                    <a:lnTo>
                      <a:pt x="110" y="17"/>
                    </a:lnTo>
                    <a:lnTo>
                      <a:pt x="126" y="26"/>
                    </a:lnTo>
                    <a:lnTo>
                      <a:pt x="145" y="49"/>
                    </a:lnTo>
                    <a:lnTo>
                      <a:pt x="162" y="76"/>
                    </a:lnTo>
                    <a:lnTo>
                      <a:pt x="173" y="105"/>
                    </a:lnTo>
                    <a:lnTo>
                      <a:pt x="183" y="135"/>
                    </a:lnTo>
                    <a:lnTo>
                      <a:pt x="189" y="166"/>
                    </a:lnTo>
                    <a:lnTo>
                      <a:pt x="190" y="180"/>
                    </a:lnTo>
                    <a:lnTo>
                      <a:pt x="188" y="193"/>
                    </a:lnTo>
                    <a:lnTo>
                      <a:pt x="182" y="204"/>
                    </a:lnTo>
                    <a:lnTo>
                      <a:pt x="173" y="212"/>
                    </a:lnTo>
                    <a:lnTo>
                      <a:pt x="161" y="215"/>
                    </a:lnTo>
                    <a:lnTo>
                      <a:pt x="147" y="212"/>
                    </a:lnTo>
                    <a:lnTo>
                      <a:pt x="135" y="208"/>
                    </a:lnTo>
                    <a:lnTo>
                      <a:pt x="121" y="200"/>
                    </a:lnTo>
                    <a:lnTo>
                      <a:pt x="106" y="188"/>
                    </a:lnTo>
                    <a:lnTo>
                      <a:pt x="89" y="174"/>
                    </a:lnTo>
                    <a:lnTo>
                      <a:pt x="72" y="159"/>
                    </a:lnTo>
                    <a:lnTo>
                      <a:pt x="55" y="142"/>
                    </a:lnTo>
                    <a:lnTo>
                      <a:pt x="40" y="124"/>
                    </a:lnTo>
                    <a:lnTo>
                      <a:pt x="25" y="104"/>
                    </a:lnTo>
                    <a:lnTo>
                      <a:pt x="13" y="86"/>
                    </a:lnTo>
                    <a:lnTo>
                      <a:pt x="4" y="67"/>
                    </a:lnTo>
                    <a:lnTo>
                      <a:pt x="0" y="50"/>
                    </a:lnTo>
                    <a:lnTo>
                      <a:pt x="0" y="35"/>
                    </a:lnTo>
                    <a:lnTo>
                      <a:pt x="6" y="21"/>
                    </a:lnTo>
                    <a:lnTo>
                      <a:pt x="18" y="9"/>
                    </a:lnTo>
                    <a:lnTo>
                      <a:pt x="35" y="2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4" name="Freeform 1956"/>
              <p:cNvSpPr>
                <a:spLocks/>
              </p:cNvSpPr>
              <p:nvPr userDrawn="1"/>
            </p:nvSpPr>
            <p:spPr bwMode="auto">
              <a:xfrm>
                <a:off x="15470188" y="1370013"/>
                <a:ext cx="100012" cy="122238"/>
              </a:xfrm>
              <a:custGeom>
                <a:avLst/>
                <a:gdLst>
                  <a:gd name="T0" fmla="*/ 55 w 127"/>
                  <a:gd name="T1" fmla="*/ 0 h 154"/>
                  <a:gd name="T2" fmla="*/ 75 w 127"/>
                  <a:gd name="T3" fmla="*/ 6 h 154"/>
                  <a:gd name="T4" fmla="*/ 92 w 127"/>
                  <a:gd name="T5" fmla="*/ 18 h 154"/>
                  <a:gd name="T6" fmla="*/ 107 w 127"/>
                  <a:gd name="T7" fmla="*/ 34 h 154"/>
                  <a:gd name="T8" fmla="*/ 119 w 127"/>
                  <a:gd name="T9" fmla="*/ 52 h 154"/>
                  <a:gd name="T10" fmla="*/ 126 w 127"/>
                  <a:gd name="T11" fmla="*/ 73 h 154"/>
                  <a:gd name="T12" fmla="*/ 127 w 127"/>
                  <a:gd name="T13" fmla="*/ 94 h 154"/>
                  <a:gd name="T14" fmla="*/ 124 w 127"/>
                  <a:gd name="T15" fmla="*/ 114 h 154"/>
                  <a:gd name="T16" fmla="*/ 114 w 127"/>
                  <a:gd name="T17" fmla="*/ 130 h 154"/>
                  <a:gd name="T18" fmla="*/ 102 w 127"/>
                  <a:gd name="T19" fmla="*/ 144 h 154"/>
                  <a:gd name="T20" fmla="*/ 85 w 127"/>
                  <a:gd name="T21" fmla="*/ 151 h 154"/>
                  <a:gd name="T22" fmla="*/ 67 w 127"/>
                  <a:gd name="T23" fmla="*/ 154 h 154"/>
                  <a:gd name="T24" fmla="*/ 52 w 127"/>
                  <a:gd name="T25" fmla="*/ 148 h 154"/>
                  <a:gd name="T26" fmla="*/ 38 w 127"/>
                  <a:gd name="T27" fmla="*/ 139 h 154"/>
                  <a:gd name="T28" fmla="*/ 26 w 127"/>
                  <a:gd name="T29" fmla="*/ 125 h 154"/>
                  <a:gd name="T30" fmla="*/ 16 w 127"/>
                  <a:gd name="T31" fmla="*/ 108 h 154"/>
                  <a:gd name="T32" fmla="*/ 9 w 127"/>
                  <a:gd name="T33" fmla="*/ 92 h 154"/>
                  <a:gd name="T34" fmla="*/ 3 w 127"/>
                  <a:gd name="T35" fmla="*/ 76 h 154"/>
                  <a:gd name="T36" fmla="*/ 0 w 127"/>
                  <a:gd name="T37" fmla="*/ 59 h 154"/>
                  <a:gd name="T38" fmla="*/ 0 w 127"/>
                  <a:gd name="T39" fmla="*/ 44 h 154"/>
                  <a:gd name="T40" fmla="*/ 3 w 127"/>
                  <a:gd name="T41" fmla="*/ 29 h 154"/>
                  <a:gd name="T42" fmla="*/ 10 w 127"/>
                  <a:gd name="T43" fmla="*/ 17 h 154"/>
                  <a:gd name="T44" fmla="*/ 20 w 127"/>
                  <a:gd name="T45" fmla="*/ 7 h 154"/>
                  <a:gd name="T46" fmla="*/ 34 w 127"/>
                  <a:gd name="T47" fmla="*/ 1 h 154"/>
                  <a:gd name="T48" fmla="*/ 55 w 127"/>
                  <a:gd name="T49" fmla="*/ 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7" h="154">
                    <a:moveTo>
                      <a:pt x="55" y="0"/>
                    </a:moveTo>
                    <a:lnTo>
                      <a:pt x="75" y="6"/>
                    </a:lnTo>
                    <a:lnTo>
                      <a:pt x="92" y="18"/>
                    </a:lnTo>
                    <a:lnTo>
                      <a:pt x="107" y="34"/>
                    </a:lnTo>
                    <a:lnTo>
                      <a:pt x="119" y="52"/>
                    </a:lnTo>
                    <a:lnTo>
                      <a:pt x="126" y="73"/>
                    </a:lnTo>
                    <a:lnTo>
                      <a:pt x="127" y="94"/>
                    </a:lnTo>
                    <a:lnTo>
                      <a:pt x="124" y="114"/>
                    </a:lnTo>
                    <a:lnTo>
                      <a:pt x="114" y="130"/>
                    </a:lnTo>
                    <a:lnTo>
                      <a:pt x="102" y="144"/>
                    </a:lnTo>
                    <a:lnTo>
                      <a:pt x="85" y="151"/>
                    </a:lnTo>
                    <a:lnTo>
                      <a:pt x="67" y="154"/>
                    </a:lnTo>
                    <a:lnTo>
                      <a:pt x="52" y="148"/>
                    </a:lnTo>
                    <a:lnTo>
                      <a:pt x="38" y="139"/>
                    </a:lnTo>
                    <a:lnTo>
                      <a:pt x="26" y="125"/>
                    </a:lnTo>
                    <a:lnTo>
                      <a:pt x="16" y="108"/>
                    </a:lnTo>
                    <a:lnTo>
                      <a:pt x="9" y="92"/>
                    </a:lnTo>
                    <a:lnTo>
                      <a:pt x="3" y="76"/>
                    </a:lnTo>
                    <a:lnTo>
                      <a:pt x="0" y="59"/>
                    </a:lnTo>
                    <a:lnTo>
                      <a:pt x="0" y="44"/>
                    </a:lnTo>
                    <a:lnTo>
                      <a:pt x="3" y="29"/>
                    </a:lnTo>
                    <a:lnTo>
                      <a:pt x="10" y="17"/>
                    </a:lnTo>
                    <a:lnTo>
                      <a:pt x="20" y="7"/>
                    </a:lnTo>
                    <a:lnTo>
                      <a:pt x="34" y="1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pic>
        <p:nvPicPr>
          <p:cNvPr id="103" name="Schaduw mobiel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04892" y="2579995"/>
            <a:ext cx="2353060" cy="3434515"/>
          </a:xfrm>
          <a:prstGeom prst="rect">
            <a:avLst/>
          </a:prstGeom>
        </p:spPr>
      </p:pic>
      <p:grpSp>
        <p:nvGrpSpPr>
          <p:cNvPr id="18" name="Mobiel"/>
          <p:cNvGrpSpPr/>
          <p:nvPr userDrawn="1"/>
        </p:nvGrpSpPr>
        <p:grpSpPr>
          <a:xfrm>
            <a:off x="3200399" y="2846696"/>
            <a:ext cx="1657351" cy="2903006"/>
            <a:chOff x="3200399" y="2819400"/>
            <a:chExt cx="1657351" cy="2903006"/>
          </a:xfrm>
        </p:grpSpPr>
        <p:pic>
          <p:nvPicPr>
            <p:cNvPr id="104" name="Mobiel"/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00399" y="2819400"/>
              <a:ext cx="1657351" cy="2903006"/>
            </a:xfrm>
            <a:prstGeom prst="rect">
              <a:avLst/>
            </a:prstGeom>
          </p:spPr>
        </p:pic>
        <p:sp>
          <p:nvSpPr>
            <p:cNvPr id="17" name="Rechthoek 16" hidden="1"/>
            <p:cNvSpPr/>
            <p:nvPr userDrawn="1"/>
          </p:nvSpPr>
          <p:spPr>
            <a:xfrm>
              <a:off x="3368313" y="3224636"/>
              <a:ext cx="1368736" cy="2128626"/>
            </a:xfrm>
            <a:custGeom>
              <a:avLst/>
              <a:gdLst>
                <a:gd name="connsiteX0" fmla="*/ 0 w 1154384"/>
                <a:gd name="connsiteY0" fmla="*/ 0 h 2101843"/>
                <a:gd name="connsiteX1" fmla="*/ 1154384 w 1154384"/>
                <a:gd name="connsiteY1" fmla="*/ 0 h 2101843"/>
                <a:gd name="connsiteX2" fmla="*/ 1154384 w 1154384"/>
                <a:gd name="connsiteY2" fmla="*/ 2101843 h 2101843"/>
                <a:gd name="connsiteX3" fmla="*/ 0 w 1154384"/>
                <a:gd name="connsiteY3" fmla="*/ 2101843 h 2101843"/>
                <a:gd name="connsiteX4" fmla="*/ 0 w 1154384"/>
                <a:gd name="connsiteY4" fmla="*/ 0 h 2101843"/>
                <a:gd name="connsiteX0" fmla="*/ 0 w 1259891"/>
                <a:gd name="connsiteY0" fmla="*/ 7815 h 2109658"/>
                <a:gd name="connsiteX1" fmla="*/ 1259891 w 1259891"/>
                <a:gd name="connsiteY1" fmla="*/ 0 h 2109658"/>
                <a:gd name="connsiteX2" fmla="*/ 1154384 w 1259891"/>
                <a:gd name="connsiteY2" fmla="*/ 2109658 h 2109658"/>
                <a:gd name="connsiteX3" fmla="*/ 0 w 1259891"/>
                <a:gd name="connsiteY3" fmla="*/ 2109658 h 2109658"/>
                <a:gd name="connsiteX4" fmla="*/ 0 w 1259891"/>
                <a:gd name="connsiteY4" fmla="*/ 7815 h 2109658"/>
                <a:gd name="connsiteX0" fmla="*/ 105508 w 1365399"/>
                <a:gd name="connsiteY0" fmla="*/ 7815 h 2109658"/>
                <a:gd name="connsiteX1" fmla="*/ 1365399 w 1365399"/>
                <a:gd name="connsiteY1" fmla="*/ 0 h 2109658"/>
                <a:gd name="connsiteX2" fmla="*/ 1259892 w 1365399"/>
                <a:gd name="connsiteY2" fmla="*/ 2109658 h 2109658"/>
                <a:gd name="connsiteX3" fmla="*/ 0 w 1365399"/>
                <a:gd name="connsiteY3" fmla="*/ 1984612 h 2109658"/>
                <a:gd name="connsiteX4" fmla="*/ 105508 w 1365399"/>
                <a:gd name="connsiteY4" fmla="*/ 7815 h 2109658"/>
                <a:gd name="connsiteX0" fmla="*/ 105508 w 1365399"/>
                <a:gd name="connsiteY0" fmla="*/ 7815 h 2125289"/>
                <a:gd name="connsiteX1" fmla="*/ 1365399 w 1365399"/>
                <a:gd name="connsiteY1" fmla="*/ 0 h 2125289"/>
                <a:gd name="connsiteX2" fmla="*/ 1255984 w 1365399"/>
                <a:gd name="connsiteY2" fmla="*/ 2125289 h 2125289"/>
                <a:gd name="connsiteX3" fmla="*/ 0 w 1365399"/>
                <a:gd name="connsiteY3" fmla="*/ 1984612 h 2125289"/>
                <a:gd name="connsiteX4" fmla="*/ 105508 w 1365399"/>
                <a:gd name="connsiteY4" fmla="*/ 7815 h 2125289"/>
                <a:gd name="connsiteX0" fmla="*/ 105508 w 1368736"/>
                <a:gd name="connsiteY0" fmla="*/ 11152 h 2128626"/>
                <a:gd name="connsiteX1" fmla="*/ 1368736 w 1368736"/>
                <a:gd name="connsiteY1" fmla="*/ 0 h 2128626"/>
                <a:gd name="connsiteX2" fmla="*/ 1255984 w 1368736"/>
                <a:gd name="connsiteY2" fmla="*/ 2128626 h 2128626"/>
                <a:gd name="connsiteX3" fmla="*/ 0 w 1368736"/>
                <a:gd name="connsiteY3" fmla="*/ 1987949 h 2128626"/>
                <a:gd name="connsiteX4" fmla="*/ 105508 w 1368736"/>
                <a:gd name="connsiteY4" fmla="*/ 11152 h 212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8736" h="2128626">
                  <a:moveTo>
                    <a:pt x="105508" y="11152"/>
                  </a:moveTo>
                  <a:lnTo>
                    <a:pt x="1368736" y="0"/>
                  </a:lnTo>
                  <a:lnTo>
                    <a:pt x="1255984" y="2128626"/>
                  </a:lnTo>
                  <a:lnTo>
                    <a:pt x="0" y="1987949"/>
                  </a:lnTo>
                  <a:lnTo>
                    <a:pt x="105508" y="11152"/>
                  </a:lnTo>
                  <a:close/>
                </a:path>
              </a:pathLst>
            </a:custGeom>
            <a:gradFill flip="none" rotWithShape="1">
              <a:gsLst>
                <a:gs pos="24000">
                  <a:schemeClr val="tx2">
                    <a:lumMod val="50000"/>
                  </a:schemeClr>
                </a:gs>
                <a:gs pos="100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/>
            </a:p>
          </p:txBody>
        </p:sp>
      </p:grpSp>
      <p:pic>
        <p:nvPicPr>
          <p:cNvPr id="105" name="Mobiel_screen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00399" y="2846696"/>
            <a:ext cx="1657351" cy="2656122"/>
          </a:xfrm>
          <a:prstGeom prst="rect">
            <a:avLst/>
          </a:prstGeom>
        </p:spPr>
      </p:pic>
      <p:pic>
        <p:nvPicPr>
          <p:cNvPr id="22" name="Schaduw tablet"/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4501" y="2095500"/>
            <a:ext cx="3752699" cy="4757868"/>
          </a:xfrm>
          <a:prstGeom prst="rect">
            <a:avLst/>
          </a:prstGeom>
        </p:spPr>
      </p:pic>
      <p:grpSp>
        <p:nvGrpSpPr>
          <p:cNvPr id="16" name="Tablet"/>
          <p:cNvGrpSpPr/>
          <p:nvPr userDrawn="1"/>
        </p:nvGrpSpPr>
        <p:grpSpPr>
          <a:xfrm>
            <a:off x="8839199" y="2290053"/>
            <a:ext cx="3048001" cy="4415547"/>
            <a:chOff x="8839199" y="2290053"/>
            <a:chExt cx="3048001" cy="4415547"/>
          </a:xfrm>
        </p:grpSpPr>
        <p:pic>
          <p:nvPicPr>
            <p:cNvPr id="28" name="Tablet"/>
            <p:cNvPicPr>
              <a:picLocks noChangeAspect="1"/>
            </p:cNvPicPr>
            <p:nvPr userDrawn="1"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839199" y="2290053"/>
              <a:ext cx="3048001" cy="4415547"/>
            </a:xfrm>
            <a:prstGeom prst="rect">
              <a:avLst/>
            </a:prstGeom>
          </p:spPr>
        </p:pic>
        <p:sp>
          <p:nvSpPr>
            <p:cNvPr id="15" name="Rechthoek 14"/>
            <p:cNvSpPr/>
            <p:nvPr userDrawn="1"/>
          </p:nvSpPr>
          <p:spPr>
            <a:xfrm>
              <a:off x="9210675" y="2759622"/>
              <a:ext cx="2333625" cy="3412578"/>
            </a:xfrm>
            <a:custGeom>
              <a:avLst/>
              <a:gdLst>
                <a:gd name="connsiteX0" fmla="*/ 0 w 1581150"/>
                <a:gd name="connsiteY0" fmla="*/ 0 h 3250653"/>
                <a:gd name="connsiteX1" fmla="*/ 1581150 w 1581150"/>
                <a:gd name="connsiteY1" fmla="*/ 0 h 3250653"/>
                <a:gd name="connsiteX2" fmla="*/ 1581150 w 1581150"/>
                <a:gd name="connsiteY2" fmla="*/ 3250653 h 3250653"/>
                <a:gd name="connsiteX3" fmla="*/ 0 w 1581150"/>
                <a:gd name="connsiteY3" fmla="*/ 3250653 h 3250653"/>
                <a:gd name="connsiteX4" fmla="*/ 0 w 1581150"/>
                <a:gd name="connsiteY4" fmla="*/ 0 h 3250653"/>
                <a:gd name="connsiteX0" fmla="*/ 0 w 2076450"/>
                <a:gd name="connsiteY0" fmla="*/ 0 h 3269703"/>
                <a:gd name="connsiteX1" fmla="*/ 2076450 w 2076450"/>
                <a:gd name="connsiteY1" fmla="*/ 19050 h 3269703"/>
                <a:gd name="connsiteX2" fmla="*/ 2076450 w 2076450"/>
                <a:gd name="connsiteY2" fmla="*/ 3269703 h 3269703"/>
                <a:gd name="connsiteX3" fmla="*/ 495300 w 2076450"/>
                <a:gd name="connsiteY3" fmla="*/ 3269703 h 3269703"/>
                <a:gd name="connsiteX4" fmla="*/ 0 w 2076450"/>
                <a:gd name="connsiteY4" fmla="*/ 0 h 3269703"/>
                <a:gd name="connsiteX0" fmla="*/ 0 w 2076450"/>
                <a:gd name="connsiteY0" fmla="*/ 0 h 3384003"/>
                <a:gd name="connsiteX1" fmla="*/ 2076450 w 2076450"/>
                <a:gd name="connsiteY1" fmla="*/ 19050 h 3384003"/>
                <a:gd name="connsiteX2" fmla="*/ 2076450 w 2076450"/>
                <a:gd name="connsiteY2" fmla="*/ 3269703 h 3384003"/>
                <a:gd name="connsiteX3" fmla="*/ 276225 w 2076450"/>
                <a:gd name="connsiteY3" fmla="*/ 3384003 h 3384003"/>
                <a:gd name="connsiteX4" fmla="*/ 0 w 2076450"/>
                <a:gd name="connsiteY4" fmla="*/ 0 h 3384003"/>
                <a:gd name="connsiteX0" fmla="*/ 0 w 2324100"/>
                <a:gd name="connsiteY0" fmla="*/ 0 h 3384003"/>
                <a:gd name="connsiteX1" fmla="*/ 2076450 w 2324100"/>
                <a:gd name="connsiteY1" fmla="*/ 19050 h 3384003"/>
                <a:gd name="connsiteX2" fmla="*/ 2324100 w 2324100"/>
                <a:gd name="connsiteY2" fmla="*/ 3117303 h 3384003"/>
                <a:gd name="connsiteX3" fmla="*/ 276225 w 2324100"/>
                <a:gd name="connsiteY3" fmla="*/ 3384003 h 3384003"/>
                <a:gd name="connsiteX4" fmla="*/ 0 w 2324100"/>
                <a:gd name="connsiteY4" fmla="*/ 0 h 3384003"/>
                <a:gd name="connsiteX0" fmla="*/ 0 w 2324100"/>
                <a:gd name="connsiteY0" fmla="*/ 9525 h 3393528"/>
                <a:gd name="connsiteX1" fmla="*/ 2085975 w 2324100"/>
                <a:gd name="connsiteY1" fmla="*/ 0 h 3393528"/>
                <a:gd name="connsiteX2" fmla="*/ 2324100 w 2324100"/>
                <a:gd name="connsiteY2" fmla="*/ 3126828 h 3393528"/>
                <a:gd name="connsiteX3" fmla="*/ 276225 w 2324100"/>
                <a:gd name="connsiteY3" fmla="*/ 3393528 h 3393528"/>
                <a:gd name="connsiteX4" fmla="*/ 0 w 2324100"/>
                <a:gd name="connsiteY4" fmla="*/ 9525 h 3393528"/>
                <a:gd name="connsiteX0" fmla="*/ 0 w 2324100"/>
                <a:gd name="connsiteY0" fmla="*/ 9525 h 3403053"/>
                <a:gd name="connsiteX1" fmla="*/ 2085975 w 2324100"/>
                <a:gd name="connsiteY1" fmla="*/ 0 h 3403053"/>
                <a:gd name="connsiteX2" fmla="*/ 2324100 w 2324100"/>
                <a:gd name="connsiteY2" fmla="*/ 3126828 h 3403053"/>
                <a:gd name="connsiteX3" fmla="*/ 276225 w 2324100"/>
                <a:gd name="connsiteY3" fmla="*/ 3403053 h 3403053"/>
                <a:gd name="connsiteX4" fmla="*/ 0 w 2324100"/>
                <a:gd name="connsiteY4" fmla="*/ 9525 h 3403053"/>
                <a:gd name="connsiteX0" fmla="*/ 0 w 2324100"/>
                <a:gd name="connsiteY0" fmla="*/ 9525 h 3403053"/>
                <a:gd name="connsiteX1" fmla="*/ 2085975 w 2324100"/>
                <a:gd name="connsiteY1" fmla="*/ 0 h 3403053"/>
                <a:gd name="connsiteX2" fmla="*/ 2324100 w 2324100"/>
                <a:gd name="connsiteY2" fmla="*/ 3136353 h 3403053"/>
                <a:gd name="connsiteX3" fmla="*/ 276225 w 2324100"/>
                <a:gd name="connsiteY3" fmla="*/ 3403053 h 3403053"/>
                <a:gd name="connsiteX4" fmla="*/ 0 w 2324100"/>
                <a:gd name="connsiteY4" fmla="*/ 9525 h 3403053"/>
                <a:gd name="connsiteX0" fmla="*/ 0 w 2324100"/>
                <a:gd name="connsiteY0" fmla="*/ 19050 h 3412578"/>
                <a:gd name="connsiteX1" fmla="*/ 2085975 w 2324100"/>
                <a:gd name="connsiteY1" fmla="*/ 0 h 3412578"/>
                <a:gd name="connsiteX2" fmla="*/ 2324100 w 2324100"/>
                <a:gd name="connsiteY2" fmla="*/ 3145878 h 3412578"/>
                <a:gd name="connsiteX3" fmla="*/ 276225 w 2324100"/>
                <a:gd name="connsiteY3" fmla="*/ 3412578 h 3412578"/>
                <a:gd name="connsiteX4" fmla="*/ 0 w 2324100"/>
                <a:gd name="connsiteY4" fmla="*/ 19050 h 3412578"/>
                <a:gd name="connsiteX0" fmla="*/ 0 w 2324100"/>
                <a:gd name="connsiteY0" fmla="*/ 19050 h 3412578"/>
                <a:gd name="connsiteX1" fmla="*/ 2085975 w 2324100"/>
                <a:gd name="connsiteY1" fmla="*/ 0 h 3412578"/>
                <a:gd name="connsiteX2" fmla="*/ 2324100 w 2324100"/>
                <a:gd name="connsiteY2" fmla="*/ 3145878 h 3412578"/>
                <a:gd name="connsiteX3" fmla="*/ 266700 w 2324100"/>
                <a:gd name="connsiteY3" fmla="*/ 3412578 h 3412578"/>
                <a:gd name="connsiteX4" fmla="*/ 0 w 2324100"/>
                <a:gd name="connsiteY4" fmla="*/ 19050 h 3412578"/>
                <a:gd name="connsiteX0" fmla="*/ 0 w 2333625"/>
                <a:gd name="connsiteY0" fmla="*/ 19050 h 3412578"/>
                <a:gd name="connsiteX1" fmla="*/ 2085975 w 2333625"/>
                <a:gd name="connsiteY1" fmla="*/ 0 h 3412578"/>
                <a:gd name="connsiteX2" fmla="*/ 2333625 w 2333625"/>
                <a:gd name="connsiteY2" fmla="*/ 3145878 h 3412578"/>
                <a:gd name="connsiteX3" fmla="*/ 266700 w 2333625"/>
                <a:gd name="connsiteY3" fmla="*/ 3412578 h 3412578"/>
                <a:gd name="connsiteX4" fmla="*/ 0 w 2333625"/>
                <a:gd name="connsiteY4" fmla="*/ 19050 h 34125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3625" h="3412578">
                  <a:moveTo>
                    <a:pt x="0" y="19050"/>
                  </a:moveTo>
                  <a:lnTo>
                    <a:pt x="2085975" y="0"/>
                  </a:lnTo>
                  <a:lnTo>
                    <a:pt x="2333625" y="3145878"/>
                  </a:lnTo>
                  <a:lnTo>
                    <a:pt x="266700" y="3412578"/>
                  </a:lnTo>
                  <a:lnTo>
                    <a:pt x="0" y="19050"/>
                  </a:lnTo>
                  <a:close/>
                </a:path>
              </a:pathLst>
            </a:custGeom>
            <a:gradFill flip="none" rotWithShape="1">
              <a:gsLst>
                <a:gs pos="24000">
                  <a:schemeClr val="tx2">
                    <a:lumMod val="50000"/>
                  </a:schemeClr>
                </a:gs>
                <a:gs pos="100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/>
            </a:p>
          </p:txBody>
        </p:sp>
      </p:grpSp>
      <p:pic>
        <p:nvPicPr>
          <p:cNvPr id="91" name="Tablet_screen"/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02249" y="2579995"/>
            <a:ext cx="2644901" cy="3755897"/>
          </a:xfrm>
          <a:prstGeom prst="rect">
            <a:avLst/>
          </a:prstGeom>
        </p:spPr>
      </p:pic>
      <p:pic>
        <p:nvPicPr>
          <p:cNvPr id="106" name="Bloem1"/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0" y="4838701"/>
            <a:ext cx="1371448" cy="2019299"/>
          </a:xfrm>
          <a:prstGeom prst="rect">
            <a:avLst/>
          </a:prstGeom>
        </p:spPr>
      </p:pic>
      <p:pic>
        <p:nvPicPr>
          <p:cNvPr id="107" name="Bloem 2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6050" y="5546816"/>
            <a:ext cx="1268102" cy="1311184"/>
          </a:xfrm>
          <a:prstGeom prst="rect">
            <a:avLst/>
          </a:prstGeom>
        </p:spPr>
      </p:pic>
      <p:pic>
        <p:nvPicPr>
          <p:cNvPr id="108" name="Graspol rechts"/>
          <p:cNvPicPr>
            <a:picLocks noChangeAspect="1"/>
          </p:cNvPicPr>
          <p:nvPr userDrawn="1"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48899" y="5475521"/>
            <a:ext cx="1951349" cy="1377846"/>
          </a:xfrm>
          <a:prstGeom prst="rect">
            <a:avLst/>
          </a:prstGeom>
        </p:spPr>
      </p:pic>
      <p:pic>
        <p:nvPicPr>
          <p:cNvPr id="109" name="Graspol links"/>
          <p:cNvPicPr>
            <a:picLocks noChangeAspect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5029199"/>
            <a:ext cx="1513197" cy="1828801"/>
          </a:xfrm>
          <a:prstGeom prst="rect">
            <a:avLst/>
          </a:prstGeom>
        </p:spPr>
      </p:pic>
      <p:pic>
        <p:nvPicPr>
          <p:cNvPr id="110" name="Gras_voor"/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5287367"/>
            <a:ext cx="12208496" cy="1570633"/>
          </a:xfrm>
          <a:prstGeom prst="rect">
            <a:avLst/>
          </a:prstGeom>
        </p:spPr>
      </p:pic>
      <p:pic>
        <p:nvPicPr>
          <p:cNvPr id="111" name="Bloem_blur"/>
          <p:cNvPicPr>
            <a:picLocks noChangeAspect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4957904"/>
            <a:ext cx="12208496" cy="1900096"/>
          </a:xfrm>
          <a:prstGeom prst="rect">
            <a:avLst/>
          </a:prstGeom>
        </p:spPr>
      </p:pic>
      <p:grpSp>
        <p:nvGrpSpPr>
          <p:cNvPr id="35" name="Logo"/>
          <p:cNvGrpSpPr/>
          <p:nvPr userDrawn="1"/>
        </p:nvGrpSpPr>
        <p:grpSpPr>
          <a:xfrm>
            <a:off x="536692" y="543619"/>
            <a:ext cx="2189507" cy="1159485"/>
            <a:chOff x="1516063" y="1006475"/>
            <a:chExt cx="9155113" cy="4848225"/>
          </a:xfrm>
        </p:grpSpPr>
        <p:sp>
          <p:nvSpPr>
            <p:cNvPr id="36" name="Freeform 6"/>
            <p:cNvSpPr>
              <a:spLocks/>
            </p:cNvSpPr>
            <p:nvPr userDrawn="1"/>
          </p:nvSpPr>
          <p:spPr bwMode="auto">
            <a:xfrm>
              <a:off x="5629276" y="4187825"/>
              <a:ext cx="406400" cy="471488"/>
            </a:xfrm>
            <a:custGeom>
              <a:avLst/>
              <a:gdLst>
                <a:gd name="T0" fmla="*/ 131 w 256"/>
                <a:gd name="T1" fmla="*/ 0 h 297"/>
                <a:gd name="T2" fmla="*/ 163 w 256"/>
                <a:gd name="T3" fmla="*/ 3 h 297"/>
                <a:gd name="T4" fmla="*/ 191 w 256"/>
                <a:gd name="T5" fmla="*/ 14 h 297"/>
                <a:gd name="T6" fmla="*/ 212 w 256"/>
                <a:gd name="T7" fmla="*/ 28 h 297"/>
                <a:gd name="T8" fmla="*/ 231 w 256"/>
                <a:gd name="T9" fmla="*/ 47 h 297"/>
                <a:gd name="T10" fmla="*/ 243 w 256"/>
                <a:gd name="T11" fmla="*/ 70 h 297"/>
                <a:gd name="T12" fmla="*/ 252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3 w 256"/>
                <a:gd name="T21" fmla="*/ 297 h 297"/>
                <a:gd name="T22" fmla="*/ 173 w 256"/>
                <a:gd name="T23" fmla="*/ 140 h 297"/>
                <a:gd name="T24" fmla="*/ 173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1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1" y="0"/>
                  </a:moveTo>
                  <a:lnTo>
                    <a:pt x="163" y="3"/>
                  </a:lnTo>
                  <a:lnTo>
                    <a:pt x="191" y="14"/>
                  </a:lnTo>
                  <a:lnTo>
                    <a:pt x="212" y="28"/>
                  </a:lnTo>
                  <a:lnTo>
                    <a:pt x="231" y="47"/>
                  </a:lnTo>
                  <a:lnTo>
                    <a:pt x="243" y="70"/>
                  </a:lnTo>
                  <a:lnTo>
                    <a:pt x="252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8863013" y="4187825"/>
              <a:ext cx="406400" cy="471488"/>
            </a:xfrm>
            <a:custGeom>
              <a:avLst/>
              <a:gdLst>
                <a:gd name="T0" fmla="*/ 130 w 256"/>
                <a:gd name="T1" fmla="*/ 0 h 297"/>
                <a:gd name="T2" fmla="*/ 163 w 256"/>
                <a:gd name="T3" fmla="*/ 3 h 297"/>
                <a:gd name="T4" fmla="*/ 189 w 256"/>
                <a:gd name="T5" fmla="*/ 14 h 297"/>
                <a:gd name="T6" fmla="*/ 212 w 256"/>
                <a:gd name="T7" fmla="*/ 28 h 297"/>
                <a:gd name="T8" fmla="*/ 229 w 256"/>
                <a:gd name="T9" fmla="*/ 47 h 297"/>
                <a:gd name="T10" fmla="*/ 243 w 256"/>
                <a:gd name="T11" fmla="*/ 70 h 297"/>
                <a:gd name="T12" fmla="*/ 250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2 w 256"/>
                <a:gd name="T21" fmla="*/ 297 h 297"/>
                <a:gd name="T22" fmla="*/ 173 w 256"/>
                <a:gd name="T23" fmla="*/ 140 h 297"/>
                <a:gd name="T24" fmla="*/ 172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0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0" y="0"/>
                  </a:moveTo>
                  <a:lnTo>
                    <a:pt x="163" y="3"/>
                  </a:lnTo>
                  <a:lnTo>
                    <a:pt x="189" y="14"/>
                  </a:lnTo>
                  <a:lnTo>
                    <a:pt x="212" y="28"/>
                  </a:lnTo>
                  <a:lnTo>
                    <a:pt x="229" y="47"/>
                  </a:lnTo>
                  <a:lnTo>
                    <a:pt x="243" y="70"/>
                  </a:lnTo>
                  <a:lnTo>
                    <a:pt x="250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2" y="297"/>
                  </a:lnTo>
                  <a:lnTo>
                    <a:pt x="173" y="140"/>
                  </a:lnTo>
                  <a:lnTo>
                    <a:pt x="172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/>
            <p:cNvSpPr>
              <a:spLocks noEditPoints="1"/>
            </p:cNvSpPr>
            <p:nvPr userDrawn="1"/>
          </p:nvSpPr>
          <p:spPr bwMode="auto">
            <a:xfrm>
              <a:off x="5153026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2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1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8 w 253"/>
                <a:gd name="T51" fmla="*/ 295 h 299"/>
                <a:gd name="T52" fmla="*/ 188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6 w 253"/>
                <a:gd name="T61" fmla="*/ 280 h 299"/>
                <a:gd name="T62" fmla="*/ 167 w 253"/>
                <a:gd name="T63" fmla="*/ 287 h 299"/>
                <a:gd name="T64" fmla="*/ 155 w 253"/>
                <a:gd name="T65" fmla="*/ 292 h 299"/>
                <a:gd name="T66" fmla="*/ 139 w 253"/>
                <a:gd name="T67" fmla="*/ 297 h 299"/>
                <a:gd name="T68" fmla="*/ 118 w 253"/>
                <a:gd name="T69" fmla="*/ 299 h 299"/>
                <a:gd name="T70" fmla="*/ 87 w 253"/>
                <a:gd name="T71" fmla="*/ 294 h 299"/>
                <a:gd name="T72" fmla="*/ 59 w 253"/>
                <a:gd name="T73" fmla="*/ 278 h 299"/>
                <a:gd name="T74" fmla="*/ 34 w 253"/>
                <a:gd name="T75" fmla="*/ 253 h 299"/>
                <a:gd name="T76" fmla="*/ 15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7 w 253"/>
                <a:gd name="T87" fmla="*/ 57 h 299"/>
                <a:gd name="T88" fmla="*/ 48 w 253"/>
                <a:gd name="T89" fmla="*/ 36 h 299"/>
                <a:gd name="T90" fmla="*/ 71 w 253"/>
                <a:gd name="T91" fmla="*/ 21 h 299"/>
                <a:gd name="T92" fmla="*/ 97 w 253"/>
                <a:gd name="T93" fmla="*/ 8 h 299"/>
                <a:gd name="T94" fmla="*/ 125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2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1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8" y="295"/>
                  </a:lnTo>
                  <a:lnTo>
                    <a:pt x="188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6" y="280"/>
                  </a:lnTo>
                  <a:lnTo>
                    <a:pt x="167" y="287"/>
                  </a:lnTo>
                  <a:lnTo>
                    <a:pt x="155" y="292"/>
                  </a:lnTo>
                  <a:lnTo>
                    <a:pt x="139" y="297"/>
                  </a:lnTo>
                  <a:lnTo>
                    <a:pt x="118" y="299"/>
                  </a:lnTo>
                  <a:lnTo>
                    <a:pt x="87" y="294"/>
                  </a:lnTo>
                  <a:lnTo>
                    <a:pt x="59" y="278"/>
                  </a:lnTo>
                  <a:lnTo>
                    <a:pt x="34" y="253"/>
                  </a:lnTo>
                  <a:lnTo>
                    <a:pt x="15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7" y="57"/>
                  </a:lnTo>
                  <a:lnTo>
                    <a:pt x="48" y="36"/>
                  </a:lnTo>
                  <a:lnTo>
                    <a:pt x="71" y="21"/>
                  </a:lnTo>
                  <a:lnTo>
                    <a:pt x="97" y="8"/>
                  </a:lnTo>
                  <a:lnTo>
                    <a:pt x="125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/>
            <p:cNvSpPr>
              <a:spLocks noEditPoints="1"/>
            </p:cNvSpPr>
            <p:nvPr userDrawn="1"/>
          </p:nvSpPr>
          <p:spPr bwMode="auto">
            <a:xfrm>
              <a:off x="69850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9 w 253"/>
                <a:gd name="T41" fmla="*/ 5 h 299"/>
                <a:gd name="T42" fmla="*/ 234 w 253"/>
                <a:gd name="T43" fmla="*/ 10 h 299"/>
                <a:gd name="T44" fmla="*/ 253 w 253"/>
                <a:gd name="T45" fmla="*/ 15 h 299"/>
                <a:gd name="T46" fmla="*/ 253 w 253"/>
                <a:gd name="T47" fmla="*/ 295 h 299"/>
                <a:gd name="T48" fmla="*/ 190 w 253"/>
                <a:gd name="T49" fmla="*/ 295 h 299"/>
                <a:gd name="T50" fmla="*/ 190 w 253"/>
                <a:gd name="T51" fmla="*/ 295 h 299"/>
                <a:gd name="T52" fmla="*/ 188 w 253"/>
                <a:gd name="T53" fmla="*/ 292 h 299"/>
                <a:gd name="T54" fmla="*/ 187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4 w 253"/>
                <a:gd name="T61" fmla="*/ 281 h 299"/>
                <a:gd name="T62" fmla="*/ 162 w 253"/>
                <a:gd name="T63" fmla="*/ 290 h 299"/>
                <a:gd name="T64" fmla="*/ 145 w 253"/>
                <a:gd name="T65" fmla="*/ 297 h 299"/>
                <a:gd name="T66" fmla="*/ 118 w 253"/>
                <a:gd name="T67" fmla="*/ 299 h 299"/>
                <a:gd name="T68" fmla="*/ 89 w 253"/>
                <a:gd name="T69" fmla="*/ 294 h 299"/>
                <a:gd name="T70" fmla="*/ 61 w 253"/>
                <a:gd name="T71" fmla="*/ 278 h 299"/>
                <a:gd name="T72" fmla="*/ 36 w 253"/>
                <a:gd name="T73" fmla="*/ 253 h 299"/>
                <a:gd name="T74" fmla="*/ 17 w 253"/>
                <a:gd name="T75" fmla="*/ 222 h 299"/>
                <a:gd name="T76" fmla="*/ 5 w 253"/>
                <a:gd name="T77" fmla="*/ 185 h 299"/>
                <a:gd name="T78" fmla="*/ 0 w 253"/>
                <a:gd name="T79" fmla="*/ 147 h 299"/>
                <a:gd name="T80" fmla="*/ 3 w 253"/>
                <a:gd name="T81" fmla="*/ 112 h 299"/>
                <a:gd name="T82" fmla="*/ 14 w 253"/>
                <a:gd name="T83" fmla="*/ 82 h 299"/>
                <a:gd name="T84" fmla="*/ 29 w 253"/>
                <a:gd name="T85" fmla="*/ 57 h 299"/>
                <a:gd name="T86" fmla="*/ 48 w 253"/>
                <a:gd name="T87" fmla="*/ 36 h 299"/>
                <a:gd name="T88" fmla="*/ 73 w 253"/>
                <a:gd name="T89" fmla="*/ 21 h 299"/>
                <a:gd name="T90" fmla="*/ 99 w 253"/>
                <a:gd name="T91" fmla="*/ 8 h 299"/>
                <a:gd name="T92" fmla="*/ 127 w 253"/>
                <a:gd name="T93" fmla="*/ 1 h 299"/>
                <a:gd name="T94" fmla="*/ 155 w 253"/>
                <a:gd name="T95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9" y="5"/>
                  </a:lnTo>
                  <a:lnTo>
                    <a:pt x="234" y="10"/>
                  </a:lnTo>
                  <a:lnTo>
                    <a:pt x="253" y="15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90" y="295"/>
                  </a:lnTo>
                  <a:lnTo>
                    <a:pt x="188" y="292"/>
                  </a:lnTo>
                  <a:lnTo>
                    <a:pt x="187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4" y="281"/>
                  </a:lnTo>
                  <a:lnTo>
                    <a:pt x="162" y="290"/>
                  </a:lnTo>
                  <a:lnTo>
                    <a:pt x="145" y="297"/>
                  </a:lnTo>
                  <a:lnTo>
                    <a:pt x="118" y="299"/>
                  </a:lnTo>
                  <a:lnTo>
                    <a:pt x="89" y="294"/>
                  </a:lnTo>
                  <a:lnTo>
                    <a:pt x="61" y="278"/>
                  </a:lnTo>
                  <a:lnTo>
                    <a:pt x="36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9" y="57"/>
                  </a:lnTo>
                  <a:lnTo>
                    <a:pt x="48" y="36"/>
                  </a:lnTo>
                  <a:lnTo>
                    <a:pt x="73" y="21"/>
                  </a:lnTo>
                  <a:lnTo>
                    <a:pt x="99" y="8"/>
                  </a:lnTo>
                  <a:lnTo>
                    <a:pt x="127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/>
            <p:cNvSpPr>
              <a:spLocks noEditPoints="1"/>
            </p:cNvSpPr>
            <p:nvPr userDrawn="1"/>
          </p:nvSpPr>
          <p:spPr bwMode="auto">
            <a:xfrm>
              <a:off x="93218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6 w 253"/>
                <a:gd name="T21" fmla="*/ 234 h 299"/>
                <a:gd name="T22" fmla="*/ 136 w 253"/>
                <a:gd name="T23" fmla="*/ 236 h 299"/>
                <a:gd name="T24" fmla="*/ 154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2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3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9 w 253"/>
                <a:gd name="T51" fmla="*/ 295 h 299"/>
                <a:gd name="T52" fmla="*/ 189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2 w 253"/>
                <a:gd name="T59" fmla="*/ 276 h 299"/>
                <a:gd name="T60" fmla="*/ 176 w 253"/>
                <a:gd name="T61" fmla="*/ 280 h 299"/>
                <a:gd name="T62" fmla="*/ 168 w 253"/>
                <a:gd name="T63" fmla="*/ 287 h 299"/>
                <a:gd name="T64" fmla="*/ 155 w 253"/>
                <a:gd name="T65" fmla="*/ 292 h 299"/>
                <a:gd name="T66" fmla="*/ 140 w 253"/>
                <a:gd name="T67" fmla="*/ 297 h 299"/>
                <a:gd name="T68" fmla="*/ 119 w 253"/>
                <a:gd name="T69" fmla="*/ 299 h 299"/>
                <a:gd name="T70" fmla="*/ 89 w 253"/>
                <a:gd name="T71" fmla="*/ 294 h 299"/>
                <a:gd name="T72" fmla="*/ 59 w 253"/>
                <a:gd name="T73" fmla="*/ 278 h 299"/>
                <a:gd name="T74" fmla="*/ 35 w 253"/>
                <a:gd name="T75" fmla="*/ 253 h 299"/>
                <a:gd name="T76" fmla="*/ 17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8 w 253"/>
                <a:gd name="T87" fmla="*/ 57 h 299"/>
                <a:gd name="T88" fmla="*/ 49 w 253"/>
                <a:gd name="T89" fmla="*/ 36 h 299"/>
                <a:gd name="T90" fmla="*/ 71 w 253"/>
                <a:gd name="T91" fmla="*/ 21 h 299"/>
                <a:gd name="T92" fmla="*/ 98 w 253"/>
                <a:gd name="T93" fmla="*/ 8 h 299"/>
                <a:gd name="T94" fmla="*/ 126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6" y="234"/>
                  </a:lnTo>
                  <a:lnTo>
                    <a:pt x="136" y="236"/>
                  </a:lnTo>
                  <a:lnTo>
                    <a:pt x="154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2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3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9" y="295"/>
                  </a:lnTo>
                  <a:lnTo>
                    <a:pt x="189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2" y="276"/>
                  </a:lnTo>
                  <a:lnTo>
                    <a:pt x="176" y="280"/>
                  </a:lnTo>
                  <a:lnTo>
                    <a:pt x="168" y="287"/>
                  </a:lnTo>
                  <a:lnTo>
                    <a:pt x="155" y="292"/>
                  </a:lnTo>
                  <a:lnTo>
                    <a:pt x="140" y="297"/>
                  </a:lnTo>
                  <a:lnTo>
                    <a:pt x="119" y="299"/>
                  </a:lnTo>
                  <a:lnTo>
                    <a:pt x="89" y="294"/>
                  </a:lnTo>
                  <a:lnTo>
                    <a:pt x="59" y="278"/>
                  </a:lnTo>
                  <a:lnTo>
                    <a:pt x="35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8" y="57"/>
                  </a:lnTo>
                  <a:lnTo>
                    <a:pt x="49" y="36"/>
                  </a:lnTo>
                  <a:lnTo>
                    <a:pt x="71" y="21"/>
                  </a:lnTo>
                  <a:lnTo>
                    <a:pt x="98" y="8"/>
                  </a:lnTo>
                  <a:lnTo>
                    <a:pt x="126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/>
            <p:cNvSpPr>
              <a:spLocks/>
            </p:cNvSpPr>
            <p:nvPr userDrawn="1"/>
          </p:nvSpPr>
          <p:spPr bwMode="auto">
            <a:xfrm>
              <a:off x="7461251" y="4187825"/>
              <a:ext cx="681038" cy="471488"/>
            </a:xfrm>
            <a:custGeom>
              <a:avLst/>
              <a:gdLst>
                <a:gd name="T0" fmla="*/ 131 w 429"/>
                <a:gd name="T1" fmla="*/ 0 h 297"/>
                <a:gd name="T2" fmla="*/ 161 w 429"/>
                <a:gd name="T3" fmla="*/ 3 h 297"/>
                <a:gd name="T4" fmla="*/ 186 w 429"/>
                <a:gd name="T5" fmla="*/ 10 h 297"/>
                <a:gd name="T6" fmla="*/ 207 w 429"/>
                <a:gd name="T7" fmla="*/ 23 h 297"/>
                <a:gd name="T8" fmla="*/ 235 w 429"/>
                <a:gd name="T9" fmla="*/ 12 h 297"/>
                <a:gd name="T10" fmla="*/ 268 w 429"/>
                <a:gd name="T11" fmla="*/ 3 h 297"/>
                <a:gd name="T12" fmla="*/ 304 w 429"/>
                <a:gd name="T13" fmla="*/ 0 h 297"/>
                <a:gd name="T14" fmla="*/ 336 w 429"/>
                <a:gd name="T15" fmla="*/ 3 h 297"/>
                <a:gd name="T16" fmla="*/ 364 w 429"/>
                <a:gd name="T17" fmla="*/ 14 h 297"/>
                <a:gd name="T18" fmla="*/ 385 w 429"/>
                <a:gd name="T19" fmla="*/ 28 h 297"/>
                <a:gd name="T20" fmla="*/ 404 w 429"/>
                <a:gd name="T21" fmla="*/ 47 h 297"/>
                <a:gd name="T22" fmla="*/ 416 w 429"/>
                <a:gd name="T23" fmla="*/ 70 h 297"/>
                <a:gd name="T24" fmla="*/ 425 w 429"/>
                <a:gd name="T25" fmla="*/ 98 h 297"/>
                <a:gd name="T26" fmla="*/ 427 w 429"/>
                <a:gd name="T27" fmla="*/ 122 h 297"/>
                <a:gd name="T28" fmla="*/ 429 w 429"/>
                <a:gd name="T29" fmla="*/ 156 h 297"/>
                <a:gd name="T30" fmla="*/ 429 w 429"/>
                <a:gd name="T31" fmla="*/ 297 h 297"/>
                <a:gd name="T32" fmla="*/ 346 w 429"/>
                <a:gd name="T33" fmla="*/ 297 h 297"/>
                <a:gd name="T34" fmla="*/ 346 w 429"/>
                <a:gd name="T35" fmla="*/ 140 h 297"/>
                <a:gd name="T36" fmla="*/ 346 w 429"/>
                <a:gd name="T37" fmla="*/ 119 h 297"/>
                <a:gd name="T38" fmla="*/ 345 w 429"/>
                <a:gd name="T39" fmla="*/ 100 h 297"/>
                <a:gd name="T40" fmla="*/ 339 w 429"/>
                <a:gd name="T41" fmla="*/ 84 h 297"/>
                <a:gd name="T42" fmla="*/ 329 w 429"/>
                <a:gd name="T43" fmla="*/ 73 h 297"/>
                <a:gd name="T44" fmla="*/ 315 w 429"/>
                <a:gd name="T45" fmla="*/ 66 h 297"/>
                <a:gd name="T46" fmla="*/ 296 w 429"/>
                <a:gd name="T47" fmla="*/ 63 h 297"/>
                <a:gd name="T48" fmla="*/ 280 w 429"/>
                <a:gd name="T49" fmla="*/ 65 h 297"/>
                <a:gd name="T50" fmla="*/ 263 w 429"/>
                <a:gd name="T51" fmla="*/ 68 h 297"/>
                <a:gd name="T52" fmla="*/ 247 w 429"/>
                <a:gd name="T53" fmla="*/ 75 h 297"/>
                <a:gd name="T54" fmla="*/ 249 w 429"/>
                <a:gd name="T55" fmla="*/ 80 h 297"/>
                <a:gd name="T56" fmla="*/ 252 w 429"/>
                <a:gd name="T57" fmla="*/ 94 h 297"/>
                <a:gd name="T58" fmla="*/ 256 w 429"/>
                <a:gd name="T59" fmla="*/ 114 h 297"/>
                <a:gd name="T60" fmla="*/ 257 w 429"/>
                <a:gd name="T61" fmla="*/ 138 h 297"/>
                <a:gd name="T62" fmla="*/ 257 w 429"/>
                <a:gd name="T63" fmla="*/ 297 h 297"/>
                <a:gd name="T64" fmla="*/ 173 w 429"/>
                <a:gd name="T65" fmla="*/ 297 h 297"/>
                <a:gd name="T66" fmla="*/ 173 w 429"/>
                <a:gd name="T67" fmla="*/ 140 h 297"/>
                <a:gd name="T68" fmla="*/ 173 w 429"/>
                <a:gd name="T69" fmla="*/ 117 h 297"/>
                <a:gd name="T70" fmla="*/ 170 w 429"/>
                <a:gd name="T71" fmla="*/ 98 h 297"/>
                <a:gd name="T72" fmla="*/ 165 w 429"/>
                <a:gd name="T73" fmla="*/ 84 h 297"/>
                <a:gd name="T74" fmla="*/ 156 w 429"/>
                <a:gd name="T75" fmla="*/ 72 h 297"/>
                <a:gd name="T76" fmla="*/ 142 w 429"/>
                <a:gd name="T77" fmla="*/ 66 h 297"/>
                <a:gd name="T78" fmla="*/ 123 w 429"/>
                <a:gd name="T79" fmla="*/ 63 h 297"/>
                <a:gd name="T80" fmla="*/ 103 w 429"/>
                <a:gd name="T81" fmla="*/ 65 h 297"/>
                <a:gd name="T82" fmla="*/ 84 w 429"/>
                <a:gd name="T83" fmla="*/ 70 h 297"/>
                <a:gd name="T84" fmla="*/ 84 w 429"/>
                <a:gd name="T85" fmla="*/ 297 h 297"/>
                <a:gd name="T86" fmla="*/ 0 w 429"/>
                <a:gd name="T87" fmla="*/ 297 h 297"/>
                <a:gd name="T88" fmla="*/ 0 w 429"/>
                <a:gd name="T89" fmla="*/ 26 h 297"/>
                <a:gd name="T90" fmla="*/ 39 w 429"/>
                <a:gd name="T91" fmla="*/ 14 h 297"/>
                <a:gd name="T92" fmla="*/ 84 w 429"/>
                <a:gd name="T93" fmla="*/ 5 h 297"/>
                <a:gd name="T94" fmla="*/ 131 w 429"/>
                <a:gd name="T95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9" h="297">
                  <a:moveTo>
                    <a:pt x="131" y="0"/>
                  </a:moveTo>
                  <a:lnTo>
                    <a:pt x="161" y="3"/>
                  </a:lnTo>
                  <a:lnTo>
                    <a:pt x="186" y="10"/>
                  </a:lnTo>
                  <a:lnTo>
                    <a:pt x="207" y="23"/>
                  </a:lnTo>
                  <a:lnTo>
                    <a:pt x="235" y="12"/>
                  </a:lnTo>
                  <a:lnTo>
                    <a:pt x="268" y="3"/>
                  </a:lnTo>
                  <a:lnTo>
                    <a:pt x="304" y="0"/>
                  </a:lnTo>
                  <a:lnTo>
                    <a:pt x="336" y="3"/>
                  </a:lnTo>
                  <a:lnTo>
                    <a:pt x="364" y="14"/>
                  </a:lnTo>
                  <a:lnTo>
                    <a:pt x="385" y="28"/>
                  </a:lnTo>
                  <a:lnTo>
                    <a:pt x="404" y="47"/>
                  </a:lnTo>
                  <a:lnTo>
                    <a:pt x="416" y="70"/>
                  </a:lnTo>
                  <a:lnTo>
                    <a:pt x="425" y="98"/>
                  </a:lnTo>
                  <a:lnTo>
                    <a:pt x="427" y="122"/>
                  </a:lnTo>
                  <a:lnTo>
                    <a:pt x="429" y="156"/>
                  </a:lnTo>
                  <a:lnTo>
                    <a:pt x="429" y="297"/>
                  </a:lnTo>
                  <a:lnTo>
                    <a:pt x="346" y="297"/>
                  </a:lnTo>
                  <a:lnTo>
                    <a:pt x="346" y="140"/>
                  </a:lnTo>
                  <a:lnTo>
                    <a:pt x="346" y="119"/>
                  </a:lnTo>
                  <a:lnTo>
                    <a:pt x="345" y="100"/>
                  </a:lnTo>
                  <a:lnTo>
                    <a:pt x="339" y="84"/>
                  </a:lnTo>
                  <a:lnTo>
                    <a:pt x="329" y="73"/>
                  </a:lnTo>
                  <a:lnTo>
                    <a:pt x="315" y="66"/>
                  </a:lnTo>
                  <a:lnTo>
                    <a:pt x="296" y="63"/>
                  </a:lnTo>
                  <a:lnTo>
                    <a:pt x="280" y="65"/>
                  </a:lnTo>
                  <a:lnTo>
                    <a:pt x="263" y="68"/>
                  </a:lnTo>
                  <a:lnTo>
                    <a:pt x="247" y="75"/>
                  </a:lnTo>
                  <a:lnTo>
                    <a:pt x="249" y="80"/>
                  </a:lnTo>
                  <a:lnTo>
                    <a:pt x="252" y="94"/>
                  </a:lnTo>
                  <a:lnTo>
                    <a:pt x="256" y="114"/>
                  </a:lnTo>
                  <a:lnTo>
                    <a:pt x="257" y="138"/>
                  </a:lnTo>
                  <a:lnTo>
                    <a:pt x="257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7"/>
                  </a:lnTo>
                  <a:lnTo>
                    <a:pt x="170" y="98"/>
                  </a:lnTo>
                  <a:lnTo>
                    <a:pt x="165" y="84"/>
                  </a:lnTo>
                  <a:lnTo>
                    <a:pt x="156" y="72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4" y="70"/>
                  </a:lnTo>
                  <a:lnTo>
                    <a:pt x="84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39" y="14"/>
                  </a:lnTo>
                  <a:lnTo>
                    <a:pt x="84" y="5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"/>
            <p:cNvSpPr>
              <a:spLocks noEditPoints="1"/>
            </p:cNvSpPr>
            <p:nvPr userDrawn="1"/>
          </p:nvSpPr>
          <p:spPr bwMode="auto">
            <a:xfrm>
              <a:off x="8205788" y="4191000"/>
              <a:ext cx="396875" cy="685800"/>
            </a:xfrm>
            <a:custGeom>
              <a:avLst/>
              <a:gdLst>
                <a:gd name="T0" fmla="*/ 105 w 250"/>
                <a:gd name="T1" fmla="*/ 61 h 432"/>
                <a:gd name="T2" fmla="*/ 96 w 250"/>
                <a:gd name="T3" fmla="*/ 61 h 432"/>
                <a:gd name="T4" fmla="*/ 89 w 250"/>
                <a:gd name="T5" fmla="*/ 61 h 432"/>
                <a:gd name="T6" fmla="*/ 82 w 250"/>
                <a:gd name="T7" fmla="*/ 61 h 432"/>
                <a:gd name="T8" fmla="*/ 82 w 250"/>
                <a:gd name="T9" fmla="*/ 234 h 432"/>
                <a:gd name="T10" fmla="*/ 87 w 250"/>
                <a:gd name="T11" fmla="*/ 238 h 432"/>
                <a:gd name="T12" fmla="*/ 96 w 250"/>
                <a:gd name="T13" fmla="*/ 239 h 432"/>
                <a:gd name="T14" fmla="*/ 108 w 250"/>
                <a:gd name="T15" fmla="*/ 239 h 432"/>
                <a:gd name="T16" fmla="*/ 122 w 250"/>
                <a:gd name="T17" fmla="*/ 238 h 432"/>
                <a:gd name="T18" fmla="*/ 136 w 250"/>
                <a:gd name="T19" fmla="*/ 232 h 432"/>
                <a:gd name="T20" fmla="*/ 148 w 250"/>
                <a:gd name="T21" fmla="*/ 222 h 432"/>
                <a:gd name="T22" fmla="*/ 159 w 250"/>
                <a:gd name="T23" fmla="*/ 203 h 432"/>
                <a:gd name="T24" fmla="*/ 166 w 250"/>
                <a:gd name="T25" fmla="*/ 178 h 432"/>
                <a:gd name="T26" fmla="*/ 168 w 250"/>
                <a:gd name="T27" fmla="*/ 143 h 432"/>
                <a:gd name="T28" fmla="*/ 162 w 250"/>
                <a:gd name="T29" fmla="*/ 115 h 432"/>
                <a:gd name="T30" fmla="*/ 152 w 250"/>
                <a:gd name="T31" fmla="*/ 92 h 432"/>
                <a:gd name="T32" fmla="*/ 138 w 250"/>
                <a:gd name="T33" fmla="*/ 75 h 432"/>
                <a:gd name="T34" fmla="*/ 122 w 250"/>
                <a:gd name="T35" fmla="*/ 64 h 432"/>
                <a:gd name="T36" fmla="*/ 105 w 250"/>
                <a:gd name="T37" fmla="*/ 61 h 432"/>
                <a:gd name="T38" fmla="*/ 98 w 250"/>
                <a:gd name="T39" fmla="*/ 0 h 432"/>
                <a:gd name="T40" fmla="*/ 122 w 250"/>
                <a:gd name="T41" fmla="*/ 1 h 432"/>
                <a:gd name="T42" fmla="*/ 147 w 250"/>
                <a:gd name="T43" fmla="*/ 7 h 432"/>
                <a:gd name="T44" fmla="*/ 171 w 250"/>
                <a:gd name="T45" fmla="*/ 15 h 432"/>
                <a:gd name="T46" fmla="*/ 194 w 250"/>
                <a:gd name="T47" fmla="*/ 28 h 432"/>
                <a:gd name="T48" fmla="*/ 213 w 250"/>
                <a:gd name="T49" fmla="*/ 45 h 432"/>
                <a:gd name="T50" fmla="*/ 229 w 250"/>
                <a:gd name="T51" fmla="*/ 66 h 432"/>
                <a:gd name="T52" fmla="*/ 241 w 250"/>
                <a:gd name="T53" fmla="*/ 91 h 432"/>
                <a:gd name="T54" fmla="*/ 248 w 250"/>
                <a:gd name="T55" fmla="*/ 120 h 432"/>
                <a:gd name="T56" fmla="*/ 250 w 250"/>
                <a:gd name="T57" fmla="*/ 155 h 432"/>
                <a:gd name="T58" fmla="*/ 246 w 250"/>
                <a:gd name="T59" fmla="*/ 194 h 432"/>
                <a:gd name="T60" fmla="*/ 238 w 250"/>
                <a:gd name="T61" fmla="*/ 222 h 432"/>
                <a:gd name="T62" fmla="*/ 224 w 250"/>
                <a:gd name="T63" fmla="*/ 248 h 432"/>
                <a:gd name="T64" fmla="*/ 206 w 250"/>
                <a:gd name="T65" fmla="*/ 269 h 432"/>
                <a:gd name="T66" fmla="*/ 185 w 250"/>
                <a:gd name="T67" fmla="*/ 285 h 432"/>
                <a:gd name="T68" fmla="*/ 159 w 250"/>
                <a:gd name="T69" fmla="*/ 295 h 432"/>
                <a:gd name="T70" fmla="*/ 129 w 250"/>
                <a:gd name="T71" fmla="*/ 299 h 432"/>
                <a:gd name="T72" fmla="*/ 112 w 250"/>
                <a:gd name="T73" fmla="*/ 297 h 432"/>
                <a:gd name="T74" fmla="*/ 94 w 250"/>
                <a:gd name="T75" fmla="*/ 294 h 432"/>
                <a:gd name="T76" fmla="*/ 82 w 250"/>
                <a:gd name="T77" fmla="*/ 290 h 432"/>
                <a:gd name="T78" fmla="*/ 82 w 250"/>
                <a:gd name="T79" fmla="*/ 432 h 432"/>
                <a:gd name="T80" fmla="*/ 0 w 250"/>
                <a:gd name="T81" fmla="*/ 432 h 432"/>
                <a:gd name="T82" fmla="*/ 0 w 250"/>
                <a:gd name="T83" fmla="*/ 12 h 432"/>
                <a:gd name="T84" fmla="*/ 28 w 250"/>
                <a:gd name="T85" fmla="*/ 5 h 432"/>
                <a:gd name="T86" fmla="*/ 61 w 250"/>
                <a:gd name="T87" fmla="*/ 1 h 432"/>
                <a:gd name="T88" fmla="*/ 98 w 250"/>
                <a:gd name="T89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0" h="432">
                  <a:moveTo>
                    <a:pt x="105" y="61"/>
                  </a:moveTo>
                  <a:lnTo>
                    <a:pt x="96" y="61"/>
                  </a:lnTo>
                  <a:lnTo>
                    <a:pt x="89" y="61"/>
                  </a:lnTo>
                  <a:lnTo>
                    <a:pt x="82" y="61"/>
                  </a:lnTo>
                  <a:lnTo>
                    <a:pt x="82" y="234"/>
                  </a:lnTo>
                  <a:lnTo>
                    <a:pt x="87" y="238"/>
                  </a:lnTo>
                  <a:lnTo>
                    <a:pt x="96" y="239"/>
                  </a:lnTo>
                  <a:lnTo>
                    <a:pt x="108" y="239"/>
                  </a:lnTo>
                  <a:lnTo>
                    <a:pt x="122" y="238"/>
                  </a:lnTo>
                  <a:lnTo>
                    <a:pt x="136" y="232"/>
                  </a:lnTo>
                  <a:lnTo>
                    <a:pt x="148" y="222"/>
                  </a:lnTo>
                  <a:lnTo>
                    <a:pt x="159" y="203"/>
                  </a:lnTo>
                  <a:lnTo>
                    <a:pt x="166" y="178"/>
                  </a:lnTo>
                  <a:lnTo>
                    <a:pt x="168" y="143"/>
                  </a:lnTo>
                  <a:lnTo>
                    <a:pt x="162" y="115"/>
                  </a:lnTo>
                  <a:lnTo>
                    <a:pt x="152" y="92"/>
                  </a:lnTo>
                  <a:lnTo>
                    <a:pt x="138" y="75"/>
                  </a:lnTo>
                  <a:lnTo>
                    <a:pt x="122" y="64"/>
                  </a:lnTo>
                  <a:lnTo>
                    <a:pt x="105" y="61"/>
                  </a:lnTo>
                  <a:close/>
                  <a:moveTo>
                    <a:pt x="98" y="0"/>
                  </a:moveTo>
                  <a:lnTo>
                    <a:pt x="122" y="1"/>
                  </a:lnTo>
                  <a:lnTo>
                    <a:pt x="147" y="7"/>
                  </a:lnTo>
                  <a:lnTo>
                    <a:pt x="171" y="15"/>
                  </a:lnTo>
                  <a:lnTo>
                    <a:pt x="194" y="28"/>
                  </a:lnTo>
                  <a:lnTo>
                    <a:pt x="213" y="45"/>
                  </a:lnTo>
                  <a:lnTo>
                    <a:pt x="229" y="66"/>
                  </a:lnTo>
                  <a:lnTo>
                    <a:pt x="241" y="91"/>
                  </a:lnTo>
                  <a:lnTo>
                    <a:pt x="248" y="120"/>
                  </a:lnTo>
                  <a:lnTo>
                    <a:pt x="250" y="155"/>
                  </a:lnTo>
                  <a:lnTo>
                    <a:pt x="246" y="194"/>
                  </a:lnTo>
                  <a:lnTo>
                    <a:pt x="238" y="222"/>
                  </a:lnTo>
                  <a:lnTo>
                    <a:pt x="224" y="248"/>
                  </a:lnTo>
                  <a:lnTo>
                    <a:pt x="206" y="269"/>
                  </a:lnTo>
                  <a:lnTo>
                    <a:pt x="185" y="285"/>
                  </a:lnTo>
                  <a:lnTo>
                    <a:pt x="159" y="295"/>
                  </a:lnTo>
                  <a:lnTo>
                    <a:pt x="129" y="299"/>
                  </a:lnTo>
                  <a:lnTo>
                    <a:pt x="112" y="297"/>
                  </a:lnTo>
                  <a:lnTo>
                    <a:pt x="94" y="294"/>
                  </a:lnTo>
                  <a:lnTo>
                    <a:pt x="82" y="290"/>
                  </a:lnTo>
                  <a:lnTo>
                    <a:pt x="82" y="432"/>
                  </a:lnTo>
                  <a:lnTo>
                    <a:pt x="0" y="432"/>
                  </a:lnTo>
                  <a:lnTo>
                    <a:pt x="0" y="12"/>
                  </a:lnTo>
                  <a:lnTo>
                    <a:pt x="28" y="5"/>
                  </a:lnTo>
                  <a:lnTo>
                    <a:pt x="61" y="1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"/>
            <p:cNvSpPr>
              <a:spLocks/>
            </p:cNvSpPr>
            <p:nvPr userDrawn="1"/>
          </p:nvSpPr>
          <p:spPr bwMode="auto">
            <a:xfrm>
              <a:off x="4591051" y="4187825"/>
              <a:ext cx="311150" cy="485775"/>
            </a:xfrm>
            <a:custGeom>
              <a:avLst/>
              <a:gdLst>
                <a:gd name="T0" fmla="*/ 91 w 196"/>
                <a:gd name="T1" fmla="*/ 0 h 306"/>
                <a:gd name="T2" fmla="*/ 110 w 196"/>
                <a:gd name="T3" fmla="*/ 2 h 306"/>
                <a:gd name="T4" fmla="*/ 128 w 196"/>
                <a:gd name="T5" fmla="*/ 3 h 306"/>
                <a:gd name="T6" fmla="*/ 145 w 196"/>
                <a:gd name="T7" fmla="*/ 9 h 306"/>
                <a:gd name="T8" fmla="*/ 168 w 196"/>
                <a:gd name="T9" fmla="*/ 17 h 306"/>
                <a:gd name="T10" fmla="*/ 168 w 196"/>
                <a:gd name="T11" fmla="*/ 79 h 306"/>
                <a:gd name="T12" fmla="*/ 149 w 196"/>
                <a:gd name="T13" fmla="*/ 68 h 306"/>
                <a:gd name="T14" fmla="*/ 131 w 196"/>
                <a:gd name="T15" fmla="*/ 61 h 306"/>
                <a:gd name="T16" fmla="*/ 117 w 196"/>
                <a:gd name="T17" fmla="*/ 58 h 306"/>
                <a:gd name="T18" fmla="*/ 102 w 196"/>
                <a:gd name="T19" fmla="*/ 56 h 306"/>
                <a:gd name="T20" fmla="*/ 89 w 196"/>
                <a:gd name="T21" fmla="*/ 59 h 306"/>
                <a:gd name="T22" fmla="*/ 81 w 196"/>
                <a:gd name="T23" fmla="*/ 65 h 306"/>
                <a:gd name="T24" fmla="*/ 76 w 196"/>
                <a:gd name="T25" fmla="*/ 72 h 306"/>
                <a:gd name="T26" fmla="*/ 74 w 196"/>
                <a:gd name="T27" fmla="*/ 80 h 306"/>
                <a:gd name="T28" fmla="*/ 74 w 196"/>
                <a:gd name="T29" fmla="*/ 87 h 306"/>
                <a:gd name="T30" fmla="*/ 83 w 196"/>
                <a:gd name="T31" fmla="*/ 100 h 306"/>
                <a:gd name="T32" fmla="*/ 100 w 196"/>
                <a:gd name="T33" fmla="*/ 112 h 306"/>
                <a:gd name="T34" fmla="*/ 128 w 196"/>
                <a:gd name="T35" fmla="*/ 128 h 306"/>
                <a:gd name="T36" fmla="*/ 151 w 196"/>
                <a:gd name="T37" fmla="*/ 142 h 306"/>
                <a:gd name="T38" fmla="*/ 170 w 196"/>
                <a:gd name="T39" fmla="*/ 157 h 306"/>
                <a:gd name="T40" fmla="*/ 184 w 196"/>
                <a:gd name="T41" fmla="*/ 178 h 306"/>
                <a:gd name="T42" fmla="*/ 194 w 196"/>
                <a:gd name="T43" fmla="*/ 205 h 306"/>
                <a:gd name="T44" fmla="*/ 196 w 196"/>
                <a:gd name="T45" fmla="*/ 233 h 306"/>
                <a:gd name="T46" fmla="*/ 191 w 196"/>
                <a:gd name="T47" fmla="*/ 255 h 306"/>
                <a:gd name="T48" fmla="*/ 179 w 196"/>
                <a:gd name="T49" fmla="*/ 275 h 306"/>
                <a:gd name="T50" fmla="*/ 161 w 196"/>
                <a:gd name="T51" fmla="*/ 289 h 306"/>
                <a:gd name="T52" fmla="*/ 138 w 196"/>
                <a:gd name="T53" fmla="*/ 299 h 306"/>
                <a:gd name="T54" fmla="*/ 112 w 196"/>
                <a:gd name="T55" fmla="*/ 304 h 306"/>
                <a:gd name="T56" fmla="*/ 83 w 196"/>
                <a:gd name="T57" fmla="*/ 306 h 306"/>
                <a:gd name="T58" fmla="*/ 55 w 196"/>
                <a:gd name="T59" fmla="*/ 304 h 306"/>
                <a:gd name="T60" fmla="*/ 30 w 196"/>
                <a:gd name="T61" fmla="*/ 299 h 306"/>
                <a:gd name="T62" fmla="*/ 7 w 196"/>
                <a:gd name="T63" fmla="*/ 292 h 306"/>
                <a:gd name="T64" fmla="*/ 7 w 196"/>
                <a:gd name="T65" fmla="*/ 229 h 306"/>
                <a:gd name="T66" fmla="*/ 30 w 196"/>
                <a:gd name="T67" fmla="*/ 240 h 306"/>
                <a:gd name="T68" fmla="*/ 51 w 196"/>
                <a:gd name="T69" fmla="*/ 248 h 306"/>
                <a:gd name="T70" fmla="*/ 74 w 196"/>
                <a:gd name="T71" fmla="*/ 254 h 306"/>
                <a:gd name="T72" fmla="*/ 93 w 196"/>
                <a:gd name="T73" fmla="*/ 250 h 306"/>
                <a:gd name="T74" fmla="*/ 107 w 196"/>
                <a:gd name="T75" fmla="*/ 245 h 306"/>
                <a:gd name="T76" fmla="*/ 114 w 196"/>
                <a:gd name="T77" fmla="*/ 236 h 306"/>
                <a:gd name="T78" fmla="*/ 117 w 196"/>
                <a:gd name="T79" fmla="*/ 226 h 306"/>
                <a:gd name="T80" fmla="*/ 117 w 196"/>
                <a:gd name="T81" fmla="*/ 215 h 306"/>
                <a:gd name="T82" fmla="*/ 109 w 196"/>
                <a:gd name="T83" fmla="*/ 201 h 306"/>
                <a:gd name="T84" fmla="*/ 95 w 196"/>
                <a:gd name="T85" fmla="*/ 187 h 306"/>
                <a:gd name="T86" fmla="*/ 76 w 196"/>
                <a:gd name="T87" fmla="*/ 175 h 306"/>
                <a:gd name="T88" fmla="*/ 55 w 196"/>
                <a:gd name="T89" fmla="*/ 161 h 306"/>
                <a:gd name="T90" fmla="*/ 37 w 196"/>
                <a:gd name="T91" fmla="*/ 149 h 306"/>
                <a:gd name="T92" fmla="*/ 21 w 196"/>
                <a:gd name="T93" fmla="*/ 133 h 306"/>
                <a:gd name="T94" fmla="*/ 9 w 196"/>
                <a:gd name="T95" fmla="*/ 115 h 306"/>
                <a:gd name="T96" fmla="*/ 2 w 196"/>
                <a:gd name="T97" fmla="*/ 93 h 306"/>
                <a:gd name="T98" fmla="*/ 0 w 196"/>
                <a:gd name="T99" fmla="*/ 68 h 306"/>
                <a:gd name="T100" fmla="*/ 6 w 196"/>
                <a:gd name="T101" fmla="*/ 47 h 306"/>
                <a:gd name="T102" fmla="*/ 14 w 196"/>
                <a:gd name="T103" fmla="*/ 30 h 306"/>
                <a:gd name="T104" fmla="*/ 30 w 196"/>
                <a:gd name="T105" fmla="*/ 17 h 306"/>
                <a:gd name="T106" fmla="*/ 48 w 196"/>
                <a:gd name="T107" fmla="*/ 9 h 306"/>
                <a:gd name="T108" fmla="*/ 69 w 196"/>
                <a:gd name="T109" fmla="*/ 2 h 306"/>
                <a:gd name="T110" fmla="*/ 91 w 196"/>
                <a:gd name="T111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6" h="306">
                  <a:moveTo>
                    <a:pt x="91" y="0"/>
                  </a:moveTo>
                  <a:lnTo>
                    <a:pt x="110" y="2"/>
                  </a:lnTo>
                  <a:lnTo>
                    <a:pt x="128" y="3"/>
                  </a:lnTo>
                  <a:lnTo>
                    <a:pt x="145" y="9"/>
                  </a:lnTo>
                  <a:lnTo>
                    <a:pt x="168" y="17"/>
                  </a:lnTo>
                  <a:lnTo>
                    <a:pt x="168" y="79"/>
                  </a:lnTo>
                  <a:lnTo>
                    <a:pt x="149" y="68"/>
                  </a:lnTo>
                  <a:lnTo>
                    <a:pt x="131" y="61"/>
                  </a:lnTo>
                  <a:lnTo>
                    <a:pt x="117" y="58"/>
                  </a:lnTo>
                  <a:lnTo>
                    <a:pt x="102" y="56"/>
                  </a:lnTo>
                  <a:lnTo>
                    <a:pt x="89" y="59"/>
                  </a:lnTo>
                  <a:lnTo>
                    <a:pt x="81" y="65"/>
                  </a:lnTo>
                  <a:lnTo>
                    <a:pt x="76" y="72"/>
                  </a:lnTo>
                  <a:lnTo>
                    <a:pt x="74" y="80"/>
                  </a:lnTo>
                  <a:lnTo>
                    <a:pt x="74" y="87"/>
                  </a:lnTo>
                  <a:lnTo>
                    <a:pt x="83" y="100"/>
                  </a:lnTo>
                  <a:lnTo>
                    <a:pt x="100" y="112"/>
                  </a:lnTo>
                  <a:lnTo>
                    <a:pt x="128" y="128"/>
                  </a:lnTo>
                  <a:lnTo>
                    <a:pt x="151" y="142"/>
                  </a:lnTo>
                  <a:lnTo>
                    <a:pt x="170" y="157"/>
                  </a:lnTo>
                  <a:lnTo>
                    <a:pt x="184" y="178"/>
                  </a:lnTo>
                  <a:lnTo>
                    <a:pt x="194" y="205"/>
                  </a:lnTo>
                  <a:lnTo>
                    <a:pt x="196" y="233"/>
                  </a:lnTo>
                  <a:lnTo>
                    <a:pt x="191" y="255"/>
                  </a:lnTo>
                  <a:lnTo>
                    <a:pt x="179" y="275"/>
                  </a:lnTo>
                  <a:lnTo>
                    <a:pt x="161" y="289"/>
                  </a:lnTo>
                  <a:lnTo>
                    <a:pt x="138" y="299"/>
                  </a:lnTo>
                  <a:lnTo>
                    <a:pt x="112" y="304"/>
                  </a:lnTo>
                  <a:lnTo>
                    <a:pt x="83" y="306"/>
                  </a:lnTo>
                  <a:lnTo>
                    <a:pt x="55" y="304"/>
                  </a:lnTo>
                  <a:lnTo>
                    <a:pt x="30" y="299"/>
                  </a:lnTo>
                  <a:lnTo>
                    <a:pt x="7" y="292"/>
                  </a:lnTo>
                  <a:lnTo>
                    <a:pt x="7" y="229"/>
                  </a:lnTo>
                  <a:lnTo>
                    <a:pt x="30" y="240"/>
                  </a:lnTo>
                  <a:lnTo>
                    <a:pt x="51" y="248"/>
                  </a:lnTo>
                  <a:lnTo>
                    <a:pt x="74" y="254"/>
                  </a:lnTo>
                  <a:lnTo>
                    <a:pt x="93" y="250"/>
                  </a:lnTo>
                  <a:lnTo>
                    <a:pt x="107" y="245"/>
                  </a:lnTo>
                  <a:lnTo>
                    <a:pt x="114" y="236"/>
                  </a:lnTo>
                  <a:lnTo>
                    <a:pt x="117" y="226"/>
                  </a:lnTo>
                  <a:lnTo>
                    <a:pt x="117" y="215"/>
                  </a:lnTo>
                  <a:lnTo>
                    <a:pt x="109" y="201"/>
                  </a:lnTo>
                  <a:lnTo>
                    <a:pt x="95" y="187"/>
                  </a:lnTo>
                  <a:lnTo>
                    <a:pt x="76" y="175"/>
                  </a:lnTo>
                  <a:lnTo>
                    <a:pt x="55" y="161"/>
                  </a:lnTo>
                  <a:lnTo>
                    <a:pt x="37" y="149"/>
                  </a:lnTo>
                  <a:lnTo>
                    <a:pt x="21" y="133"/>
                  </a:lnTo>
                  <a:lnTo>
                    <a:pt x="9" y="115"/>
                  </a:lnTo>
                  <a:lnTo>
                    <a:pt x="2" y="93"/>
                  </a:lnTo>
                  <a:lnTo>
                    <a:pt x="0" y="68"/>
                  </a:lnTo>
                  <a:lnTo>
                    <a:pt x="6" y="47"/>
                  </a:lnTo>
                  <a:lnTo>
                    <a:pt x="14" y="30"/>
                  </a:lnTo>
                  <a:lnTo>
                    <a:pt x="30" y="17"/>
                  </a:lnTo>
                  <a:lnTo>
                    <a:pt x="48" y="9"/>
                  </a:lnTo>
                  <a:lnTo>
                    <a:pt x="69" y="2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4"/>
            <p:cNvSpPr>
              <a:spLocks/>
            </p:cNvSpPr>
            <p:nvPr userDrawn="1"/>
          </p:nvSpPr>
          <p:spPr bwMode="auto">
            <a:xfrm>
              <a:off x="3719513" y="4195763"/>
              <a:ext cx="230188" cy="463550"/>
            </a:xfrm>
            <a:custGeom>
              <a:avLst/>
              <a:gdLst>
                <a:gd name="T0" fmla="*/ 140 w 145"/>
                <a:gd name="T1" fmla="*/ 0 h 292"/>
                <a:gd name="T2" fmla="*/ 145 w 145"/>
                <a:gd name="T3" fmla="*/ 0 h 292"/>
                <a:gd name="T4" fmla="*/ 145 w 145"/>
                <a:gd name="T5" fmla="*/ 61 h 292"/>
                <a:gd name="T6" fmla="*/ 138 w 145"/>
                <a:gd name="T7" fmla="*/ 61 h 292"/>
                <a:gd name="T8" fmla="*/ 133 w 145"/>
                <a:gd name="T9" fmla="*/ 61 h 292"/>
                <a:gd name="T10" fmla="*/ 117 w 145"/>
                <a:gd name="T11" fmla="*/ 61 h 292"/>
                <a:gd name="T12" fmla="*/ 98 w 145"/>
                <a:gd name="T13" fmla="*/ 63 h 292"/>
                <a:gd name="T14" fmla="*/ 82 w 145"/>
                <a:gd name="T15" fmla="*/ 68 h 292"/>
                <a:gd name="T16" fmla="*/ 84 w 145"/>
                <a:gd name="T17" fmla="*/ 292 h 292"/>
                <a:gd name="T18" fmla="*/ 0 w 145"/>
                <a:gd name="T19" fmla="*/ 292 h 292"/>
                <a:gd name="T20" fmla="*/ 0 w 145"/>
                <a:gd name="T21" fmla="*/ 25 h 292"/>
                <a:gd name="T22" fmla="*/ 21 w 145"/>
                <a:gd name="T23" fmla="*/ 18 h 292"/>
                <a:gd name="T24" fmla="*/ 44 w 145"/>
                <a:gd name="T25" fmla="*/ 11 h 292"/>
                <a:gd name="T26" fmla="*/ 72 w 145"/>
                <a:gd name="T27" fmla="*/ 5 h 292"/>
                <a:gd name="T28" fmla="*/ 103 w 145"/>
                <a:gd name="T29" fmla="*/ 2 h 292"/>
                <a:gd name="T30" fmla="*/ 140 w 145"/>
                <a:gd name="T3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92">
                  <a:moveTo>
                    <a:pt x="140" y="0"/>
                  </a:moveTo>
                  <a:lnTo>
                    <a:pt x="145" y="0"/>
                  </a:lnTo>
                  <a:lnTo>
                    <a:pt x="145" y="61"/>
                  </a:lnTo>
                  <a:lnTo>
                    <a:pt x="138" y="61"/>
                  </a:lnTo>
                  <a:lnTo>
                    <a:pt x="133" y="61"/>
                  </a:lnTo>
                  <a:lnTo>
                    <a:pt x="117" y="61"/>
                  </a:lnTo>
                  <a:lnTo>
                    <a:pt x="98" y="63"/>
                  </a:lnTo>
                  <a:lnTo>
                    <a:pt x="82" y="68"/>
                  </a:lnTo>
                  <a:lnTo>
                    <a:pt x="84" y="292"/>
                  </a:lnTo>
                  <a:lnTo>
                    <a:pt x="0" y="292"/>
                  </a:lnTo>
                  <a:lnTo>
                    <a:pt x="0" y="25"/>
                  </a:lnTo>
                  <a:lnTo>
                    <a:pt x="21" y="18"/>
                  </a:lnTo>
                  <a:lnTo>
                    <a:pt x="44" y="11"/>
                  </a:lnTo>
                  <a:lnTo>
                    <a:pt x="72" y="5"/>
                  </a:lnTo>
                  <a:lnTo>
                    <a:pt x="103" y="2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 userDrawn="1"/>
          </p:nvSpPr>
          <p:spPr bwMode="auto">
            <a:xfrm>
              <a:off x="4003676" y="4191000"/>
              <a:ext cx="127000" cy="468313"/>
            </a:xfrm>
            <a:custGeom>
              <a:avLst/>
              <a:gdLst>
                <a:gd name="T0" fmla="*/ 40 w 80"/>
                <a:gd name="T1" fmla="*/ 0 h 295"/>
                <a:gd name="T2" fmla="*/ 61 w 80"/>
                <a:gd name="T3" fmla="*/ 1 h 295"/>
                <a:gd name="T4" fmla="*/ 73 w 80"/>
                <a:gd name="T5" fmla="*/ 1 h 295"/>
                <a:gd name="T6" fmla="*/ 78 w 80"/>
                <a:gd name="T7" fmla="*/ 3 h 295"/>
                <a:gd name="T8" fmla="*/ 80 w 80"/>
                <a:gd name="T9" fmla="*/ 3 h 295"/>
                <a:gd name="T10" fmla="*/ 80 w 80"/>
                <a:gd name="T11" fmla="*/ 295 h 295"/>
                <a:gd name="T12" fmla="*/ 0 w 80"/>
                <a:gd name="T13" fmla="*/ 295 h 295"/>
                <a:gd name="T14" fmla="*/ 0 w 80"/>
                <a:gd name="T15" fmla="*/ 3 h 295"/>
                <a:gd name="T16" fmla="*/ 1 w 80"/>
                <a:gd name="T17" fmla="*/ 3 h 295"/>
                <a:gd name="T18" fmla="*/ 8 w 80"/>
                <a:gd name="T19" fmla="*/ 1 h 295"/>
                <a:gd name="T20" fmla="*/ 21 w 80"/>
                <a:gd name="T21" fmla="*/ 1 h 295"/>
                <a:gd name="T22" fmla="*/ 40 w 80"/>
                <a:gd name="T23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295">
                  <a:moveTo>
                    <a:pt x="40" y="0"/>
                  </a:moveTo>
                  <a:lnTo>
                    <a:pt x="61" y="1"/>
                  </a:lnTo>
                  <a:lnTo>
                    <a:pt x="73" y="1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0" y="295"/>
                  </a:lnTo>
                  <a:lnTo>
                    <a:pt x="0" y="295"/>
                  </a:lnTo>
                  <a:lnTo>
                    <a:pt x="0" y="3"/>
                  </a:lnTo>
                  <a:lnTo>
                    <a:pt x="1" y="3"/>
                  </a:lnTo>
                  <a:lnTo>
                    <a:pt x="8" y="1"/>
                  </a:lnTo>
                  <a:lnTo>
                    <a:pt x="21" y="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6"/>
            <p:cNvSpPr>
              <a:spLocks/>
            </p:cNvSpPr>
            <p:nvPr userDrawn="1"/>
          </p:nvSpPr>
          <p:spPr bwMode="auto">
            <a:xfrm>
              <a:off x="4943476" y="4043363"/>
              <a:ext cx="217488" cy="630238"/>
            </a:xfrm>
            <a:custGeom>
              <a:avLst/>
              <a:gdLst>
                <a:gd name="T0" fmla="*/ 42 w 137"/>
                <a:gd name="T1" fmla="*/ 0 h 397"/>
                <a:gd name="T2" fmla="*/ 63 w 137"/>
                <a:gd name="T3" fmla="*/ 0 h 397"/>
                <a:gd name="T4" fmla="*/ 76 w 137"/>
                <a:gd name="T5" fmla="*/ 2 h 397"/>
                <a:gd name="T6" fmla="*/ 83 w 137"/>
                <a:gd name="T7" fmla="*/ 3 h 397"/>
                <a:gd name="T8" fmla="*/ 84 w 137"/>
                <a:gd name="T9" fmla="*/ 3 h 397"/>
                <a:gd name="T10" fmla="*/ 84 w 137"/>
                <a:gd name="T11" fmla="*/ 289 h 397"/>
                <a:gd name="T12" fmla="*/ 86 w 137"/>
                <a:gd name="T13" fmla="*/ 306 h 397"/>
                <a:gd name="T14" fmla="*/ 90 w 137"/>
                <a:gd name="T15" fmla="*/ 317 h 397"/>
                <a:gd name="T16" fmla="*/ 98 w 137"/>
                <a:gd name="T17" fmla="*/ 324 h 397"/>
                <a:gd name="T18" fmla="*/ 109 w 137"/>
                <a:gd name="T19" fmla="*/ 325 h 397"/>
                <a:gd name="T20" fmla="*/ 114 w 137"/>
                <a:gd name="T21" fmla="*/ 325 h 397"/>
                <a:gd name="T22" fmla="*/ 119 w 137"/>
                <a:gd name="T23" fmla="*/ 324 h 397"/>
                <a:gd name="T24" fmla="*/ 137 w 137"/>
                <a:gd name="T25" fmla="*/ 390 h 397"/>
                <a:gd name="T26" fmla="*/ 116 w 137"/>
                <a:gd name="T27" fmla="*/ 395 h 397"/>
                <a:gd name="T28" fmla="*/ 88 w 137"/>
                <a:gd name="T29" fmla="*/ 397 h 397"/>
                <a:gd name="T30" fmla="*/ 74 w 137"/>
                <a:gd name="T31" fmla="*/ 397 h 397"/>
                <a:gd name="T32" fmla="*/ 60 w 137"/>
                <a:gd name="T33" fmla="*/ 394 h 397"/>
                <a:gd name="T34" fmla="*/ 46 w 137"/>
                <a:gd name="T35" fmla="*/ 388 h 397"/>
                <a:gd name="T36" fmla="*/ 32 w 137"/>
                <a:gd name="T37" fmla="*/ 380 h 397"/>
                <a:gd name="T38" fmla="*/ 20 w 137"/>
                <a:gd name="T39" fmla="*/ 366 h 397"/>
                <a:gd name="T40" fmla="*/ 9 w 137"/>
                <a:gd name="T41" fmla="*/ 348 h 397"/>
                <a:gd name="T42" fmla="*/ 4 w 137"/>
                <a:gd name="T43" fmla="*/ 324 h 397"/>
                <a:gd name="T44" fmla="*/ 0 w 137"/>
                <a:gd name="T45" fmla="*/ 292 h 397"/>
                <a:gd name="T46" fmla="*/ 0 w 137"/>
                <a:gd name="T47" fmla="*/ 3 h 397"/>
                <a:gd name="T48" fmla="*/ 2 w 137"/>
                <a:gd name="T49" fmla="*/ 3 h 397"/>
                <a:gd name="T50" fmla="*/ 4 w 137"/>
                <a:gd name="T51" fmla="*/ 3 h 397"/>
                <a:gd name="T52" fmla="*/ 11 w 137"/>
                <a:gd name="T53" fmla="*/ 2 h 397"/>
                <a:gd name="T54" fmla="*/ 23 w 137"/>
                <a:gd name="T55" fmla="*/ 0 h 397"/>
                <a:gd name="T56" fmla="*/ 42 w 137"/>
                <a:gd name="T5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397">
                  <a:moveTo>
                    <a:pt x="42" y="0"/>
                  </a:moveTo>
                  <a:lnTo>
                    <a:pt x="63" y="0"/>
                  </a:lnTo>
                  <a:lnTo>
                    <a:pt x="76" y="2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289"/>
                  </a:lnTo>
                  <a:lnTo>
                    <a:pt x="86" y="306"/>
                  </a:lnTo>
                  <a:lnTo>
                    <a:pt x="90" y="317"/>
                  </a:lnTo>
                  <a:lnTo>
                    <a:pt x="98" y="324"/>
                  </a:lnTo>
                  <a:lnTo>
                    <a:pt x="109" y="325"/>
                  </a:lnTo>
                  <a:lnTo>
                    <a:pt x="114" y="325"/>
                  </a:lnTo>
                  <a:lnTo>
                    <a:pt x="119" y="324"/>
                  </a:lnTo>
                  <a:lnTo>
                    <a:pt x="137" y="390"/>
                  </a:lnTo>
                  <a:lnTo>
                    <a:pt x="116" y="395"/>
                  </a:lnTo>
                  <a:lnTo>
                    <a:pt x="88" y="397"/>
                  </a:lnTo>
                  <a:lnTo>
                    <a:pt x="74" y="397"/>
                  </a:lnTo>
                  <a:lnTo>
                    <a:pt x="60" y="394"/>
                  </a:lnTo>
                  <a:lnTo>
                    <a:pt x="46" y="388"/>
                  </a:lnTo>
                  <a:lnTo>
                    <a:pt x="32" y="380"/>
                  </a:lnTo>
                  <a:lnTo>
                    <a:pt x="20" y="366"/>
                  </a:lnTo>
                  <a:lnTo>
                    <a:pt x="9" y="348"/>
                  </a:lnTo>
                  <a:lnTo>
                    <a:pt x="4" y="324"/>
                  </a:lnTo>
                  <a:lnTo>
                    <a:pt x="0" y="292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7"/>
            <p:cNvSpPr>
              <a:spLocks/>
            </p:cNvSpPr>
            <p:nvPr userDrawn="1"/>
          </p:nvSpPr>
          <p:spPr bwMode="auto">
            <a:xfrm>
              <a:off x="8655051" y="4195763"/>
              <a:ext cx="130175" cy="463550"/>
            </a:xfrm>
            <a:custGeom>
              <a:avLst/>
              <a:gdLst>
                <a:gd name="T0" fmla="*/ 42 w 82"/>
                <a:gd name="T1" fmla="*/ 0 h 292"/>
                <a:gd name="T2" fmla="*/ 63 w 82"/>
                <a:gd name="T3" fmla="*/ 0 h 292"/>
                <a:gd name="T4" fmla="*/ 75 w 82"/>
                <a:gd name="T5" fmla="*/ 2 h 292"/>
                <a:gd name="T6" fmla="*/ 81 w 82"/>
                <a:gd name="T7" fmla="*/ 5 h 292"/>
                <a:gd name="T8" fmla="*/ 82 w 82"/>
                <a:gd name="T9" fmla="*/ 5 h 292"/>
                <a:gd name="T10" fmla="*/ 82 w 82"/>
                <a:gd name="T11" fmla="*/ 292 h 292"/>
                <a:gd name="T12" fmla="*/ 0 w 82"/>
                <a:gd name="T13" fmla="*/ 292 h 292"/>
                <a:gd name="T14" fmla="*/ 2 w 82"/>
                <a:gd name="T15" fmla="*/ 5 h 292"/>
                <a:gd name="T16" fmla="*/ 4 w 82"/>
                <a:gd name="T17" fmla="*/ 5 h 292"/>
                <a:gd name="T18" fmla="*/ 11 w 82"/>
                <a:gd name="T19" fmla="*/ 2 h 292"/>
                <a:gd name="T20" fmla="*/ 23 w 82"/>
                <a:gd name="T21" fmla="*/ 0 h 292"/>
                <a:gd name="T22" fmla="*/ 42 w 82"/>
                <a:gd name="T2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292">
                  <a:moveTo>
                    <a:pt x="42" y="0"/>
                  </a:moveTo>
                  <a:lnTo>
                    <a:pt x="63" y="0"/>
                  </a:lnTo>
                  <a:lnTo>
                    <a:pt x="75" y="2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292"/>
                  </a:lnTo>
                  <a:lnTo>
                    <a:pt x="0" y="292"/>
                  </a:lnTo>
                  <a:lnTo>
                    <a:pt x="2" y="5"/>
                  </a:lnTo>
                  <a:lnTo>
                    <a:pt x="4" y="5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8"/>
            <p:cNvSpPr>
              <a:spLocks/>
            </p:cNvSpPr>
            <p:nvPr userDrawn="1"/>
          </p:nvSpPr>
          <p:spPr bwMode="auto">
            <a:xfrm>
              <a:off x="6584951" y="4043363"/>
              <a:ext cx="422275" cy="636588"/>
            </a:xfrm>
            <a:custGeom>
              <a:avLst/>
              <a:gdLst>
                <a:gd name="T0" fmla="*/ 166 w 266"/>
                <a:gd name="T1" fmla="*/ 0 h 401"/>
                <a:gd name="T2" fmla="*/ 199 w 266"/>
                <a:gd name="T3" fmla="*/ 3 h 401"/>
                <a:gd name="T4" fmla="*/ 225 w 266"/>
                <a:gd name="T5" fmla="*/ 10 h 401"/>
                <a:gd name="T6" fmla="*/ 248 w 266"/>
                <a:gd name="T7" fmla="*/ 21 h 401"/>
                <a:gd name="T8" fmla="*/ 266 w 266"/>
                <a:gd name="T9" fmla="*/ 35 h 401"/>
                <a:gd name="T10" fmla="*/ 224 w 266"/>
                <a:gd name="T11" fmla="*/ 91 h 401"/>
                <a:gd name="T12" fmla="*/ 204 w 266"/>
                <a:gd name="T13" fmla="*/ 77 h 401"/>
                <a:gd name="T14" fmla="*/ 183 w 266"/>
                <a:gd name="T15" fmla="*/ 72 h 401"/>
                <a:gd name="T16" fmla="*/ 166 w 266"/>
                <a:gd name="T17" fmla="*/ 70 h 401"/>
                <a:gd name="T18" fmla="*/ 143 w 266"/>
                <a:gd name="T19" fmla="*/ 73 h 401"/>
                <a:gd name="T20" fmla="*/ 124 w 266"/>
                <a:gd name="T21" fmla="*/ 84 h 401"/>
                <a:gd name="T22" fmla="*/ 110 w 266"/>
                <a:gd name="T23" fmla="*/ 100 h 401"/>
                <a:gd name="T24" fmla="*/ 101 w 266"/>
                <a:gd name="T25" fmla="*/ 121 h 401"/>
                <a:gd name="T26" fmla="*/ 94 w 266"/>
                <a:gd name="T27" fmla="*/ 145 h 401"/>
                <a:gd name="T28" fmla="*/ 91 w 266"/>
                <a:gd name="T29" fmla="*/ 171 h 401"/>
                <a:gd name="T30" fmla="*/ 89 w 266"/>
                <a:gd name="T31" fmla="*/ 199 h 401"/>
                <a:gd name="T32" fmla="*/ 91 w 266"/>
                <a:gd name="T33" fmla="*/ 229 h 401"/>
                <a:gd name="T34" fmla="*/ 94 w 266"/>
                <a:gd name="T35" fmla="*/ 257 h 401"/>
                <a:gd name="T36" fmla="*/ 103 w 266"/>
                <a:gd name="T37" fmla="*/ 282 h 401"/>
                <a:gd name="T38" fmla="*/ 113 w 266"/>
                <a:gd name="T39" fmla="*/ 301 h 401"/>
                <a:gd name="T40" fmla="*/ 127 w 266"/>
                <a:gd name="T41" fmla="*/ 317 h 401"/>
                <a:gd name="T42" fmla="*/ 147 w 266"/>
                <a:gd name="T43" fmla="*/ 327 h 401"/>
                <a:gd name="T44" fmla="*/ 168 w 266"/>
                <a:gd name="T45" fmla="*/ 329 h 401"/>
                <a:gd name="T46" fmla="*/ 199 w 266"/>
                <a:gd name="T47" fmla="*/ 325 h 401"/>
                <a:gd name="T48" fmla="*/ 227 w 266"/>
                <a:gd name="T49" fmla="*/ 318 h 401"/>
                <a:gd name="T50" fmla="*/ 260 w 266"/>
                <a:gd name="T51" fmla="*/ 383 h 401"/>
                <a:gd name="T52" fmla="*/ 239 w 266"/>
                <a:gd name="T53" fmla="*/ 388 h 401"/>
                <a:gd name="T54" fmla="*/ 215 w 266"/>
                <a:gd name="T55" fmla="*/ 394 h 401"/>
                <a:gd name="T56" fmla="*/ 190 w 266"/>
                <a:gd name="T57" fmla="*/ 399 h 401"/>
                <a:gd name="T58" fmla="*/ 166 w 266"/>
                <a:gd name="T59" fmla="*/ 401 h 401"/>
                <a:gd name="T60" fmla="*/ 134 w 266"/>
                <a:gd name="T61" fmla="*/ 397 h 401"/>
                <a:gd name="T62" fmla="*/ 105 w 266"/>
                <a:gd name="T63" fmla="*/ 392 h 401"/>
                <a:gd name="T64" fmla="*/ 78 w 266"/>
                <a:gd name="T65" fmla="*/ 380 h 401"/>
                <a:gd name="T66" fmla="*/ 56 w 266"/>
                <a:gd name="T67" fmla="*/ 364 h 401"/>
                <a:gd name="T68" fmla="*/ 36 w 266"/>
                <a:gd name="T69" fmla="*/ 343 h 401"/>
                <a:gd name="T70" fmla="*/ 21 w 266"/>
                <a:gd name="T71" fmla="*/ 315 h 401"/>
                <a:gd name="T72" fmla="*/ 8 w 266"/>
                <a:gd name="T73" fmla="*/ 283 h 401"/>
                <a:gd name="T74" fmla="*/ 1 w 266"/>
                <a:gd name="T75" fmla="*/ 245 h 401"/>
                <a:gd name="T76" fmla="*/ 0 w 266"/>
                <a:gd name="T77" fmla="*/ 199 h 401"/>
                <a:gd name="T78" fmla="*/ 1 w 266"/>
                <a:gd name="T79" fmla="*/ 156 h 401"/>
                <a:gd name="T80" fmla="*/ 10 w 266"/>
                <a:gd name="T81" fmla="*/ 119 h 401"/>
                <a:gd name="T82" fmla="*/ 22 w 266"/>
                <a:gd name="T83" fmla="*/ 86 h 401"/>
                <a:gd name="T84" fmla="*/ 38 w 266"/>
                <a:gd name="T85" fmla="*/ 59 h 401"/>
                <a:gd name="T86" fmla="*/ 59 w 266"/>
                <a:gd name="T87" fmla="*/ 38 h 401"/>
                <a:gd name="T88" fmla="*/ 82 w 266"/>
                <a:gd name="T89" fmla="*/ 21 h 401"/>
                <a:gd name="T90" fmla="*/ 108 w 266"/>
                <a:gd name="T91" fmla="*/ 9 h 401"/>
                <a:gd name="T92" fmla="*/ 136 w 266"/>
                <a:gd name="T93" fmla="*/ 3 h 401"/>
                <a:gd name="T94" fmla="*/ 166 w 266"/>
                <a:gd name="T95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6" h="401">
                  <a:moveTo>
                    <a:pt x="166" y="0"/>
                  </a:moveTo>
                  <a:lnTo>
                    <a:pt x="199" y="3"/>
                  </a:lnTo>
                  <a:lnTo>
                    <a:pt x="225" y="10"/>
                  </a:lnTo>
                  <a:lnTo>
                    <a:pt x="248" y="21"/>
                  </a:lnTo>
                  <a:lnTo>
                    <a:pt x="266" y="35"/>
                  </a:lnTo>
                  <a:lnTo>
                    <a:pt x="224" y="91"/>
                  </a:lnTo>
                  <a:lnTo>
                    <a:pt x="204" y="77"/>
                  </a:lnTo>
                  <a:lnTo>
                    <a:pt x="183" y="72"/>
                  </a:lnTo>
                  <a:lnTo>
                    <a:pt x="166" y="70"/>
                  </a:lnTo>
                  <a:lnTo>
                    <a:pt x="143" y="73"/>
                  </a:lnTo>
                  <a:lnTo>
                    <a:pt x="124" y="84"/>
                  </a:lnTo>
                  <a:lnTo>
                    <a:pt x="110" y="100"/>
                  </a:lnTo>
                  <a:lnTo>
                    <a:pt x="101" y="121"/>
                  </a:lnTo>
                  <a:lnTo>
                    <a:pt x="94" y="145"/>
                  </a:lnTo>
                  <a:lnTo>
                    <a:pt x="91" y="171"/>
                  </a:lnTo>
                  <a:lnTo>
                    <a:pt x="89" y="199"/>
                  </a:lnTo>
                  <a:lnTo>
                    <a:pt x="91" y="229"/>
                  </a:lnTo>
                  <a:lnTo>
                    <a:pt x="94" y="257"/>
                  </a:lnTo>
                  <a:lnTo>
                    <a:pt x="103" y="282"/>
                  </a:lnTo>
                  <a:lnTo>
                    <a:pt x="113" y="301"/>
                  </a:lnTo>
                  <a:lnTo>
                    <a:pt x="127" y="317"/>
                  </a:lnTo>
                  <a:lnTo>
                    <a:pt x="147" y="327"/>
                  </a:lnTo>
                  <a:lnTo>
                    <a:pt x="168" y="329"/>
                  </a:lnTo>
                  <a:lnTo>
                    <a:pt x="199" y="325"/>
                  </a:lnTo>
                  <a:lnTo>
                    <a:pt x="227" y="318"/>
                  </a:lnTo>
                  <a:lnTo>
                    <a:pt x="260" y="383"/>
                  </a:lnTo>
                  <a:lnTo>
                    <a:pt x="239" y="388"/>
                  </a:lnTo>
                  <a:lnTo>
                    <a:pt x="215" y="394"/>
                  </a:lnTo>
                  <a:lnTo>
                    <a:pt x="190" y="399"/>
                  </a:lnTo>
                  <a:lnTo>
                    <a:pt x="166" y="401"/>
                  </a:lnTo>
                  <a:lnTo>
                    <a:pt x="134" y="397"/>
                  </a:lnTo>
                  <a:lnTo>
                    <a:pt x="105" y="392"/>
                  </a:lnTo>
                  <a:lnTo>
                    <a:pt x="78" y="380"/>
                  </a:lnTo>
                  <a:lnTo>
                    <a:pt x="56" y="364"/>
                  </a:lnTo>
                  <a:lnTo>
                    <a:pt x="36" y="343"/>
                  </a:lnTo>
                  <a:lnTo>
                    <a:pt x="21" y="315"/>
                  </a:lnTo>
                  <a:lnTo>
                    <a:pt x="8" y="283"/>
                  </a:lnTo>
                  <a:lnTo>
                    <a:pt x="1" y="245"/>
                  </a:lnTo>
                  <a:lnTo>
                    <a:pt x="0" y="199"/>
                  </a:lnTo>
                  <a:lnTo>
                    <a:pt x="1" y="156"/>
                  </a:lnTo>
                  <a:lnTo>
                    <a:pt x="10" y="119"/>
                  </a:lnTo>
                  <a:lnTo>
                    <a:pt x="22" y="86"/>
                  </a:lnTo>
                  <a:lnTo>
                    <a:pt x="38" y="59"/>
                  </a:lnTo>
                  <a:lnTo>
                    <a:pt x="59" y="38"/>
                  </a:lnTo>
                  <a:lnTo>
                    <a:pt x="82" y="21"/>
                  </a:lnTo>
                  <a:lnTo>
                    <a:pt x="108" y="9"/>
                  </a:lnTo>
                  <a:lnTo>
                    <a:pt x="136" y="3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9"/>
            <p:cNvSpPr>
              <a:spLocks noEditPoints="1"/>
            </p:cNvSpPr>
            <p:nvPr userDrawn="1"/>
          </p:nvSpPr>
          <p:spPr bwMode="auto">
            <a:xfrm>
              <a:off x="6092826" y="4043363"/>
              <a:ext cx="406400" cy="630238"/>
            </a:xfrm>
            <a:custGeom>
              <a:avLst/>
              <a:gdLst>
                <a:gd name="T0" fmla="*/ 156 w 256"/>
                <a:gd name="T1" fmla="*/ 152 h 397"/>
                <a:gd name="T2" fmla="*/ 137 w 256"/>
                <a:gd name="T3" fmla="*/ 152 h 397"/>
                <a:gd name="T4" fmla="*/ 117 w 256"/>
                <a:gd name="T5" fmla="*/ 159 h 397"/>
                <a:gd name="T6" fmla="*/ 103 w 256"/>
                <a:gd name="T7" fmla="*/ 175 h 397"/>
                <a:gd name="T8" fmla="*/ 93 w 256"/>
                <a:gd name="T9" fmla="*/ 196 h 397"/>
                <a:gd name="T10" fmla="*/ 86 w 256"/>
                <a:gd name="T11" fmla="*/ 220 h 397"/>
                <a:gd name="T12" fmla="*/ 84 w 256"/>
                <a:gd name="T13" fmla="*/ 247 h 397"/>
                <a:gd name="T14" fmla="*/ 86 w 256"/>
                <a:gd name="T15" fmla="*/ 273 h 397"/>
                <a:gd name="T16" fmla="*/ 93 w 256"/>
                <a:gd name="T17" fmla="*/ 297 h 397"/>
                <a:gd name="T18" fmla="*/ 102 w 256"/>
                <a:gd name="T19" fmla="*/ 313 h 397"/>
                <a:gd name="T20" fmla="*/ 112 w 256"/>
                <a:gd name="T21" fmla="*/ 324 h 397"/>
                <a:gd name="T22" fmla="*/ 124 w 256"/>
                <a:gd name="T23" fmla="*/ 331 h 397"/>
                <a:gd name="T24" fmla="*/ 135 w 256"/>
                <a:gd name="T25" fmla="*/ 332 h 397"/>
                <a:gd name="T26" fmla="*/ 154 w 256"/>
                <a:gd name="T27" fmla="*/ 329 h 397"/>
                <a:gd name="T28" fmla="*/ 172 w 256"/>
                <a:gd name="T29" fmla="*/ 317 h 397"/>
                <a:gd name="T30" fmla="*/ 172 w 256"/>
                <a:gd name="T31" fmla="*/ 156 h 397"/>
                <a:gd name="T32" fmla="*/ 156 w 256"/>
                <a:gd name="T33" fmla="*/ 152 h 397"/>
                <a:gd name="T34" fmla="*/ 214 w 256"/>
                <a:gd name="T35" fmla="*/ 0 h 397"/>
                <a:gd name="T36" fmla="*/ 235 w 256"/>
                <a:gd name="T37" fmla="*/ 0 h 397"/>
                <a:gd name="T38" fmla="*/ 247 w 256"/>
                <a:gd name="T39" fmla="*/ 2 h 397"/>
                <a:gd name="T40" fmla="*/ 254 w 256"/>
                <a:gd name="T41" fmla="*/ 3 h 397"/>
                <a:gd name="T42" fmla="*/ 256 w 256"/>
                <a:gd name="T43" fmla="*/ 3 h 397"/>
                <a:gd name="T44" fmla="*/ 256 w 256"/>
                <a:gd name="T45" fmla="*/ 388 h 397"/>
                <a:gd name="T46" fmla="*/ 193 w 256"/>
                <a:gd name="T47" fmla="*/ 388 h 397"/>
                <a:gd name="T48" fmla="*/ 184 w 256"/>
                <a:gd name="T49" fmla="*/ 373 h 397"/>
                <a:gd name="T50" fmla="*/ 165 w 256"/>
                <a:gd name="T51" fmla="*/ 385 h 397"/>
                <a:gd name="T52" fmla="*/ 145 w 256"/>
                <a:gd name="T53" fmla="*/ 394 h 397"/>
                <a:gd name="T54" fmla="*/ 124 w 256"/>
                <a:gd name="T55" fmla="*/ 397 h 397"/>
                <a:gd name="T56" fmla="*/ 91 w 256"/>
                <a:gd name="T57" fmla="*/ 390 h 397"/>
                <a:gd name="T58" fmla="*/ 61 w 256"/>
                <a:gd name="T59" fmla="*/ 374 h 397"/>
                <a:gd name="T60" fmla="*/ 35 w 256"/>
                <a:gd name="T61" fmla="*/ 352 h 397"/>
                <a:gd name="T62" fmla="*/ 16 w 256"/>
                <a:gd name="T63" fmla="*/ 318 h 397"/>
                <a:gd name="T64" fmla="*/ 4 w 256"/>
                <a:gd name="T65" fmla="*/ 282 h 397"/>
                <a:gd name="T66" fmla="*/ 0 w 256"/>
                <a:gd name="T67" fmla="*/ 243 h 397"/>
                <a:gd name="T68" fmla="*/ 0 w 256"/>
                <a:gd name="T69" fmla="*/ 210 h 397"/>
                <a:gd name="T70" fmla="*/ 7 w 256"/>
                <a:gd name="T71" fmla="*/ 180 h 397"/>
                <a:gd name="T72" fmla="*/ 19 w 256"/>
                <a:gd name="T73" fmla="*/ 156 h 397"/>
                <a:gd name="T74" fmla="*/ 35 w 256"/>
                <a:gd name="T75" fmla="*/ 136 h 397"/>
                <a:gd name="T76" fmla="*/ 54 w 256"/>
                <a:gd name="T77" fmla="*/ 119 h 397"/>
                <a:gd name="T78" fmla="*/ 75 w 256"/>
                <a:gd name="T79" fmla="*/ 107 h 397"/>
                <a:gd name="T80" fmla="*/ 100 w 256"/>
                <a:gd name="T81" fmla="*/ 98 h 397"/>
                <a:gd name="T82" fmla="*/ 124 w 256"/>
                <a:gd name="T83" fmla="*/ 93 h 397"/>
                <a:gd name="T84" fmla="*/ 149 w 256"/>
                <a:gd name="T85" fmla="*/ 91 h 397"/>
                <a:gd name="T86" fmla="*/ 158 w 256"/>
                <a:gd name="T87" fmla="*/ 93 h 397"/>
                <a:gd name="T88" fmla="*/ 165 w 256"/>
                <a:gd name="T89" fmla="*/ 93 h 397"/>
                <a:gd name="T90" fmla="*/ 172 w 256"/>
                <a:gd name="T91" fmla="*/ 94 h 397"/>
                <a:gd name="T92" fmla="*/ 172 w 256"/>
                <a:gd name="T93" fmla="*/ 3 h 397"/>
                <a:gd name="T94" fmla="*/ 173 w 256"/>
                <a:gd name="T95" fmla="*/ 3 h 397"/>
                <a:gd name="T96" fmla="*/ 180 w 256"/>
                <a:gd name="T97" fmla="*/ 2 h 397"/>
                <a:gd name="T98" fmla="*/ 194 w 256"/>
                <a:gd name="T99" fmla="*/ 0 h 397"/>
                <a:gd name="T100" fmla="*/ 214 w 256"/>
                <a:gd name="T10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6" h="397">
                  <a:moveTo>
                    <a:pt x="156" y="152"/>
                  </a:moveTo>
                  <a:lnTo>
                    <a:pt x="137" y="152"/>
                  </a:lnTo>
                  <a:lnTo>
                    <a:pt x="117" y="159"/>
                  </a:lnTo>
                  <a:lnTo>
                    <a:pt x="103" y="175"/>
                  </a:lnTo>
                  <a:lnTo>
                    <a:pt x="93" y="196"/>
                  </a:lnTo>
                  <a:lnTo>
                    <a:pt x="86" y="220"/>
                  </a:lnTo>
                  <a:lnTo>
                    <a:pt x="84" y="247"/>
                  </a:lnTo>
                  <a:lnTo>
                    <a:pt x="86" y="273"/>
                  </a:lnTo>
                  <a:lnTo>
                    <a:pt x="93" y="297"/>
                  </a:lnTo>
                  <a:lnTo>
                    <a:pt x="102" y="313"/>
                  </a:lnTo>
                  <a:lnTo>
                    <a:pt x="112" y="324"/>
                  </a:lnTo>
                  <a:lnTo>
                    <a:pt x="124" y="331"/>
                  </a:lnTo>
                  <a:lnTo>
                    <a:pt x="135" y="332"/>
                  </a:lnTo>
                  <a:lnTo>
                    <a:pt x="154" y="329"/>
                  </a:lnTo>
                  <a:lnTo>
                    <a:pt x="172" y="317"/>
                  </a:lnTo>
                  <a:lnTo>
                    <a:pt x="172" y="156"/>
                  </a:lnTo>
                  <a:lnTo>
                    <a:pt x="156" y="152"/>
                  </a:lnTo>
                  <a:close/>
                  <a:moveTo>
                    <a:pt x="214" y="0"/>
                  </a:moveTo>
                  <a:lnTo>
                    <a:pt x="235" y="0"/>
                  </a:lnTo>
                  <a:lnTo>
                    <a:pt x="247" y="2"/>
                  </a:lnTo>
                  <a:lnTo>
                    <a:pt x="254" y="3"/>
                  </a:lnTo>
                  <a:lnTo>
                    <a:pt x="256" y="3"/>
                  </a:lnTo>
                  <a:lnTo>
                    <a:pt x="256" y="388"/>
                  </a:lnTo>
                  <a:lnTo>
                    <a:pt x="193" y="388"/>
                  </a:lnTo>
                  <a:lnTo>
                    <a:pt x="184" y="373"/>
                  </a:lnTo>
                  <a:lnTo>
                    <a:pt x="165" y="385"/>
                  </a:lnTo>
                  <a:lnTo>
                    <a:pt x="145" y="394"/>
                  </a:lnTo>
                  <a:lnTo>
                    <a:pt x="124" y="397"/>
                  </a:lnTo>
                  <a:lnTo>
                    <a:pt x="91" y="390"/>
                  </a:lnTo>
                  <a:lnTo>
                    <a:pt x="61" y="374"/>
                  </a:lnTo>
                  <a:lnTo>
                    <a:pt x="35" y="352"/>
                  </a:lnTo>
                  <a:lnTo>
                    <a:pt x="16" y="318"/>
                  </a:lnTo>
                  <a:lnTo>
                    <a:pt x="4" y="282"/>
                  </a:lnTo>
                  <a:lnTo>
                    <a:pt x="0" y="243"/>
                  </a:lnTo>
                  <a:lnTo>
                    <a:pt x="0" y="210"/>
                  </a:lnTo>
                  <a:lnTo>
                    <a:pt x="7" y="180"/>
                  </a:lnTo>
                  <a:lnTo>
                    <a:pt x="19" y="156"/>
                  </a:lnTo>
                  <a:lnTo>
                    <a:pt x="35" y="136"/>
                  </a:lnTo>
                  <a:lnTo>
                    <a:pt x="54" y="119"/>
                  </a:lnTo>
                  <a:lnTo>
                    <a:pt x="75" y="107"/>
                  </a:lnTo>
                  <a:lnTo>
                    <a:pt x="100" y="98"/>
                  </a:lnTo>
                  <a:lnTo>
                    <a:pt x="124" y="93"/>
                  </a:lnTo>
                  <a:lnTo>
                    <a:pt x="149" y="91"/>
                  </a:lnTo>
                  <a:lnTo>
                    <a:pt x="158" y="93"/>
                  </a:lnTo>
                  <a:lnTo>
                    <a:pt x="165" y="93"/>
                  </a:lnTo>
                  <a:lnTo>
                    <a:pt x="172" y="94"/>
                  </a:lnTo>
                  <a:lnTo>
                    <a:pt x="172" y="3"/>
                  </a:lnTo>
                  <a:lnTo>
                    <a:pt x="173" y="3"/>
                  </a:lnTo>
                  <a:lnTo>
                    <a:pt x="180" y="2"/>
                  </a:lnTo>
                  <a:lnTo>
                    <a:pt x="194" y="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0"/>
            <p:cNvSpPr>
              <a:spLocks noEditPoints="1"/>
            </p:cNvSpPr>
            <p:nvPr userDrawn="1"/>
          </p:nvSpPr>
          <p:spPr bwMode="auto">
            <a:xfrm>
              <a:off x="4181476" y="4187825"/>
              <a:ext cx="371475" cy="488950"/>
            </a:xfrm>
            <a:custGeom>
              <a:avLst/>
              <a:gdLst>
                <a:gd name="T0" fmla="*/ 111 w 234"/>
                <a:gd name="T1" fmla="*/ 61 h 308"/>
                <a:gd name="T2" fmla="*/ 90 w 234"/>
                <a:gd name="T3" fmla="*/ 84 h 308"/>
                <a:gd name="T4" fmla="*/ 82 w 234"/>
                <a:gd name="T5" fmla="*/ 112 h 308"/>
                <a:gd name="T6" fmla="*/ 80 w 234"/>
                <a:gd name="T7" fmla="*/ 131 h 308"/>
                <a:gd name="T8" fmla="*/ 171 w 234"/>
                <a:gd name="T9" fmla="*/ 135 h 308"/>
                <a:gd name="T10" fmla="*/ 167 w 234"/>
                <a:gd name="T11" fmla="*/ 93 h 308"/>
                <a:gd name="T12" fmla="*/ 146 w 234"/>
                <a:gd name="T13" fmla="*/ 61 h 308"/>
                <a:gd name="T14" fmla="*/ 131 w 234"/>
                <a:gd name="T15" fmla="*/ 58 h 308"/>
                <a:gd name="T16" fmla="*/ 127 w 234"/>
                <a:gd name="T17" fmla="*/ 0 h 308"/>
                <a:gd name="T18" fmla="*/ 167 w 234"/>
                <a:gd name="T19" fmla="*/ 7 h 308"/>
                <a:gd name="T20" fmla="*/ 202 w 234"/>
                <a:gd name="T21" fmla="*/ 28 h 308"/>
                <a:gd name="T22" fmla="*/ 225 w 234"/>
                <a:gd name="T23" fmla="*/ 66 h 308"/>
                <a:gd name="T24" fmla="*/ 234 w 234"/>
                <a:gd name="T25" fmla="*/ 128 h 308"/>
                <a:gd name="T26" fmla="*/ 232 w 234"/>
                <a:gd name="T27" fmla="*/ 166 h 308"/>
                <a:gd name="T28" fmla="*/ 229 w 234"/>
                <a:gd name="T29" fmla="*/ 182 h 308"/>
                <a:gd name="T30" fmla="*/ 185 w 234"/>
                <a:gd name="T31" fmla="*/ 184 h 308"/>
                <a:gd name="T32" fmla="*/ 80 w 234"/>
                <a:gd name="T33" fmla="*/ 184 h 308"/>
                <a:gd name="T34" fmla="*/ 80 w 234"/>
                <a:gd name="T35" fmla="*/ 194 h 308"/>
                <a:gd name="T36" fmla="*/ 83 w 234"/>
                <a:gd name="T37" fmla="*/ 213 h 308"/>
                <a:gd name="T38" fmla="*/ 101 w 234"/>
                <a:gd name="T39" fmla="*/ 234 h 308"/>
                <a:gd name="T40" fmla="*/ 138 w 234"/>
                <a:gd name="T41" fmla="*/ 247 h 308"/>
                <a:gd name="T42" fmla="*/ 180 w 234"/>
                <a:gd name="T43" fmla="*/ 241 h 308"/>
                <a:gd name="T44" fmla="*/ 222 w 234"/>
                <a:gd name="T45" fmla="*/ 226 h 308"/>
                <a:gd name="T46" fmla="*/ 187 w 234"/>
                <a:gd name="T47" fmla="*/ 299 h 308"/>
                <a:gd name="T48" fmla="*/ 131 w 234"/>
                <a:gd name="T49" fmla="*/ 308 h 308"/>
                <a:gd name="T50" fmla="*/ 131 w 234"/>
                <a:gd name="T51" fmla="*/ 308 h 308"/>
                <a:gd name="T52" fmla="*/ 76 w 234"/>
                <a:gd name="T53" fmla="*/ 297 h 308"/>
                <a:gd name="T54" fmla="*/ 36 w 234"/>
                <a:gd name="T55" fmla="*/ 271 h 308"/>
                <a:gd name="T56" fmla="*/ 10 w 234"/>
                <a:gd name="T57" fmla="*/ 224 h 308"/>
                <a:gd name="T58" fmla="*/ 0 w 234"/>
                <a:gd name="T59" fmla="*/ 154 h 308"/>
                <a:gd name="T60" fmla="*/ 3 w 234"/>
                <a:gd name="T61" fmla="*/ 115 h 308"/>
                <a:gd name="T62" fmla="*/ 21 w 234"/>
                <a:gd name="T63" fmla="*/ 58 h 308"/>
                <a:gd name="T64" fmla="*/ 54 w 234"/>
                <a:gd name="T65" fmla="*/ 21 h 308"/>
                <a:gd name="T66" fmla="*/ 99 w 234"/>
                <a:gd name="T67" fmla="*/ 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4" h="308">
                  <a:moveTo>
                    <a:pt x="131" y="58"/>
                  </a:moveTo>
                  <a:lnTo>
                    <a:pt x="111" y="61"/>
                  </a:lnTo>
                  <a:lnTo>
                    <a:pt x="99" y="70"/>
                  </a:lnTo>
                  <a:lnTo>
                    <a:pt x="90" y="84"/>
                  </a:lnTo>
                  <a:lnTo>
                    <a:pt x="85" y="98"/>
                  </a:lnTo>
                  <a:lnTo>
                    <a:pt x="82" y="112"/>
                  </a:lnTo>
                  <a:lnTo>
                    <a:pt x="80" y="122"/>
                  </a:lnTo>
                  <a:lnTo>
                    <a:pt x="80" y="131"/>
                  </a:lnTo>
                  <a:lnTo>
                    <a:pt x="82" y="135"/>
                  </a:lnTo>
                  <a:lnTo>
                    <a:pt x="171" y="135"/>
                  </a:lnTo>
                  <a:lnTo>
                    <a:pt x="171" y="117"/>
                  </a:lnTo>
                  <a:lnTo>
                    <a:pt x="167" y="93"/>
                  </a:lnTo>
                  <a:lnTo>
                    <a:pt x="159" y="73"/>
                  </a:lnTo>
                  <a:lnTo>
                    <a:pt x="146" y="61"/>
                  </a:lnTo>
                  <a:lnTo>
                    <a:pt x="131" y="58"/>
                  </a:lnTo>
                  <a:lnTo>
                    <a:pt x="131" y="58"/>
                  </a:lnTo>
                  <a:close/>
                  <a:moveTo>
                    <a:pt x="125" y="0"/>
                  </a:moveTo>
                  <a:lnTo>
                    <a:pt x="127" y="0"/>
                  </a:lnTo>
                  <a:lnTo>
                    <a:pt x="148" y="2"/>
                  </a:lnTo>
                  <a:lnTo>
                    <a:pt x="167" y="7"/>
                  </a:lnTo>
                  <a:lnTo>
                    <a:pt x="187" y="16"/>
                  </a:lnTo>
                  <a:lnTo>
                    <a:pt x="202" y="28"/>
                  </a:lnTo>
                  <a:lnTo>
                    <a:pt x="215" y="45"/>
                  </a:lnTo>
                  <a:lnTo>
                    <a:pt x="225" y="66"/>
                  </a:lnTo>
                  <a:lnTo>
                    <a:pt x="232" y="94"/>
                  </a:lnTo>
                  <a:lnTo>
                    <a:pt x="234" y="128"/>
                  </a:lnTo>
                  <a:lnTo>
                    <a:pt x="234" y="149"/>
                  </a:lnTo>
                  <a:lnTo>
                    <a:pt x="232" y="166"/>
                  </a:lnTo>
                  <a:lnTo>
                    <a:pt x="230" y="177"/>
                  </a:lnTo>
                  <a:lnTo>
                    <a:pt x="229" y="182"/>
                  </a:lnTo>
                  <a:lnTo>
                    <a:pt x="211" y="184"/>
                  </a:lnTo>
                  <a:lnTo>
                    <a:pt x="185" y="184"/>
                  </a:lnTo>
                  <a:lnTo>
                    <a:pt x="157" y="184"/>
                  </a:lnTo>
                  <a:lnTo>
                    <a:pt x="80" y="184"/>
                  </a:lnTo>
                  <a:lnTo>
                    <a:pt x="80" y="187"/>
                  </a:lnTo>
                  <a:lnTo>
                    <a:pt x="80" y="194"/>
                  </a:lnTo>
                  <a:lnTo>
                    <a:pt x="80" y="203"/>
                  </a:lnTo>
                  <a:lnTo>
                    <a:pt x="83" y="213"/>
                  </a:lnTo>
                  <a:lnTo>
                    <a:pt x="90" y="226"/>
                  </a:lnTo>
                  <a:lnTo>
                    <a:pt x="101" y="234"/>
                  </a:lnTo>
                  <a:lnTo>
                    <a:pt x="117" y="243"/>
                  </a:lnTo>
                  <a:lnTo>
                    <a:pt x="138" y="247"/>
                  </a:lnTo>
                  <a:lnTo>
                    <a:pt x="160" y="247"/>
                  </a:lnTo>
                  <a:lnTo>
                    <a:pt x="180" y="241"/>
                  </a:lnTo>
                  <a:lnTo>
                    <a:pt x="199" y="234"/>
                  </a:lnTo>
                  <a:lnTo>
                    <a:pt x="222" y="226"/>
                  </a:lnTo>
                  <a:lnTo>
                    <a:pt x="222" y="287"/>
                  </a:lnTo>
                  <a:lnTo>
                    <a:pt x="187" y="299"/>
                  </a:lnTo>
                  <a:lnTo>
                    <a:pt x="155" y="306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03" y="304"/>
                  </a:lnTo>
                  <a:lnTo>
                    <a:pt x="76" y="297"/>
                  </a:lnTo>
                  <a:lnTo>
                    <a:pt x="55" y="287"/>
                  </a:lnTo>
                  <a:lnTo>
                    <a:pt x="36" y="271"/>
                  </a:lnTo>
                  <a:lnTo>
                    <a:pt x="22" y="250"/>
                  </a:lnTo>
                  <a:lnTo>
                    <a:pt x="10" y="224"/>
                  </a:lnTo>
                  <a:lnTo>
                    <a:pt x="3" y="192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3" y="115"/>
                  </a:lnTo>
                  <a:lnTo>
                    <a:pt x="10" y="84"/>
                  </a:lnTo>
                  <a:lnTo>
                    <a:pt x="21" y="58"/>
                  </a:lnTo>
                  <a:lnTo>
                    <a:pt x="35" y="37"/>
                  </a:lnTo>
                  <a:lnTo>
                    <a:pt x="54" y="21"/>
                  </a:lnTo>
                  <a:lnTo>
                    <a:pt x="75" y="10"/>
                  </a:lnTo>
                  <a:lnTo>
                    <a:pt x="99" y="3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1"/>
            <p:cNvSpPr>
              <a:spLocks/>
            </p:cNvSpPr>
            <p:nvPr userDrawn="1"/>
          </p:nvSpPr>
          <p:spPr bwMode="auto">
            <a:xfrm>
              <a:off x="3332163" y="4029075"/>
              <a:ext cx="415925" cy="633413"/>
            </a:xfrm>
            <a:custGeom>
              <a:avLst/>
              <a:gdLst>
                <a:gd name="T0" fmla="*/ 162 w 262"/>
                <a:gd name="T1" fmla="*/ 0 h 399"/>
                <a:gd name="T2" fmla="*/ 197 w 262"/>
                <a:gd name="T3" fmla="*/ 2 h 399"/>
                <a:gd name="T4" fmla="*/ 225 w 262"/>
                <a:gd name="T5" fmla="*/ 5 h 399"/>
                <a:gd name="T6" fmla="*/ 244 w 262"/>
                <a:gd name="T7" fmla="*/ 11 h 399"/>
                <a:gd name="T8" fmla="*/ 257 w 262"/>
                <a:gd name="T9" fmla="*/ 16 h 399"/>
                <a:gd name="T10" fmla="*/ 262 w 262"/>
                <a:gd name="T11" fmla="*/ 18 h 399"/>
                <a:gd name="T12" fmla="*/ 243 w 262"/>
                <a:gd name="T13" fmla="*/ 79 h 399"/>
                <a:gd name="T14" fmla="*/ 239 w 262"/>
                <a:gd name="T15" fmla="*/ 79 h 399"/>
                <a:gd name="T16" fmla="*/ 230 w 262"/>
                <a:gd name="T17" fmla="*/ 75 h 399"/>
                <a:gd name="T18" fmla="*/ 213 w 262"/>
                <a:gd name="T19" fmla="*/ 70 h 399"/>
                <a:gd name="T20" fmla="*/ 188 w 262"/>
                <a:gd name="T21" fmla="*/ 67 h 399"/>
                <a:gd name="T22" fmla="*/ 157 w 262"/>
                <a:gd name="T23" fmla="*/ 67 h 399"/>
                <a:gd name="T24" fmla="*/ 136 w 262"/>
                <a:gd name="T25" fmla="*/ 67 h 399"/>
                <a:gd name="T26" fmla="*/ 117 w 262"/>
                <a:gd name="T27" fmla="*/ 68 h 399"/>
                <a:gd name="T28" fmla="*/ 99 w 262"/>
                <a:gd name="T29" fmla="*/ 74 h 399"/>
                <a:gd name="T30" fmla="*/ 89 w 262"/>
                <a:gd name="T31" fmla="*/ 81 h 399"/>
                <a:gd name="T32" fmla="*/ 89 w 262"/>
                <a:gd name="T33" fmla="*/ 168 h 399"/>
                <a:gd name="T34" fmla="*/ 215 w 262"/>
                <a:gd name="T35" fmla="*/ 168 h 399"/>
                <a:gd name="T36" fmla="*/ 215 w 262"/>
                <a:gd name="T37" fmla="*/ 236 h 399"/>
                <a:gd name="T38" fmla="*/ 89 w 262"/>
                <a:gd name="T39" fmla="*/ 236 h 399"/>
                <a:gd name="T40" fmla="*/ 87 w 262"/>
                <a:gd name="T41" fmla="*/ 399 h 399"/>
                <a:gd name="T42" fmla="*/ 0 w 262"/>
                <a:gd name="T43" fmla="*/ 399 h 399"/>
                <a:gd name="T44" fmla="*/ 0 w 262"/>
                <a:gd name="T45" fmla="*/ 33 h 399"/>
                <a:gd name="T46" fmla="*/ 3 w 262"/>
                <a:gd name="T47" fmla="*/ 32 h 399"/>
                <a:gd name="T48" fmla="*/ 10 w 262"/>
                <a:gd name="T49" fmla="*/ 26 h 399"/>
                <a:gd name="T50" fmla="*/ 26 w 262"/>
                <a:gd name="T51" fmla="*/ 19 h 399"/>
                <a:gd name="T52" fmla="*/ 47 w 262"/>
                <a:gd name="T53" fmla="*/ 12 h 399"/>
                <a:gd name="T54" fmla="*/ 78 w 262"/>
                <a:gd name="T55" fmla="*/ 5 h 399"/>
                <a:gd name="T56" fmla="*/ 118 w 262"/>
                <a:gd name="T57" fmla="*/ 2 h 399"/>
                <a:gd name="T58" fmla="*/ 162 w 262"/>
                <a:gd name="T59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2" h="399">
                  <a:moveTo>
                    <a:pt x="162" y="0"/>
                  </a:moveTo>
                  <a:lnTo>
                    <a:pt x="197" y="2"/>
                  </a:lnTo>
                  <a:lnTo>
                    <a:pt x="225" y="5"/>
                  </a:lnTo>
                  <a:lnTo>
                    <a:pt x="244" y="11"/>
                  </a:lnTo>
                  <a:lnTo>
                    <a:pt x="257" y="16"/>
                  </a:lnTo>
                  <a:lnTo>
                    <a:pt x="262" y="18"/>
                  </a:lnTo>
                  <a:lnTo>
                    <a:pt x="243" y="79"/>
                  </a:lnTo>
                  <a:lnTo>
                    <a:pt x="239" y="79"/>
                  </a:lnTo>
                  <a:lnTo>
                    <a:pt x="230" y="75"/>
                  </a:lnTo>
                  <a:lnTo>
                    <a:pt x="213" y="70"/>
                  </a:lnTo>
                  <a:lnTo>
                    <a:pt x="188" y="67"/>
                  </a:lnTo>
                  <a:lnTo>
                    <a:pt x="157" y="67"/>
                  </a:lnTo>
                  <a:lnTo>
                    <a:pt x="136" y="67"/>
                  </a:lnTo>
                  <a:lnTo>
                    <a:pt x="117" y="68"/>
                  </a:lnTo>
                  <a:lnTo>
                    <a:pt x="99" y="74"/>
                  </a:lnTo>
                  <a:lnTo>
                    <a:pt x="89" y="81"/>
                  </a:lnTo>
                  <a:lnTo>
                    <a:pt x="89" y="168"/>
                  </a:lnTo>
                  <a:lnTo>
                    <a:pt x="215" y="168"/>
                  </a:lnTo>
                  <a:lnTo>
                    <a:pt x="215" y="236"/>
                  </a:lnTo>
                  <a:lnTo>
                    <a:pt x="89" y="236"/>
                  </a:lnTo>
                  <a:lnTo>
                    <a:pt x="87" y="399"/>
                  </a:lnTo>
                  <a:lnTo>
                    <a:pt x="0" y="399"/>
                  </a:lnTo>
                  <a:lnTo>
                    <a:pt x="0" y="33"/>
                  </a:lnTo>
                  <a:lnTo>
                    <a:pt x="3" y="32"/>
                  </a:lnTo>
                  <a:lnTo>
                    <a:pt x="10" y="26"/>
                  </a:lnTo>
                  <a:lnTo>
                    <a:pt x="26" y="19"/>
                  </a:lnTo>
                  <a:lnTo>
                    <a:pt x="47" y="12"/>
                  </a:lnTo>
                  <a:lnTo>
                    <a:pt x="78" y="5"/>
                  </a:lnTo>
                  <a:lnTo>
                    <a:pt x="118" y="2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2"/>
            <p:cNvSpPr>
              <a:spLocks/>
            </p:cNvSpPr>
            <p:nvPr userDrawn="1"/>
          </p:nvSpPr>
          <p:spPr bwMode="auto">
            <a:xfrm>
              <a:off x="10212388" y="4037013"/>
              <a:ext cx="136525" cy="136525"/>
            </a:xfrm>
            <a:custGeom>
              <a:avLst/>
              <a:gdLst>
                <a:gd name="T0" fmla="*/ 42 w 86"/>
                <a:gd name="T1" fmla="*/ 0 h 86"/>
                <a:gd name="T2" fmla="*/ 59 w 86"/>
                <a:gd name="T3" fmla="*/ 4 h 86"/>
                <a:gd name="T4" fmla="*/ 73 w 86"/>
                <a:gd name="T5" fmla="*/ 13 h 86"/>
                <a:gd name="T6" fmla="*/ 82 w 86"/>
                <a:gd name="T7" fmla="*/ 27 h 86"/>
                <a:gd name="T8" fmla="*/ 86 w 86"/>
                <a:gd name="T9" fmla="*/ 44 h 86"/>
                <a:gd name="T10" fmla="*/ 82 w 86"/>
                <a:gd name="T11" fmla="*/ 60 h 86"/>
                <a:gd name="T12" fmla="*/ 73 w 86"/>
                <a:gd name="T13" fmla="*/ 74 h 86"/>
                <a:gd name="T14" fmla="*/ 59 w 86"/>
                <a:gd name="T15" fmla="*/ 83 h 86"/>
                <a:gd name="T16" fmla="*/ 42 w 86"/>
                <a:gd name="T17" fmla="*/ 86 h 86"/>
                <a:gd name="T18" fmla="*/ 26 w 86"/>
                <a:gd name="T19" fmla="*/ 83 h 86"/>
                <a:gd name="T20" fmla="*/ 12 w 86"/>
                <a:gd name="T21" fmla="*/ 74 h 86"/>
                <a:gd name="T22" fmla="*/ 4 w 86"/>
                <a:gd name="T23" fmla="*/ 60 h 86"/>
                <a:gd name="T24" fmla="*/ 0 w 86"/>
                <a:gd name="T25" fmla="*/ 44 h 86"/>
                <a:gd name="T26" fmla="*/ 4 w 86"/>
                <a:gd name="T27" fmla="*/ 27 h 86"/>
                <a:gd name="T28" fmla="*/ 12 w 86"/>
                <a:gd name="T29" fmla="*/ 13 h 86"/>
                <a:gd name="T30" fmla="*/ 26 w 86"/>
                <a:gd name="T31" fmla="*/ 4 h 86"/>
                <a:gd name="T32" fmla="*/ 42 w 86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59" y="4"/>
                  </a:lnTo>
                  <a:lnTo>
                    <a:pt x="73" y="13"/>
                  </a:lnTo>
                  <a:lnTo>
                    <a:pt x="82" y="27"/>
                  </a:lnTo>
                  <a:lnTo>
                    <a:pt x="86" y="44"/>
                  </a:lnTo>
                  <a:lnTo>
                    <a:pt x="82" y="60"/>
                  </a:lnTo>
                  <a:lnTo>
                    <a:pt x="73" y="74"/>
                  </a:lnTo>
                  <a:lnTo>
                    <a:pt x="59" y="83"/>
                  </a:lnTo>
                  <a:lnTo>
                    <a:pt x="42" y="86"/>
                  </a:lnTo>
                  <a:lnTo>
                    <a:pt x="26" y="83"/>
                  </a:lnTo>
                  <a:lnTo>
                    <a:pt x="12" y="74"/>
                  </a:lnTo>
                  <a:lnTo>
                    <a:pt x="4" y="60"/>
                  </a:lnTo>
                  <a:lnTo>
                    <a:pt x="0" y="44"/>
                  </a:lnTo>
                  <a:lnTo>
                    <a:pt x="4" y="27"/>
                  </a:lnTo>
                  <a:lnTo>
                    <a:pt x="12" y="13"/>
                  </a:lnTo>
                  <a:lnTo>
                    <a:pt x="26" y="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"/>
            <p:cNvSpPr>
              <a:spLocks/>
            </p:cNvSpPr>
            <p:nvPr userDrawn="1"/>
          </p:nvSpPr>
          <p:spPr bwMode="auto">
            <a:xfrm>
              <a:off x="10387013" y="4191000"/>
              <a:ext cx="284163" cy="338138"/>
            </a:xfrm>
            <a:custGeom>
              <a:avLst/>
              <a:gdLst>
                <a:gd name="T0" fmla="*/ 100 w 179"/>
                <a:gd name="T1" fmla="*/ 0 h 213"/>
                <a:gd name="T2" fmla="*/ 119 w 179"/>
                <a:gd name="T3" fmla="*/ 1 h 213"/>
                <a:gd name="T4" fmla="*/ 137 w 179"/>
                <a:gd name="T5" fmla="*/ 5 h 213"/>
                <a:gd name="T6" fmla="*/ 152 w 179"/>
                <a:gd name="T7" fmla="*/ 12 h 213"/>
                <a:gd name="T8" fmla="*/ 166 w 179"/>
                <a:gd name="T9" fmla="*/ 26 h 213"/>
                <a:gd name="T10" fmla="*/ 175 w 179"/>
                <a:gd name="T11" fmla="*/ 43 h 213"/>
                <a:gd name="T12" fmla="*/ 179 w 179"/>
                <a:gd name="T13" fmla="*/ 68 h 213"/>
                <a:gd name="T14" fmla="*/ 177 w 179"/>
                <a:gd name="T15" fmla="*/ 85 h 213"/>
                <a:gd name="T16" fmla="*/ 173 w 179"/>
                <a:gd name="T17" fmla="*/ 105 h 213"/>
                <a:gd name="T18" fmla="*/ 170 w 179"/>
                <a:gd name="T19" fmla="*/ 119 h 213"/>
                <a:gd name="T20" fmla="*/ 165 w 179"/>
                <a:gd name="T21" fmla="*/ 136 h 213"/>
                <a:gd name="T22" fmla="*/ 158 w 179"/>
                <a:gd name="T23" fmla="*/ 157 h 213"/>
                <a:gd name="T24" fmla="*/ 149 w 179"/>
                <a:gd name="T25" fmla="*/ 178 h 213"/>
                <a:gd name="T26" fmla="*/ 144 w 179"/>
                <a:gd name="T27" fmla="*/ 196 h 213"/>
                <a:gd name="T28" fmla="*/ 138 w 179"/>
                <a:gd name="T29" fmla="*/ 208 h 213"/>
                <a:gd name="T30" fmla="*/ 137 w 179"/>
                <a:gd name="T31" fmla="*/ 213 h 213"/>
                <a:gd name="T32" fmla="*/ 93 w 179"/>
                <a:gd name="T33" fmla="*/ 213 h 213"/>
                <a:gd name="T34" fmla="*/ 93 w 179"/>
                <a:gd name="T35" fmla="*/ 150 h 213"/>
                <a:gd name="T36" fmla="*/ 100 w 179"/>
                <a:gd name="T37" fmla="*/ 127 h 213"/>
                <a:gd name="T38" fmla="*/ 109 w 179"/>
                <a:gd name="T39" fmla="*/ 103 h 213"/>
                <a:gd name="T40" fmla="*/ 110 w 179"/>
                <a:gd name="T41" fmla="*/ 92 h 213"/>
                <a:gd name="T42" fmla="*/ 112 w 179"/>
                <a:gd name="T43" fmla="*/ 84 h 213"/>
                <a:gd name="T44" fmla="*/ 114 w 179"/>
                <a:gd name="T45" fmla="*/ 78 h 213"/>
                <a:gd name="T46" fmla="*/ 112 w 179"/>
                <a:gd name="T47" fmla="*/ 73 h 213"/>
                <a:gd name="T48" fmla="*/ 112 w 179"/>
                <a:gd name="T49" fmla="*/ 70 h 213"/>
                <a:gd name="T50" fmla="*/ 110 w 179"/>
                <a:gd name="T51" fmla="*/ 68 h 213"/>
                <a:gd name="T52" fmla="*/ 109 w 179"/>
                <a:gd name="T53" fmla="*/ 66 h 213"/>
                <a:gd name="T54" fmla="*/ 107 w 179"/>
                <a:gd name="T55" fmla="*/ 64 h 213"/>
                <a:gd name="T56" fmla="*/ 100 w 179"/>
                <a:gd name="T57" fmla="*/ 63 h 213"/>
                <a:gd name="T58" fmla="*/ 93 w 179"/>
                <a:gd name="T59" fmla="*/ 63 h 213"/>
                <a:gd name="T60" fmla="*/ 81 w 179"/>
                <a:gd name="T61" fmla="*/ 63 h 213"/>
                <a:gd name="T62" fmla="*/ 63 w 179"/>
                <a:gd name="T63" fmla="*/ 66 h 213"/>
                <a:gd name="T64" fmla="*/ 63 w 179"/>
                <a:gd name="T65" fmla="*/ 213 h 213"/>
                <a:gd name="T66" fmla="*/ 0 w 179"/>
                <a:gd name="T67" fmla="*/ 213 h 213"/>
                <a:gd name="T68" fmla="*/ 0 w 179"/>
                <a:gd name="T69" fmla="*/ 17 h 213"/>
                <a:gd name="T70" fmla="*/ 19 w 179"/>
                <a:gd name="T71" fmla="*/ 12 h 213"/>
                <a:gd name="T72" fmla="*/ 47 w 179"/>
                <a:gd name="T73" fmla="*/ 5 h 213"/>
                <a:gd name="T74" fmla="*/ 81 w 179"/>
                <a:gd name="T75" fmla="*/ 1 h 213"/>
                <a:gd name="T76" fmla="*/ 89 w 179"/>
                <a:gd name="T77" fmla="*/ 0 h 213"/>
                <a:gd name="T78" fmla="*/ 100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100" y="0"/>
                  </a:moveTo>
                  <a:lnTo>
                    <a:pt x="119" y="1"/>
                  </a:lnTo>
                  <a:lnTo>
                    <a:pt x="137" y="5"/>
                  </a:lnTo>
                  <a:lnTo>
                    <a:pt x="152" y="12"/>
                  </a:lnTo>
                  <a:lnTo>
                    <a:pt x="166" y="26"/>
                  </a:lnTo>
                  <a:lnTo>
                    <a:pt x="175" y="43"/>
                  </a:lnTo>
                  <a:lnTo>
                    <a:pt x="179" y="68"/>
                  </a:lnTo>
                  <a:lnTo>
                    <a:pt x="177" y="85"/>
                  </a:lnTo>
                  <a:lnTo>
                    <a:pt x="173" y="105"/>
                  </a:lnTo>
                  <a:lnTo>
                    <a:pt x="170" y="119"/>
                  </a:lnTo>
                  <a:lnTo>
                    <a:pt x="165" y="136"/>
                  </a:lnTo>
                  <a:lnTo>
                    <a:pt x="158" y="157"/>
                  </a:lnTo>
                  <a:lnTo>
                    <a:pt x="149" y="178"/>
                  </a:lnTo>
                  <a:lnTo>
                    <a:pt x="144" y="196"/>
                  </a:lnTo>
                  <a:lnTo>
                    <a:pt x="138" y="208"/>
                  </a:lnTo>
                  <a:lnTo>
                    <a:pt x="137" y="213"/>
                  </a:lnTo>
                  <a:lnTo>
                    <a:pt x="93" y="213"/>
                  </a:lnTo>
                  <a:lnTo>
                    <a:pt x="93" y="150"/>
                  </a:lnTo>
                  <a:lnTo>
                    <a:pt x="100" y="127"/>
                  </a:lnTo>
                  <a:lnTo>
                    <a:pt x="109" y="103"/>
                  </a:lnTo>
                  <a:lnTo>
                    <a:pt x="110" y="92"/>
                  </a:lnTo>
                  <a:lnTo>
                    <a:pt x="112" y="84"/>
                  </a:lnTo>
                  <a:lnTo>
                    <a:pt x="114" y="78"/>
                  </a:lnTo>
                  <a:lnTo>
                    <a:pt x="112" y="73"/>
                  </a:lnTo>
                  <a:lnTo>
                    <a:pt x="112" y="70"/>
                  </a:lnTo>
                  <a:lnTo>
                    <a:pt x="110" y="68"/>
                  </a:lnTo>
                  <a:lnTo>
                    <a:pt x="109" y="66"/>
                  </a:lnTo>
                  <a:lnTo>
                    <a:pt x="107" y="64"/>
                  </a:lnTo>
                  <a:lnTo>
                    <a:pt x="100" y="63"/>
                  </a:lnTo>
                  <a:lnTo>
                    <a:pt x="93" y="63"/>
                  </a:lnTo>
                  <a:lnTo>
                    <a:pt x="81" y="63"/>
                  </a:lnTo>
                  <a:lnTo>
                    <a:pt x="63" y="66"/>
                  </a:lnTo>
                  <a:lnTo>
                    <a:pt x="63" y="213"/>
                  </a:lnTo>
                  <a:lnTo>
                    <a:pt x="0" y="213"/>
                  </a:lnTo>
                  <a:lnTo>
                    <a:pt x="0" y="17"/>
                  </a:lnTo>
                  <a:lnTo>
                    <a:pt x="19" y="12"/>
                  </a:lnTo>
                  <a:lnTo>
                    <a:pt x="47" y="5"/>
                  </a:lnTo>
                  <a:lnTo>
                    <a:pt x="81" y="1"/>
                  </a:lnTo>
                  <a:lnTo>
                    <a:pt x="89" y="0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24"/>
            <p:cNvSpPr>
              <a:spLocks noChangeArrowheads="1"/>
            </p:cNvSpPr>
            <p:nvPr userDrawn="1"/>
          </p:nvSpPr>
          <p:spPr bwMode="auto">
            <a:xfrm>
              <a:off x="9975851" y="4570413"/>
              <a:ext cx="608013" cy="88900"/>
            </a:xfrm>
            <a:prstGeom prst="rect">
              <a:avLst/>
            </a:prstGeom>
            <a:solidFill>
              <a:schemeClr val="accent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"/>
            <p:cNvSpPr>
              <a:spLocks/>
            </p:cNvSpPr>
            <p:nvPr userDrawn="1"/>
          </p:nvSpPr>
          <p:spPr bwMode="auto">
            <a:xfrm>
              <a:off x="10223501" y="4217988"/>
              <a:ext cx="111125" cy="311150"/>
            </a:xfrm>
            <a:custGeom>
              <a:avLst/>
              <a:gdLst>
                <a:gd name="T0" fmla="*/ 35 w 70"/>
                <a:gd name="T1" fmla="*/ 0 h 196"/>
                <a:gd name="T2" fmla="*/ 56 w 70"/>
                <a:gd name="T3" fmla="*/ 0 h 196"/>
                <a:gd name="T4" fmla="*/ 66 w 70"/>
                <a:gd name="T5" fmla="*/ 2 h 196"/>
                <a:gd name="T6" fmla="*/ 70 w 70"/>
                <a:gd name="T7" fmla="*/ 2 h 196"/>
                <a:gd name="T8" fmla="*/ 70 w 70"/>
                <a:gd name="T9" fmla="*/ 196 h 196"/>
                <a:gd name="T10" fmla="*/ 0 w 70"/>
                <a:gd name="T11" fmla="*/ 196 h 196"/>
                <a:gd name="T12" fmla="*/ 0 w 70"/>
                <a:gd name="T13" fmla="*/ 2 h 196"/>
                <a:gd name="T14" fmla="*/ 5 w 70"/>
                <a:gd name="T15" fmla="*/ 2 h 196"/>
                <a:gd name="T16" fmla="*/ 17 w 70"/>
                <a:gd name="T17" fmla="*/ 0 h 196"/>
                <a:gd name="T18" fmla="*/ 35 w 70"/>
                <a:gd name="T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96">
                  <a:moveTo>
                    <a:pt x="35" y="0"/>
                  </a:moveTo>
                  <a:lnTo>
                    <a:pt x="56" y="0"/>
                  </a:lnTo>
                  <a:lnTo>
                    <a:pt x="66" y="2"/>
                  </a:lnTo>
                  <a:lnTo>
                    <a:pt x="70" y="2"/>
                  </a:lnTo>
                  <a:lnTo>
                    <a:pt x="70" y="196"/>
                  </a:lnTo>
                  <a:lnTo>
                    <a:pt x="0" y="196"/>
                  </a:lnTo>
                  <a:lnTo>
                    <a:pt x="0" y="2"/>
                  </a:lnTo>
                  <a:lnTo>
                    <a:pt x="5" y="2"/>
                  </a:lnTo>
                  <a:lnTo>
                    <a:pt x="17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"/>
            <p:cNvSpPr>
              <a:spLocks/>
            </p:cNvSpPr>
            <p:nvPr userDrawn="1"/>
          </p:nvSpPr>
          <p:spPr bwMode="auto">
            <a:xfrm>
              <a:off x="9890126" y="4191000"/>
              <a:ext cx="284163" cy="338138"/>
            </a:xfrm>
            <a:custGeom>
              <a:avLst/>
              <a:gdLst>
                <a:gd name="T0" fmla="*/ 77 w 179"/>
                <a:gd name="T1" fmla="*/ 0 h 213"/>
                <a:gd name="T2" fmla="*/ 88 w 179"/>
                <a:gd name="T3" fmla="*/ 0 h 213"/>
                <a:gd name="T4" fmla="*/ 98 w 179"/>
                <a:gd name="T5" fmla="*/ 1 h 213"/>
                <a:gd name="T6" fmla="*/ 131 w 179"/>
                <a:gd name="T7" fmla="*/ 5 h 213"/>
                <a:gd name="T8" fmla="*/ 159 w 179"/>
                <a:gd name="T9" fmla="*/ 12 h 213"/>
                <a:gd name="T10" fmla="*/ 179 w 179"/>
                <a:gd name="T11" fmla="*/ 17 h 213"/>
                <a:gd name="T12" fmla="*/ 179 w 179"/>
                <a:gd name="T13" fmla="*/ 213 h 213"/>
                <a:gd name="T14" fmla="*/ 114 w 179"/>
                <a:gd name="T15" fmla="*/ 213 h 213"/>
                <a:gd name="T16" fmla="*/ 114 w 179"/>
                <a:gd name="T17" fmla="*/ 66 h 213"/>
                <a:gd name="T18" fmla="*/ 98 w 179"/>
                <a:gd name="T19" fmla="*/ 63 h 213"/>
                <a:gd name="T20" fmla="*/ 86 w 179"/>
                <a:gd name="T21" fmla="*/ 63 h 213"/>
                <a:gd name="T22" fmla="*/ 77 w 179"/>
                <a:gd name="T23" fmla="*/ 63 h 213"/>
                <a:gd name="T24" fmla="*/ 72 w 179"/>
                <a:gd name="T25" fmla="*/ 64 h 213"/>
                <a:gd name="T26" fmla="*/ 68 w 179"/>
                <a:gd name="T27" fmla="*/ 66 h 213"/>
                <a:gd name="T28" fmla="*/ 67 w 179"/>
                <a:gd name="T29" fmla="*/ 68 h 213"/>
                <a:gd name="T30" fmla="*/ 67 w 179"/>
                <a:gd name="T31" fmla="*/ 70 h 213"/>
                <a:gd name="T32" fmla="*/ 65 w 179"/>
                <a:gd name="T33" fmla="*/ 73 h 213"/>
                <a:gd name="T34" fmla="*/ 65 w 179"/>
                <a:gd name="T35" fmla="*/ 78 h 213"/>
                <a:gd name="T36" fmla="*/ 65 w 179"/>
                <a:gd name="T37" fmla="*/ 84 h 213"/>
                <a:gd name="T38" fmla="*/ 67 w 179"/>
                <a:gd name="T39" fmla="*/ 92 h 213"/>
                <a:gd name="T40" fmla="*/ 70 w 179"/>
                <a:gd name="T41" fmla="*/ 103 h 213"/>
                <a:gd name="T42" fmla="*/ 77 w 179"/>
                <a:gd name="T43" fmla="*/ 127 h 213"/>
                <a:gd name="T44" fmla="*/ 86 w 179"/>
                <a:gd name="T45" fmla="*/ 150 h 213"/>
                <a:gd name="T46" fmla="*/ 86 w 179"/>
                <a:gd name="T47" fmla="*/ 213 h 213"/>
                <a:gd name="T48" fmla="*/ 42 w 179"/>
                <a:gd name="T49" fmla="*/ 213 h 213"/>
                <a:gd name="T50" fmla="*/ 40 w 179"/>
                <a:gd name="T51" fmla="*/ 208 h 213"/>
                <a:gd name="T52" fmla="*/ 35 w 179"/>
                <a:gd name="T53" fmla="*/ 196 h 213"/>
                <a:gd name="T54" fmla="*/ 28 w 179"/>
                <a:gd name="T55" fmla="*/ 178 h 213"/>
                <a:gd name="T56" fmla="*/ 21 w 179"/>
                <a:gd name="T57" fmla="*/ 157 h 213"/>
                <a:gd name="T58" fmla="*/ 14 w 179"/>
                <a:gd name="T59" fmla="*/ 136 h 213"/>
                <a:gd name="T60" fmla="*/ 7 w 179"/>
                <a:gd name="T61" fmla="*/ 119 h 213"/>
                <a:gd name="T62" fmla="*/ 4 w 179"/>
                <a:gd name="T63" fmla="*/ 105 h 213"/>
                <a:gd name="T64" fmla="*/ 0 w 179"/>
                <a:gd name="T65" fmla="*/ 85 h 213"/>
                <a:gd name="T66" fmla="*/ 0 w 179"/>
                <a:gd name="T67" fmla="*/ 68 h 213"/>
                <a:gd name="T68" fmla="*/ 2 w 179"/>
                <a:gd name="T69" fmla="*/ 43 h 213"/>
                <a:gd name="T70" fmla="*/ 12 w 179"/>
                <a:gd name="T71" fmla="*/ 26 h 213"/>
                <a:gd name="T72" fmla="*/ 25 w 179"/>
                <a:gd name="T73" fmla="*/ 12 h 213"/>
                <a:gd name="T74" fmla="*/ 42 w 179"/>
                <a:gd name="T75" fmla="*/ 5 h 213"/>
                <a:gd name="T76" fmla="*/ 60 w 179"/>
                <a:gd name="T77" fmla="*/ 1 h 213"/>
                <a:gd name="T78" fmla="*/ 77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77" y="0"/>
                  </a:moveTo>
                  <a:lnTo>
                    <a:pt x="88" y="0"/>
                  </a:lnTo>
                  <a:lnTo>
                    <a:pt x="98" y="1"/>
                  </a:lnTo>
                  <a:lnTo>
                    <a:pt x="131" y="5"/>
                  </a:lnTo>
                  <a:lnTo>
                    <a:pt x="159" y="12"/>
                  </a:lnTo>
                  <a:lnTo>
                    <a:pt x="179" y="17"/>
                  </a:lnTo>
                  <a:lnTo>
                    <a:pt x="179" y="213"/>
                  </a:lnTo>
                  <a:lnTo>
                    <a:pt x="114" y="213"/>
                  </a:lnTo>
                  <a:lnTo>
                    <a:pt x="114" y="66"/>
                  </a:lnTo>
                  <a:lnTo>
                    <a:pt x="98" y="63"/>
                  </a:lnTo>
                  <a:lnTo>
                    <a:pt x="86" y="63"/>
                  </a:lnTo>
                  <a:lnTo>
                    <a:pt x="77" y="63"/>
                  </a:lnTo>
                  <a:lnTo>
                    <a:pt x="72" y="64"/>
                  </a:lnTo>
                  <a:lnTo>
                    <a:pt x="68" y="66"/>
                  </a:lnTo>
                  <a:lnTo>
                    <a:pt x="67" y="68"/>
                  </a:lnTo>
                  <a:lnTo>
                    <a:pt x="67" y="70"/>
                  </a:lnTo>
                  <a:lnTo>
                    <a:pt x="65" y="73"/>
                  </a:lnTo>
                  <a:lnTo>
                    <a:pt x="65" y="78"/>
                  </a:lnTo>
                  <a:lnTo>
                    <a:pt x="65" y="84"/>
                  </a:lnTo>
                  <a:lnTo>
                    <a:pt x="67" y="92"/>
                  </a:lnTo>
                  <a:lnTo>
                    <a:pt x="70" y="103"/>
                  </a:lnTo>
                  <a:lnTo>
                    <a:pt x="77" y="127"/>
                  </a:lnTo>
                  <a:lnTo>
                    <a:pt x="86" y="150"/>
                  </a:lnTo>
                  <a:lnTo>
                    <a:pt x="86" y="213"/>
                  </a:lnTo>
                  <a:lnTo>
                    <a:pt x="42" y="213"/>
                  </a:lnTo>
                  <a:lnTo>
                    <a:pt x="40" y="208"/>
                  </a:lnTo>
                  <a:lnTo>
                    <a:pt x="35" y="196"/>
                  </a:lnTo>
                  <a:lnTo>
                    <a:pt x="28" y="178"/>
                  </a:lnTo>
                  <a:lnTo>
                    <a:pt x="21" y="157"/>
                  </a:lnTo>
                  <a:lnTo>
                    <a:pt x="14" y="136"/>
                  </a:lnTo>
                  <a:lnTo>
                    <a:pt x="7" y="119"/>
                  </a:lnTo>
                  <a:lnTo>
                    <a:pt x="4" y="105"/>
                  </a:lnTo>
                  <a:lnTo>
                    <a:pt x="0" y="85"/>
                  </a:lnTo>
                  <a:lnTo>
                    <a:pt x="0" y="68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5"/>
                  </a:lnTo>
                  <a:lnTo>
                    <a:pt x="60" y="1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"/>
            <p:cNvSpPr>
              <a:spLocks/>
            </p:cNvSpPr>
            <p:nvPr userDrawn="1"/>
          </p:nvSpPr>
          <p:spPr bwMode="auto">
            <a:xfrm>
              <a:off x="3489326" y="1066800"/>
              <a:ext cx="1693863" cy="1184275"/>
            </a:xfrm>
            <a:custGeom>
              <a:avLst/>
              <a:gdLst>
                <a:gd name="T0" fmla="*/ 152 w 1067"/>
                <a:gd name="T1" fmla="*/ 0 h 746"/>
                <a:gd name="T2" fmla="*/ 152 w 1067"/>
                <a:gd name="T3" fmla="*/ 2 h 746"/>
                <a:gd name="T4" fmla="*/ 151 w 1067"/>
                <a:gd name="T5" fmla="*/ 6 h 746"/>
                <a:gd name="T6" fmla="*/ 151 w 1067"/>
                <a:gd name="T7" fmla="*/ 9 h 746"/>
                <a:gd name="T8" fmla="*/ 149 w 1067"/>
                <a:gd name="T9" fmla="*/ 13 h 746"/>
                <a:gd name="T10" fmla="*/ 149 w 1067"/>
                <a:gd name="T11" fmla="*/ 13 h 746"/>
                <a:gd name="T12" fmla="*/ 131 w 1067"/>
                <a:gd name="T13" fmla="*/ 62 h 746"/>
                <a:gd name="T14" fmla="*/ 117 w 1067"/>
                <a:gd name="T15" fmla="*/ 109 h 746"/>
                <a:gd name="T16" fmla="*/ 98 w 1067"/>
                <a:gd name="T17" fmla="*/ 179 h 746"/>
                <a:gd name="T18" fmla="*/ 82 w 1067"/>
                <a:gd name="T19" fmla="*/ 252 h 746"/>
                <a:gd name="T20" fmla="*/ 72 w 1067"/>
                <a:gd name="T21" fmla="*/ 326 h 746"/>
                <a:gd name="T22" fmla="*/ 68 w 1067"/>
                <a:gd name="T23" fmla="*/ 401 h 746"/>
                <a:gd name="T24" fmla="*/ 72 w 1067"/>
                <a:gd name="T25" fmla="*/ 459 h 746"/>
                <a:gd name="T26" fmla="*/ 84 w 1067"/>
                <a:gd name="T27" fmla="*/ 517 h 746"/>
                <a:gd name="T28" fmla="*/ 100 w 1067"/>
                <a:gd name="T29" fmla="*/ 553 h 746"/>
                <a:gd name="T30" fmla="*/ 121 w 1067"/>
                <a:gd name="T31" fmla="*/ 587 h 746"/>
                <a:gd name="T32" fmla="*/ 149 w 1067"/>
                <a:gd name="T33" fmla="*/ 620 h 746"/>
                <a:gd name="T34" fmla="*/ 184 w 1067"/>
                <a:gd name="T35" fmla="*/ 646 h 746"/>
                <a:gd name="T36" fmla="*/ 224 w 1067"/>
                <a:gd name="T37" fmla="*/ 664 h 746"/>
                <a:gd name="T38" fmla="*/ 264 w 1067"/>
                <a:gd name="T39" fmla="*/ 678 h 746"/>
                <a:gd name="T40" fmla="*/ 310 w 1067"/>
                <a:gd name="T41" fmla="*/ 686 h 746"/>
                <a:gd name="T42" fmla="*/ 373 w 1067"/>
                <a:gd name="T43" fmla="*/ 695 h 746"/>
                <a:gd name="T44" fmla="*/ 441 w 1067"/>
                <a:gd name="T45" fmla="*/ 699 h 746"/>
                <a:gd name="T46" fmla="*/ 512 w 1067"/>
                <a:gd name="T47" fmla="*/ 699 h 746"/>
                <a:gd name="T48" fmla="*/ 619 w 1067"/>
                <a:gd name="T49" fmla="*/ 695 h 746"/>
                <a:gd name="T50" fmla="*/ 731 w 1067"/>
                <a:gd name="T51" fmla="*/ 686 h 746"/>
                <a:gd name="T52" fmla="*/ 845 w 1067"/>
                <a:gd name="T53" fmla="*/ 676 h 746"/>
                <a:gd name="T54" fmla="*/ 957 w 1067"/>
                <a:gd name="T55" fmla="*/ 662 h 746"/>
                <a:gd name="T56" fmla="*/ 1067 w 1067"/>
                <a:gd name="T57" fmla="*/ 648 h 746"/>
                <a:gd name="T58" fmla="*/ 1016 w 1067"/>
                <a:gd name="T59" fmla="*/ 657 h 746"/>
                <a:gd name="T60" fmla="*/ 958 w 1067"/>
                <a:gd name="T61" fmla="*/ 665 h 746"/>
                <a:gd name="T62" fmla="*/ 892 w 1067"/>
                <a:gd name="T63" fmla="*/ 676 h 746"/>
                <a:gd name="T64" fmla="*/ 824 w 1067"/>
                <a:gd name="T65" fmla="*/ 686 h 746"/>
                <a:gd name="T66" fmla="*/ 756 w 1067"/>
                <a:gd name="T67" fmla="*/ 697 h 746"/>
                <a:gd name="T68" fmla="*/ 689 w 1067"/>
                <a:gd name="T69" fmla="*/ 706 h 746"/>
                <a:gd name="T70" fmla="*/ 628 w 1067"/>
                <a:gd name="T71" fmla="*/ 714 h 746"/>
                <a:gd name="T72" fmla="*/ 577 w 1067"/>
                <a:gd name="T73" fmla="*/ 721 h 746"/>
                <a:gd name="T74" fmla="*/ 490 w 1067"/>
                <a:gd name="T75" fmla="*/ 732 h 746"/>
                <a:gd name="T76" fmla="*/ 406 w 1067"/>
                <a:gd name="T77" fmla="*/ 739 h 746"/>
                <a:gd name="T78" fmla="*/ 325 w 1067"/>
                <a:gd name="T79" fmla="*/ 744 h 746"/>
                <a:gd name="T80" fmla="*/ 252 w 1067"/>
                <a:gd name="T81" fmla="*/ 746 h 746"/>
                <a:gd name="T82" fmla="*/ 186 w 1067"/>
                <a:gd name="T83" fmla="*/ 744 h 746"/>
                <a:gd name="T84" fmla="*/ 126 w 1067"/>
                <a:gd name="T85" fmla="*/ 735 h 746"/>
                <a:gd name="T86" fmla="*/ 105 w 1067"/>
                <a:gd name="T87" fmla="*/ 730 h 746"/>
                <a:gd name="T88" fmla="*/ 82 w 1067"/>
                <a:gd name="T89" fmla="*/ 721 h 746"/>
                <a:gd name="T90" fmla="*/ 61 w 1067"/>
                <a:gd name="T91" fmla="*/ 711 h 746"/>
                <a:gd name="T92" fmla="*/ 42 w 1067"/>
                <a:gd name="T93" fmla="*/ 695 h 746"/>
                <a:gd name="T94" fmla="*/ 26 w 1067"/>
                <a:gd name="T95" fmla="*/ 676 h 746"/>
                <a:gd name="T96" fmla="*/ 12 w 1067"/>
                <a:gd name="T97" fmla="*/ 650 h 746"/>
                <a:gd name="T98" fmla="*/ 4 w 1067"/>
                <a:gd name="T99" fmla="*/ 618 h 746"/>
                <a:gd name="T100" fmla="*/ 0 w 1067"/>
                <a:gd name="T101" fmla="*/ 581 h 746"/>
                <a:gd name="T102" fmla="*/ 0 w 1067"/>
                <a:gd name="T103" fmla="*/ 550 h 746"/>
                <a:gd name="T104" fmla="*/ 2 w 1067"/>
                <a:gd name="T105" fmla="*/ 517 h 746"/>
                <a:gd name="T106" fmla="*/ 7 w 1067"/>
                <a:gd name="T107" fmla="*/ 478 h 746"/>
                <a:gd name="T108" fmla="*/ 16 w 1067"/>
                <a:gd name="T109" fmla="*/ 436 h 746"/>
                <a:gd name="T110" fmla="*/ 26 w 1067"/>
                <a:gd name="T111" fmla="*/ 392 h 746"/>
                <a:gd name="T112" fmla="*/ 39 w 1067"/>
                <a:gd name="T113" fmla="*/ 347 h 746"/>
                <a:gd name="T114" fmla="*/ 54 w 1067"/>
                <a:gd name="T115" fmla="*/ 294 h 746"/>
                <a:gd name="T116" fmla="*/ 72 w 1067"/>
                <a:gd name="T117" fmla="*/ 235 h 746"/>
                <a:gd name="T118" fmla="*/ 93 w 1067"/>
                <a:gd name="T119" fmla="*/ 170 h 746"/>
                <a:gd name="T120" fmla="*/ 119 w 1067"/>
                <a:gd name="T121" fmla="*/ 95 h 746"/>
                <a:gd name="T122" fmla="*/ 149 w 1067"/>
                <a:gd name="T123" fmla="*/ 13 h 746"/>
                <a:gd name="T124" fmla="*/ 152 w 1067"/>
                <a:gd name="T125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746">
                  <a:moveTo>
                    <a:pt x="152" y="0"/>
                  </a:moveTo>
                  <a:lnTo>
                    <a:pt x="152" y="2"/>
                  </a:lnTo>
                  <a:lnTo>
                    <a:pt x="151" y="6"/>
                  </a:lnTo>
                  <a:lnTo>
                    <a:pt x="151" y="9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31" y="62"/>
                  </a:lnTo>
                  <a:lnTo>
                    <a:pt x="117" y="109"/>
                  </a:lnTo>
                  <a:lnTo>
                    <a:pt x="98" y="179"/>
                  </a:lnTo>
                  <a:lnTo>
                    <a:pt x="82" y="252"/>
                  </a:lnTo>
                  <a:lnTo>
                    <a:pt x="72" y="326"/>
                  </a:lnTo>
                  <a:lnTo>
                    <a:pt x="68" y="401"/>
                  </a:lnTo>
                  <a:lnTo>
                    <a:pt x="72" y="459"/>
                  </a:lnTo>
                  <a:lnTo>
                    <a:pt x="84" y="517"/>
                  </a:lnTo>
                  <a:lnTo>
                    <a:pt x="100" y="553"/>
                  </a:lnTo>
                  <a:lnTo>
                    <a:pt x="121" y="587"/>
                  </a:lnTo>
                  <a:lnTo>
                    <a:pt x="149" y="620"/>
                  </a:lnTo>
                  <a:lnTo>
                    <a:pt x="184" y="646"/>
                  </a:lnTo>
                  <a:lnTo>
                    <a:pt x="224" y="664"/>
                  </a:lnTo>
                  <a:lnTo>
                    <a:pt x="264" y="678"/>
                  </a:lnTo>
                  <a:lnTo>
                    <a:pt x="310" y="686"/>
                  </a:lnTo>
                  <a:lnTo>
                    <a:pt x="373" y="695"/>
                  </a:lnTo>
                  <a:lnTo>
                    <a:pt x="441" y="699"/>
                  </a:lnTo>
                  <a:lnTo>
                    <a:pt x="512" y="699"/>
                  </a:lnTo>
                  <a:lnTo>
                    <a:pt x="619" y="695"/>
                  </a:lnTo>
                  <a:lnTo>
                    <a:pt x="731" y="686"/>
                  </a:lnTo>
                  <a:lnTo>
                    <a:pt x="845" y="676"/>
                  </a:lnTo>
                  <a:lnTo>
                    <a:pt x="957" y="662"/>
                  </a:lnTo>
                  <a:lnTo>
                    <a:pt x="1067" y="648"/>
                  </a:lnTo>
                  <a:lnTo>
                    <a:pt x="1016" y="657"/>
                  </a:lnTo>
                  <a:lnTo>
                    <a:pt x="958" y="665"/>
                  </a:lnTo>
                  <a:lnTo>
                    <a:pt x="892" y="676"/>
                  </a:lnTo>
                  <a:lnTo>
                    <a:pt x="824" y="686"/>
                  </a:lnTo>
                  <a:lnTo>
                    <a:pt x="756" y="697"/>
                  </a:lnTo>
                  <a:lnTo>
                    <a:pt x="689" y="706"/>
                  </a:lnTo>
                  <a:lnTo>
                    <a:pt x="628" y="714"/>
                  </a:lnTo>
                  <a:lnTo>
                    <a:pt x="577" y="721"/>
                  </a:lnTo>
                  <a:lnTo>
                    <a:pt x="490" y="732"/>
                  </a:lnTo>
                  <a:lnTo>
                    <a:pt x="406" y="739"/>
                  </a:lnTo>
                  <a:lnTo>
                    <a:pt x="325" y="744"/>
                  </a:lnTo>
                  <a:lnTo>
                    <a:pt x="252" y="746"/>
                  </a:lnTo>
                  <a:lnTo>
                    <a:pt x="186" y="744"/>
                  </a:lnTo>
                  <a:lnTo>
                    <a:pt x="126" y="735"/>
                  </a:lnTo>
                  <a:lnTo>
                    <a:pt x="105" y="730"/>
                  </a:lnTo>
                  <a:lnTo>
                    <a:pt x="82" y="721"/>
                  </a:lnTo>
                  <a:lnTo>
                    <a:pt x="61" y="711"/>
                  </a:lnTo>
                  <a:lnTo>
                    <a:pt x="42" y="695"/>
                  </a:lnTo>
                  <a:lnTo>
                    <a:pt x="26" y="676"/>
                  </a:lnTo>
                  <a:lnTo>
                    <a:pt x="12" y="650"/>
                  </a:lnTo>
                  <a:lnTo>
                    <a:pt x="4" y="618"/>
                  </a:lnTo>
                  <a:lnTo>
                    <a:pt x="0" y="581"/>
                  </a:lnTo>
                  <a:lnTo>
                    <a:pt x="0" y="550"/>
                  </a:lnTo>
                  <a:lnTo>
                    <a:pt x="2" y="517"/>
                  </a:lnTo>
                  <a:lnTo>
                    <a:pt x="7" y="478"/>
                  </a:lnTo>
                  <a:lnTo>
                    <a:pt x="16" y="436"/>
                  </a:lnTo>
                  <a:lnTo>
                    <a:pt x="26" y="392"/>
                  </a:lnTo>
                  <a:lnTo>
                    <a:pt x="39" y="347"/>
                  </a:lnTo>
                  <a:lnTo>
                    <a:pt x="54" y="294"/>
                  </a:lnTo>
                  <a:lnTo>
                    <a:pt x="72" y="235"/>
                  </a:lnTo>
                  <a:lnTo>
                    <a:pt x="93" y="170"/>
                  </a:lnTo>
                  <a:lnTo>
                    <a:pt x="119" y="95"/>
                  </a:lnTo>
                  <a:lnTo>
                    <a:pt x="149" y="1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AED4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8"/>
            <p:cNvSpPr>
              <a:spLocks/>
            </p:cNvSpPr>
            <p:nvPr userDrawn="1"/>
          </p:nvSpPr>
          <p:spPr bwMode="auto">
            <a:xfrm>
              <a:off x="3597276" y="1039813"/>
              <a:ext cx="1643063" cy="1136650"/>
            </a:xfrm>
            <a:custGeom>
              <a:avLst/>
              <a:gdLst>
                <a:gd name="T0" fmla="*/ 91 w 1035"/>
                <a:gd name="T1" fmla="*/ 0 h 716"/>
                <a:gd name="T2" fmla="*/ 133 w 1035"/>
                <a:gd name="T3" fmla="*/ 17 h 716"/>
                <a:gd name="T4" fmla="*/ 172 w 1035"/>
                <a:gd name="T5" fmla="*/ 38 h 716"/>
                <a:gd name="T6" fmla="*/ 205 w 1035"/>
                <a:gd name="T7" fmla="*/ 61 h 716"/>
                <a:gd name="T8" fmla="*/ 193 w 1035"/>
                <a:gd name="T9" fmla="*/ 105 h 716"/>
                <a:gd name="T10" fmla="*/ 180 w 1035"/>
                <a:gd name="T11" fmla="*/ 152 h 716"/>
                <a:gd name="T12" fmla="*/ 170 w 1035"/>
                <a:gd name="T13" fmla="*/ 199 h 716"/>
                <a:gd name="T14" fmla="*/ 159 w 1035"/>
                <a:gd name="T15" fmla="*/ 247 h 716"/>
                <a:gd name="T16" fmla="*/ 152 w 1035"/>
                <a:gd name="T17" fmla="*/ 292 h 716"/>
                <a:gd name="T18" fmla="*/ 149 w 1035"/>
                <a:gd name="T19" fmla="*/ 338 h 716"/>
                <a:gd name="T20" fmla="*/ 145 w 1035"/>
                <a:gd name="T21" fmla="*/ 378 h 716"/>
                <a:gd name="T22" fmla="*/ 147 w 1035"/>
                <a:gd name="T23" fmla="*/ 416 h 716"/>
                <a:gd name="T24" fmla="*/ 154 w 1035"/>
                <a:gd name="T25" fmla="*/ 450 h 716"/>
                <a:gd name="T26" fmla="*/ 163 w 1035"/>
                <a:gd name="T27" fmla="*/ 478 h 716"/>
                <a:gd name="T28" fmla="*/ 179 w 1035"/>
                <a:gd name="T29" fmla="*/ 499 h 716"/>
                <a:gd name="T30" fmla="*/ 203 w 1035"/>
                <a:gd name="T31" fmla="*/ 518 h 716"/>
                <a:gd name="T32" fmla="*/ 235 w 1035"/>
                <a:gd name="T33" fmla="*/ 532 h 716"/>
                <a:gd name="T34" fmla="*/ 271 w 1035"/>
                <a:gd name="T35" fmla="*/ 542 h 716"/>
                <a:gd name="T36" fmla="*/ 317 w 1035"/>
                <a:gd name="T37" fmla="*/ 549 h 716"/>
                <a:gd name="T38" fmla="*/ 366 w 1035"/>
                <a:gd name="T39" fmla="*/ 553 h 716"/>
                <a:gd name="T40" fmla="*/ 420 w 1035"/>
                <a:gd name="T41" fmla="*/ 555 h 716"/>
                <a:gd name="T42" fmla="*/ 478 w 1035"/>
                <a:gd name="T43" fmla="*/ 553 h 716"/>
                <a:gd name="T44" fmla="*/ 539 w 1035"/>
                <a:gd name="T45" fmla="*/ 548 h 716"/>
                <a:gd name="T46" fmla="*/ 602 w 1035"/>
                <a:gd name="T47" fmla="*/ 542 h 716"/>
                <a:gd name="T48" fmla="*/ 668 w 1035"/>
                <a:gd name="T49" fmla="*/ 534 h 716"/>
                <a:gd name="T50" fmla="*/ 820 w 1035"/>
                <a:gd name="T51" fmla="*/ 514 h 716"/>
                <a:gd name="T52" fmla="*/ 969 w 1035"/>
                <a:gd name="T53" fmla="*/ 495 h 716"/>
                <a:gd name="T54" fmla="*/ 990 w 1035"/>
                <a:gd name="T55" fmla="*/ 534 h 716"/>
                <a:gd name="T56" fmla="*/ 1009 w 1035"/>
                <a:gd name="T57" fmla="*/ 576 h 716"/>
                <a:gd name="T58" fmla="*/ 1025 w 1035"/>
                <a:gd name="T59" fmla="*/ 621 h 716"/>
                <a:gd name="T60" fmla="*/ 1035 w 1035"/>
                <a:gd name="T61" fmla="*/ 660 h 716"/>
                <a:gd name="T62" fmla="*/ 999 w 1035"/>
                <a:gd name="T63" fmla="*/ 665 h 716"/>
                <a:gd name="T64" fmla="*/ 889 w 1035"/>
                <a:gd name="T65" fmla="*/ 679 h 716"/>
                <a:gd name="T66" fmla="*/ 777 w 1035"/>
                <a:gd name="T67" fmla="*/ 693 h 716"/>
                <a:gd name="T68" fmla="*/ 663 w 1035"/>
                <a:gd name="T69" fmla="*/ 703 h 716"/>
                <a:gd name="T70" fmla="*/ 551 w 1035"/>
                <a:gd name="T71" fmla="*/ 712 h 716"/>
                <a:gd name="T72" fmla="*/ 444 w 1035"/>
                <a:gd name="T73" fmla="*/ 716 h 716"/>
                <a:gd name="T74" fmla="*/ 373 w 1035"/>
                <a:gd name="T75" fmla="*/ 716 h 716"/>
                <a:gd name="T76" fmla="*/ 305 w 1035"/>
                <a:gd name="T77" fmla="*/ 712 h 716"/>
                <a:gd name="T78" fmla="*/ 242 w 1035"/>
                <a:gd name="T79" fmla="*/ 703 h 716"/>
                <a:gd name="T80" fmla="*/ 196 w 1035"/>
                <a:gd name="T81" fmla="*/ 695 h 716"/>
                <a:gd name="T82" fmla="*/ 156 w 1035"/>
                <a:gd name="T83" fmla="*/ 681 h 716"/>
                <a:gd name="T84" fmla="*/ 116 w 1035"/>
                <a:gd name="T85" fmla="*/ 663 h 716"/>
                <a:gd name="T86" fmla="*/ 81 w 1035"/>
                <a:gd name="T87" fmla="*/ 637 h 716"/>
                <a:gd name="T88" fmla="*/ 53 w 1035"/>
                <a:gd name="T89" fmla="*/ 605 h 716"/>
                <a:gd name="T90" fmla="*/ 32 w 1035"/>
                <a:gd name="T91" fmla="*/ 570 h 716"/>
                <a:gd name="T92" fmla="*/ 16 w 1035"/>
                <a:gd name="T93" fmla="*/ 534 h 716"/>
                <a:gd name="T94" fmla="*/ 4 w 1035"/>
                <a:gd name="T95" fmla="*/ 476 h 716"/>
                <a:gd name="T96" fmla="*/ 0 w 1035"/>
                <a:gd name="T97" fmla="*/ 418 h 716"/>
                <a:gd name="T98" fmla="*/ 4 w 1035"/>
                <a:gd name="T99" fmla="*/ 343 h 716"/>
                <a:gd name="T100" fmla="*/ 14 w 1035"/>
                <a:gd name="T101" fmla="*/ 269 h 716"/>
                <a:gd name="T102" fmla="*/ 30 w 1035"/>
                <a:gd name="T103" fmla="*/ 196 h 716"/>
                <a:gd name="T104" fmla="*/ 49 w 1035"/>
                <a:gd name="T105" fmla="*/ 126 h 716"/>
                <a:gd name="T106" fmla="*/ 69 w 1035"/>
                <a:gd name="T107" fmla="*/ 65 h 716"/>
                <a:gd name="T108" fmla="*/ 88 w 1035"/>
                <a:gd name="T109" fmla="*/ 10 h 716"/>
                <a:gd name="T110" fmla="*/ 91 w 1035"/>
                <a:gd name="T111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5" h="716">
                  <a:moveTo>
                    <a:pt x="91" y="0"/>
                  </a:moveTo>
                  <a:lnTo>
                    <a:pt x="133" y="17"/>
                  </a:lnTo>
                  <a:lnTo>
                    <a:pt x="172" y="38"/>
                  </a:lnTo>
                  <a:lnTo>
                    <a:pt x="205" y="61"/>
                  </a:lnTo>
                  <a:lnTo>
                    <a:pt x="193" y="105"/>
                  </a:lnTo>
                  <a:lnTo>
                    <a:pt x="180" y="152"/>
                  </a:lnTo>
                  <a:lnTo>
                    <a:pt x="170" y="199"/>
                  </a:lnTo>
                  <a:lnTo>
                    <a:pt x="159" y="247"/>
                  </a:lnTo>
                  <a:lnTo>
                    <a:pt x="152" y="292"/>
                  </a:lnTo>
                  <a:lnTo>
                    <a:pt x="149" y="338"/>
                  </a:lnTo>
                  <a:lnTo>
                    <a:pt x="145" y="378"/>
                  </a:lnTo>
                  <a:lnTo>
                    <a:pt x="147" y="416"/>
                  </a:lnTo>
                  <a:lnTo>
                    <a:pt x="154" y="450"/>
                  </a:lnTo>
                  <a:lnTo>
                    <a:pt x="163" y="478"/>
                  </a:lnTo>
                  <a:lnTo>
                    <a:pt x="179" y="499"/>
                  </a:lnTo>
                  <a:lnTo>
                    <a:pt x="203" y="518"/>
                  </a:lnTo>
                  <a:lnTo>
                    <a:pt x="235" y="532"/>
                  </a:lnTo>
                  <a:lnTo>
                    <a:pt x="271" y="542"/>
                  </a:lnTo>
                  <a:lnTo>
                    <a:pt x="317" y="549"/>
                  </a:lnTo>
                  <a:lnTo>
                    <a:pt x="366" y="553"/>
                  </a:lnTo>
                  <a:lnTo>
                    <a:pt x="420" y="555"/>
                  </a:lnTo>
                  <a:lnTo>
                    <a:pt x="478" y="553"/>
                  </a:lnTo>
                  <a:lnTo>
                    <a:pt x="539" y="548"/>
                  </a:lnTo>
                  <a:lnTo>
                    <a:pt x="602" y="542"/>
                  </a:lnTo>
                  <a:lnTo>
                    <a:pt x="668" y="534"/>
                  </a:lnTo>
                  <a:lnTo>
                    <a:pt x="820" y="514"/>
                  </a:lnTo>
                  <a:lnTo>
                    <a:pt x="969" y="495"/>
                  </a:lnTo>
                  <a:lnTo>
                    <a:pt x="990" y="534"/>
                  </a:lnTo>
                  <a:lnTo>
                    <a:pt x="1009" y="576"/>
                  </a:lnTo>
                  <a:lnTo>
                    <a:pt x="1025" y="621"/>
                  </a:lnTo>
                  <a:lnTo>
                    <a:pt x="1035" y="660"/>
                  </a:lnTo>
                  <a:lnTo>
                    <a:pt x="999" y="665"/>
                  </a:lnTo>
                  <a:lnTo>
                    <a:pt x="889" y="679"/>
                  </a:lnTo>
                  <a:lnTo>
                    <a:pt x="777" y="693"/>
                  </a:lnTo>
                  <a:lnTo>
                    <a:pt x="663" y="703"/>
                  </a:lnTo>
                  <a:lnTo>
                    <a:pt x="551" y="712"/>
                  </a:lnTo>
                  <a:lnTo>
                    <a:pt x="444" y="716"/>
                  </a:lnTo>
                  <a:lnTo>
                    <a:pt x="373" y="716"/>
                  </a:lnTo>
                  <a:lnTo>
                    <a:pt x="305" y="712"/>
                  </a:lnTo>
                  <a:lnTo>
                    <a:pt x="242" y="703"/>
                  </a:lnTo>
                  <a:lnTo>
                    <a:pt x="196" y="695"/>
                  </a:lnTo>
                  <a:lnTo>
                    <a:pt x="156" y="681"/>
                  </a:lnTo>
                  <a:lnTo>
                    <a:pt x="116" y="663"/>
                  </a:lnTo>
                  <a:lnTo>
                    <a:pt x="81" y="637"/>
                  </a:lnTo>
                  <a:lnTo>
                    <a:pt x="53" y="605"/>
                  </a:lnTo>
                  <a:lnTo>
                    <a:pt x="32" y="570"/>
                  </a:lnTo>
                  <a:lnTo>
                    <a:pt x="16" y="534"/>
                  </a:lnTo>
                  <a:lnTo>
                    <a:pt x="4" y="476"/>
                  </a:lnTo>
                  <a:lnTo>
                    <a:pt x="0" y="418"/>
                  </a:lnTo>
                  <a:lnTo>
                    <a:pt x="4" y="343"/>
                  </a:lnTo>
                  <a:lnTo>
                    <a:pt x="14" y="269"/>
                  </a:lnTo>
                  <a:lnTo>
                    <a:pt x="30" y="196"/>
                  </a:lnTo>
                  <a:lnTo>
                    <a:pt x="49" y="126"/>
                  </a:lnTo>
                  <a:lnTo>
                    <a:pt x="69" y="65"/>
                  </a:lnTo>
                  <a:lnTo>
                    <a:pt x="88" y="1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9"/>
            <p:cNvSpPr>
              <a:spLocks noEditPoints="1"/>
            </p:cNvSpPr>
            <p:nvPr userDrawn="1"/>
          </p:nvSpPr>
          <p:spPr bwMode="auto">
            <a:xfrm>
              <a:off x="2420938" y="2798763"/>
              <a:ext cx="1690688" cy="1414463"/>
            </a:xfrm>
            <a:custGeom>
              <a:avLst/>
              <a:gdLst>
                <a:gd name="T0" fmla="*/ 0 w 1065"/>
                <a:gd name="T1" fmla="*/ 891 h 891"/>
                <a:gd name="T2" fmla="*/ 0 w 1065"/>
                <a:gd name="T3" fmla="*/ 891 h 891"/>
                <a:gd name="T4" fmla="*/ 546 w 1065"/>
                <a:gd name="T5" fmla="*/ 1 h 891"/>
                <a:gd name="T6" fmla="*/ 603 w 1065"/>
                <a:gd name="T7" fmla="*/ 21 h 891"/>
                <a:gd name="T8" fmla="*/ 678 w 1065"/>
                <a:gd name="T9" fmla="*/ 70 h 891"/>
                <a:gd name="T10" fmla="*/ 775 w 1065"/>
                <a:gd name="T11" fmla="*/ 159 h 891"/>
                <a:gd name="T12" fmla="*/ 843 w 1065"/>
                <a:gd name="T13" fmla="*/ 234 h 891"/>
                <a:gd name="T14" fmla="*/ 892 w 1065"/>
                <a:gd name="T15" fmla="*/ 292 h 891"/>
                <a:gd name="T16" fmla="*/ 942 w 1065"/>
                <a:gd name="T17" fmla="*/ 355 h 891"/>
                <a:gd name="T18" fmla="*/ 990 w 1065"/>
                <a:gd name="T19" fmla="*/ 415 h 891"/>
                <a:gd name="T20" fmla="*/ 1028 w 1065"/>
                <a:gd name="T21" fmla="*/ 467 h 891"/>
                <a:gd name="T22" fmla="*/ 1056 w 1065"/>
                <a:gd name="T23" fmla="*/ 504 h 891"/>
                <a:gd name="T24" fmla="*/ 1065 w 1065"/>
                <a:gd name="T25" fmla="*/ 518 h 891"/>
                <a:gd name="T26" fmla="*/ 1063 w 1065"/>
                <a:gd name="T27" fmla="*/ 514 h 891"/>
                <a:gd name="T28" fmla="*/ 1044 w 1065"/>
                <a:gd name="T29" fmla="*/ 490 h 891"/>
                <a:gd name="T30" fmla="*/ 1011 w 1065"/>
                <a:gd name="T31" fmla="*/ 448 h 891"/>
                <a:gd name="T32" fmla="*/ 967 w 1065"/>
                <a:gd name="T33" fmla="*/ 395 h 891"/>
                <a:gd name="T34" fmla="*/ 920 w 1065"/>
                <a:gd name="T35" fmla="*/ 339 h 891"/>
                <a:gd name="T36" fmla="*/ 873 w 1065"/>
                <a:gd name="T37" fmla="*/ 287 h 891"/>
                <a:gd name="T38" fmla="*/ 832 w 1065"/>
                <a:gd name="T39" fmla="*/ 246 h 891"/>
                <a:gd name="T40" fmla="*/ 747 w 1065"/>
                <a:gd name="T41" fmla="*/ 180 h 891"/>
                <a:gd name="T42" fmla="*/ 668 w 1065"/>
                <a:gd name="T43" fmla="*/ 134 h 891"/>
                <a:gd name="T44" fmla="*/ 596 w 1065"/>
                <a:gd name="T45" fmla="*/ 112 h 891"/>
                <a:gd name="T46" fmla="*/ 526 w 1065"/>
                <a:gd name="T47" fmla="*/ 112 h 891"/>
                <a:gd name="T48" fmla="*/ 463 w 1065"/>
                <a:gd name="T49" fmla="*/ 131 h 891"/>
                <a:gd name="T50" fmla="*/ 409 w 1065"/>
                <a:gd name="T51" fmla="*/ 166 h 891"/>
                <a:gd name="T52" fmla="*/ 323 w 1065"/>
                <a:gd name="T53" fmla="*/ 257 h 891"/>
                <a:gd name="T54" fmla="*/ 241 w 1065"/>
                <a:gd name="T55" fmla="*/ 379 h 891"/>
                <a:gd name="T56" fmla="*/ 159 w 1065"/>
                <a:gd name="T57" fmla="*/ 528 h 891"/>
                <a:gd name="T58" fmla="*/ 87 w 1065"/>
                <a:gd name="T59" fmla="*/ 682 h 891"/>
                <a:gd name="T60" fmla="*/ 24 w 1065"/>
                <a:gd name="T61" fmla="*/ 828 h 891"/>
                <a:gd name="T62" fmla="*/ 21 w 1065"/>
                <a:gd name="T63" fmla="*/ 833 h 891"/>
                <a:gd name="T64" fmla="*/ 75 w 1065"/>
                <a:gd name="T65" fmla="*/ 696 h 891"/>
                <a:gd name="T66" fmla="*/ 138 w 1065"/>
                <a:gd name="T67" fmla="*/ 542 h 891"/>
                <a:gd name="T68" fmla="*/ 208 w 1065"/>
                <a:gd name="T69" fmla="*/ 388 h 891"/>
                <a:gd name="T70" fmla="*/ 278 w 1065"/>
                <a:gd name="T71" fmla="*/ 245 h 891"/>
                <a:gd name="T72" fmla="*/ 332 w 1065"/>
                <a:gd name="T73" fmla="*/ 145 h 891"/>
                <a:gd name="T74" fmla="*/ 388 w 1065"/>
                <a:gd name="T75" fmla="*/ 64 h 891"/>
                <a:gd name="T76" fmla="*/ 423 w 1065"/>
                <a:gd name="T77" fmla="*/ 29 h 891"/>
                <a:gd name="T78" fmla="*/ 476 w 1065"/>
                <a:gd name="T79" fmla="*/ 3 h 891"/>
                <a:gd name="T80" fmla="*/ 512 w 1065"/>
                <a:gd name="T81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65" h="891">
                  <a:moveTo>
                    <a:pt x="0" y="891"/>
                  </a:moveTo>
                  <a:lnTo>
                    <a:pt x="0" y="891"/>
                  </a:lnTo>
                  <a:lnTo>
                    <a:pt x="0" y="891"/>
                  </a:lnTo>
                  <a:lnTo>
                    <a:pt x="0" y="891"/>
                  </a:lnTo>
                  <a:close/>
                  <a:moveTo>
                    <a:pt x="512" y="0"/>
                  </a:moveTo>
                  <a:lnTo>
                    <a:pt x="546" y="1"/>
                  </a:lnTo>
                  <a:lnTo>
                    <a:pt x="575" y="10"/>
                  </a:lnTo>
                  <a:lnTo>
                    <a:pt x="603" y="21"/>
                  </a:lnTo>
                  <a:lnTo>
                    <a:pt x="642" y="43"/>
                  </a:lnTo>
                  <a:lnTo>
                    <a:pt x="678" y="70"/>
                  </a:lnTo>
                  <a:lnTo>
                    <a:pt x="727" y="112"/>
                  </a:lnTo>
                  <a:lnTo>
                    <a:pt x="775" y="159"/>
                  </a:lnTo>
                  <a:lnTo>
                    <a:pt x="822" y="210"/>
                  </a:lnTo>
                  <a:lnTo>
                    <a:pt x="843" y="234"/>
                  </a:lnTo>
                  <a:lnTo>
                    <a:pt x="867" y="262"/>
                  </a:lnTo>
                  <a:lnTo>
                    <a:pt x="892" y="292"/>
                  </a:lnTo>
                  <a:lnTo>
                    <a:pt x="916" y="323"/>
                  </a:lnTo>
                  <a:lnTo>
                    <a:pt x="942" y="355"/>
                  </a:lnTo>
                  <a:lnTo>
                    <a:pt x="967" y="385"/>
                  </a:lnTo>
                  <a:lnTo>
                    <a:pt x="990" y="415"/>
                  </a:lnTo>
                  <a:lnTo>
                    <a:pt x="1011" y="443"/>
                  </a:lnTo>
                  <a:lnTo>
                    <a:pt x="1028" y="467"/>
                  </a:lnTo>
                  <a:lnTo>
                    <a:pt x="1044" y="488"/>
                  </a:lnTo>
                  <a:lnTo>
                    <a:pt x="1056" y="504"/>
                  </a:lnTo>
                  <a:lnTo>
                    <a:pt x="1063" y="514"/>
                  </a:lnTo>
                  <a:lnTo>
                    <a:pt x="1065" y="518"/>
                  </a:lnTo>
                  <a:lnTo>
                    <a:pt x="1065" y="518"/>
                  </a:lnTo>
                  <a:lnTo>
                    <a:pt x="1063" y="514"/>
                  </a:lnTo>
                  <a:lnTo>
                    <a:pt x="1054" y="504"/>
                  </a:lnTo>
                  <a:lnTo>
                    <a:pt x="1044" y="490"/>
                  </a:lnTo>
                  <a:lnTo>
                    <a:pt x="1028" y="471"/>
                  </a:lnTo>
                  <a:lnTo>
                    <a:pt x="1011" y="448"/>
                  </a:lnTo>
                  <a:lnTo>
                    <a:pt x="990" y="422"/>
                  </a:lnTo>
                  <a:lnTo>
                    <a:pt x="967" y="395"/>
                  </a:lnTo>
                  <a:lnTo>
                    <a:pt x="944" y="367"/>
                  </a:lnTo>
                  <a:lnTo>
                    <a:pt x="920" y="339"/>
                  </a:lnTo>
                  <a:lnTo>
                    <a:pt x="897" y="313"/>
                  </a:lnTo>
                  <a:lnTo>
                    <a:pt x="873" y="287"/>
                  </a:lnTo>
                  <a:lnTo>
                    <a:pt x="852" y="266"/>
                  </a:lnTo>
                  <a:lnTo>
                    <a:pt x="832" y="246"/>
                  </a:lnTo>
                  <a:lnTo>
                    <a:pt x="790" y="211"/>
                  </a:lnTo>
                  <a:lnTo>
                    <a:pt x="747" y="180"/>
                  </a:lnTo>
                  <a:lnTo>
                    <a:pt x="701" y="152"/>
                  </a:lnTo>
                  <a:lnTo>
                    <a:pt x="668" y="134"/>
                  </a:lnTo>
                  <a:lnTo>
                    <a:pt x="633" y="120"/>
                  </a:lnTo>
                  <a:lnTo>
                    <a:pt x="596" y="112"/>
                  </a:lnTo>
                  <a:lnTo>
                    <a:pt x="556" y="110"/>
                  </a:lnTo>
                  <a:lnTo>
                    <a:pt x="526" y="112"/>
                  </a:lnTo>
                  <a:lnTo>
                    <a:pt x="497" y="117"/>
                  </a:lnTo>
                  <a:lnTo>
                    <a:pt x="463" y="131"/>
                  </a:lnTo>
                  <a:lnTo>
                    <a:pt x="435" y="147"/>
                  </a:lnTo>
                  <a:lnTo>
                    <a:pt x="409" y="166"/>
                  </a:lnTo>
                  <a:lnTo>
                    <a:pt x="365" y="208"/>
                  </a:lnTo>
                  <a:lnTo>
                    <a:pt x="323" y="257"/>
                  </a:lnTo>
                  <a:lnTo>
                    <a:pt x="283" y="315"/>
                  </a:lnTo>
                  <a:lnTo>
                    <a:pt x="241" y="379"/>
                  </a:lnTo>
                  <a:lnTo>
                    <a:pt x="199" y="451"/>
                  </a:lnTo>
                  <a:lnTo>
                    <a:pt x="159" y="528"/>
                  </a:lnTo>
                  <a:lnTo>
                    <a:pt x="122" y="605"/>
                  </a:lnTo>
                  <a:lnTo>
                    <a:pt x="87" y="682"/>
                  </a:lnTo>
                  <a:lnTo>
                    <a:pt x="54" y="758"/>
                  </a:lnTo>
                  <a:lnTo>
                    <a:pt x="24" y="828"/>
                  </a:lnTo>
                  <a:lnTo>
                    <a:pt x="0" y="891"/>
                  </a:lnTo>
                  <a:lnTo>
                    <a:pt x="21" y="833"/>
                  </a:lnTo>
                  <a:lnTo>
                    <a:pt x="47" y="766"/>
                  </a:lnTo>
                  <a:lnTo>
                    <a:pt x="75" y="696"/>
                  </a:lnTo>
                  <a:lnTo>
                    <a:pt x="107" y="621"/>
                  </a:lnTo>
                  <a:lnTo>
                    <a:pt x="138" y="542"/>
                  </a:lnTo>
                  <a:lnTo>
                    <a:pt x="173" y="465"/>
                  </a:lnTo>
                  <a:lnTo>
                    <a:pt x="208" y="388"/>
                  </a:lnTo>
                  <a:lnTo>
                    <a:pt x="243" y="315"/>
                  </a:lnTo>
                  <a:lnTo>
                    <a:pt x="278" y="245"/>
                  </a:lnTo>
                  <a:lnTo>
                    <a:pt x="304" y="194"/>
                  </a:lnTo>
                  <a:lnTo>
                    <a:pt x="332" y="145"/>
                  </a:lnTo>
                  <a:lnTo>
                    <a:pt x="360" y="101"/>
                  </a:lnTo>
                  <a:lnTo>
                    <a:pt x="388" y="64"/>
                  </a:lnTo>
                  <a:lnTo>
                    <a:pt x="406" y="47"/>
                  </a:lnTo>
                  <a:lnTo>
                    <a:pt x="423" y="29"/>
                  </a:lnTo>
                  <a:lnTo>
                    <a:pt x="448" y="15"/>
                  </a:lnTo>
                  <a:lnTo>
                    <a:pt x="476" y="3"/>
                  </a:lnTo>
                  <a:lnTo>
                    <a:pt x="495" y="0"/>
                  </a:lnTo>
                  <a:lnTo>
                    <a:pt x="512" y="0"/>
                  </a:lnTo>
                  <a:close/>
                </a:path>
              </a:pathLst>
            </a:custGeom>
            <a:solidFill>
              <a:srgbClr val="F29FC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0"/>
            <p:cNvSpPr>
              <a:spLocks/>
            </p:cNvSpPr>
            <p:nvPr userDrawn="1"/>
          </p:nvSpPr>
          <p:spPr bwMode="auto">
            <a:xfrm>
              <a:off x="2420938" y="2973388"/>
              <a:ext cx="1690688" cy="1273175"/>
            </a:xfrm>
            <a:custGeom>
              <a:avLst/>
              <a:gdLst>
                <a:gd name="T0" fmla="*/ 596 w 1065"/>
                <a:gd name="T1" fmla="*/ 2 h 802"/>
                <a:gd name="T2" fmla="*/ 668 w 1065"/>
                <a:gd name="T3" fmla="*/ 24 h 802"/>
                <a:gd name="T4" fmla="*/ 747 w 1065"/>
                <a:gd name="T5" fmla="*/ 70 h 802"/>
                <a:gd name="T6" fmla="*/ 832 w 1065"/>
                <a:gd name="T7" fmla="*/ 136 h 802"/>
                <a:gd name="T8" fmla="*/ 873 w 1065"/>
                <a:gd name="T9" fmla="*/ 177 h 802"/>
                <a:gd name="T10" fmla="*/ 920 w 1065"/>
                <a:gd name="T11" fmla="*/ 229 h 802"/>
                <a:gd name="T12" fmla="*/ 967 w 1065"/>
                <a:gd name="T13" fmla="*/ 285 h 802"/>
                <a:gd name="T14" fmla="*/ 1011 w 1065"/>
                <a:gd name="T15" fmla="*/ 338 h 802"/>
                <a:gd name="T16" fmla="*/ 1044 w 1065"/>
                <a:gd name="T17" fmla="*/ 380 h 802"/>
                <a:gd name="T18" fmla="*/ 1063 w 1065"/>
                <a:gd name="T19" fmla="*/ 404 h 802"/>
                <a:gd name="T20" fmla="*/ 1030 w 1065"/>
                <a:gd name="T21" fmla="*/ 420 h 802"/>
                <a:gd name="T22" fmla="*/ 956 w 1065"/>
                <a:gd name="T23" fmla="*/ 438 h 802"/>
                <a:gd name="T24" fmla="*/ 911 w 1065"/>
                <a:gd name="T25" fmla="*/ 425 h 802"/>
                <a:gd name="T26" fmla="*/ 876 w 1065"/>
                <a:gd name="T27" fmla="*/ 378 h 802"/>
                <a:gd name="T28" fmla="*/ 825 w 1065"/>
                <a:gd name="T29" fmla="*/ 319 h 802"/>
                <a:gd name="T30" fmla="*/ 764 w 1065"/>
                <a:gd name="T31" fmla="*/ 255 h 802"/>
                <a:gd name="T32" fmla="*/ 699 w 1065"/>
                <a:gd name="T33" fmla="*/ 199 h 802"/>
                <a:gd name="T34" fmla="*/ 635 w 1065"/>
                <a:gd name="T35" fmla="*/ 163 h 802"/>
                <a:gd name="T36" fmla="*/ 574 w 1065"/>
                <a:gd name="T37" fmla="*/ 154 h 802"/>
                <a:gd name="T38" fmla="*/ 521 w 1065"/>
                <a:gd name="T39" fmla="*/ 180 h 802"/>
                <a:gd name="T40" fmla="*/ 467 w 1065"/>
                <a:gd name="T41" fmla="*/ 236 h 802"/>
                <a:gd name="T42" fmla="*/ 409 w 1065"/>
                <a:gd name="T43" fmla="*/ 315 h 802"/>
                <a:gd name="T44" fmla="*/ 355 w 1065"/>
                <a:gd name="T45" fmla="*/ 408 h 802"/>
                <a:gd name="T46" fmla="*/ 304 w 1065"/>
                <a:gd name="T47" fmla="*/ 508 h 802"/>
                <a:gd name="T48" fmla="*/ 257 w 1065"/>
                <a:gd name="T49" fmla="*/ 604 h 802"/>
                <a:gd name="T50" fmla="*/ 220 w 1065"/>
                <a:gd name="T51" fmla="*/ 690 h 802"/>
                <a:gd name="T52" fmla="*/ 192 w 1065"/>
                <a:gd name="T53" fmla="*/ 756 h 802"/>
                <a:gd name="T54" fmla="*/ 177 w 1065"/>
                <a:gd name="T55" fmla="*/ 795 h 802"/>
                <a:gd name="T56" fmla="*/ 119 w 1065"/>
                <a:gd name="T57" fmla="*/ 802 h 802"/>
                <a:gd name="T58" fmla="*/ 30 w 1065"/>
                <a:gd name="T59" fmla="*/ 789 h 802"/>
                <a:gd name="T60" fmla="*/ 24 w 1065"/>
                <a:gd name="T61" fmla="*/ 718 h 802"/>
                <a:gd name="T62" fmla="*/ 87 w 1065"/>
                <a:gd name="T63" fmla="*/ 572 h 802"/>
                <a:gd name="T64" fmla="*/ 159 w 1065"/>
                <a:gd name="T65" fmla="*/ 418 h 802"/>
                <a:gd name="T66" fmla="*/ 241 w 1065"/>
                <a:gd name="T67" fmla="*/ 269 h 802"/>
                <a:gd name="T68" fmla="*/ 323 w 1065"/>
                <a:gd name="T69" fmla="*/ 147 h 802"/>
                <a:gd name="T70" fmla="*/ 409 w 1065"/>
                <a:gd name="T71" fmla="*/ 56 h 802"/>
                <a:gd name="T72" fmla="*/ 463 w 1065"/>
                <a:gd name="T73" fmla="*/ 21 h 802"/>
                <a:gd name="T74" fmla="*/ 526 w 1065"/>
                <a:gd name="T75" fmla="*/ 2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65" h="802">
                  <a:moveTo>
                    <a:pt x="556" y="0"/>
                  </a:moveTo>
                  <a:lnTo>
                    <a:pt x="596" y="2"/>
                  </a:lnTo>
                  <a:lnTo>
                    <a:pt x="633" y="10"/>
                  </a:lnTo>
                  <a:lnTo>
                    <a:pt x="668" y="24"/>
                  </a:lnTo>
                  <a:lnTo>
                    <a:pt x="701" y="42"/>
                  </a:lnTo>
                  <a:lnTo>
                    <a:pt x="747" y="70"/>
                  </a:lnTo>
                  <a:lnTo>
                    <a:pt x="790" y="101"/>
                  </a:lnTo>
                  <a:lnTo>
                    <a:pt x="832" y="136"/>
                  </a:lnTo>
                  <a:lnTo>
                    <a:pt x="852" y="156"/>
                  </a:lnTo>
                  <a:lnTo>
                    <a:pt x="873" y="177"/>
                  </a:lnTo>
                  <a:lnTo>
                    <a:pt x="897" y="203"/>
                  </a:lnTo>
                  <a:lnTo>
                    <a:pt x="920" y="229"/>
                  </a:lnTo>
                  <a:lnTo>
                    <a:pt x="944" y="257"/>
                  </a:lnTo>
                  <a:lnTo>
                    <a:pt x="967" y="285"/>
                  </a:lnTo>
                  <a:lnTo>
                    <a:pt x="990" y="312"/>
                  </a:lnTo>
                  <a:lnTo>
                    <a:pt x="1011" y="338"/>
                  </a:lnTo>
                  <a:lnTo>
                    <a:pt x="1028" y="361"/>
                  </a:lnTo>
                  <a:lnTo>
                    <a:pt x="1044" y="380"/>
                  </a:lnTo>
                  <a:lnTo>
                    <a:pt x="1054" y="394"/>
                  </a:lnTo>
                  <a:lnTo>
                    <a:pt x="1063" y="404"/>
                  </a:lnTo>
                  <a:lnTo>
                    <a:pt x="1065" y="408"/>
                  </a:lnTo>
                  <a:lnTo>
                    <a:pt x="1030" y="420"/>
                  </a:lnTo>
                  <a:lnTo>
                    <a:pt x="991" y="431"/>
                  </a:lnTo>
                  <a:lnTo>
                    <a:pt x="956" y="438"/>
                  </a:lnTo>
                  <a:lnTo>
                    <a:pt x="923" y="439"/>
                  </a:lnTo>
                  <a:lnTo>
                    <a:pt x="911" y="425"/>
                  </a:lnTo>
                  <a:lnTo>
                    <a:pt x="895" y="404"/>
                  </a:lnTo>
                  <a:lnTo>
                    <a:pt x="876" y="378"/>
                  </a:lnTo>
                  <a:lnTo>
                    <a:pt x="852" y="350"/>
                  </a:lnTo>
                  <a:lnTo>
                    <a:pt x="825" y="319"/>
                  </a:lnTo>
                  <a:lnTo>
                    <a:pt x="796" y="285"/>
                  </a:lnTo>
                  <a:lnTo>
                    <a:pt x="764" y="255"/>
                  </a:lnTo>
                  <a:lnTo>
                    <a:pt x="733" y="226"/>
                  </a:lnTo>
                  <a:lnTo>
                    <a:pt x="699" y="199"/>
                  </a:lnTo>
                  <a:lnTo>
                    <a:pt x="666" y="178"/>
                  </a:lnTo>
                  <a:lnTo>
                    <a:pt x="635" y="163"/>
                  </a:lnTo>
                  <a:lnTo>
                    <a:pt x="603" y="154"/>
                  </a:lnTo>
                  <a:lnTo>
                    <a:pt x="574" y="154"/>
                  </a:lnTo>
                  <a:lnTo>
                    <a:pt x="547" y="163"/>
                  </a:lnTo>
                  <a:lnTo>
                    <a:pt x="521" y="180"/>
                  </a:lnTo>
                  <a:lnTo>
                    <a:pt x="493" y="205"/>
                  </a:lnTo>
                  <a:lnTo>
                    <a:pt x="467" y="236"/>
                  </a:lnTo>
                  <a:lnTo>
                    <a:pt x="437" y="273"/>
                  </a:lnTo>
                  <a:lnTo>
                    <a:pt x="409" y="315"/>
                  </a:lnTo>
                  <a:lnTo>
                    <a:pt x="383" y="361"/>
                  </a:lnTo>
                  <a:lnTo>
                    <a:pt x="355" y="408"/>
                  </a:lnTo>
                  <a:lnTo>
                    <a:pt x="329" y="457"/>
                  </a:lnTo>
                  <a:lnTo>
                    <a:pt x="304" y="508"/>
                  </a:lnTo>
                  <a:lnTo>
                    <a:pt x="280" y="557"/>
                  </a:lnTo>
                  <a:lnTo>
                    <a:pt x="257" y="604"/>
                  </a:lnTo>
                  <a:lnTo>
                    <a:pt x="238" y="648"/>
                  </a:lnTo>
                  <a:lnTo>
                    <a:pt x="220" y="690"/>
                  </a:lnTo>
                  <a:lnTo>
                    <a:pt x="205" y="725"/>
                  </a:lnTo>
                  <a:lnTo>
                    <a:pt x="192" y="756"/>
                  </a:lnTo>
                  <a:lnTo>
                    <a:pt x="182" y="779"/>
                  </a:lnTo>
                  <a:lnTo>
                    <a:pt x="177" y="795"/>
                  </a:lnTo>
                  <a:lnTo>
                    <a:pt x="173" y="802"/>
                  </a:lnTo>
                  <a:lnTo>
                    <a:pt x="119" y="802"/>
                  </a:lnTo>
                  <a:lnTo>
                    <a:pt x="72" y="796"/>
                  </a:lnTo>
                  <a:lnTo>
                    <a:pt x="30" y="789"/>
                  </a:lnTo>
                  <a:lnTo>
                    <a:pt x="0" y="781"/>
                  </a:lnTo>
                  <a:lnTo>
                    <a:pt x="24" y="718"/>
                  </a:lnTo>
                  <a:lnTo>
                    <a:pt x="54" y="648"/>
                  </a:lnTo>
                  <a:lnTo>
                    <a:pt x="87" y="572"/>
                  </a:lnTo>
                  <a:lnTo>
                    <a:pt x="122" y="495"/>
                  </a:lnTo>
                  <a:lnTo>
                    <a:pt x="159" y="418"/>
                  </a:lnTo>
                  <a:lnTo>
                    <a:pt x="199" y="341"/>
                  </a:lnTo>
                  <a:lnTo>
                    <a:pt x="241" y="269"/>
                  </a:lnTo>
                  <a:lnTo>
                    <a:pt x="283" y="205"/>
                  </a:lnTo>
                  <a:lnTo>
                    <a:pt x="323" y="147"/>
                  </a:lnTo>
                  <a:lnTo>
                    <a:pt x="365" y="98"/>
                  </a:lnTo>
                  <a:lnTo>
                    <a:pt x="409" y="56"/>
                  </a:lnTo>
                  <a:lnTo>
                    <a:pt x="435" y="37"/>
                  </a:lnTo>
                  <a:lnTo>
                    <a:pt x="463" y="21"/>
                  </a:lnTo>
                  <a:lnTo>
                    <a:pt x="497" y="7"/>
                  </a:lnTo>
                  <a:lnTo>
                    <a:pt x="526" y="2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"/>
            <p:cNvSpPr>
              <a:spLocks/>
            </p:cNvSpPr>
            <p:nvPr userDrawn="1"/>
          </p:nvSpPr>
          <p:spPr bwMode="auto">
            <a:xfrm>
              <a:off x="3589338" y="2143125"/>
              <a:ext cx="1660525" cy="1444625"/>
            </a:xfrm>
            <a:custGeom>
              <a:avLst/>
              <a:gdLst>
                <a:gd name="T0" fmla="*/ 1019 w 1046"/>
                <a:gd name="T1" fmla="*/ 5 h 910"/>
                <a:gd name="T2" fmla="*/ 941 w 1046"/>
                <a:gd name="T3" fmla="*/ 17 h 910"/>
                <a:gd name="T4" fmla="*/ 827 w 1046"/>
                <a:gd name="T5" fmla="*/ 36 h 910"/>
                <a:gd name="T6" fmla="*/ 687 w 1046"/>
                <a:gd name="T7" fmla="*/ 64 h 910"/>
                <a:gd name="T8" fmla="*/ 523 w 1046"/>
                <a:gd name="T9" fmla="*/ 103 h 910"/>
                <a:gd name="T10" fmla="*/ 425 w 1046"/>
                <a:gd name="T11" fmla="*/ 131 h 910"/>
                <a:gd name="T12" fmla="*/ 336 w 1046"/>
                <a:gd name="T13" fmla="*/ 166 h 910"/>
                <a:gd name="T14" fmla="*/ 255 w 1046"/>
                <a:gd name="T15" fmla="*/ 210 h 910"/>
                <a:gd name="T16" fmla="*/ 192 w 1046"/>
                <a:gd name="T17" fmla="*/ 264 h 910"/>
                <a:gd name="T18" fmla="*/ 147 w 1046"/>
                <a:gd name="T19" fmla="*/ 330 h 910"/>
                <a:gd name="T20" fmla="*/ 126 w 1046"/>
                <a:gd name="T21" fmla="*/ 409 h 910"/>
                <a:gd name="T22" fmla="*/ 131 w 1046"/>
                <a:gd name="T23" fmla="*/ 502 h 910"/>
                <a:gd name="T24" fmla="*/ 170 w 1046"/>
                <a:gd name="T25" fmla="*/ 612 h 910"/>
                <a:gd name="T26" fmla="*/ 201 w 1046"/>
                <a:gd name="T27" fmla="*/ 672 h 910"/>
                <a:gd name="T28" fmla="*/ 240 w 1046"/>
                <a:gd name="T29" fmla="*/ 738 h 910"/>
                <a:gd name="T30" fmla="*/ 283 w 1046"/>
                <a:gd name="T31" fmla="*/ 803 h 910"/>
                <a:gd name="T32" fmla="*/ 322 w 1046"/>
                <a:gd name="T33" fmla="*/ 859 h 910"/>
                <a:gd name="T34" fmla="*/ 352 w 1046"/>
                <a:gd name="T35" fmla="*/ 898 h 910"/>
                <a:gd name="T36" fmla="*/ 350 w 1046"/>
                <a:gd name="T37" fmla="*/ 898 h 910"/>
                <a:gd name="T38" fmla="*/ 317 w 1046"/>
                <a:gd name="T39" fmla="*/ 859 h 910"/>
                <a:gd name="T40" fmla="*/ 269 w 1046"/>
                <a:gd name="T41" fmla="*/ 799 h 910"/>
                <a:gd name="T42" fmla="*/ 212 w 1046"/>
                <a:gd name="T43" fmla="*/ 726 h 910"/>
                <a:gd name="T44" fmla="*/ 154 w 1046"/>
                <a:gd name="T45" fmla="*/ 645 h 910"/>
                <a:gd name="T46" fmla="*/ 96 w 1046"/>
                <a:gd name="T47" fmla="*/ 561 h 910"/>
                <a:gd name="T48" fmla="*/ 49 w 1046"/>
                <a:gd name="T49" fmla="*/ 479 h 910"/>
                <a:gd name="T50" fmla="*/ 16 w 1046"/>
                <a:gd name="T51" fmla="*/ 407 h 910"/>
                <a:gd name="T52" fmla="*/ 0 w 1046"/>
                <a:gd name="T53" fmla="*/ 327 h 910"/>
                <a:gd name="T54" fmla="*/ 18 w 1046"/>
                <a:gd name="T55" fmla="*/ 264 h 910"/>
                <a:gd name="T56" fmla="*/ 63 w 1046"/>
                <a:gd name="T57" fmla="*/ 213 h 910"/>
                <a:gd name="T58" fmla="*/ 140 w 1046"/>
                <a:gd name="T59" fmla="*/ 175 h 910"/>
                <a:gd name="T60" fmla="*/ 243 w 1046"/>
                <a:gd name="T61" fmla="*/ 141 h 910"/>
                <a:gd name="T62" fmla="*/ 371 w 1046"/>
                <a:gd name="T63" fmla="*/ 113 h 910"/>
                <a:gd name="T64" fmla="*/ 525 w 1046"/>
                <a:gd name="T65" fmla="*/ 84 h 910"/>
                <a:gd name="T66" fmla="*/ 677 w 1046"/>
                <a:gd name="T67" fmla="*/ 57 h 910"/>
                <a:gd name="T68" fmla="*/ 815 w 1046"/>
                <a:gd name="T69" fmla="*/ 35 h 910"/>
                <a:gd name="T70" fmla="*/ 932 w 1046"/>
                <a:gd name="T71" fmla="*/ 17 h 910"/>
                <a:gd name="T72" fmla="*/ 1018 w 1046"/>
                <a:gd name="T73" fmla="*/ 5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6" h="910">
                  <a:moveTo>
                    <a:pt x="1046" y="0"/>
                  </a:moveTo>
                  <a:lnTo>
                    <a:pt x="1019" y="5"/>
                  </a:lnTo>
                  <a:lnTo>
                    <a:pt x="985" y="10"/>
                  </a:lnTo>
                  <a:lnTo>
                    <a:pt x="941" y="17"/>
                  </a:lnTo>
                  <a:lnTo>
                    <a:pt x="888" y="26"/>
                  </a:lnTo>
                  <a:lnTo>
                    <a:pt x="827" y="36"/>
                  </a:lnTo>
                  <a:lnTo>
                    <a:pt x="761" y="49"/>
                  </a:lnTo>
                  <a:lnTo>
                    <a:pt x="687" y="64"/>
                  </a:lnTo>
                  <a:lnTo>
                    <a:pt x="607" y="82"/>
                  </a:lnTo>
                  <a:lnTo>
                    <a:pt x="523" y="103"/>
                  </a:lnTo>
                  <a:lnTo>
                    <a:pt x="474" y="115"/>
                  </a:lnTo>
                  <a:lnTo>
                    <a:pt x="425" y="131"/>
                  </a:lnTo>
                  <a:lnTo>
                    <a:pt x="380" y="147"/>
                  </a:lnTo>
                  <a:lnTo>
                    <a:pt x="336" y="166"/>
                  </a:lnTo>
                  <a:lnTo>
                    <a:pt x="294" y="187"/>
                  </a:lnTo>
                  <a:lnTo>
                    <a:pt x="255" y="210"/>
                  </a:lnTo>
                  <a:lnTo>
                    <a:pt x="222" y="236"/>
                  </a:lnTo>
                  <a:lnTo>
                    <a:pt x="192" y="264"/>
                  </a:lnTo>
                  <a:lnTo>
                    <a:pt x="166" y="295"/>
                  </a:lnTo>
                  <a:lnTo>
                    <a:pt x="147" y="330"/>
                  </a:lnTo>
                  <a:lnTo>
                    <a:pt x="133" y="367"/>
                  </a:lnTo>
                  <a:lnTo>
                    <a:pt x="126" y="409"/>
                  </a:lnTo>
                  <a:lnTo>
                    <a:pt x="124" y="453"/>
                  </a:lnTo>
                  <a:lnTo>
                    <a:pt x="131" y="502"/>
                  </a:lnTo>
                  <a:lnTo>
                    <a:pt x="147" y="554"/>
                  </a:lnTo>
                  <a:lnTo>
                    <a:pt x="170" y="612"/>
                  </a:lnTo>
                  <a:lnTo>
                    <a:pt x="184" y="640"/>
                  </a:lnTo>
                  <a:lnTo>
                    <a:pt x="201" y="672"/>
                  </a:lnTo>
                  <a:lnTo>
                    <a:pt x="219" y="705"/>
                  </a:lnTo>
                  <a:lnTo>
                    <a:pt x="240" y="738"/>
                  </a:lnTo>
                  <a:lnTo>
                    <a:pt x="262" y="771"/>
                  </a:lnTo>
                  <a:lnTo>
                    <a:pt x="283" y="803"/>
                  </a:lnTo>
                  <a:lnTo>
                    <a:pt x="303" y="833"/>
                  </a:lnTo>
                  <a:lnTo>
                    <a:pt x="322" y="859"/>
                  </a:lnTo>
                  <a:lnTo>
                    <a:pt x="338" y="880"/>
                  </a:lnTo>
                  <a:lnTo>
                    <a:pt x="352" y="898"/>
                  </a:lnTo>
                  <a:lnTo>
                    <a:pt x="360" y="910"/>
                  </a:lnTo>
                  <a:lnTo>
                    <a:pt x="350" y="898"/>
                  </a:lnTo>
                  <a:lnTo>
                    <a:pt x="336" y="882"/>
                  </a:lnTo>
                  <a:lnTo>
                    <a:pt x="317" y="859"/>
                  </a:lnTo>
                  <a:lnTo>
                    <a:pt x="294" y="831"/>
                  </a:lnTo>
                  <a:lnTo>
                    <a:pt x="269" y="799"/>
                  </a:lnTo>
                  <a:lnTo>
                    <a:pt x="241" y="764"/>
                  </a:lnTo>
                  <a:lnTo>
                    <a:pt x="212" y="726"/>
                  </a:lnTo>
                  <a:lnTo>
                    <a:pt x="184" y="686"/>
                  </a:lnTo>
                  <a:lnTo>
                    <a:pt x="154" y="645"/>
                  </a:lnTo>
                  <a:lnTo>
                    <a:pt x="124" y="603"/>
                  </a:lnTo>
                  <a:lnTo>
                    <a:pt x="96" y="561"/>
                  </a:lnTo>
                  <a:lnTo>
                    <a:pt x="72" y="519"/>
                  </a:lnTo>
                  <a:lnTo>
                    <a:pt x="49" y="479"/>
                  </a:lnTo>
                  <a:lnTo>
                    <a:pt x="30" y="442"/>
                  </a:lnTo>
                  <a:lnTo>
                    <a:pt x="16" y="407"/>
                  </a:lnTo>
                  <a:lnTo>
                    <a:pt x="4" y="364"/>
                  </a:lnTo>
                  <a:lnTo>
                    <a:pt x="0" y="327"/>
                  </a:lnTo>
                  <a:lnTo>
                    <a:pt x="5" y="294"/>
                  </a:lnTo>
                  <a:lnTo>
                    <a:pt x="18" y="264"/>
                  </a:lnTo>
                  <a:lnTo>
                    <a:pt x="37" y="238"/>
                  </a:lnTo>
                  <a:lnTo>
                    <a:pt x="63" y="213"/>
                  </a:lnTo>
                  <a:lnTo>
                    <a:pt x="98" y="192"/>
                  </a:lnTo>
                  <a:lnTo>
                    <a:pt x="140" y="175"/>
                  </a:lnTo>
                  <a:lnTo>
                    <a:pt x="187" y="157"/>
                  </a:lnTo>
                  <a:lnTo>
                    <a:pt x="243" y="141"/>
                  </a:lnTo>
                  <a:lnTo>
                    <a:pt x="304" y="127"/>
                  </a:lnTo>
                  <a:lnTo>
                    <a:pt x="371" y="113"/>
                  </a:lnTo>
                  <a:lnTo>
                    <a:pt x="448" y="98"/>
                  </a:lnTo>
                  <a:lnTo>
                    <a:pt x="525" y="84"/>
                  </a:lnTo>
                  <a:lnTo>
                    <a:pt x="602" y="70"/>
                  </a:lnTo>
                  <a:lnTo>
                    <a:pt x="677" y="57"/>
                  </a:lnTo>
                  <a:lnTo>
                    <a:pt x="748" y="45"/>
                  </a:lnTo>
                  <a:lnTo>
                    <a:pt x="815" y="35"/>
                  </a:lnTo>
                  <a:lnTo>
                    <a:pt x="878" y="24"/>
                  </a:lnTo>
                  <a:lnTo>
                    <a:pt x="932" y="17"/>
                  </a:lnTo>
                  <a:lnTo>
                    <a:pt x="979" y="10"/>
                  </a:lnTo>
                  <a:lnTo>
                    <a:pt x="1018" y="5"/>
                  </a:lnTo>
                  <a:lnTo>
                    <a:pt x="1046" y="0"/>
                  </a:lnTo>
                  <a:close/>
                </a:path>
              </a:pathLst>
            </a:custGeom>
            <a:solidFill>
              <a:srgbClr val="86C2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2"/>
            <p:cNvSpPr>
              <a:spLocks/>
            </p:cNvSpPr>
            <p:nvPr userDrawn="1"/>
          </p:nvSpPr>
          <p:spPr bwMode="auto">
            <a:xfrm>
              <a:off x="3786188" y="2143125"/>
              <a:ext cx="1474788" cy="1449388"/>
            </a:xfrm>
            <a:custGeom>
              <a:avLst/>
              <a:gdLst>
                <a:gd name="T0" fmla="*/ 927 w 929"/>
                <a:gd name="T1" fmla="*/ 29 h 913"/>
                <a:gd name="T2" fmla="*/ 929 w 929"/>
                <a:gd name="T3" fmla="*/ 84 h 913"/>
                <a:gd name="T4" fmla="*/ 923 w 929"/>
                <a:gd name="T5" fmla="*/ 124 h 913"/>
                <a:gd name="T6" fmla="*/ 922 w 929"/>
                <a:gd name="T7" fmla="*/ 138 h 913"/>
                <a:gd name="T8" fmla="*/ 840 w 929"/>
                <a:gd name="T9" fmla="*/ 152 h 913"/>
                <a:gd name="T10" fmla="*/ 735 w 929"/>
                <a:gd name="T11" fmla="*/ 173 h 913"/>
                <a:gd name="T12" fmla="*/ 616 w 929"/>
                <a:gd name="T13" fmla="*/ 199 h 913"/>
                <a:gd name="T14" fmla="*/ 493 w 929"/>
                <a:gd name="T15" fmla="*/ 231 h 913"/>
                <a:gd name="T16" fmla="*/ 380 w 929"/>
                <a:gd name="T17" fmla="*/ 267 h 913"/>
                <a:gd name="T18" fmla="*/ 282 w 929"/>
                <a:gd name="T19" fmla="*/ 309 h 913"/>
                <a:gd name="T20" fmla="*/ 214 w 929"/>
                <a:gd name="T21" fmla="*/ 353 h 913"/>
                <a:gd name="T22" fmla="*/ 182 w 929"/>
                <a:gd name="T23" fmla="*/ 402 h 913"/>
                <a:gd name="T24" fmla="*/ 186 w 929"/>
                <a:gd name="T25" fmla="*/ 456 h 913"/>
                <a:gd name="T26" fmla="*/ 207 w 929"/>
                <a:gd name="T27" fmla="*/ 523 h 913"/>
                <a:gd name="T28" fmla="*/ 238 w 929"/>
                <a:gd name="T29" fmla="*/ 593 h 913"/>
                <a:gd name="T30" fmla="*/ 277 w 929"/>
                <a:gd name="T31" fmla="*/ 659 h 913"/>
                <a:gd name="T32" fmla="*/ 313 w 929"/>
                <a:gd name="T33" fmla="*/ 719 h 913"/>
                <a:gd name="T34" fmla="*/ 345 w 929"/>
                <a:gd name="T35" fmla="*/ 763 h 913"/>
                <a:gd name="T36" fmla="*/ 360 w 929"/>
                <a:gd name="T37" fmla="*/ 787 h 913"/>
                <a:gd name="T38" fmla="*/ 360 w 929"/>
                <a:gd name="T39" fmla="*/ 794 h 913"/>
                <a:gd name="T40" fmla="*/ 322 w 929"/>
                <a:gd name="T41" fmla="*/ 843 h 913"/>
                <a:gd name="T42" fmla="*/ 284 w 929"/>
                <a:gd name="T43" fmla="*/ 882 h 913"/>
                <a:gd name="T44" fmla="*/ 252 w 929"/>
                <a:gd name="T45" fmla="*/ 906 h 913"/>
                <a:gd name="T46" fmla="*/ 240 w 929"/>
                <a:gd name="T47" fmla="*/ 913 h 913"/>
                <a:gd name="T48" fmla="*/ 238 w 929"/>
                <a:gd name="T49" fmla="*/ 912 h 913"/>
                <a:gd name="T50" fmla="*/ 228 w 929"/>
                <a:gd name="T51" fmla="*/ 898 h 913"/>
                <a:gd name="T52" fmla="*/ 198 w 929"/>
                <a:gd name="T53" fmla="*/ 859 h 913"/>
                <a:gd name="T54" fmla="*/ 159 w 929"/>
                <a:gd name="T55" fmla="*/ 803 h 913"/>
                <a:gd name="T56" fmla="*/ 116 w 929"/>
                <a:gd name="T57" fmla="*/ 738 h 913"/>
                <a:gd name="T58" fmla="*/ 77 w 929"/>
                <a:gd name="T59" fmla="*/ 672 h 913"/>
                <a:gd name="T60" fmla="*/ 46 w 929"/>
                <a:gd name="T61" fmla="*/ 612 h 913"/>
                <a:gd name="T62" fmla="*/ 7 w 929"/>
                <a:gd name="T63" fmla="*/ 502 h 913"/>
                <a:gd name="T64" fmla="*/ 2 w 929"/>
                <a:gd name="T65" fmla="*/ 409 h 913"/>
                <a:gd name="T66" fmla="*/ 23 w 929"/>
                <a:gd name="T67" fmla="*/ 330 h 913"/>
                <a:gd name="T68" fmla="*/ 68 w 929"/>
                <a:gd name="T69" fmla="*/ 264 h 913"/>
                <a:gd name="T70" fmla="*/ 131 w 929"/>
                <a:gd name="T71" fmla="*/ 210 h 913"/>
                <a:gd name="T72" fmla="*/ 212 w 929"/>
                <a:gd name="T73" fmla="*/ 166 h 913"/>
                <a:gd name="T74" fmla="*/ 301 w 929"/>
                <a:gd name="T75" fmla="*/ 131 h 913"/>
                <a:gd name="T76" fmla="*/ 399 w 929"/>
                <a:gd name="T77" fmla="*/ 103 h 913"/>
                <a:gd name="T78" fmla="*/ 563 w 929"/>
                <a:gd name="T79" fmla="*/ 64 h 913"/>
                <a:gd name="T80" fmla="*/ 703 w 929"/>
                <a:gd name="T81" fmla="*/ 36 h 913"/>
                <a:gd name="T82" fmla="*/ 817 w 929"/>
                <a:gd name="T83" fmla="*/ 17 h 913"/>
                <a:gd name="T84" fmla="*/ 895 w 929"/>
                <a:gd name="T85" fmla="*/ 5 h 913"/>
                <a:gd name="T86" fmla="*/ 922 w 929"/>
                <a:gd name="T87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29" h="913">
                  <a:moveTo>
                    <a:pt x="922" y="0"/>
                  </a:moveTo>
                  <a:lnTo>
                    <a:pt x="927" y="29"/>
                  </a:lnTo>
                  <a:lnTo>
                    <a:pt x="929" y="57"/>
                  </a:lnTo>
                  <a:lnTo>
                    <a:pt x="929" y="84"/>
                  </a:lnTo>
                  <a:lnTo>
                    <a:pt x="927" y="106"/>
                  </a:lnTo>
                  <a:lnTo>
                    <a:pt x="923" y="124"/>
                  </a:lnTo>
                  <a:lnTo>
                    <a:pt x="922" y="134"/>
                  </a:lnTo>
                  <a:lnTo>
                    <a:pt x="922" y="138"/>
                  </a:lnTo>
                  <a:lnTo>
                    <a:pt x="885" y="145"/>
                  </a:lnTo>
                  <a:lnTo>
                    <a:pt x="840" y="152"/>
                  </a:lnTo>
                  <a:lnTo>
                    <a:pt x="789" y="162"/>
                  </a:lnTo>
                  <a:lnTo>
                    <a:pt x="735" y="173"/>
                  </a:lnTo>
                  <a:lnTo>
                    <a:pt x="677" y="185"/>
                  </a:lnTo>
                  <a:lnTo>
                    <a:pt x="616" y="199"/>
                  </a:lnTo>
                  <a:lnTo>
                    <a:pt x="555" y="215"/>
                  </a:lnTo>
                  <a:lnTo>
                    <a:pt x="493" y="231"/>
                  </a:lnTo>
                  <a:lnTo>
                    <a:pt x="436" y="248"/>
                  </a:lnTo>
                  <a:lnTo>
                    <a:pt x="380" y="267"/>
                  </a:lnTo>
                  <a:lnTo>
                    <a:pt x="327" y="288"/>
                  </a:lnTo>
                  <a:lnTo>
                    <a:pt x="282" y="309"/>
                  </a:lnTo>
                  <a:lnTo>
                    <a:pt x="243" y="330"/>
                  </a:lnTo>
                  <a:lnTo>
                    <a:pt x="214" y="353"/>
                  </a:lnTo>
                  <a:lnTo>
                    <a:pt x="193" y="378"/>
                  </a:lnTo>
                  <a:lnTo>
                    <a:pt x="182" y="402"/>
                  </a:lnTo>
                  <a:lnTo>
                    <a:pt x="180" y="428"/>
                  </a:lnTo>
                  <a:lnTo>
                    <a:pt x="186" y="456"/>
                  </a:lnTo>
                  <a:lnTo>
                    <a:pt x="193" y="490"/>
                  </a:lnTo>
                  <a:lnTo>
                    <a:pt x="207" y="523"/>
                  </a:lnTo>
                  <a:lnTo>
                    <a:pt x="221" y="558"/>
                  </a:lnTo>
                  <a:lnTo>
                    <a:pt x="238" y="593"/>
                  </a:lnTo>
                  <a:lnTo>
                    <a:pt x="257" y="626"/>
                  </a:lnTo>
                  <a:lnTo>
                    <a:pt x="277" y="659"/>
                  </a:lnTo>
                  <a:lnTo>
                    <a:pt x="296" y="691"/>
                  </a:lnTo>
                  <a:lnTo>
                    <a:pt x="313" y="719"/>
                  </a:lnTo>
                  <a:lnTo>
                    <a:pt x="331" y="743"/>
                  </a:lnTo>
                  <a:lnTo>
                    <a:pt x="345" y="763"/>
                  </a:lnTo>
                  <a:lnTo>
                    <a:pt x="355" y="778"/>
                  </a:lnTo>
                  <a:lnTo>
                    <a:pt x="360" y="787"/>
                  </a:lnTo>
                  <a:lnTo>
                    <a:pt x="362" y="789"/>
                  </a:lnTo>
                  <a:lnTo>
                    <a:pt x="360" y="794"/>
                  </a:lnTo>
                  <a:lnTo>
                    <a:pt x="341" y="821"/>
                  </a:lnTo>
                  <a:lnTo>
                    <a:pt x="322" y="843"/>
                  </a:lnTo>
                  <a:lnTo>
                    <a:pt x="303" y="864"/>
                  </a:lnTo>
                  <a:lnTo>
                    <a:pt x="284" y="882"/>
                  </a:lnTo>
                  <a:lnTo>
                    <a:pt x="266" y="896"/>
                  </a:lnTo>
                  <a:lnTo>
                    <a:pt x="252" y="906"/>
                  </a:lnTo>
                  <a:lnTo>
                    <a:pt x="243" y="912"/>
                  </a:lnTo>
                  <a:lnTo>
                    <a:pt x="240" y="913"/>
                  </a:lnTo>
                  <a:lnTo>
                    <a:pt x="238" y="913"/>
                  </a:lnTo>
                  <a:lnTo>
                    <a:pt x="238" y="912"/>
                  </a:lnTo>
                  <a:lnTo>
                    <a:pt x="236" y="910"/>
                  </a:lnTo>
                  <a:lnTo>
                    <a:pt x="228" y="898"/>
                  </a:lnTo>
                  <a:lnTo>
                    <a:pt x="214" y="880"/>
                  </a:lnTo>
                  <a:lnTo>
                    <a:pt x="198" y="859"/>
                  </a:lnTo>
                  <a:lnTo>
                    <a:pt x="179" y="833"/>
                  </a:lnTo>
                  <a:lnTo>
                    <a:pt x="159" y="803"/>
                  </a:lnTo>
                  <a:lnTo>
                    <a:pt x="138" y="771"/>
                  </a:lnTo>
                  <a:lnTo>
                    <a:pt x="116" y="738"/>
                  </a:lnTo>
                  <a:lnTo>
                    <a:pt x="95" y="705"/>
                  </a:lnTo>
                  <a:lnTo>
                    <a:pt x="77" y="672"/>
                  </a:lnTo>
                  <a:lnTo>
                    <a:pt x="60" y="640"/>
                  </a:lnTo>
                  <a:lnTo>
                    <a:pt x="46" y="612"/>
                  </a:lnTo>
                  <a:lnTo>
                    <a:pt x="23" y="554"/>
                  </a:lnTo>
                  <a:lnTo>
                    <a:pt x="7" y="502"/>
                  </a:lnTo>
                  <a:lnTo>
                    <a:pt x="0" y="453"/>
                  </a:lnTo>
                  <a:lnTo>
                    <a:pt x="2" y="409"/>
                  </a:lnTo>
                  <a:lnTo>
                    <a:pt x="9" y="367"/>
                  </a:lnTo>
                  <a:lnTo>
                    <a:pt x="23" y="330"/>
                  </a:lnTo>
                  <a:lnTo>
                    <a:pt x="42" y="295"/>
                  </a:lnTo>
                  <a:lnTo>
                    <a:pt x="68" y="264"/>
                  </a:lnTo>
                  <a:lnTo>
                    <a:pt x="98" y="236"/>
                  </a:lnTo>
                  <a:lnTo>
                    <a:pt x="131" y="210"/>
                  </a:lnTo>
                  <a:lnTo>
                    <a:pt x="170" y="187"/>
                  </a:lnTo>
                  <a:lnTo>
                    <a:pt x="212" y="166"/>
                  </a:lnTo>
                  <a:lnTo>
                    <a:pt x="256" y="147"/>
                  </a:lnTo>
                  <a:lnTo>
                    <a:pt x="301" y="131"/>
                  </a:lnTo>
                  <a:lnTo>
                    <a:pt x="350" y="115"/>
                  </a:lnTo>
                  <a:lnTo>
                    <a:pt x="399" y="103"/>
                  </a:lnTo>
                  <a:lnTo>
                    <a:pt x="483" y="82"/>
                  </a:lnTo>
                  <a:lnTo>
                    <a:pt x="563" y="64"/>
                  </a:lnTo>
                  <a:lnTo>
                    <a:pt x="637" y="49"/>
                  </a:lnTo>
                  <a:lnTo>
                    <a:pt x="703" y="36"/>
                  </a:lnTo>
                  <a:lnTo>
                    <a:pt x="764" y="26"/>
                  </a:lnTo>
                  <a:lnTo>
                    <a:pt x="817" y="17"/>
                  </a:lnTo>
                  <a:lnTo>
                    <a:pt x="861" y="10"/>
                  </a:lnTo>
                  <a:lnTo>
                    <a:pt x="895" y="5"/>
                  </a:lnTo>
                  <a:lnTo>
                    <a:pt x="922" y="0"/>
                  </a:lnTo>
                  <a:lnTo>
                    <a:pt x="92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3"/>
            <p:cNvSpPr>
              <a:spLocks/>
            </p:cNvSpPr>
            <p:nvPr userDrawn="1"/>
          </p:nvSpPr>
          <p:spPr bwMode="auto">
            <a:xfrm>
              <a:off x="2128838" y="1058863"/>
              <a:ext cx="1546225" cy="974725"/>
            </a:xfrm>
            <a:custGeom>
              <a:avLst/>
              <a:gdLst>
                <a:gd name="T0" fmla="*/ 974 w 974"/>
                <a:gd name="T1" fmla="*/ 0 h 614"/>
                <a:gd name="T2" fmla="*/ 948 w 974"/>
                <a:gd name="T3" fmla="*/ 79 h 614"/>
                <a:gd name="T4" fmla="*/ 920 w 974"/>
                <a:gd name="T5" fmla="*/ 159 h 614"/>
                <a:gd name="T6" fmla="*/ 894 w 974"/>
                <a:gd name="T7" fmla="*/ 231 h 614"/>
                <a:gd name="T8" fmla="*/ 866 w 974"/>
                <a:gd name="T9" fmla="*/ 301 h 614"/>
                <a:gd name="T10" fmla="*/ 838 w 974"/>
                <a:gd name="T11" fmla="*/ 368 h 614"/>
                <a:gd name="T12" fmla="*/ 806 w 974"/>
                <a:gd name="T13" fmla="*/ 431 h 614"/>
                <a:gd name="T14" fmla="*/ 785 w 974"/>
                <a:gd name="T15" fmla="*/ 469 h 614"/>
                <a:gd name="T16" fmla="*/ 761 w 974"/>
                <a:gd name="T17" fmla="*/ 506 h 614"/>
                <a:gd name="T18" fmla="*/ 733 w 974"/>
                <a:gd name="T19" fmla="*/ 539 h 614"/>
                <a:gd name="T20" fmla="*/ 703 w 974"/>
                <a:gd name="T21" fmla="*/ 569 h 614"/>
                <a:gd name="T22" fmla="*/ 668 w 974"/>
                <a:gd name="T23" fmla="*/ 593 h 614"/>
                <a:gd name="T24" fmla="*/ 633 w 974"/>
                <a:gd name="T25" fmla="*/ 607 h 614"/>
                <a:gd name="T26" fmla="*/ 598 w 974"/>
                <a:gd name="T27" fmla="*/ 614 h 614"/>
                <a:gd name="T28" fmla="*/ 562 w 974"/>
                <a:gd name="T29" fmla="*/ 613 h 614"/>
                <a:gd name="T30" fmla="*/ 527 w 974"/>
                <a:gd name="T31" fmla="*/ 604 h 614"/>
                <a:gd name="T32" fmla="*/ 490 w 974"/>
                <a:gd name="T33" fmla="*/ 588 h 614"/>
                <a:gd name="T34" fmla="*/ 445 w 974"/>
                <a:gd name="T35" fmla="*/ 560 h 614"/>
                <a:gd name="T36" fmla="*/ 403 w 974"/>
                <a:gd name="T37" fmla="*/ 529 h 614"/>
                <a:gd name="T38" fmla="*/ 345 w 974"/>
                <a:gd name="T39" fmla="*/ 478 h 614"/>
                <a:gd name="T40" fmla="*/ 285 w 974"/>
                <a:gd name="T41" fmla="*/ 418 h 614"/>
                <a:gd name="T42" fmla="*/ 226 w 974"/>
                <a:gd name="T43" fmla="*/ 354 h 614"/>
                <a:gd name="T44" fmla="*/ 177 w 974"/>
                <a:gd name="T45" fmla="*/ 299 h 614"/>
                <a:gd name="T46" fmla="*/ 133 w 974"/>
                <a:gd name="T47" fmla="*/ 249 h 614"/>
                <a:gd name="T48" fmla="*/ 95 w 974"/>
                <a:gd name="T49" fmla="*/ 201 h 614"/>
                <a:gd name="T50" fmla="*/ 60 w 974"/>
                <a:gd name="T51" fmla="*/ 159 h 614"/>
                <a:gd name="T52" fmla="*/ 28 w 974"/>
                <a:gd name="T53" fmla="*/ 123 h 614"/>
                <a:gd name="T54" fmla="*/ 4 w 974"/>
                <a:gd name="T55" fmla="*/ 91 h 614"/>
                <a:gd name="T56" fmla="*/ 2 w 974"/>
                <a:gd name="T57" fmla="*/ 89 h 614"/>
                <a:gd name="T58" fmla="*/ 0 w 974"/>
                <a:gd name="T59" fmla="*/ 88 h 614"/>
                <a:gd name="T60" fmla="*/ 0 w 974"/>
                <a:gd name="T61" fmla="*/ 86 h 614"/>
                <a:gd name="T62" fmla="*/ 2 w 974"/>
                <a:gd name="T63" fmla="*/ 88 h 614"/>
                <a:gd name="T64" fmla="*/ 4 w 974"/>
                <a:gd name="T65" fmla="*/ 91 h 614"/>
                <a:gd name="T66" fmla="*/ 63 w 974"/>
                <a:gd name="T67" fmla="*/ 161 h 614"/>
                <a:gd name="T68" fmla="*/ 126 w 974"/>
                <a:gd name="T69" fmla="*/ 231 h 614"/>
                <a:gd name="T70" fmla="*/ 188 w 974"/>
                <a:gd name="T71" fmla="*/ 296 h 614"/>
                <a:gd name="T72" fmla="*/ 242 w 974"/>
                <a:gd name="T73" fmla="*/ 347 h 614"/>
                <a:gd name="T74" fmla="*/ 296 w 974"/>
                <a:gd name="T75" fmla="*/ 394 h 614"/>
                <a:gd name="T76" fmla="*/ 350 w 974"/>
                <a:gd name="T77" fmla="*/ 434 h 614"/>
                <a:gd name="T78" fmla="*/ 394 w 974"/>
                <a:gd name="T79" fmla="*/ 459 h 614"/>
                <a:gd name="T80" fmla="*/ 436 w 974"/>
                <a:gd name="T81" fmla="*/ 480 h 614"/>
                <a:gd name="T82" fmla="*/ 481 w 974"/>
                <a:gd name="T83" fmla="*/ 494 h 614"/>
                <a:gd name="T84" fmla="*/ 530 w 974"/>
                <a:gd name="T85" fmla="*/ 499 h 614"/>
                <a:gd name="T86" fmla="*/ 549 w 974"/>
                <a:gd name="T87" fmla="*/ 497 h 614"/>
                <a:gd name="T88" fmla="*/ 602 w 974"/>
                <a:gd name="T89" fmla="*/ 488 h 614"/>
                <a:gd name="T90" fmla="*/ 651 w 974"/>
                <a:gd name="T91" fmla="*/ 469 h 614"/>
                <a:gd name="T92" fmla="*/ 695 w 974"/>
                <a:gd name="T93" fmla="*/ 445 h 614"/>
                <a:gd name="T94" fmla="*/ 733 w 974"/>
                <a:gd name="T95" fmla="*/ 415 h 614"/>
                <a:gd name="T96" fmla="*/ 775 w 974"/>
                <a:gd name="T97" fmla="*/ 375 h 614"/>
                <a:gd name="T98" fmla="*/ 812 w 974"/>
                <a:gd name="T99" fmla="*/ 329 h 614"/>
                <a:gd name="T100" fmla="*/ 843 w 974"/>
                <a:gd name="T101" fmla="*/ 280 h 614"/>
                <a:gd name="T102" fmla="*/ 873 w 974"/>
                <a:gd name="T103" fmla="*/ 229 h 614"/>
                <a:gd name="T104" fmla="*/ 899 w 974"/>
                <a:gd name="T105" fmla="*/ 177 h 614"/>
                <a:gd name="T106" fmla="*/ 939 w 974"/>
                <a:gd name="T107" fmla="*/ 88 h 614"/>
                <a:gd name="T108" fmla="*/ 974 w 974"/>
                <a:gd name="T109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4" h="614">
                  <a:moveTo>
                    <a:pt x="974" y="0"/>
                  </a:moveTo>
                  <a:lnTo>
                    <a:pt x="948" y="79"/>
                  </a:lnTo>
                  <a:lnTo>
                    <a:pt x="920" y="159"/>
                  </a:lnTo>
                  <a:lnTo>
                    <a:pt x="894" y="231"/>
                  </a:lnTo>
                  <a:lnTo>
                    <a:pt x="866" y="301"/>
                  </a:lnTo>
                  <a:lnTo>
                    <a:pt x="838" y="368"/>
                  </a:lnTo>
                  <a:lnTo>
                    <a:pt x="806" y="431"/>
                  </a:lnTo>
                  <a:lnTo>
                    <a:pt x="785" y="469"/>
                  </a:lnTo>
                  <a:lnTo>
                    <a:pt x="761" y="506"/>
                  </a:lnTo>
                  <a:lnTo>
                    <a:pt x="733" y="539"/>
                  </a:lnTo>
                  <a:lnTo>
                    <a:pt x="703" y="569"/>
                  </a:lnTo>
                  <a:lnTo>
                    <a:pt x="668" y="593"/>
                  </a:lnTo>
                  <a:lnTo>
                    <a:pt x="633" y="607"/>
                  </a:lnTo>
                  <a:lnTo>
                    <a:pt x="598" y="614"/>
                  </a:lnTo>
                  <a:lnTo>
                    <a:pt x="562" y="613"/>
                  </a:lnTo>
                  <a:lnTo>
                    <a:pt x="527" y="604"/>
                  </a:lnTo>
                  <a:lnTo>
                    <a:pt x="490" y="588"/>
                  </a:lnTo>
                  <a:lnTo>
                    <a:pt x="445" y="560"/>
                  </a:lnTo>
                  <a:lnTo>
                    <a:pt x="403" y="529"/>
                  </a:lnTo>
                  <a:lnTo>
                    <a:pt x="345" y="478"/>
                  </a:lnTo>
                  <a:lnTo>
                    <a:pt x="285" y="418"/>
                  </a:lnTo>
                  <a:lnTo>
                    <a:pt x="226" y="354"/>
                  </a:lnTo>
                  <a:lnTo>
                    <a:pt x="177" y="299"/>
                  </a:lnTo>
                  <a:lnTo>
                    <a:pt x="133" y="249"/>
                  </a:lnTo>
                  <a:lnTo>
                    <a:pt x="95" y="201"/>
                  </a:lnTo>
                  <a:lnTo>
                    <a:pt x="60" y="159"/>
                  </a:lnTo>
                  <a:lnTo>
                    <a:pt x="28" y="123"/>
                  </a:lnTo>
                  <a:lnTo>
                    <a:pt x="4" y="91"/>
                  </a:lnTo>
                  <a:lnTo>
                    <a:pt x="2" y="89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4" y="91"/>
                  </a:lnTo>
                  <a:lnTo>
                    <a:pt x="63" y="161"/>
                  </a:lnTo>
                  <a:lnTo>
                    <a:pt x="126" y="231"/>
                  </a:lnTo>
                  <a:lnTo>
                    <a:pt x="188" y="296"/>
                  </a:lnTo>
                  <a:lnTo>
                    <a:pt x="242" y="347"/>
                  </a:lnTo>
                  <a:lnTo>
                    <a:pt x="296" y="394"/>
                  </a:lnTo>
                  <a:lnTo>
                    <a:pt x="350" y="434"/>
                  </a:lnTo>
                  <a:lnTo>
                    <a:pt x="394" y="459"/>
                  </a:lnTo>
                  <a:lnTo>
                    <a:pt x="436" y="480"/>
                  </a:lnTo>
                  <a:lnTo>
                    <a:pt x="481" y="494"/>
                  </a:lnTo>
                  <a:lnTo>
                    <a:pt x="530" y="499"/>
                  </a:lnTo>
                  <a:lnTo>
                    <a:pt x="549" y="497"/>
                  </a:lnTo>
                  <a:lnTo>
                    <a:pt x="602" y="488"/>
                  </a:lnTo>
                  <a:lnTo>
                    <a:pt x="651" y="469"/>
                  </a:lnTo>
                  <a:lnTo>
                    <a:pt x="695" y="445"/>
                  </a:lnTo>
                  <a:lnTo>
                    <a:pt x="733" y="415"/>
                  </a:lnTo>
                  <a:lnTo>
                    <a:pt x="775" y="375"/>
                  </a:lnTo>
                  <a:lnTo>
                    <a:pt x="812" y="329"/>
                  </a:lnTo>
                  <a:lnTo>
                    <a:pt x="843" y="280"/>
                  </a:lnTo>
                  <a:lnTo>
                    <a:pt x="873" y="229"/>
                  </a:lnTo>
                  <a:lnTo>
                    <a:pt x="899" y="177"/>
                  </a:lnTo>
                  <a:lnTo>
                    <a:pt x="939" y="88"/>
                  </a:lnTo>
                  <a:lnTo>
                    <a:pt x="974" y="0"/>
                  </a:lnTo>
                  <a:close/>
                </a:path>
              </a:pathLst>
            </a:custGeom>
            <a:solidFill>
              <a:srgbClr val="EEED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4"/>
            <p:cNvSpPr>
              <a:spLocks/>
            </p:cNvSpPr>
            <p:nvPr userDrawn="1"/>
          </p:nvSpPr>
          <p:spPr bwMode="auto">
            <a:xfrm>
              <a:off x="2079626" y="1006475"/>
              <a:ext cx="1609725" cy="844550"/>
            </a:xfrm>
            <a:custGeom>
              <a:avLst/>
              <a:gdLst>
                <a:gd name="T0" fmla="*/ 885 w 1014"/>
                <a:gd name="T1" fmla="*/ 0 h 532"/>
                <a:gd name="T2" fmla="*/ 941 w 1014"/>
                <a:gd name="T3" fmla="*/ 0 h 532"/>
                <a:gd name="T4" fmla="*/ 1002 w 1014"/>
                <a:gd name="T5" fmla="*/ 9 h 532"/>
                <a:gd name="T6" fmla="*/ 1014 w 1014"/>
                <a:gd name="T7" fmla="*/ 10 h 532"/>
                <a:gd name="T8" fmla="*/ 1012 w 1014"/>
                <a:gd name="T9" fmla="*/ 16 h 532"/>
                <a:gd name="T10" fmla="*/ 1011 w 1014"/>
                <a:gd name="T11" fmla="*/ 21 h 532"/>
                <a:gd name="T12" fmla="*/ 1009 w 1014"/>
                <a:gd name="T13" fmla="*/ 24 h 532"/>
                <a:gd name="T14" fmla="*/ 1007 w 1014"/>
                <a:gd name="T15" fmla="*/ 28 h 532"/>
                <a:gd name="T16" fmla="*/ 1005 w 1014"/>
                <a:gd name="T17" fmla="*/ 33 h 532"/>
                <a:gd name="T18" fmla="*/ 970 w 1014"/>
                <a:gd name="T19" fmla="*/ 121 h 532"/>
                <a:gd name="T20" fmla="*/ 930 w 1014"/>
                <a:gd name="T21" fmla="*/ 210 h 532"/>
                <a:gd name="T22" fmla="*/ 904 w 1014"/>
                <a:gd name="T23" fmla="*/ 262 h 532"/>
                <a:gd name="T24" fmla="*/ 874 w 1014"/>
                <a:gd name="T25" fmla="*/ 313 h 532"/>
                <a:gd name="T26" fmla="*/ 843 w 1014"/>
                <a:gd name="T27" fmla="*/ 362 h 532"/>
                <a:gd name="T28" fmla="*/ 806 w 1014"/>
                <a:gd name="T29" fmla="*/ 408 h 532"/>
                <a:gd name="T30" fmla="*/ 764 w 1014"/>
                <a:gd name="T31" fmla="*/ 448 h 532"/>
                <a:gd name="T32" fmla="*/ 726 w 1014"/>
                <a:gd name="T33" fmla="*/ 478 h 532"/>
                <a:gd name="T34" fmla="*/ 682 w 1014"/>
                <a:gd name="T35" fmla="*/ 502 h 532"/>
                <a:gd name="T36" fmla="*/ 633 w 1014"/>
                <a:gd name="T37" fmla="*/ 521 h 532"/>
                <a:gd name="T38" fmla="*/ 580 w 1014"/>
                <a:gd name="T39" fmla="*/ 530 h 532"/>
                <a:gd name="T40" fmla="*/ 561 w 1014"/>
                <a:gd name="T41" fmla="*/ 532 h 532"/>
                <a:gd name="T42" fmla="*/ 512 w 1014"/>
                <a:gd name="T43" fmla="*/ 527 h 532"/>
                <a:gd name="T44" fmla="*/ 467 w 1014"/>
                <a:gd name="T45" fmla="*/ 513 h 532"/>
                <a:gd name="T46" fmla="*/ 425 w 1014"/>
                <a:gd name="T47" fmla="*/ 492 h 532"/>
                <a:gd name="T48" fmla="*/ 381 w 1014"/>
                <a:gd name="T49" fmla="*/ 467 h 532"/>
                <a:gd name="T50" fmla="*/ 327 w 1014"/>
                <a:gd name="T51" fmla="*/ 427 h 532"/>
                <a:gd name="T52" fmla="*/ 273 w 1014"/>
                <a:gd name="T53" fmla="*/ 380 h 532"/>
                <a:gd name="T54" fmla="*/ 219 w 1014"/>
                <a:gd name="T55" fmla="*/ 329 h 532"/>
                <a:gd name="T56" fmla="*/ 145 w 1014"/>
                <a:gd name="T57" fmla="*/ 252 h 532"/>
                <a:gd name="T58" fmla="*/ 73 w 1014"/>
                <a:gd name="T59" fmla="*/ 170 h 532"/>
                <a:gd name="T60" fmla="*/ 3 w 1014"/>
                <a:gd name="T61" fmla="*/ 86 h 532"/>
                <a:gd name="T62" fmla="*/ 2 w 1014"/>
                <a:gd name="T63" fmla="*/ 84 h 532"/>
                <a:gd name="T64" fmla="*/ 2 w 1014"/>
                <a:gd name="T65" fmla="*/ 82 h 532"/>
                <a:gd name="T66" fmla="*/ 0 w 1014"/>
                <a:gd name="T67" fmla="*/ 82 h 532"/>
                <a:gd name="T68" fmla="*/ 0 w 1014"/>
                <a:gd name="T69" fmla="*/ 80 h 532"/>
                <a:gd name="T70" fmla="*/ 28 w 1014"/>
                <a:gd name="T71" fmla="*/ 63 h 532"/>
                <a:gd name="T72" fmla="*/ 59 w 1014"/>
                <a:gd name="T73" fmla="*/ 47 h 532"/>
                <a:gd name="T74" fmla="*/ 94 w 1014"/>
                <a:gd name="T75" fmla="*/ 33 h 532"/>
                <a:gd name="T76" fmla="*/ 126 w 1014"/>
                <a:gd name="T77" fmla="*/ 23 h 532"/>
                <a:gd name="T78" fmla="*/ 170 w 1014"/>
                <a:gd name="T79" fmla="*/ 75 h 532"/>
                <a:gd name="T80" fmla="*/ 212 w 1014"/>
                <a:gd name="T81" fmla="*/ 124 h 532"/>
                <a:gd name="T82" fmla="*/ 253 w 1014"/>
                <a:gd name="T83" fmla="*/ 171 h 532"/>
                <a:gd name="T84" fmla="*/ 295 w 1014"/>
                <a:gd name="T85" fmla="*/ 217 h 532"/>
                <a:gd name="T86" fmla="*/ 337 w 1014"/>
                <a:gd name="T87" fmla="*/ 259 h 532"/>
                <a:gd name="T88" fmla="*/ 378 w 1014"/>
                <a:gd name="T89" fmla="*/ 296 h 532"/>
                <a:gd name="T90" fmla="*/ 418 w 1014"/>
                <a:gd name="T91" fmla="*/ 327 h 532"/>
                <a:gd name="T92" fmla="*/ 455 w 1014"/>
                <a:gd name="T93" fmla="*/ 352 h 532"/>
                <a:gd name="T94" fmla="*/ 493 w 1014"/>
                <a:gd name="T95" fmla="*/ 369 h 532"/>
                <a:gd name="T96" fmla="*/ 528 w 1014"/>
                <a:gd name="T97" fmla="*/ 378 h 532"/>
                <a:gd name="T98" fmla="*/ 561 w 1014"/>
                <a:gd name="T99" fmla="*/ 378 h 532"/>
                <a:gd name="T100" fmla="*/ 594 w 1014"/>
                <a:gd name="T101" fmla="*/ 367 h 532"/>
                <a:gd name="T102" fmla="*/ 628 w 1014"/>
                <a:gd name="T103" fmla="*/ 348 h 532"/>
                <a:gd name="T104" fmla="*/ 657 w 1014"/>
                <a:gd name="T105" fmla="*/ 322 h 532"/>
                <a:gd name="T106" fmla="*/ 687 w 1014"/>
                <a:gd name="T107" fmla="*/ 290 h 532"/>
                <a:gd name="T108" fmla="*/ 713 w 1014"/>
                <a:gd name="T109" fmla="*/ 254 h 532"/>
                <a:gd name="T110" fmla="*/ 738 w 1014"/>
                <a:gd name="T111" fmla="*/ 213 h 532"/>
                <a:gd name="T112" fmla="*/ 761 w 1014"/>
                <a:gd name="T113" fmla="*/ 173 h 532"/>
                <a:gd name="T114" fmla="*/ 780 w 1014"/>
                <a:gd name="T115" fmla="*/ 133 h 532"/>
                <a:gd name="T116" fmla="*/ 797 w 1014"/>
                <a:gd name="T117" fmla="*/ 94 h 532"/>
                <a:gd name="T118" fmla="*/ 811 w 1014"/>
                <a:gd name="T119" fmla="*/ 59 h 532"/>
                <a:gd name="T120" fmla="*/ 823 w 1014"/>
                <a:gd name="T121" fmla="*/ 30 h 532"/>
                <a:gd name="T122" fmla="*/ 832 w 1014"/>
                <a:gd name="T123" fmla="*/ 7 h 532"/>
                <a:gd name="T124" fmla="*/ 885 w 1014"/>
                <a:gd name="T125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14" h="532">
                  <a:moveTo>
                    <a:pt x="885" y="0"/>
                  </a:moveTo>
                  <a:lnTo>
                    <a:pt x="941" y="0"/>
                  </a:lnTo>
                  <a:lnTo>
                    <a:pt x="1002" y="9"/>
                  </a:lnTo>
                  <a:lnTo>
                    <a:pt x="1014" y="10"/>
                  </a:lnTo>
                  <a:lnTo>
                    <a:pt x="1012" y="16"/>
                  </a:lnTo>
                  <a:lnTo>
                    <a:pt x="1011" y="21"/>
                  </a:lnTo>
                  <a:lnTo>
                    <a:pt x="1009" y="24"/>
                  </a:lnTo>
                  <a:lnTo>
                    <a:pt x="1007" y="28"/>
                  </a:lnTo>
                  <a:lnTo>
                    <a:pt x="1005" y="33"/>
                  </a:lnTo>
                  <a:lnTo>
                    <a:pt x="970" y="121"/>
                  </a:lnTo>
                  <a:lnTo>
                    <a:pt x="930" y="210"/>
                  </a:lnTo>
                  <a:lnTo>
                    <a:pt x="904" y="262"/>
                  </a:lnTo>
                  <a:lnTo>
                    <a:pt x="874" y="313"/>
                  </a:lnTo>
                  <a:lnTo>
                    <a:pt x="843" y="362"/>
                  </a:lnTo>
                  <a:lnTo>
                    <a:pt x="806" y="408"/>
                  </a:lnTo>
                  <a:lnTo>
                    <a:pt x="764" y="448"/>
                  </a:lnTo>
                  <a:lnTo>
                    <a:pt x="726" y="478"/>
                  </a:lnTo>
                  <a:lnTo>
                    <a:pt x="682" y="502"/>
                  </a:lnTo>
                  <a:lnTo>
                    <a:pt x="633" y="521"/>
                  </a:lnTo>
                  <a:lnTo>
                    <a:pt x="580" y="530"/>
                  </a:lnTo>
                  <a:lnTo>
                    <a:pt x="561" y="532"/>
                  </a:lnTo>
                  <a:lnTo>
                    <a:pt x="512" y="527"/>
                  </a:lnTo>
                  <a:lnTo>
                    <a:pt x="467" y="513"/>
                  </a:lnTo>
                  <a:lnTo>
                    <a:pt x="425" y="492"/>
                  </a:lnTo>
                  <a:lnTo>
                    <a:pt x="381" y="467"/>
                  </a:lnTo>
                  <a:lnTo>
                    <a:pt x="327" y="427"/>
                  </a:lnTo>
                  <a:lnTo>
                    <a:pt x="273" y="380"/>
                  </a:lnTo>
                  <a:lnTo>
                    <a:pt x="219" y="329"/>
                  </a:lnTo>
                  <a:lnTo>
                    <a:pt x="145" y="252"/>
                  </a:lnTo>
                  <a:lnTo>
                    <a:pt x="73" y="170"/>
                  </a:lnTo>
                  <a:lnTo>
                    <a:pt x="3" y="86"/>
                  </a:lnTo>
                  <a:lnTo>
                    <a:pt x="2" y="84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28" y="63"/>
                  </a:lnTo>
                  <a:lnTo>
                    <a:pt x="59" y="47"/>
                  </a:lnTo>
                  <a:lnTo>
                    <a:pt x="94" y="33"/>
                  </a:lnTo>
                  <a:lnTo>
                    <a:pt x="126" y="23"/>
                  </a:lnTo>
                  <a:lnTo>
                    <a:pt x="170" y="75"/>
                  </a:lnTo>
                  <a:lnTo>
                    <a:pt x="212" y="124"/>
                  </a:lnTo>
                  <a:lnTo>
                    <a:pt x="253" y="171"/>
                  </a:lnTo>
                  <a:lnTo>
                    <a:pt x="295" y="217"/>
                  </a:lnTo>
                  <a:lnTo>
                    <a:pt x="337" y="259"/>
                  </a:lnTo>
                  <a:lnTo>
                    <a:pt x="378" y="296"/>
                  </a:lnTo>
                  <a:lnTo>
                    <a:pt x="418" y="327"/>
                  </a:lnTo>
                  <a:lnTo>
                    <a:pt x="455" y="352"/>
                  </a:lnTo>
                  <a:lnTo>
                    <a:pt x="493" y="369"/>
                  </a:lnTo>
                  <a:lnTo>
                    <a:pt x="528" y="378"/>
                  </a:lnTo>
                  <a:lnTo>
                    <a:pt x="561" y="378"/>
                  </a:lnTo>
                  <a:lnTo>
                    <a:pt x="594" y="367"/>
                  </a:lnTo>
                  <a:lnTo>
                    <a:pt x="628" y="348"/>
                  </a:lnTo>
                  <a:lnTo>
                    <a:pt x="657" y="322"/>
                  </a:lnTo>
                  <a:lnTo>
                    <a:pt x="687" y="290"/>
                  </a:lnTo>
                  <a:lnTo>
                    <a:pt x="713" y="254"/>
                  </a:lnTo>
                  <a:lnTo>
                    <a:pt x="738" y="213"/>
                  </a:lnTo>
                  <a:lnTo>
                    <a:pt x="761" y="173"/>
                  </a:lnTo>
                  <a:lnTo>
                    <a:pt x="780" y="133"/>
                  </a:lnTo>
                  <a:lnTo>
                    <a:pt x="797" y="94"/>
                  </a:lnTo>
                  <a:lnTo>
                    <a:pt x="811" y="59"/>
                  </a:lnTo>
                  <a:lnTo>
                    <a:pt x="823" y="30"/>
                  </a:lnTo>
                  <a:lnTo>
                    <a:pt x="832" y="7"/>
                  </a:lnTo>
                  <a:lnTo>
                    <a:pt x="885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5"/>
            <p:cNvSpPr>
              <a:spLocks/>
            </p:cNvSpPr>
            <p:nvPr userDrawn="1"/>
          </p:nvSpPr>
          <p:spPr bwMode="auto">
            <a:xfrm>
              <a:off x="1520826" y="1173163"/>
              <a:ext cx="1233488" cy="1449388"/>
            </a:xfrm>
            <a:custGeom>
              <a:avLst/>
              <a:gdLst>
                <a:gd name="T0" fmla="*/ 320 w 777"/>
                <a:gd name="T1" fmla="*/ 0 h 913"/>
                <a:gd name="T2" fmla="*/ 320 w 777"/>
                <a:gd name="T3" fmla="*/ 0 h 913"/>
                <a:gd name="T4" fmla="*/ 373 w 777"/>
                <a:gd name="T5" fmla="*/ 58 h 913"/>
                <a:gd name="T6" fmla="*/ 481 w 777"/>
                <a:gd name="T7" fmla="*/ 182 h 913"/>
                <a:gd name="T8" fmla="*/ 584 w 777"/>
                <a:gd name="T9" fmla="*/ 311 h 913"/>
                <a:gd name="T10" fmla="*/ 632 w 777"/>
                <a:gd name="T11" fmla="*/ 373 h 913"/>
                <a:gd name="T12" fmla="*/ 675 w 777"/>
                <a:gd name="T13" fmla="*/ 436 h 913"/>
                <a:gd name="T14" fmla="*/ 705 w 777"/>
                <a:gd name="T15" fmla="*/ 483 h 913"/>
                <a:gd name="T16" fmla="*/ 733 w 777"/>
                <a:gd name="T17" fmla="*/ 530 h 913"/>
                <a:gd name="T18" fmla="*/ 758 w 777"/>
                <a:gd name="T19" fmla="*/ 579 h 913"/>
                <a:gd name="T20" fmla="*/ 768 w 777"/>
                <a:gd name="T21" fmla="*/ 609 h 913"/>
                <a:gd name="T22" fmla="*/ 775 w 777"/>
                <a:gd name="T23" fmla="*/ 640 h 913"/>
                <a:gd name="T24" fmla="*/ 777 w 777"/>
                <a:gd name="T25" fmla="*/ 674 h 913"/>
                <a:gd name="T26" fmla="*/ 768 w 777"/>
                <a:gd name="T27" fmla="*/ 707 h 913"/>
                <a:gd name="T28" fmla="*/ 751 w 777"/>
                <a:gd name="T29" fmla="*/ 735 h 913"/>
                <a:gd name="T30" fmla="*/ 726 w 777"/>
                <a:gd name="T31" fmla="*/ 759 h 913"/>
                <a:gd name="T32" fmla="*/ 695 w 777"/>
                <a:gd name="T33" fmla="*/ 782 h 913"/>
                <a:gd name="T34" fmla="*/ 660 w 777"/>
                <a:gd name="T35" fmla="*/ 800 h 913"/>
                <a:gd name="T36" fmla="*/ 621 w 777"/>
                <a:gd name="T37" fmla="*/ 812 h 913"/>
                <a:gd name="T38" fmla="*/ 583 w 777"/>
                <a:gd name="T39" fmla="*/ 822 h 913"/>
                <a:gd name="T40" fmla="*/ 544 w 777"/>
                <a:gd name="T41" fmla="*/ 833 h 913"/>
                <a:gd name="T42" fmla="*/ 432 w 777"/>
                <a:gd name="T43" fmla="*/ 856 h 913"/>
                <a:gd name="T44" fmla="*/ 319 w 777"/>
                <a:gd name="T45" fmla="*/ 873 h 913"/>
                <a:gd name="T46" fmla="*/ 160 w 777"/>
                <a:gd name="T47" fmla="*/ 894 h 913"/>
                <a:gd name="T48" fmla="*/ 0 w 777"/>
                <a:gd name="T49" fmla="*/ 913 h 913"/>
                <a:gd name="T50" fmla="*/ 69 w 777"/>
                <a:gd name="T51" fmla="*/ 903 h 913"/>
                <a:gd name="T52" fmla="*/ 137 w 777"/>
                <a:gd name="T53" fmla="*/ 892 h 913"/>
                <a:gd name="T54" fmla="*/ 203 w 777"/>
                <a:gd name="T55" fmla="*/ 880 h 913"/>
                <a:gd name="T56" fmla="*/ 270 w 777"/>
                <a:gd name="T57" fmla="*/ 868 h 913"/>
                <a:gd name="T58" fmla="*/ 333 w 777"/>
                <a:gd name="T59" fmla="*/ 854 h 913"/>
                <a:gd name="T60" fmla="*/ 394 w 777"/>
                <a:gd name="T61" fmla="*/ 836 h 913"/>
                <a:gd name="T62" fmla="*/ 450 w 777"/>
                <a:gd name="T63" fmla="*/ 817 h 913"/>
                <a:gd name="T64" fmla="*/ 501 w 777"/>
                <a:gd name="T65" fmla="*/ 794 h 913"/>
                <a:gd name="T66" fmla="*/ 548 w 777"/>
                <a:gd name="T67" fmla="*/ 768 h 913"/>
                <a:gd name="T68" fmla="*/ 586 w 777"/>
                <a:gd name="T69" fmla="*/ 738 h 913"/>
                <a:gd name="T70" fmla="*/ 614 w 777"/>
                <a:gd name="T71" fmla="*/ 709 h 913"/>
                <a:gd name="T72" fmla="*/ 633 w 777"/>
                <a:gd name="T73" fmla="*/ 677 h 913"/>
                <a:gd name="T74" fmla="*/ 646 w 777"/>
                <a:gd name="T75" fmla="*/ 646 h 913"/>
                <a:gd name="T76" fmla="*/ 653 w 777"/>
                <a:gd name="T77" fmla="*/ 612 h 913"/>
                <a:gd name="T78" fmla="*/ 654 w 777"/>
                <a:gd name="T79" fmla="*/ 579 h 913"/>
                <a:gd name="T80" fmla="*/ 651 w 777"/>
                <a:gd name="T81" fmla="*/ 546 h 913"/>
                <a:gd name="T82" fmla="*/ 646 w 777"/>
                <a:gd name="T83" fmla="*/ 516 h 913"/>
                <a:gd name="T84" fmla="*/ 637 w 777"/>
                <a:gd name="T85" fmla="*/ 486 h 913"/>
                <a:gd name="T86" fmla="*/ 628 w 777"/>
                <a:gd name="T87" fmla="*/ 462 h 913"/>
                <a:gd name="T88" fmla="*/ 619 w 777"/>
                <a:gd name="T89" fmla="*/ 439 h 913"/>
                <a:gd name="T90" fmla="*/ 612 w 777"/>
                <a:gd name="T91" fmla="*/ 422 h 913"/>
                <a:gd name="T92" fmla="*/ 571 w 777"/>
                <a:gd name="T93" fmla="*/ 341 h 913"/>
                <a:gd name="T94" fmla="*/ 529 w 777"/>
                <a:gd name="T95" fmla="*/ 268 h 913"/>
                <a:gd name="T96" fmla="*/ 483 w 777"/>
                <a:gd name="T97" fmla="*/ 201 h 913"/>
                <a:gd name="T98" fmla="*/ 438 w 777"/>
                <a:gd name="T99" fmla="*/ 140 h 913"/>
                <a:gd name="T100" fmla="*/ 396 w 777"/>
                <a:gd name="T101" fmla="*/ 86 h 913"/>
                <a:gd name="T102" fmla="*/ 355 w 777"/>
                <a:gd name="T103" fmla="*/ 38 h 913"/>
                <a:gd name="T104" fmla="*/ 320 w 777"/>
                <a:gd name="T105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7" h="913">
                  <a:moveTo>
                    <a:pt x="320" y="0"/>
                  </a:moveTo>
                  <a:lnTo>
                    <a:pt x="320" y="0"/>
                  </a:lnTo>
                  <a:lnTo>
                    <a:pt x="373" y="58"/>
                  </a:lnTo>
                  <a:lnTo>
                    <a:pt x="481" y="182"/>
                  </a:lnTo>
                  <a:lnTo>
                    <a:pt x="584" y="311"/>
                  </a:lnTo>
                  <a:lnTo>
                    <a:pt x="632" y="373"/>
                  </a:lnTo>
                  <a:lnTo>
                    <a:pt x="675" y="436"/>
                  </a:lnTo>
                  <a:lnTo>
                    <a:pt x="705" y="483"/>
                  </a:lnTo>
                  <a:lnTo>
                    <a:pt x="733" y="530"/>
                  </a:lnTo>
                  <a:lnTo>
                    <a:pt x="758" y="579"/>
                  </a:lnTo>
                  <a:lnTo>
                    <a:pt x="768" y="609"/>
                  </a:lnTo>
                  <a:lnTo>
                    <a:pt x="775" y="640"/>
                  </a:lnTo>
                  <a:lnTo>
                    <a:pt x="777" y="674"/>
                  </a:lnTo>
                  <a:lnTo>
                    <a:pt x="768" y="707"/>
                  </a:lnTo>
                  <a:lnTo>
                    <a:pt x="751" y="735"/>
                  </a:lnTo>
                  <a:lnTo>
                    <a:pt x="726" y="759"/>
                  </a:lnTo>
                  <a:lnTo>
                    <a:pt x="695" y="782"/>
                  </a:lnTo>
                  <a:lnTo>
                    <a:pt x="660" y="800"/>
                  </a:lnTo>
                  <a:lnTo>
                    <a:pt x="621" y="812"/>
                  </a:lnTo>
                  <a:lnTo>
                    <a:pt x="583" y="822"/>
                  </a:lnTo>
                  <a:lnTo>
                    <a:pt x="544" y="833"/>
                  </a:lnTo>
                  <a:lnTo>
                    <a:pt x="432" y="856"/>
                  </a:lnTo>
                  <a:lnTo>
                    <a:pt x="319" y="873"/>
                  </a:lnTo>
                  <a:lnTo>
                    <a:pt x="160" y="894"/>
                  </a:lnTo>
                  <a:lnTo>
                    <a:pt x="0" y="913"/>
                  </a:lnTo>
                  <a:lnTo>
                    <a:pt x="69" y="903"/>
                  </a:lnTo>
                  <a:lnTo>
                    <a:pt x="137" y="892"/>
                  </a:lnTo>
                  <a:lnTo>
                    <a:pt x="203" y="880"/>
                  </a:lnTo>
                  <a:lnTo>
                    <a:pt x="270" y="868"/>
                  </a:lnTo>
                  <a:lnTo>
                    <a:pt x="333" y="854"/>
                  </a:lnTo>
                  <a:lnTo>
                    <a:pt x="394" y="836"/>
                  </a:lnTo>
                  <a:lnTo>
                    <a:pt x="450" y="817"/>
                  </a:lnTo>
                  <a:lnTo>
                    <a:pt x="501" y="794"/>
                  </a:lnTo>
                  <a:lnTo>
                    <a:pt x="548" y="768"/>
                  </a:lnTo>
                  <a:lnTo>
                    <a:pt x="586" y="738"/>
                  </a:lnTo>
                  <a:lnTo>
                    <a:pt x="614" y="709"/>
                  </a:lnTo>
                  <a:lnTo>
                    <a:pt x="633" y="677"/>
                  </a:lnTo>
                  <a:lnTo>
                    <a:pt x="646" y="646"/>
                  </a:lnTo>
                  <a:lnTo>
                    <a:pt x="653" y="612"/>
                  </a:lnTo>
                  <a:lnTo>
                    <a:pt x="654" y="579"/>
                  </a:lnTo>
                  <a:lnTo>
                    <a:pt x="651" y="546"/>
                  </a:lnTo>
                  <a:lnTo>
                    <a:pt x="646" y="516"/>
                  </a:lnTo>
                  <a:lnTo>
                    <a:pt x="637" y="486"/>
                  </a:lnTo>
                  <a:lnTo>
                    <a:pt x="628" y="462"/>
                  </a:lnTo>
                  <a:lnTo>
                    <a:pt x="619" y="439"/>
                  </a:lnTo>
                  <a:lnTo>
                    <a:pt x="612" y="422"/>
                  </a:lnTo>
                  <a:lnTo>
                    <a:pt x="571" y="341"/>
                  </a:lnTo>
                  <a:lnTo>
                    <a:pt x="529" y="268"/>
                  </a:lnTo>
                  <a:lnTo>
                    <a:pt x="483" y="201"/>
                  </a:lnTo>
                  <a:lnTo>
                    <a:pt x="438" y="140"/>
                  </a:lnTo>
                  <a:lnTo>
                    <a:pt x="396" y="86"/>
                  </a:lnTo>
                  <a:lnTo>
                    <a:pt x="355" y="38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CCC8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6"/>
            <p:cNvSpPr>
              <a:spLocks/>
            </p:cNvSpPr>
            <p:nvPr userDrawn="1"/>
          </p:nvSpPr>
          <p:spPr bwMode="auto">
            <a:xfrm>
              <a:off x="1516063" y="1169988"/>
              <a:ext cx="1042988" cy="1452563"/>
            </a:xfrm>
            <a:custGeom>
              <a:avLst/>
              <a:gdLst>
                <a:gd name="T0" fmla="*/ 322 w 657"/>
                <a:gd name="T1" fmla="*/ 0 h 915"/>
                <a:gd name="T2" fmla="*/ 358 w 657"/>
                <a:gd name="T3" fmla="*/ 40 h 915"/>
                <a:gd name="T4" fmla="*/ 441 w 657"/>
                <a:gd name="T5" fmla="*/ 142 h 915"/>
                <a:gd name="T6" fmla="*/ 532 w 657"/>
                <a:gd name="T7" fmla="*/ 270 h 915"/>
                <a:gd name="T8" fmla="*/ 615 w 657"/>
                <a:gd name="T9" fmla="*/ 424 h 915"/>
                <a:gd name="T10" fmla="*/ 631 w 657"/>
                <a:gd name="T11" fmla="*/ 464 h 915"/>
                <a:gd name="T12" fmla="*/ 649 w 657"/>
                <a:gd name="T13" fmla="*/ 518 h 915"/>
                <a:gd name="T14" fmla="*/ 657 w 657"/>
                <a:gd name="T15" fmla="*/ 581 h 915"/>
                <a:gd name="T16" fmla="*/ 649 w 657"/>
                <a:gd name="T17" fmla="*/ 648 h 915"/>
                <a:gd name="T18" fmla="*/ 617 w 657"/>
                <a:gd name="T19" fmla="*/ 711 h 915"/>
                <a:gd name="T20" fmla="*/ 551 w 657"/>
                <a:gd name="T21" fmla="*/ 770 h 915"/>
                <a:gd name="T22" fmla="*/ 453 w 657"/>
                <a:gd name="T23" fmla="*/ 819 h 915"/>
                <a:gd name="T24" fmla="*/ 336 w 657"/>
                <a:gd name="T25" fmla="*/ 856 h 915"/>
                <a:gd name="T26" fmla="*/ 206 w 657"/>
                <a:gd name="T27" fmla="*/ 882 h 915"/>
                <a:gd name="T28" fmla="*/ 72 w 657"/>
                <a:gd name="T29" fmla="*/ 905 h 915"/>
                <a:gd name="T30" fmla="*/ 3 w 657"/>
                <a:gd name="T31" fmla="*/ 915 h 915"/>
                <a:gd name="T32" fmla="*/ 3 w 657"/>
                <a:gd name="T33" fmla="*/ 816 h 915"/>
                <a:gd name="T34" fmla="*/ 16 w 657"/>
                <a:gd name="T35" fmla="*/ 774 h 915"/>
                <a:gd name="T36" fmla="*/ 37 w 657"/>
                <a:gd name="T37" fmla="*/ 770 h 915"/>
                <a:gd name="T38" fmla="*/ 89 w 657"/>
                <a:gd name="T39" fmla="*/ 760 h 915"/>
                <a:gd name="T40" fmla="*/ 164 w 657"/>
                <a:gd name="T41" fmla="*/ 746 h 915"/>
                <a:gd name="T42" fmla="*/ 243 w 657"/>
                <a:gd name="T43" fmla="*/ 730 h 915"/>
                <a:gd name="T44" fmla="*/ 316 w 657"/>
                <a:gd name="T45" fmla="*/ 712 h 915"/>
                <a:gd name="T46" fmla="*/ 371 w 657"/>
                <a:gd name="T47" fmla="*/ 697 h 915"/>
                <a:gd name="T48" fmla="*/ 418 w 657"/>
                <a:gd name="T49" fmla="*/ 676 h 915"/>
                <a:gd name="T50" fmla="*/ 456 w 657"/>
                <a:gd name="T51" fmla="*/ 651 h 915"/>
                <a:gd name="T52" fmla="*/ 483 w 657"/>
                <a:gd name="T53" fmla="*/ 620 h 915"/>
                <a:gd name="T54" fmla="*/ 493 w 657"/>
                <a:gd name="T55" fmla="*/ 578 h 915"/>
                <a:gd name="T56" fmla="*/ 483 w 657"/>
                <a:gd name="T57" fmla="*/ 522 h 915"/>
                <a:gd name="T58" fmla="*/ 441 w 657"/>
                <a:gd name="T59" fmla="*/ 434 h 915"/>
                <a:gd name="T60" fmla="*/ 390 w 657"/>
                <a:gd name="T61" fmla="*/ 350 h 915"/>
                <a:gd name="T62" fmla="*/ 341 w 657"/>
                <a:gd name="T63" fmla="*/ 282 h 915"/>
                <a:gd name="T64" fmla="*/ 285 w 657"/>
                <a:gd name="T65" fmla="*/ 215 h 915"/>
                <a:gd name="T66" fmla="*/ 217 w 657"/>
                <a:gd name="T67" fmla="*/ 137 h 915"/>
                <a:gd name="T68" fmla="*/ 220 w 657"/>
                <a:gd name="T69" fmla="*/ 126 h 915"/>
                <a:gd name="T70" fmla="*/ 241 w 657"/>
                <a:gd name="T71" fmla="*/ 91 h 915"/>
                <a:gd name="T72" fmla="*/ 282 w 657"/>
                <a:gd name="T73" fmla="*/ 40 h 915"/>
                <a:gd name="T74" fmla="*/ 322 w 657"/>
                <a:gd name="T75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7" h="915">
                  <a:moveTo>
                    <a:pt x="322" y="0"/>
                  </a:moveTo>
                  <a:lnTo>
                    <a:pt x="322" y="0"/>
                  </a:lnTo>
                  <a:lnTo>
                    <a:pt x="323" y="2"/>
                  </a:lnTo>
                  <a:lnTo>
                    <a:pt x="358" y="40"/>
                  </a:lnTo>
                  <a:lnTo>
                    <a:pt x="399" y="88"/>
                  </a:lnTo>
                  <a:lnTo>
                    <a:pt x="441" y="142"/>
                  </a:lnTo>
                  <a:lnTo>
                    <a:pt x="486" y="203"/>
                  </a:lnTo>
                  <a:lnTo>
                    <a:pt x="532" y="270"/>
                  </a:lnTo>
                  <a:lnTo>
                    <a:pt x="574" y="343"/>
                  </a:lnTo>
                  <a:lnTo>
                    <a:pt x="615" y="424"/>
                  </a:lnTo>
                  <a:lnTo>
                    <a:pt x="622" y="441"/>
                  </a:lnTo>
                  <a:lnTo>
                    <a:pt x="631" y="464"/>
                  </a:lnTo>
                  <a:lnTo>
                    <a:pt x="640" y="488"/>
                  </a:lnTo>
                  <a:lnTo>
                    <a:pt x="649" y="518"/>
                  </a:lnTo>
                  <a:lnTo>
                    <a:pt x="654" y="548"/>
                  </a:lnTo>
                  <a:lnTo>
                    <a:pt x="657" y="581"/>
                  </a:lnTo>
                  <a:lnTo>
                    <a:pt x="656" y="614"/>
                  </a:lnTo>
                  <a:lnTo>
                    <a:pt x="649" y="648"/>
                  </a:lnTo>
                  <a:lnTo>
                    <a:pt x="636" y="679"/>
                  </a:lnTo>
                  <a:lnTo>
                    <a:pt x="617" y="711"/>
                  </a:lnTo>
                  <a:lnTo>
                    <a:pt x="589" y="740"/>
                  </a:lnTo>
                  <a:lnTo>
                    <a:pt x="551" y="770"/>
                  </a:lnTo>
                  <a:lnTo>
                    <a:pt x="504" y="796"/>
                  </a:lnTo>
                  <a:lnTo>
                    <a:pt x="453" y="819"/>
                  </a:lnTo>
                  <a:lnTo>
                    <a:pt x="397" y="838"/>
                  </a:lnTo>
                  <a:lnTo>
                    <a:pt x="336" y="856"/>
                  </a:lnTo>
                  <a:lnTo>
                    <a:pt x="273" y="870"/>
                  </a:lnTo>
                  <a:lnTo>
                    <a:pt x="206" y="882"/>
                  </a:lnTo>
                  <a:lnTo>
                    <a:pt x="140" y="894"/>
                  </a:lnTo>
                  <a:lnTo>
                    <a:pt x="72" y="905"/>
                  </a:lnTo>
                  <a:lnTo>
                    <a:pt x="3" y="915"/>
                  </a:lnTo>
                  <a:lnTo>
                    <a:pt x="3" y="915"/>
                  </a:lnTo>
                  <a:lnTo>
                    <a:pt x="0" y="863"/>
                  </a:lnTo>
                  <a:lnTo>
                    <a:pt x="3" y="816"/>
                  </a:lnTo>
                  <a:lnTo>
                    <a:pt x="14" y="774"/>
                  </a:lnTo>
                  <a:lnTo>
                    <a:pt x="16" y="774"/>
                  </a:lnTo>
                  <a:lnTo>
                    <a:pt x="21" y="772"/>
                  </a:lnTo>
                  <a:lnTo>
                    <a:pt x="37" y="770"/>
                  </a:lnTo>
                  <a:lnTo>
                    <a:pt x="59" y="765"/>
                  </a:lnTo>
                  <a:lnTo>
                    <a:pt x="89" y="760"/>
                  </a:lnTo>
                  <a:lnTo>
                    <a:pt x="126" y="754"/>
                  </a:lnTo>
                  <a:lnTo>
                    <a:pt x="164" y="746"/>
                  </a:lnTo>
                  <a:lnTo>
                    <a:pt x="205" y="739"/>
                  </a:lnTo>
                  <a:lnTo>
                    <a:pt x="243" y="730"/>
                  </a:lnTo>
                  <a:lnTo>
                    <a:pt x="282" y="721"/>
                  </a:lnTo>
                  <a:lnTo>
                    <a:pt x="316" y="712"/>
                  </a:lnTo>
                  <a:lnTo>
                    <a:pt x="346" y="705"/>
                  </a:lnTo>
                  <a:lnTo>
                    <a:pt x="371" y="697"/>
                  </a:lnTo>
                  <a:lnTo>
                    <a:pt x="395" y="686"/>
                  </a:lnTo>
                  <a:lnTo>
                    <a:pt x="418" y="676"/>
                  </a:lnTo>
                  <a:lnTo>
                    <a:pt x="437" y="665"/>
                  </a:lnTo>
                  <a:lnTo>
                    <a:pt x="456" y="651"/>
                  </a:lnTo>
                  <a:lnTo>
                    <a:pt x="472" y="637"/>
                  </a:lnTo>
                  <a:lnTo>
                    <a:pt x="483" y="620"/>
                  </a:lnTo>
                  <a:lnTo>
                    <a:pt x="491" y="600"/>
                  </a:lnTo>
                  <a:lnTo>
                    <a:pt x="493" y="578"/>
                  </a:lnTo>
                  <a:lnTo>
                    <a:pt x="491" y="551"/>
                  </a:lnTo>
                  <a:lnTo>
                    <a:pt x="483" y="522"/>
                  </a:lnTo>
                  <a:lnTo>
                    <a:pt x="467" y="487"/>
                  </a:lnTo>
                  <a:lnTo>
                    <a:pt x="441" y="434"/>
                  </a:lnTo>
                  <a:lnTo>
                    <a:pt x="414" y="389"/>
                  </a:lnTo>
                  <a:lnTo>
                    <a:pt x="390" y="350"/>
                  </a:lnTo>
                  <a:lnTo>
                    <a:pt x="365" y="313"/>
                  </a:lnTo>
                  <a:lnTo>
                    <a:pt x="341" y="282"/>
                  </a:lnTo>
                  <a:lnTo>
                    <a:pt x="315" y="249"/>
                  </a:lnTo>
                  <a:lnTo>
                    <a:pt x="285" y="215"/>
                  </a:lnTo>
                  <a:lnTo>
                    <a:pt x="254" y="179"/>
                  </a:lnTo>
                  <a:lnTo>
                    <a:pt x="217" y="137"/>
                  </a:lnTo>
                  <a:lnTo>
                    <a:pt x="217" y="137"/>
                  </a:lnTo>
                  <a:lnTo>
                    <a:pt x="220" y="126"/>
                  </a:lnTo>
                  <a:lnTo>
                    <a:pt x="229" y="110"/>
                  </a:lnTo>
                  <a:lnTo>
                    <a:pt x="241" y="91"/>
                  </a:lnTo>
                  <a:lnTo>
                    <a:pt x="257" y="68"/>
                  </a:lnTo>
                  <a:lnTo>
                    <a:pt x="282" y="40"/>
                  </a:lnTo>
                  <a:lnTo>
                    <a:pt x="302" y="18"/>
                  </a:lnTo>
                  <a:lnTo>
                    <a:pt x="322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7"/>
            <p:cNvSpPr>
              <a:spLocks/>
            </p:cNvSpPr>
            <p:nvPr userDrawn="1"/>
          </p:nvSpPr>
          <p:spPr bwMode="auto">
            <a:xfrm>
              <a:off x="1530351" y="2603500"/>
              <a:ext cx="1246188" cy="1592263"/>
            </a:xfrm>
            <a:custGeom>
              <a:avLst/>
              <a:gdLst>
                <a:gd name="T0" fmla="*/ 482 w 785"/>
                <a:gd name="T1" fmla="*/ 0 h 1003"/>
                <a:gd name="T2" fmla="*/ 551 w 785"/>
                <a:gd name="T3" fmla="*/ 2 h 1003"/>
                <a:gd name="T4" fmla="*/ 619 w 785"/>
                <a:gd name="T5" fmla="*/ 7 h 1003"/>
                <a:gd name="T6" fmla="*/ 654 w 785"/>
                <a:gd name="T7" fmla="*/ 16 h 1003"/>
                <a:gd name="T8" fmla="*/ 687 w 785"/>
                <a:gd name="T9" fmla="*/ 26 h 1003"/>
                <a:gd name="T10" fmla="*/ 718 w 785"/>
                <a:gd name="T11" fmla="*/ 42 h 1003"/>
                <a:gd name="T12" fmla="*/ 746 w 785"/>
                <a:gd name="T13" fmla="*/ 65 h 1003"/>
                <a:gd name="T14" fmla="*/ 766 w 785"/>
                <a:gd name="T15" fmla="*/ 91 h 1003"/>
                <a:gd name="T16" fmla="*/ 776 w 785"/>
                <a:gd name="T17" fmla="*/ 119 h 1003"/>
                <a:gd name="T18" fmla="*/ 783 w 785"/>
                <a:gd name="T19" fmla="*/ 151 h 1003"/>
                <a:gd name="T20" fmla="*/ 785 w 785"/>
                <a:gd name="T21" fmla="*/ 182 h 1003"/>
                <a:gd name="T22" fmla="*/ 780 w 785"/>
                <a:gd name="T23" fmla="*/ 235 h 1003"/>
                <a:gd name="T24" fmla="*/ 773 w 785"/>
                <a:gd name="T25" fmla="*/ 287 h 1003"/>
                <a:gd name="T26" fmla="*/ 760 w 785"/>
                <a:gd name="T27" fmla="*/ 338 h 1003"/>
                <a:gd name="T28" fmla="*/ 729 w 785"/>
                <a:gd name="T29" fmla="*/ 455 h 1003"/>
                <a:gd name="T30" fmla="*/ 692 w 785"/>
                <a:gd name="T31" fmla="*/ 571 h 1003"/>
                <a:gd name="T32" fmla="*/ 652 w 785"/>
                <a:gd name="T33" fmla="*/ 685 h 1003"/>
                <a:gd name="T34" fmla="*/ 592 w 785"/>
                <a:gd name="T35" fmla="*/ 844 h 1003"/>
                <a:gd name="T36" fmla="*/ 530 w 785"/>
                <a:gd name="T37" fmla="*/ 1003 h 1003"/>
                <a:gd name="T38" fmla="*/ 561 w 785"/>
                <a:gd name="T39" fmla="*/ 912 h 1003"/>
                <a:gd name="T40" fmla="*/ 592 w 785"/>
                <a:gd name="T41" fmla="*/ 812 h 1003"/>
                <a:gd name="T42" fmla="*/ 622 w 785"/>
                <a:gd name="T43" fmla="*/ 709 h 1003"/>
                <a:gd name="T44" fmla="*/ 643 w 785"/>
                <a:gd name="T45" fmla="*/ 623 h 1003"/>
                <a:gd name="T46" fmla="*/ 662 w 785"/>
                <a:gd name="T47" fmla="*/ 539 h 1003"/>
                <a:gd name="T48" fmla="*/ 676 w 785"/>
                <a:gd name="T49" fmla="*/ 459 h 1003"/>
                <a:gd name="T50" fmla="*/ 687 w 785"/>
                <a:gd name="T51" fmla="*/ 382 h 1003"/>
                <a:gd name="T52" fmla="*/ 690 w 785"/>
                <a:gd name="T53" fmla="*/ 312 h 1003"/>
                <a:gd name="T54" fmla="*/ 689 w 785"/>
                <a:gd name="T55" fmla="*/ 268 h 1003"/>
                <a:gd name="T56" fmla="*/ 682 w 785"/>
                <a:gd name="T57" fmla="*/ 228 h 1003"/>
                <a:gd name="T58" fmla="*/ 673 w 785"/>
                <a:gd name="T59" fmla="*/ 191 h 1003"/>
                <a:gd name="T60" fmla="*/ 657 w 785"/>
                <a:gd name="T61" fmla="*/ 156 h 1003"/>
                <a:gd name="T62" fmla="*/ 638 w 785"/>
                <a:gd name="T63" fmla="*/ 124 h 1003"/>
                <a:gd name="T64" fmla="*/ 612 w 785"/>
                <a:gd name="T65" fmla="*/ 96 h 1003"/>
                <a:gd name="T66" fmla="*/ 578 w 785"/>
                <a:gd name="T67" fmla="*/ 72 h 1003"/>
                <a:gd name="T68" fmla="*/ 538 w 785"/>
                <a:gd name="T69" fmla="*/ 53 h 1003"/>
                <a:gd name="T70" fmla="*/ 535 w 785"/>
                <a:gd name="T71" fmla="*/ 53 h 1003"/>
                <a:gd name="T72" fmla="*/ 530 w 785"/>
                <a:gd name="T73" fmla="*/ 49 h 1003"/>
                <a:gd name="T74" fmla="*/ 519 w 785"/>
                <a:gd name="T75" fmla="*/ 46 h 1003"/>
                <a:gd name="T76" fmla="*/ 481 w 785"/>
                <a:gd name="T77" fmla="*/ 35 h 1003"/>
                <a:gd name="T78" fmla="*/ 435 w 785"/>
                <a:gd name="T79" fmla="*/ 28 h 1003"/>
                <a:gd name="T80" fmla="*/ 383 w 785"/>
                <a:gd name="T81" fmla="*/ 23 h 1003"/>
                <a:gd name="T82" fmla="*/ 323 w 785"/>
                <a:gd name="T83" fmla="*/ 21 h 1003"/>
                <a:gd name="T84" fmla="*/ 271 w 785"/>
                <a:gd name="T85" fmla="*/ 23 h 1003"/>
                <a:gd name="T86" fmla="*/ 213 w 785"/>
                <a:gd name="T87" fmla="*/ 25 h 1003"/>
                <a:gd name="T88" fmla="*/ 150 w 785"/>
                <a:gd name="T89" fmla="*/ 30 h 1003"/>
                <a:gd name="T90" fmla="*/ 78 w 785"/>
                <a:gd name="T91" fmla="*/ 37 h 1003"/>
                <a:gd name="T92" fmla="*/ 0 w 785"/>
                <a:gd name="T93" fmla="*/ 46 h 1003"/>
                <a:gd name="T94" fmla="*/ 0 w 785"/>
                <a:gd name="T95" fmla="*/ 46 h 1003"/>
                <a:gd name="T96" fmla="*/ 161 w 785"/>
                <a:gd name="T97" fmla="*/ 25 h 1003"/>
                <a:gd name="T98" fmla="*/ 321 w 785"/>
                <a:gd name="T99" fmla="*/ 9 h 1003"/>
                <a:gd name="T100" fmla="*/ 482 w 785"/>
                <a:gd name="T101" fmla="*/ 0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5" h="1003">
                  <a:moveTo>
                    <a:pt x="482" y="0"/>
                  </a:moveTo>
                  <a:lnTo>
                    <a:pt x="551" y="2"/>
                  </a:lnTo>
                  <a:lnTo>
                    <a:pt x="619" y="7"/>
                  </a:lnTo>
                  <a:lnTo>
                    <a:pt x="654" y="16"/>
                  </a:lnTo>
                  <a:lnTo>
                    <a:pt x="687" y="26"/>
                  </a:lnTo>
                  <a:lnTo>
                    <a:pt x="718" y="42"/>
                  </a:lnTo>
                  <a:lnTo>
                    <a:pt x="746" y="65"/>
                  </a:lnTo>
                  <a:lnTo>
                    <a:pt x="766" y="91"/>
                  </a:lnTo>
                  <a:lnTo>
                    <a:pt x="776" y="119"/>
                  </a:lnTo>
                  <a:lnTo>
                    <a:pt x="783" y="151"/>
                  </a:lnTo>
                  <a:lnTo>
                    <a:pt x="785" y="182"/>
                  </a:lnTo>
                  <a:lnTo>
                    <a:pt x="780" y="235"/>
                  </a:lnTo>
                  <a:lnTo>
                    <a:pt x="773" y="287"/>
                  </a:lnTo>
                  <a:lnTo>
                    <a:pt x="760" y="338"/>
                  </a:lnTo>
                  <a:lnTo>
                    <a:pt x="729" y="455"/>
                  </a:lnTo>
                  <a:lnTo>
                    <a:pt x="692" y="571"/>
                  </a:lnTo>
                  <a:lnTo>
                    <a:pt x="652" y="685"/>
                  </a:lnTo>
                  <a:lnTo>
                    <a:pt x="592" y="844"/>
                  </a:lnTo>
                  <a:lnTo>
                    <a:pt x="530" y="1003"/>
                  </a:lnTo>
                  <a:lnTo>
                    <a:pt x="561" y="912"/>
                  </a:lnTo>
                  <a:lnTo>
                    <a:pt x="592" y="812"/>
                  </a:lnTo>
                  <a:lnTo>
                    <a:pt x="622" y="709"/>
                  </a:lnTo>
                  <a:lnTo>
                    <a:pt x="643" y="623"/>
                  </a:lnTo>
                  <a:lnTo>
                    <a:pt x="662" y="539"/>
                  </a:lnTo>
                  <a:lnTo>
                    <a:pt x="676" y="459"/>
                  </a:lnTo>
                  <a:lnTo>
                    <a:pt x="687" y="382"/>
                  </a:lnTo>
                  <a:lnTo>
                    <a:pt x="690" y="312"/>
                  </a:lnTo>
                  <a:lnTo>
                    <a:pt x="689" y="268"/>
                  </a:lnTo>
                  <a:lnTo>
                    <a:pt x="682" y="228"/>
                  </a:lnTo>
                  <a:lnTo>
                    <a:pt x="673" y="191"/>
                  </a:lnTo>
                  <a:lnTo>
                    <a:pt x="657" y="156"/>
                  </a:lnTo>
                  <a:lnTo>
                    <a:pt x="638" y="124"/>
                  </a:lnTo>
                  <a:lnTo>
                    <a:pt x="612" y="96"/>
                  </a:lnTo>
                  <a:lnTo>
                    <a:pt x="578" y="72"/>
                  </a:lnTo>
                  <a:lnTo>
                    <a:pt x="538" y="53"/>
                  </a:lnTo>
                  <a:lnTo>
                    <a:pt x="535" y="53"/>
                  </a:lnTo>
                  <a:lnTo>
                    <a:pt x="530" y="49"/>
                  </a:lnTo>
                  <a:lnTo>
                    <a:pt x="519" y="46"/>
                  </a:lnTo>
                  <a:lnTo>
                    <a:pt x="481" y="35"/>
                  </a:lnTo>
                  <a:lnTo>
                    <a:pt x="435" y="28"/>
                  </a:lnTo>
                  <a:lnTo>
                    <a:pt x="383" y="23"/>
                  </a:lnTo>
                  <a:lnTo>
                    <a:pt x="323" y="21"/>
                  </a:lnTo>
                  <a:lnTo>
                    <a:pt x="271" y="23"/>
                  </a:lnTo>
                  <a:lnTo>
                    <a:pt x="213" y="25"/>
                  </a:lnTo>
                  <a:lnTo>
                    <a:pt x="150" y="30"/>
                  </a:lnTo>
                  <a:lnTo>
                    <a:pt x="78" y="3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61" y="25"/>
                  </a:lnTo>
                  <a:lnTo>
                    <a:pt x="321" y="9"/>
                  </a:lnTo>
                  <a:lnTo>
                    <a:pt x="482" y="0"/>
                  </a:lnTo>
                  <a:close/>
                </a:path>
              </a:pathLst>
            </a:custGeom>
            <a:solidFill>
              <a:srgbClr val="F3997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8"/>
            <p:cNvSpPr>
              <a:spLocks/>
            </p:cNvSpPr>
            <p:nvPr userDrawn="1"/>
          </p:nvSpPr>
          <p:spPr bwMode="auto">
            <a:xfrm>
              <a:off x="1530351" y="2636838"/>
              <a:ext cx="1095375" cy="1558925"/>
            </a:xfrm>
            <a:custGeom>
              <a:avLst/>
              <a:gdLst>
                <a:gd name="T0" fmla="*/ 383 w 690"/>
                <a:gd name="T1" fmla="*/ 2 h 982"/>
                <a:gd name="T2" fmla="*/ 481 w 690"/>
                <a:gd name="T3" fmla="*/ 14 h 982"/>
                <a:gd name="T4" fmla="*/ 530 w 690"/>
                <a:gd name="T5" fmla="*/ 28 h 982"/>
                <a:gd name="T6" fmla="*/ 538 w 690"/>
                <a:gd name="T7" fmla="*/ 32 h 982"/>
                <a:gd name="T8" fmla="*/ 612 w 690"/>
                <a:gd name="T9" fmla="*/ 75 h 982"/>
                <a:gd name="T10" fmla="*/ 657 w 690"/>
                <a:gd name="T11" fmla="*/ 135 h 982"/>
                <a:gd name="T12" fmla="*/ 682 w 690"/>
                <a:gd name="T13" fmla="*/ 207 h 982"/>
                <a:gd name="T14" fmla="*/ 690 w 690"/>
                <a:gd name="T15" fmla="*/ 291 h 982"/>
                <a:gd name="T16" fmla="*/ 676 w 690"/>
                <a:gd name="T17" fmla="*/ 438 h 982"/>
                <a:gd name="T18" fmla="*/ 643 w 690"/>
                <a:gd name="T19" fmla="*/ 602 h 982"/>
                <a:gd name="T20" fmla="*/ 592 w 690"/>
                <a:gd name="T21" fmla="*/ 791 h 982"/>
                <a:gd name="T22" fmla="*/ 530 w 690"/>
                <a:gd name="T23" fmla="*/ 982 h 982"/>
                <a:gd name="T24" fmla="*/ 524 w 690"/>
                <a:gd name="T25" fmla="*/ 980 h 982"/>
                <a:gd name="T26" fmla="*/ 496 w 690"/>
                <a:gd name="T27" fmla="*/ 968 h 982"/>
                <a:gd name="T28" fmla="*/ 458 w 690"/>
                <a:gd name="T29" fmla="*/ 947 h 982"/>
                <a:gd name="T30" fmla="*/ 432 w 690"/>
                <a:gd name="T31" fmla="*/ 928 h 982"/>
                <a:gd name="T32" fmla="*/ 414 w 690"/>
                <a:gd name="T33" fmla="*/ 914 h 982"/>
                <a:gd name="T34" fmla="*/ 421 w 690"/>
                <a:gd name="T35" fmla="*/ 893 h 982"/>
                <a:gd name="T36" fmla="*/ 444 w 690"/>
                <a:gd name="T37" fmla="*/ 833 h 982"/>
                <a:gd name="T38" fmla="*/ 475 w 690"/>
                <a:gd name="T39" fmla="*/ 751 h 982"/>
                <a:gd name="T40" fmla="*/ 505 w 690"/>
                <a:gd name="T41" fmla="*/ 657 h 982"/>
                <a:gd name="T42" fmla="*/ 533 w 690"/>
                <a:gd name="T43" fmla="*/ 559 h 982"/>
                <a:gd name="T44" fmla="*/ 551 w 690"/>
                <a:gd name="T45" fmla="*/ 467 h 982"/>
                <a:gd name="T46" fmla="*/ 558 w 690"/>
                <a:gd name="T47" fmla="*/ 382 h 982"/>
                <a:gd name="T48" fmla="*/ 558 w 690"/>
                <a:gd name="T49" fmla="*/ 306 h 982"/>
                <a:gd name="T50" fmla="*/ 545 w 690"/>
                <a:gd name="T51" fmla="*/ 249 h 982"/>
                <a:gd name="T52" fmla="*/ 516 w 690"/>
                <a:gd name="T53" fmla="*/ 208 h 982"/>
                <a:gd name="T54" fmla="*/ 461 w 690"/>
                <a:gd name="T55" fmla="*/ 182 h 982"/>
                <a:gd name="T56" fmla="*/ 377 w 690"/>
                <a:gd name="T57" fmla="*/ 172 h 982"/>
                <a:gd name="T58" fmla="*/ 271 w 690"/>
                <a:gd name="T59" fmla="*/ 172 h 982"/>
                <a:gd name="T60" fmla="*/ 143 w 690"/>
                <a:gd name="T61" fmla="*/ 179 h 982"/>
                <a:gd name="T62" fmla="*/ 52 w 690"/>
                <a:gd name="T63" fmla="*/ 172 h 982"/>
                <a:gd name="T64" fmla="*/ 24 w 690"/>
                <a:gd name="T65" fmla="*/ 114 h 982"/>
                <a:gd name="T66" fmla="*/ 0 w 690"/>
                <a:gd name="T67" fmla="*/ 25 h 982"/>
                <a:gd name="T68" fmla="*/ 150 w 690"/>
                <a:gd name="T69" fmla="*/ 9 h 982"/>
                <a:gd name="T70" fmla="*/ 271 w 690"/>
                <a:gd name="T71" fmla="*/ 2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0" h="982">
                  <a:moveTo>
                    <a:pt x="323" y="0"/>
                  </a:moveTo>
                  <a:lnTo>
                    <a:pt x="383" y="2"/>
                  </a:lnTo>
                  <a:lnTo>
                    <a:pt x="435" y="7"/>
                  </a:lnTo>
                  <a:lnTo>
                    <a:pt x="481" y="14"/>
                  </a:lnTo>
                  <a:lnTo>
                    <a:pt x="519" y="25"/>
                  </a:lnTo>
                  <a:lnTo>
                    <a:pt x="530" y="28"/>
                  </a:lnTo>
                  <a:lnTo>
                    <a:pt x="535" y="32"/>
                  </a:lnTo>
                  <a:lnTo>
                    <a:pt x="538" y="32"/>
                  </a:lnTo>
                  <a:lnTo>
                    <a:pt x="578" y="51"/>
                  </a:lnTo>
                  <a:lnTo>
                    <a:pt x="612" y="75"/>
                  </a:lnTo>
                  <a:lnTo>
                    <a:pt x="638" y="103"/>
                  </a:lnTo>
                  <a:lnTo>
                    <a:pt x="657" y="135"/>
                  </a:lnTo>
                  <a:lnTo>
                    <a:pt x="673" y="170"/>
                  </a:lnTo>
                  <a:lnTo>
                    <a:pt x="682" y="207"/>
                  </a:lnTo>
                  <a:lnTo>
                    <a:pt x="689" y="247"/>
                  </a:lnTo>
                  <a:lnTo>
                    <a:pt x="690" y="291"/>
                  </a:lnTo>
                  <a:lnTo>
                    <a:pt x="687" y="361"/>
                  </a:lnTo>
                  <a:lnTo>
                    <a:pt x="676" y="438"/>
                  </a:lnTo>
                  <a:lnTo>
                    <a:pt x="662" y="518"/>
                  </a:lnTo>
                  <a:lnTo>
                    <a:pt x="643" y="602"/>
                  </a:lnTo>
                  <a:lnTo>
                    <a:pt x="622" y="688"/>
                  </a:lnTo>
                  <a:lnTo>
                    <a:pt x="592" y="791"/>
                  </a:lnTo>
                  <a:lnTo>
                    <a:pt x="561" y="891"/>
                  </a:lnTo>
                  <a:lnTo>
                    <a:pt x="530" y="982"/>
                  </a:lnTo>
                  <a:lnTo>
                    <a:pt x="530" y="982"/>
                  </a:lnTo>
                  <a:lnTo>
                    <a:pt x="524" y="980"/>
                  </a:lnTo>
                  <a:lnTo>
                    <a:pt x="512" y="975"/>
                  </a:lnTo>
                  <a:lnTo>
                    <a:pt x="496" y="968"/>
                  </a:lnTo>
                  <a:lnTo>
                    <a:pt x="477" y="958"/>
                  </a:lnTo>
                  <a:lnTo>
                    <a:pt x="458" y="947"/>
                  </a:lnTo>
                  <a:lnTo>
                    <a:pt x="444" y="937"/>
                  </a:lnTo>
                  <a:lnTo>
                    <a:pt x="432" y="928"/>
                  </a:lnTo>
                  <a:lnTo>
                    <a:pt x="421" y="919"/>
                  </a:lnTo>
                  <a:lnTo>
                    <a:pt x="414" y="914"/>
                  </a:lnTo>
                  <a:lnTo>
                    <a:pt x="412" y="912"/>
                  </a:lnTo>
                  <a:lnTo>
                    <a:pt x="421" y="893"/>
                  </a:lnTo>
                  <a:lnTo>
                    <a:pt x="432" y="867"/>
                  </a:lnTo>
                  <a:lnTo>
                    <a:pt x="444" y="833"/>
                  </a:lnTo>
                  <a:lnTo>
                    <a:pt x="460" y="795"/>
                  </a:lnTo>
                  <a:lnTo>
                    <a:pt x="475" y="751"/>
                  </a:lnTo>
                  <a:lnTo>
                    <a:pt x="489" y="706"/>
                  </a:lnTo>
                  <a:lnTo>
                    <a:pt x="505" y="657"/>
                  </a:lnTo>
                  <a:lnTo>
                    <a:pt x="519" y="608"/>
                  </a:lnTo>
                  <a:lnTo>
                    <a:pt x="533" y="559"/>
                  </a:lnTo>
                  <a:lnTo>
                    <a:pt x="544" y="511"/>
                  </a:lnTo>
                  <a:lnTo>
                    <a:pt x="551" y="467"/>
                  </a:lnTo>
                  <a:lnTo>
                    <a:pt x="556" y="425"/>
                  </a:lnTo>
                  <a:lnTo>
                    <a:pt x="558" y="382"/>
                  </a:lnTo>
                  <a:lnTo>
                    <a:pt x="559" y="341"/>
                  </a:lnTo>
                  <a:lnTo>
                    <a:pt x="558" y="306"/>
                  </a:lnTo>
                  <a:lnTo>
                    <a:pt x="554" y="275"/>
                  </a:lnTo>
                  <a:lnTo>
                    <a:pt x="545" y="249"/>
                  </a:lnTo>
                  <a:lnTo>
                    <a:pt x="533" y="228"/>
                  </a:lnTo>
                  <a:lnTo>
                    <a:pt x="516" y="208"/>
                  </a:lnTo>
                  <a:lnTo>
                    <a:pt x="493" y="194"/>
                  </a:lnTo>
                  <a:lnTo>
                    <a:pt x="461" y="182"/>
                  </a:lnTo>
                  <a:lnTo>
                    <a:pt x="425" y="175"/>
                  </a:lnTo>
                  <a:lnTo>
                    <a:pt x="377" y="172"/>
                  </a:lnTo>
                  <a:lnTo>
                    <a:pt x="323" y="170"/>
                  </a:lnTo>
                  <a:lnTo>
                    <a:pt x="271" y="172"/>
                  </a:lnTo>
                  <a:lnTo>
                    <a:pt x="211" y="173"/>
                  </a:lnTo>
                  <a:lnTo>
                    <a:pt x="143" y="179"/>
                  </a:lnTo>
                  <a:lnTo>
                    <a:pt x="64" y="187"/>
                  </a:lnTo>
                  <a:lnTo>
                    <a:pt x="52" y="172"/>
                  </a:lnTo>
                  <a:lnTo>
                    <a:pt x="38" y="147"/>
                  </a:lnTo>
                  <a:lnTo>
                    <a:pt x="24" y="114"/>
                  </a:lnTo>
                  <a:lnTo>
                    <a:pt x="10" y="74"/>
                  </a:lnTo>
                  <a:lnTo>
                    <a:pt x="0" y="25"/>
                  </a:lnTo>
                  <a:lnTo>
                    <a:pt x="78" y="16"/>
                  </a:lnTo>
                  <a:lnTo>
                    <a:pt x="150" y="9"/>
                  </a:lnTo>
                  <a:lnTo>
                    <a:pt x="213" y="4"/>
                  </a:lnTo>
                  <a:lnTo>
                    <a:pt x="271" y="2"/>
                  </a:lnTo>
                  <a:lnTo>
                    <a:pt x="323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9"/>
            <p:cNvSpPr>
              <a:spLocks/>
            </p:cNvSpPr>
            <p:nvPr userDrawn="1"/>
          </p:nvSpPr>
          <p:spPr bwMode="auto">
            <a:xfrm>
              <a:off x="5127626" y="5248275"/>
              <a:ext cx="290513" cy="325438"/>
            </a:xfrm>
            <a:custGeom>
              <a:avLst/>
              <a:gdLst>
                <a:gd name="T0" fmla="*/ 148 w 183"/>
                <a:gd name="T1" fmla="*/ 6 h 205"/>
                <a:gd name="T2" fmla="*/ 162 w 183"/>
                <a:gd name="T3" fmla="*/ 35 h 205"/>
                <a:gd name="T4" fmla="*/ 164 w 183"/>
                <a:gd name="T5" fmla="*/ 70 h 205"/>
                <a:gd name="T6" fmla="*/ 168 w 183"/>
                <a:gd name="T7" fmla="*/ 121 h 205"/>
                <a:gd name="T8" fmla="*/ 169 w 183"/>
                <a:gd name="T9" fmla="*/ 158 h 205"/>
                <a:gd name="T10" fmla="*/ 173 w 183"/>
                <a:gd name="T11" fmla="*/ 174 h 205"/>
                <a:gd name="T12" fmla="*/ 180 w 183"/>
                <a:gd name="T13" fmla="*/ 186 h 205"/>
                <a:gd name="T14" fmla="*/ 183 w 183"/>
                <a:gd name="T15" fmla="*/ 191 h 205"/>
                <a:gd name="T16" fmla="*/ 182 w 183"/>
                <a:gd name="T17" fmla="*/ 200 h 205"/>
                <a:gd name="T18" fmla="*/ 173 w 183"/>
                <a:gd name="T19" fmla="*/ 205 h 205"/>
                <a:gd name="T20" fmla="*/ 164 w 183"/>
                <a:gd name="T21" fmla="*/ 203 h 205"/>
                <a:gd name="T22" fmla="*/ 155 w 183"/>
                <a:gd name="T23" fmla="*/ 198 h 205"/>
                <a:gd name="T24" fmla="*/ 147 w 183"/>
                <a:gd name="T25" fmla="*/ 179 h 205"/>
                <a:gd name="T26" fmla="*/ 143 w 183"/>
                <a:gd name="T27" fmla="*/ 139 h 205"/>
                <a:gd name="T28" fmla="*/ 138 w 183"/>
                <a:gd name="T29" fmla="*/ 81 h 205"/>
                <a:gd name="T30" fmla="*/ 131 w 183"/>
                <a:gd name="T31" fmla="*/ 49 h 205"/>
                <a:gd name="T32" fmla="*/ 126 w 183"/>
                <a:gd name="T33" fmla="*/ 42 h 205"/>
                <a:gd name="T34" fmla="*/ 120 w 183"/>
                <a:gd name="T35" fmla="*/ 42 h 205"/>
                <a:gd name="T36" fmla="*/ 115 w 183"/>
                <a:gd name="T37" fmla="*/ 49 h 205"/>
                <a:gd name="T38" fmla="*/ 103 w 183"/>
                <a:gd name="T39" fmla="*/ 70 h 205"/>
                <a:gd name="T40" fmla="*/ 82 w 183"/>
                <a:gd name="T41" fmla="*/ 109 h 205"/>
                <a:gd name="T42" fmla="*/ 68 w 183"/>
                <a:gd name="T43" fmla="*/ 140 h 205"/>
                <a:gd name="T44" fmla="*/ 63 w 183"/>
                <a:gd name="T45" fmla="*/ 151 h 205"/>
                <a:gd name="T46" fmla="*/ 57 w 183"/>
                <a:gd name="T47" fmla="*/ 160 h 205"/>
                <a:gd name="T48" fmla="*/ 49 w 183"/>
                <a:gd name="T49" fmla="*/ 165 h 205"/>
                <a:gd name="T50" fmla="*/ 30 w 183"/>
                <a:gd name="T51" fmla="*/ 163 h 205"/>
                <a:gd name="T52" fmla="*/ 14 w 183"/>
                <a:gd name="T53" fmla="*/ 137 h 205"/>
                <a:gd name="T54" fmla="*/ 0 w 183"/>
                <a:gd name="T55" fmla="*/ 62 h 205"/>
                <a:gd name="T56" fmla="*/ 5 w 183"/>
                <a:gd name="T57" fmla="*/ 13 h 205"/>
                <a:gd name="T58" fmla="*/ 10 w 183"/>
                <a:gd name="T59" fmla="*/ 7 h 205"/>
                <a:gd name="T60" fmla="*/ 19 w 183"/>
                <a:gd name="T61" fmla="*/ 4 h 205"/>
                <a:gd name="T62" fmla="*/ 28 w 183"/>
                <a:gd name="T63" fmla="*/ 6 h 205"/>
                <a:gd name="T64" fmla="*/ 35 w 183"/>
                <a:gd name="T65" fmla="*/ 13 h 205"/>
                <a:gd name="T66" fmla="*/ 35 w 183"/>
                <a:gd name="T67" fmla="*/ 25 h 205"/>
                <a:gd name="T68" fmla="*/ 33 w 183"/>
                <a:gd name="T69" fmla="*/ 56 h 205"/>
                <a:gd name="T70" fmla="*/ 38 w 183"/>
                <a:gd name="T71" fmla="*/ 104 h 205"/>
                <a:gd name="T72" fmla="*/ 59 w 183"/>
                <a:gd name="T73" fmla="*/ 95 h 205"/>
                <a:gd name="T74" fmla="*/ 85 w 183"/>
                <a:gd name="T75" fmla="*/ 42 h 205"/>
                <a:gd name="T76" fmla="*/ 103 w 183"/>
                <a:gd name="T77" fmla="*/ 16 h 205"/>
                <a:gd name="T78" fmla="*/ 124 w 183"/>
                <a:gd name="T79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3" h="205">
                  <a:moveTo>
                    <a:pt x="134" y="0"/>
                  </a:moveTo>
                  <a:lnTo>
                    <a:pt x="148" y="6"/>
                  </a:lnTo>
                  <a:lnTo>
                    <a:pt x="157" y="18"/>
                  </a:lnTo>
                  <a:lnTo>
                    <a:pt x="162" y="35"/>
                  </a:lnTo>
                  <a:lnTo>
                    <a:pt x="162" y="48"/>
                  </a:lnTo>
                  <a:lnTo>
                    <a:pt x="164" y="70"/>
                  </a:lnTo>
                  <a:lnTo>
                    <a:pt x="166" y="95"/>
                  </a:lnTo>
                  <a:lnTo>
                    <a:pt x="168" y="121"/>
                  </a:lnTo>
                  <a:lnTo>
                    <a:pt x="169" y="144"/>
                  </a:lnTo>
                  <a:lnTo>
                    <a:pt x="169" y="158"/>
                  </a:lnTo>
                  <a:lnTo>
                    <a:pt x="171" y="167"/>
                  </a:lnTo>
                  <a:lnTo>
                    <a:pt x="173" y="174"/>
                  </a:lnTo>
                  <a:lnTo>
                    <a:pt x="176" y="181"/>
                  </a:lnTo>
                  <a:lnTo>
                    <a:pt x="180" y="186"/>
                  </a:lnTo>
                  <a:lnTo>
                    <a:pt x="182" y="188"/>
                  </a:lnTo>
                  <a:lnTo>
                    <a:pt x="183" y="191"/>
                  </a:lnTo>
                  <a:lnTo>
                    <a:pt x="183" y="196"/>
                  </a:lnTo>
                  <a:lnTo>
                    <a:pt x="182" y="200"/>
                  </a:lnTo>
                  <a:lnTo>
                    <a:pt x="178" y="203"/>
                  </a:lnTo>
                  <a:lnTo>
                    <a:pt x="173" y="205"/>
                  </a:lnTo>
                  <a:lnTo>
                    <a:pt x="169" y="205"/>
                  </a:lnTo>
                  <a:lnTo>
                    <a:pt x="164" y="203"/>
                  </a:lnTo>
                  <a:lnTo>
                    <a:pt x="159" y="202"/>
                  </a:lnTo>
                  <a:lnTo>
                    <a:pt x="155" y="198"/>
                  </a:lnTo>
                  <a:lnTo>
                    <a:pt x="152" y="195"/>
                  </a:lnTo>
                  <a:lnTo>
                    <a:pt x="147" y="179"/>
                  </a:lnTo>
                  <a:lnTo>
                    <a:pt x="143" y="161"/>
                  </a:lnTo>
                  <a:lnTo>
                    <a:pt x="143" y="139"/>
                  </a:lnTo>
                  <a:lnTo>
                    <a:pt x="141" y="111"/>
                  </a:lnTo>
                  <a:lnTo>
                    <a:pt x="138" y="81"/>
                  </a:lnTo>
                  <a:lnTo>
                    <a:pt x="133" y="55"/>
                  </a:lnTo>
                  <a:lnTo>
                    <a:pt x="131" y="49"/>
                  </a:lnTo>
                  <a:lnTo>
                    <a:pt x="129" y="46"/>
                  </a:lnTo>
                  <a:lnTo>
                    <a:pt x="126" y="42"/>
                  </a:lnTo>
                  <a:lnTo>
                    <a:pt x="124" y="42"/>
                  </a:lnTo>
                  <a:lnTo>
                    <a:pt x="120" y="42"/>
                  </a:lnTo>
                  <a:lnTo>
                    <a:pt x="119" y="46"/>
                  </a:lnTo>
                  <a:lnTo>
                    <a:pt x="115" y="49"/>
                  </a:lnTo>
                  <a:lnTo>
                    <a:pt x="112" y="55"/>
                  </a:lnTo>
                  <a:lnTo>
                    <a:pt x="103" y="70"/>
                  </a:lnTo>
                  <a:lnTo>
                    <a:pt x="92" y="88"/>
                  </a:lnTo>
                  <a:lnTo>
                    <a:pt x="82" y="109"/>
                  </a:lnTo>
                  <a:lnTo>
                    <a:pt x="75" y="126"/>
                  </a:lnTo>
                  <a:lnTo>
                    <a:pt x="68" y="140"/>
                  </a:lnTo>
                  <a:lnTo>
                    <a:pt x="66" y="146"/>
                  </a:lnTo>
                  <a:lnTo>
                    <a:pt x="63" y="151"/>
                  </a:lnTo>
                  <a:lnTo>
                    <a:pt x="61" y="156"/>
                  </a:lnTo>
                  <a:lnTo>
                    <a:pt x="57" y="160"/>
                  </a:lnTo>
                  <a:lnTo>
                    <a:pt x="52" y="163"/>
                  </a:lnTo>
                  <a:lnTo>
                    <a:pt x="49" y="165"/>
                  </a:lnTo>
                  <a:lnTo>
                    <a:pt x="42" y="167"/>
                  </a:lnTo>
                  <a:lnTo>
                    <a:pt x="30" y="163"/>
                  </a:lnTo>
                  <a:lnTo>
                    <a:pt x="21" y="153"/>
                  </a:lnTo>
                  <a:lnTo>
                    <a:pt x="14" y="137"/>
                  </a:lnTo>
                  <a:lnTo>
                    <a:pt x="5" y="100"/>
                  </a:lnTo>
                  <a:lnTo>
                    <a:pt x="0" y="62"/>
                  </a:lnTo>
                  <a:lnTo>
                    <a:pt x="3" y="20"/>
                  </a:lnTo>
                  <a:lnTo>
                    <a:pt x="5" y="13"/>
                  </a:lnTo>
                  <a:lnTo>
                    <a:pt x="7" y="9"/>
                  </a:lnTo>
                  <a:lnTo>
                    <a:pt x="10" y="7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23" y="4"/>
                  </a:lnTo>
                  <a:lnTo>
                    <a:pt x="28" y="6"/>
                  </a:lnTo>
                  <a:lnTo>
                    <a:pt x="33" y="9"/>
                  </a:lnTo>
                  <a:lnTo>
                    <a:pt x="35" y="13"/>
                  </a:lnTo>
                  <a:lnTo>
                    <a:pt x="36" y="18"/>
                  </a:lnTo>
                  <a:lnTo>
                    <a:pt x="35" y="25"/>
                  </a:lnTo>
                  <a:lnTo>
                    <a:pt x="35" y="37"/>
                  </a:lnTo>
                  <a:lnTo>
                    <a:pt x="33" y="56"/>
                  </a:lnTo>
                  <a:lnTo>
                    <a:pt x="35" y="79"/>
                  </a:lnTo>
                  <a:lnTo>
                    <a:pt x="38" y="104"/>
                  </a:lnTo>
                  <a:lnTo>
                    <a:pt x="43" y="126"/>
                  </a:lnTo>
                  <a:lnTo>
                    <a:pt x="59" y="95"/>
                  </a:lnTo>
                  <a:lnTo>
                    <a:pt x="73" y="65"/>
                  </a:lnTo>
                  <a:lnTo>
                    <a:pt x="85" y="42"/>
                  </a:lnTo>
                  <a:lnTo>
                    <a:pt x="96" y="27"/>
                  </a:lnTo>
                  <a:lnTo>
                    <a:pt x="103" y="16"/>
                  </a:lnTo>
                  <a:lnTo>
                    <a:pt x="113" y="6"/>
                  </a:lnTo>
                  <a:lnTo>
                    <a:pt x="124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0"/>
            <p:cNvSpPr>
              <a:spLocks/>
            </p:cNvSpPr>
            <p:nvPr userDrawn="1"/>
          </p:nvSpPr>
          <p:spPr bwMode="auto">
            <a:xfrm>
              <a:off x="5440363" y="5235575"/>
              <a:ext cx="244475" cy="307975"/>
            </a:xfrm>
            <a:custGeom>
              <a:avLst/>
              <a:gdLst>
                <a:gd name="T0" fmla="*/ 77 w 154"/>
                <a:gd name="T1" fmla="*/ 0 h 194"/>
                <a:gd name="T2" fmla="*/ 90 w 154"/>
                <a:gd name="T3" fmla="*/ 0 h 194"/>
                <a:gd name="T4" fmla="*/ 95 w 154"/>
                <a:gd name="T5" fmla="*/ 1 h 194"/>
                <a:gd name="T6" fmla="*/ 97 w 154"/>
                <a:gd name="T7" fmla="*/ 3 h 194"/>
                <a:gd name="T8" fmla="*/ 98 w 154"/>
                <a:gd name="T9" fmla="*/ 7 h 194"/>
                <a:gd name="T10" fmla="*/ 98 w 154"/>
                <a:gd name="T11" fmla="*/ 10 h 194"/>
                <a:gd name="T12" fmla="*/ 97 w 154"/>
                <a:gd name="T13" fmla="*/ 15 h 194"/>
                <a:gd name="T14" fmla="*/ 93 w 154"/>
                <a:gd name="T15" fmla="*/ 19 h 194"/>
                <a:gd name="T16" fmla="*/ 90 w 154"/>
                <a:gd name="T17" fmla="*/ 22 h 194"/>
                <a:gd name="T18" fmla="*/ 84 w 154"/>
                <a:gd name="T19" fmla="*/ 24 h 194"/>
                <a:gd name="T20" fmla="*/ 72 w 154"/>
                <a:gd name="T21" fmla="*/ 31 h 194"/>
                <a:gd name="T22" fmla="*/ 60 w 154"/>
                <a:gd name="T23" fmla="*/ 43 h 194"/>
                <a:gd name="T24" fmla="*/ 49 w 154"/>
                <a:gd name="T25" fmla="*/ 63 h 194"/>
                <a:gd name="T26" fmla="*/ 39 w 154"/>
                <a:gd name="T27" fmla="*/ 91 h 194"/>
                <a:gd name="T28" fmla="*/ 34 w 154"/>
                <a:gd name="T29" fmla="*/ 112 h 194"/>
                <a:gd name="T30" fmla="*/ 34 w 154"/>
                <a:gd name="T31" fmla="*/ 131 h 194"/>
                <a:gd name="T32" fmla="*/ 37 w 154"/>
                <a:gd name="T33" fmla="*/ 147 h 194"/>
                <a:gd name="T34" fmla="*/ 42 w 154"/>
                <a:gd name="T35" fmla="*/ 161 h 194"/>
                <a:gd name="T36" fmla="*/ 53 w 154"/>
                <a:gd name="T37" fmla="*/ 168 h 194"/>
                <a:gd name="T38" fmla="*/ 67 w 154"/>
                <a:gd name="T39" fmla="*/ 169 h 194"/>
                <a:gd name="T40" fmla="*/ 81 w 154"/>
                <a:gd name="T41" fmla="*/ 166 h 194"/>
                <a:gd name="T42" fmla="*/ 97 w 154"/>
                <a:gd name="T43" fmla="*/ 157 h 194"/>
                <a:gd name="T44" fmla="*/ 109 w 154"/>
                <a:gd name="T45" fmla="*/ 140 h 194"/>
                <a:gd name="T46" fmla="*/ 119 w 154"/>
                <a:gd name="T47" fmla="*/ 117 h 194"/>
                <a:gd name="T48" fmla="*/ 126 w 154"/>
                <a:gd name="T49" fmla="*/ 94 h 194"/>
                <a:gd name="T50" fmla="*/ 125 w 154"/>
                <a:gd name="T51" fmla="*/ 75 h 194"/>
                <a:gd name="T52" fmla="*/ 121 w 154"/>
                <a:gd name="T53" fmla="*/ 59 h 194"/>
                <a:gd name="T54" fmla="*/ 112 w 154"/>
                <a:gd name="T55" fmla="*/ 49 h 194"/>
                <a:gd name="T56" fmla="*/ 104 w 154"/>
                <a:gd name="T57" fmla="*/ 43 h 194"/>
                <a:gd name="T58" fmla="*/ 98 w 154"/>
                <a:gd name="T59" fmla="*/ 42 h 194"/>
                <a:gd name="T60" fmla="*/ 95 w 154"/>
                <a:gd name="T61" fmla="*/ 38 h 194"/>
                <a:gd name="T62" fmla="*/ 93 w 154"/>
                <a:gd name="T63" fmla="*/ 35 h 194"/>
                <a:gd name="T64" fmla="*/ 93 w 154"/>
                <a:gd name="T65" fmla="*/ 31 h 194"/>
                <a:gd name="T66" fmla="*/ 93 w 154"/>
                <a:gd name="T67" fmla="*/ 29 h 194"/>
                <a:gd name="T68" fmla="*/ 95 w 154"/>
                <a:gd name="T69" fmla="*/ 26 h 194"/>
                <a:gd name="T70" fmla="*/ 97 w 154"/>
                <a:gd name="T71" fmla="*/ 24 h 194"/>
                <a:gd name="T72" fmla="*/ 100 w 154"/>
                <a:gd name="T73" fmla="*/ 22 h 194"/>
                <a:gd name="T74" fmla="*/ 104 w 154"/>
                <a:gd name="T75" fmla="*/ 21 h 194"/>
                <a:gd name="T76" fmla="*/ 109 w 154"/>
                <a:gd name="T77" fmla="*/ 22 h 194"/>
                <a:gd name="T78" fmla="*/ 128 w 154"/>
                <a:gd name="T79" fmla="*/ 31 h 194"/>
                <a:gd name="T80" fmla="*/ 144 w 154"/>
                <a:gd name="T81" fmla="*/ 47 h 194"/>
                <a:gd name="T82" fmla="*/ 152 w 154"/>
                <a:gd name="T83" fmla="*/ 70 h 194"/>
                <a:gd name="T84" fmla="*/ 154 w 154"/>
                <a:gd name="T85" fmla="*/ 98 h 194"/>
                <a:gd name="T86" fmla="*/ 147 w 154"/>
                <a:gd name="T87" fmla="*/ 129 h 194"/>
                <a:gd name="T88" fmla="*/ 133 w 154"/>
                <a:gd name="T89" fmla="*/ 154 h 194"/>
                <a:gd name="T90" fmla="*/ 116 w 154"/>
                <a:gd name="T91" fmla="*/ 175 h 194"/>
                <a:gd name="T92" fmla="*/ 95 w 154"/>
                <a:gd name="T93" fmla="*/ 189 h 194"/>
                <a:gd name="T94" fmla="*/ 69 w 154"/>
                <a:gd name="T95" fmla="*/ 194 h 194"/>
                <a:gd name="T96" fmla="*/ 41 w 154"/>
                <a:gd name="T97" fmla="*/ 190 h 194"/>
                <a:gd name="T98" fmla="*/ 23 w 154"/>
                <a:gd name="T99" fmla="*/ 180 h 194"/>
                <a:gd name="T100" fmla="*/ 11 w 154"/>
                <a:gd name="T101" fmla="*/ 164 h 194"/>
                <a:gd name="T102" fmla="*/ 2 w 154"/>
                <a:gd name="T103" fmla="*/ 145 h 194"/>
                <a:gd name="T104" fmla="*/ 0 w 154"/>
                <a:gd name="T105" fmla="*/ 124 h 194"/>
                <a:gd name="T106" fmla="*/ 2 w 154"/>
                <a:gd name="T107" fmla="*/ 101 h 194"/>
                <a:gd name="T108" fmla="*/ 7 w 154"/>
                <a:gd name="T109" fmla="*/ 77 h 194"/>
                <a:gd name="T110" fmla="*/ 20 w 154"/>
                <a:gd name="T111" fmla="*/ 50 h 194"/>
                <a:gd name="T112" fmla="*/ 32 w 154"/>
                <a:gd name="T113" fmla="*/ 31 h 194"/>
                <a:gd name="T114" fmla="*/ 46 w 154"/>
                <a:gd name="T115" fmla="*/ 15 h 194"/>
                <a:gd name="T116" fmla="*/ 62 w 154"/>
                <a:gd name="T117" fmla="*/ 5 h 194"/>
                <a:gd name="T118" fmla="*/ 77 w 154"/>
                <a:gd name="T1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94">
                  <a:moveTo>
                    <a:pt x="77" y="0"/>
                  </a:moveTo>
                  <a:lnTo>
                    <a:pt x="90" y="0"/>
                  </a:lnTo>
                  <a:lnTo>
                    <a:pt x="95" y="1"/>
                  </a:lnTo>
                  <a:lnTo>
                    <a:pt x="97" y="3"/>
                  </a:lnTo>
                  <a:lnTo>
                    <a:pt x="98" y="7"/>
                  </a:lnTo>
                  <a:lnTo>
                    <a:pt x="98" y="10"/>
                  </a:lnTo>
                  <a:lnTo>
                    <a:pt x="97" y="15"/>
                  </a:lnTo>
                  <a:lnTo>
                    <a:pt x="93" y="19"/>
                  </a:lnTo>
                  <a:lnTo>
                    <a:pt x="90" y="22"/>
                  </a:lnTo>
                  <a:lnTo>
                    <a:pt x="84" y="24"/>
                  </a:lnTo>
                  <a:lnTo>
                    <a:pt x="72" y="31"/>
                  </a:lnTo>
                  <a:lnTo>
                    <a:pt x="60" y="43"/>
                  </a:lnTo>
                  <a:lnTo>
                    <a:pt x="49" y="63"/>
                  </a:lnTo>
                  <a:lnTo>
                    <a:pt x="39" y="91"/>
                  </a:lnTo>
                  <a:lnTo>
                    <a:pt x="34" y="112"/>
                  </a:lnTo>
                  <a:lnTo>
                    <a:pt x="34" y="131"/>
                  </a:lnTo>
                  <a:lnTo>
                    <a:pt x="37" y="147"/>
                  </a:lnTo>
                  <a:lnTo>
                    <a:pt x="42" y="161"/>
                  </a:lnTo>
                  <a:lnTo>
                    <a:pt x="53" y="168"/>
                  </a:lnTo>
                  <a:lnTo>
                    <a:pt x="67" y="169"/>
                  </a:lnTo>
                  <a:lnTo>
                    <a:pt x="81" y="166"/>
                  </a:lnTo>
                  <a:lnTo>
                    <a:pt x="97" y="157"/>
                  </a:lnTo>
                  <a:lnTo>
                    <a:pt x="109" y="140"/>
                  </a:lnTo>
                  <a:lnTo>
                    <a:pt x="119" y="117"/>
                  </a:lnTo>
                  <a:lnTo>
                    <a:pt x="126" y="94"/>
                  </a:lnTo>
                  <a:lnTo>
                    <a:pt x="125" y="75"/>
                  </a:lnTo>
                  <a:lnTo>
                    <a:pt x="121" y="59"/>
                  </a:lnTo>
                  <a:lnTo>
                    <a:pt x="112" y="49"/>
                  </a:lnTo>
                  <a:lnTo>
                    <a:pt x="104" y="43"/>
                  </a:lnTo>
                  <a:lnTo>
                    <a:pt x="98" y="42"/>
                  </a:lnTo>
                  <a:lnTo>
                    <a:pt x="95" y="38"/>
                  </a:lnTo>
                  <a:lnTo>
                    <a:pt x="93" y="35"/>
                  </a:lnTo>
                  <a:lnTo>
                    <a:pt x="93" y="31"/>
                  </a:lnTo>
                  <a:lnTo>
                    <a:pt x="93" y="29"/>
                  </a:lnTo>
                  <a:lnTo>
                    <a:pt x="95" y="26"/>
                  </a:lnTo>
                  <a:lnTo>
                    <a:pt x="97" y="24"/>
                  </a:lnTo>
                  <a:lnTo>
                    <a:pt x="100" y="22"/>
                  </a:lnTo>
                  <a:lnTo>
                    <a:pt x="104" y="21"/>
                  </a:lnTo>
                  <a:lnTo>
                    <a:pt x="109" y="22"/>
                  </a:lnTo>
                  <a:lnTo>
                    <a:pt x="128" y="31"/>
                  </a:lnTo>
                  <a:lnTo>
                    <a:pt x="144" y="47"/>
                  </a:lnTo>
                  <a:lnTo>
                    <a:pt x="152" y="70"/>
                  </a:lnTo>
                  <a:lnTo>
                    <a:pt x="154" y="98"/>
                  </a:lnTo>
                  <a:lnTo>
                    <a:pt x="147" y="129"/>
                  </a:lnTo>
                  <a:lnTo>
                    <a:pt x="133" y="154"/>
                  </a:lnTo>
                  <a:lnTo>
                    <a:pt x="116" y="175"/>
                  </a:lnTo>
                  <a:lnTo>
                    <a:pt x="95" y="189"/>
                  </a:lnTo>
                  <a:lnTo>
                    <a:pt x="69" y="194"/>
                  </a:lnTo>
                  <a:lnTo>
                    <a:pt x="41" y="190"/>
                  </a:lnTo>
                  <a:lnTo>
                    <a:pt x="23" y="180"/>
                  </a:lnTo>
                  <a:lnTo>
                    <a:pt x="11" y="164"/>
                  </a:lnTo>
                  <a:lnTo>
                    <a:pt x="2" y="145"/>
                  </a:lnTo>
                  <a:lnTo>
                    <a:pt x="0" y="124"/>
                  </a:lnTo>
                  <a:lnTo>
                    <a:pt x="2" y="101"/>
                  </a:lnTo>
                  <a:lnTo>
                    <a:pt x="7" y="77"/>
                  </a:lnTo>
                  <a:lnTo>
                    <a:pt x="20" y="50"/>
                  </a:lnTo>
                  <a:lnTo>
                    <a:pt x="32" y="31"/>
                  </a:lnTo>
                  <a:lnTo>
                    <a:pt x="46" y="15"/>
                  </a:lnTo>
                  <a:lnTo>
                    <a:pt x="62" y="5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1"/>
            <p:cNvSpPr>
              <a:spLocks/>
            </p:cNvSpPr>
            <p:nvPr userDrawn="1"/>
          </p:nvSpPr>
          <p:spPr bwMode="auto">
            <a:xfrm>
              <a:off x="5703888" y="5240338"/>
              <a:ext cx="277813" cy="292100"/>
            </a:xfrm>
            <a:custGeom>
              <a:avLst/>
              <a:gdLst>
                <a:gd name="T0" fmla="*/ 21 w 175"/>
                <a:gd name="T1" fmla="*/ 0 h 184"/>
                <a:gd name="T2" fmla="*/ 30 w 175"/>
                <a:gd name="T3" fmla="*/ 5 h 184"/>
                <a:gd name="T4" fmla="*/ 35 w 175"/>
                <a:gd name="T5" fmla="*/ 16 h 184"/>
                <a:gd name="T6" fmla="*/ 39 w 175"/>
                <a:gd name="T7" fmla="*/ 44 h 184"/>
                <a:gd name="T8" fmla="*/ 51 w 175"/>
                <a:gd name="T9" fmla="*/ 86 h 184"/>
                <a:gd name="T10" fmla="*/ 63 w 175"/>
                <a:gd name="T11" fmla="*/ 116 h 184"/>
                <a:gd name="T12" fmla="*/ 69 w 175"/>
                <a:gd name="T13" fmla="*/ 126 h 184"/>
                <a:gd name="T14" fmla="*/ 74 w 175"/>
                <a:gd name="T15" fmla="*/ 130 h 184"/>
                <a:gd name="T16" fmla="*/ 79 w 175"/>
                <a:gd name="T17" fmla="*/ 128 h 184"/>
                <a:gd name="T18" fmla="*/ 88 w 175"/>
                <a:gd name="T19" fmla="*/ 117 h 184"/>
                <a:gd name="T20" fmla="*/ 105 w 175"/>
                <a:gd name="T21" fmla="*/ 91 h 184"/>
                <a:gd name="T22" fmla="*/ 126 w 175"/>
                <a:gd name="T23" fmla="*/ 49 h 184"/>
                <a:gd name="T24" fmla="*/ 137 w 175"/>
                <a:gd name="T25" fmla="*/ 21 h 184"/>
                <a:gd name="T26" fmla="*/ 140 w 175"/>
                <a:gd name="T27" fmla="*/ 11 h 184"/>
                <a:gd name="T28" fmla="*/ 147 w 175"/>
                <a:gd name="T29" fmla="*/ 4 h 184"/>
                <a:gd name="T30" fmla="*/ 156 w 175"/>
                <a:gd name="T31" fmla="*/ 2 h 184"/>
                <a:gd name="T32" fmla="*/ 165 w 175"/>
                <a:gd name="T33" fmla="*/ 5 h 184"/>
                <a:gd name="T34" fmla="*/ 168 w 175"/>
                <a:gd name="T35" fmla="*/ 16 h 184"/>
                <a:gd name="T36" fmla="*/ 168 w 175"/>
                <a:gd name="T37" fmla="*/ 28 h 184"/>
                <a:gd name="T38" fmla="*/ 167 w 175"/>
                <a:gd name="T39" fmla="*/ 72 h 184"/>
                <a:gd name="T40" fmla="*/ 168 w 175"/>
                <a:gd name="T41" fmla="*/ 116 h 184"/>
                <a:gd name="T42" fmla="*/ 175 w 175"/>
                <a:gd name="T43" fmla="*/ 168 h 184"/>
                <a:gd name="T44" fmla="*/ 175 w 175"/>
                <a:gd name="T45" fmla="*/ 179 h 184"/>
                <a:gd name="T46" fmla="*/ 170 w 175"/>
                <a:gd name="T47" fmla="*/ 184 h 184"/>
                <a:gd name="T48" fmla="*/ 163 w 175"/>
                <a:gd name="T49" fmla="*/ 184 h 184"/>
                <a:gd name="T50" fmla="*/ 158 w 175"/>
                <a:gd name="T51" fmla="*/ 182 h 184"/>
                <a:gd name="T52" fmla="*/ 151 w 175"/>
                <a:gd name="T53" fmla="*/ 177 h 184"/>
                <a:gd name="T54" fmla="*/ 147 w 175"/>
                <a:gd name="T55" fmla="*/ 166 h 184"/>
                <a:gd name="T56" fmla="*/ 140 w 175"/>
                <a:gd name="T57" fmla="*/ 110 h 184"/>
                <a:gd name="T58" fmla="*/ 130 w 175"/>
                <a:gd name="T59" fmla="*/ 96 h 184"/>
                <a:gd name="T60" fmla="*/ 112 w 175"/>
                <a:gd name="T61" fmla="*/ 135 h 184"/>
                <a:gd name="T62" fmla="*/ 90 w 175"/>
                <a:gd name="T63" fmla="*/ 159 h 184"/>
                <a:gd name="T64" fmla="*/ 60 w 175"/>
                <a:gd name="T65" fmla="*/ 154 h 184"/>
                <a:gd name="T66" fmla="*/ 34 w 175"/>
                <a:gd name="T67" fmla="*/ 123 h 184"/>
                <a:gd name="T68" fmla="*/ 14 w 175"/>
                <a:gd name="T69" fmla="*/ 75 h 184"/>
                <a:gd name="T70" fmla="*/ 2 w 175"/>
                <a:gd name="T71" fmla="*/ 30 h 184"/>
                <a:gd name="T72" fmla="*/ 0 w 175"/>
                <a:gd name="T73" fmla="*/ 11 h 184"/>
                <a:gd name="T74" fmla="*/ 14 w 175"/>
                <a:gd name="T7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5" h="184">
                  <a:moveTo>
                    <a:pt x="18" y="0"/>
                  </a:moveTo>
                  <a:lnTo>
                    <a:pt x="21" y="0"/>
                  </a:lnTo>
                  <a:lnTo>
                    <a:pt x="27" y="2"/>
                  </a:lnTo>
                  <a:lnTo>
                    <a:pt x="30" y="5"/>
                  </a:lnTo>
                  <a:lnTo>
                    <a:pt x="32" y="9"/>
                  </a:lnTo>
                  <a:lnTo>
                    <a:pt x="35" y="16"/>
                  </a:lnTo>
                  <a:lnTo>
                    <a:pt x="35" y="23"/>
                  </a:lnTo>
                  <a:lnTo>
                    <a:pt x="39" y="44"/>
                  </a:lnTo>
                  <a:lnTo>
                    <a:pt x="44" y="65"/>
                  </a:lnTo>
                  <a:lnTo>
                    <a:pt x="51" y="86"/>
                  </a:lnTo>
                  <a:lnTo>
                    <a:pt x="58" y="103"/>
                  </a:lnTo>
                  <a:lnTo>
                    <a:pt x="63" y="116"/>
                  </a:lnTo>
                  <a:lnTo>
                    <a:pt x="65" y="121"/>
                  </a:lnTo>
                  <a:lnTo>
                    <a:pt x="69" y="126"/>
                  </a:lnTo>
                  <a:lnTo>
                    <a:pt x="70" y="130"/>
                  </a:lnTo>
                  <a:lnTo>
                    <a:pt x="74" y="130"/>
                  </a:lnTo>
                  <a:lnTo>
                    <a:pt x="76" y="130"/>
                  </a:lnTo>
                  <a:lnTo>
                    <a:pt x="79" y="128"/>
                  </a:lnTo>
                  <a:lnTo>
                    <a:pt x="83" y="124"/>
                  </a:lnTo>
                  <a:lnTo>
                    <a:pt x="88" y="117"/>
                  </a:lnTo>
                  <a:lnTo>
                    <a:pt x="95" y="107"/>
                  </a:lnTo>
                  <a:lnTo>
                    <a:pt x="105" y="91"/>
                  </a:lnTo>
                  <a:lnTo>
                    <a:pt x="116" y="72"/>
                  </a:lnTo>
                  <a:lnTo>
                    <a:pt x="126" y="49"/>
                  </a:lnTo>
                  <a:lnTo>
                    <a:pt x="135" y="26"/>
                  </a:lnTo>
                  <a:lnTo>
                    <a:pt x="137" y="21"/>
                  </a:lnTo>
                  <a:lnTo>
                    <a:pt x="139" y="16"/>
                  </a:lnTo>
                  <a:lnTo>
                    <a:pt x="140" y="11"/>
                  </a:lnTo>
                  <a:lnTo>
                    <a:pt x="142" y="7"/>
                  </a:lnTo>
                  <a:lnTo>
                    <a:pt x="147" y="4"/>
                  </a:lnTo>
                  <a:lnTo>
                    <a:pt x="151" y="2"/>
                  </a:lnTo>
                  <a:lnTo>
                    <a:pt x="156" y="2"/>
                  </a:lnTo>
                  <a:lnTo>
                    <a:pt x="161" y="2"/>
                  </a:lnTo>
                  <a:lnTo>
                    <a:pt x="165" y="5"/>
                  </a:lnTo>
                  <a:lnTo>
                    <a:pt x="167" y="11"/>
                  </a:lnTo>
                  <a:lnTo>
                    <a:pt x="168" y="16"/>
                  </a:lnTo>
                  <a:lnTo>
                    <a:pt x="168" y="21"/>
                  </a:lnTo>
                  <a:lnTo>
                    <a:pt x="168" y="28"/>
                  </a:lnTo>
                  <a:lnTo>
                    <a:pt x="168" y="51"/>
                  </a:lnTo>
                  <a:lnTo>
                    <a:pt x="167" y="72"/>
                  </a:lnTo>
                  <a:lnTo>
                    <a:pt x="167" y="89"/>
                  </a:lnTo>
                  <a:lnTo>
                    <a:pt x="168" y="116"/>
                  </a:lnTo>
                  <a:lnTo>
                    <a:pt x="172" y="145"/>
                  </a:lnTo>
                  <a:lnTo>
                    <a:pt x="175" y="168"/>
                  </a:lnTo>
                  <a:lnTo>
                    <a:pt x="175" y="173"/>
                  </a:lnTo>
                  <a:lnTo>
                    <a:pt x="175" y="179"/>
                  </a:lnTo>
                  <a:lnTo>
                    <a:pt x="174" y="182"/>
                  </a:lnTo>
                  <a:lnTo>
                    <a:pt x="170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60" y="184"/>
                  </a:lnTo>
                  <a:lnTo>
                    <a:pt x="158" y="182"/>
                  </a:lnTo>
                  <a:lnTo>
                    <a:pt x="153" y="180"/>
                  </a:lnTo>
                  <a:lnTo>
                    <a:pt x="151" y="177"/>
                  </a:lnTo>
                  <a:lnTo>
                    <a:pt x="149" y="172"/>
                  </a:lnTo>
                  <a:lnTo>
                    <a:pt x="147" y="166"/>
                  </a:lnTo>
                  <a:lnTo>
                    <a:pt x="144" y="142"/>
                  </a:lnTo>
                  <a:lnTo>
                    <a:pt x="140" y="110"/>
                  </a:lnTo>
                  <a:lnTo>
                    <a:pt x="139" y="79"/>
                  </a:lnTo>
                  <a:lnTo>
                    <a:pt x="130" y="96"/>
                  </a:lnTo>
                  <a:lnTo>
                    <a:pt x="121" y="116"/>
                  </a:lnTo>
                  <a:lnTo>
                    <a:pt x="112" y="135"/>
                  </a:lnTo>
                  <a:lnTo>
                    <a:pt x="100" y="149"/>
                  </a:lnTo>
                  <a:lnTo>
                    <a:pt x="90" y="159"/>
                  </a:lnTo>
                  <a:lnTo>
                    <a:pt x="76" y="161"/>
                  </a:lnTo>
                  <a:lnTo>
                    <a:pt x="60" y="154"/>
                  </a:lnTo>
                  <a:lnTo>
                    <a:pt x="46" y="140"/>
                  </a:lnTo>
                  <a:lnTo>
                    <a:pt x="34" y="123"/>
                  </a:lnTo>
                  <a:lnTo>
                    <a:pt x="23" y="100"/>
                  </a:lnTo>
                  <a:lnTo>
                    <a:pt x="14" y="75"/>
                  </a:lnTo>
                  <a:lnTo>
                    <a:pt x="7" y="51"/>
                  </a:lnTo>
                  <a:lnTo>
                    <a:pt x="2" y="30"/>
                  </a:lnTo>
                  <a:lnTo>
                    <a:pt x="0" y="19"/>
                  </a:lnTo>
                  <a:lnTo>
                    <a:pt x="0" y="11"/>
                  </a:lnTo>
                  <a:lnTo>
                    <a:pt x="4" y="4"/>
                  </a:lnTo>
                  <a:lnTo>
                    <a:pt x="14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2"/>
            <p:cNvSpPr>
              <a:spLocks/>
            </p:cNvSpPr>
            <p:nvPr userDrawn="1"/>
          </p:nvSpPr>
          <p:spPr bwMode="auto">
            <a:xfrm>
              <a:off x="6043613" y="5221288"/>
              <a:ext cx="227013" cy="296863"/>
            </a:xfrm>
            <a:custGeom>
              <a:avLst/>
              <a:gdLst>
                <a:gd name="T0" fmla="*/ 136 w 143"/>
                <a:gd name="T1" fmla="*/ 5 h 187"/>
                <a:gd name="T2" fmla="*/ 143 w 143"/>
                <a:gd name="T3" fmla="*/ 28 h 187"/>
                <a:gd name="T4" fmla="*/ 134 w 143"/>
                <a:gd name="T5" fmla="*/ 51 h 187"/>
                <a:gd name="T6" fmla="*/ 127 w 143"/>
                <a:gd name="T7" fmla="*/ 61 h 187"/>
                <a:gd name="T8" fmla="*/ 119 w 143"/>
                <a:gd name="T9" fmla="*/ 63 h 187"/>
                <a:gd name="T10" fmla="*/ 112 w 143"/>
                <a:gd name="T11" fmla="*/ 61 h 187"/>
                <a:gd name="T12" fmla="*/ 110 w 143"/>
                <a:gd name="T13" fmla="*/ 58 h 187"/>
                <a:gd name="T14" fmla="*/ 112 w 143"/>
                <a:gd name="T15" fmla="*/ 51 h 187"/>
                <a:gd name="T16" fmla="*/ 112 w 143"/>
                <a:gd name="T17" fmla="*/ 44 h 187"/>
                <a:gd name="T18" fmla="*/ 108 w 143"/>
                <a:gd name="T19" fmla="*/ 40 h 187"/>
                <a:gd name="T20" fmla="*/ 94 w 143"/>
                <a:gd name="T21" fmla="*/ 44 h 187"/>
                <a:gd name="T22" fmla="*/ 71 w 143"/>
                <a:gd name="T23" fmla="*/ 87 h 187"/>
                <a:gd name="T24" fmla="*/ 56 w 143"/>
                <a:gd name="T25" fmla="*/ 149 h 187"/>
                <a:gd name="T26" fmla="*/ 52 w 143"/>
                <a:gd name="T27" fmla="*/ 178 h 187"/>
                <a:gd name="T28" fmla="*/ 49 w 143"/>
                <a:gd name="T29" fmla="*/ 185 h 187"/>
                <a:gd name="T30" fmla="*/ 42 w 143"/>
                <a:gd name="T31" fmla="*/ 187 h 187"/>
                <a:gd name="T32" fmla="*/ 31 w 143"/>
                <a:gd name="T33" fmla="*/ 187 h 187"/>
                <a:gd name="T34" fmla="*/ 24 w 143"/>
                <a:gd name="T35" fmla="*/ 182 h 187"/>
                <a:gd name="T36" fmla="*/ 19 w 143"/>
                <a:gd name="T37" fmla="*/ 171 h 187"/>
                <a:gd name="T38" fmla="*/ 14 w 143"/>
                <a:gd name="T39" fmla="*/ 138 h 187"/>
                <a:gd name="T40" fmla="*/ 9 w 143"/>
                <a:gd name="T41" fmla="*/ 100 h 187"/>
                <a:gd name="T42" fmla="*/ 3 w 143"/>
                <a:gd name="T43" fmla="*/ 52 h 187"/>
                <a:gd name="T44" fmla="*/ 0 w 143"/>
                <a:gd name="T45" fmla="*/ 23 h 187"/>
                <a:gd name="T46" fmla="*/ 0 w 143"/>
                <a:gd name="T47" fmla="*/ 12 h 187"/>
                <a:gd name="T48" fmla="*/ 3 w 143"/>
                <a:gd name="T49" fmla="*/ 7 h 187"/>
                <a:gd name="T50" fmla="*/ 12 w 143"/>
                <a:gd name="T51" fmla="*/ 3 h 187"/>
                <a:gd name="T52" fmla="*/ 23 w 143"/>
                <a:gd name="T53" fmla="*/ 7 h 187"/>
                <a:gd name="T54" fmla="*/ 28 w 143"/>
                <a:gd name="T55" fmla="*/ 14 h 187"/>
                <a:gd name="T56" fmla="*/ 33 w 143"/>
                <a:gd name="T57" fmla="*/ 38 h 187"/>
                <a:gd name="T58" fmla="*/ 38 w 143"/>
                <a:gd name="T59" fmla="*/ 91 h 187"/>
                <a:gd name="T60" fmla="*/ 49 w 143"/>
                <a:gd name="T61" fmla="*/ 82 h 187"/>
                <a:gd name="T62" fmla="*/ 75 w 143"/>
                <a:gd name="T63" fmla="*/ 26 h 187"/>
                <a:gd name="T64" fmla="*/ 106 w 143"/>
                <a:gd name="T6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3" h="187">
                  <a:moveTo>
                    <a:pt x="126" y="0"/>
                  </a:moveTo>
                  <a:lnTo>
                    <a:pt x="136" y="5"/>
                  </a:lnTo>
                  <a:lnTo>
                    <a:pt x="141" y="16"/>
                  </a:lnTo>
                  <a:lnTo>
                    <a:pt x="143" y="28"/>
                  </a:lnTo>
                  <a:lnTo>
                    <a:pt x="140" y="42"/>
                  </a:lnTo>
                  <a:lnTo>
                    <a:pt x="134" y="51"/>
                  </a:lnTo>
                  <a:lnTo>
                    <a:pt x="131" y="56"/>
                  </a:lnTo>
                  <a:lnTo>
                    <a:pt x="127" y="61"/>
                  </a:lnTo>
                  <a:lnTo>
                    <a:pt x="122" y="63"/>
                  </a:lnTo>
                  <a:lnTo>
                    <a:pt x="119" y="63"/>
                  </a:lnTo>
                  <a:lnTo>
                    <a:pt x="113" y="63"/>
                  </a:lnTo>
                  <a:lnTo>
                    <a:pt x="112" y="61"/>
                  </a:lnTo>
                  <a:lnTo>
                    <a:pt x="110" y="59"/>
                  </a:lnTo>
                  <a:lnTo>
                    <a:pt x="110" y="58"/>
                  </a:lnTo>
                  <a:lnTo>
                    <a:pt x="112" y="54"/>
                  </a:lnTo>
                  <a:lnTo>
                    <a:pt x="112" y="51"/>
                  </a:lnTo>
                  <a:lnTo>
                    <a:pt x="112" y="47"/>
                  </a:lnTo>
                  <a:lnTo>
                    <a:pt x="112" y="44"/>
                  </a:lnTo>
                  <a:lnTo>
                    <a:pt x="112" y="42"/>
                  </a:lnTo>
                  <a:lnTo>
                    <a:pt x="108" y="40"/>
                  </a:lnTo>
                  <a:lnTo>
                    <a:pt x="105" y="38"/>
                  </a:lnTo>
                  <a:lnTo>
                    <a:pt x="94" y="44"/>
                  </a:lnTo>
                  <a:lnTo>
                    <a:pt x="84" y="59"/>
                  </a:lnTo>
                  <a:lnTo>
                    <a:pt x="71" y="87"/>
                  </a:lnTo>
                  <a:lnTo>
                    <a:pt x="63" y="121"/>
                  </a:lnTo>
                  <a:lnTo>
                    <a:pt x="56" y="149"/>
                  </a:lnTo>
                  <a:lnTo>
                    <a:pt x="54" y="173"/>
                  </a:lnTo>
                  <a:lnTo>
                    <a:pt x="52" y="178"/>
                  </a:lnTo>
                  <a:lnTo>
                    <a:pt x="50" y="184"/>
                  </a:lnTo>
                  <a:lnTo>
                    <a:pt x="49" y="185"/>
                  </a:lnTo>
                  <a:lnTo>
                    <a:pt x="45" y="187"/>
                  </a:lnTo>
                  <a:lnTo>
                    <a:pt x="42" y="187"/>
                  </a:lnTo>
                  <a:lnTo>
                    <a:pt x="38" y="187"/>
                  </a:lnTo>
                  <a:lnTo>
                    <a:pt x="31" y="187"/>
                  </a:lnTo>
                  <a:lnTo>
                    <a:pt x="28" y="184"/>
                  </a:lnTo>
                  <a:lnTo>
                    <a:pt x="24" y="182"/>
                  </a:lnTo>
                  <a:lnTo>
                    <a:pt x="23" y="178"/>
                  </a:lnTo>
                  <a:lnTo>
                    <a:pt x="19" y="171"/>
                  </a:lnTo>
                  <a:lnTo>
                    <a:pt x="16" y="159"/>
                  </a:lnTo>
                  <a:lnTo>
                    <a:pt x="14" y="138"/>
                  </a:lnTo>
                  <a:lnTo>
                    <a:pt x="12" y="121"/>
                  </a:lnTo>
                  <a:lnTo>
                    <a:pt x="9" y="100"/>
                  </a:lnTo>
                  <a:lnTo>
                    <a:pt x="7" y="75"/>
                  </a:lnTo>
                  <a:lnTo>
                    <a:pt x="3" y="52"/>
                  </a:lnTo>
                  <a:lnTo>
                    <a:pt x="2" y="35"/>
                  </a:lnTo>
                  <a:lnTo>
                    <a:pt x="0" y="23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2" y="9"/>
                  </a:lnTo>
                  <a:lnTo>
                    <a:pt x="3" y="7"/>
                  </a:lnTo>
                  <a:lnTo>
                    <a:pt x="7" y="5"/>
                  </a:lnTo>
                  <a:lnTo>
                    <a:pt x="12" y="3"/>
                  </a:lnTo>
                  <a:lnTo>
                    <a:pt x="19" y="5"/>
                  </a:lnTo>
                  <a:lnTo>
                    <a:pt x="23" y="7"/>
                  </a:lnTo>
                  <a:lnTo>
                    <a:pt x="26" y="10"/>
                  </a:lnTo>
                  <a:lnTo>
                    <a:pt x="28" y="14"/>
                  </a:lnTo>
                  <a:lnTo>
                    <a:pt x="30" y="19"/>
                  </a:lnTo>
                  <a:lnTo>
                    <a:pt x="33" y="38"/>
                  </a:lnTo>
                  <a:lnTo>
                    <a:pt x="36" y="63"/>
                  </a:lnTo>
                  <a:lnTo>
                    <a:pt x="38" y="91"/>
                  </a:lnTo>
                  <a:lnTo>
                    <a:pt x="42" y="119"/>
                  </a:lnTo>
                  <a:lnTo>
                    <a:pt x="49" y="82"/>
                  </a:lnTo>
                  <a:lnTo>
                    <a:pt x="61" y="51"/>
                  </a:lnTo>
                  <a:lnTo>
                    <a:pt x="75" y="26"/>
                  </a:lnTo>
                  <a:lnTo>
                    <a:pt x="89" y="9"/>
                  </a:lnTo>
                  <a:lnTo>
                    <a:pt x="106" y="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3"/>
            <p:cNvSpPr>
              <a:spLocks/>
            </p:cNvSpPr>
            <p:nvPr userDrawn="1"/>
          </p:nvSpPr>
          <p:spPr bwMode="auto">
            <a:xfrm>
              <a:off x="6329363" y="5248275"/>
              <a:ext cx="85725" cy="261938"/>
            </a:xfrm>
            <a:custGeom>
              <a:avLst/>
              <a:gdLst>
                <a:gd name="T0" fmla="*/ 21 w 54"/>
                <a:gd name="T1" fmla="*/ 0 h 165"/>
                <a:gd name="T2" fmla="*/ 26 w 54"/>
                <a:gd name="T3" fmla="*/ 2 h 165"/>
                <a:gd name="T4" fmla="*/ 31 w 54"/>
                <a:gd name="T5" fmla="*/ 4 h 165"/>
                <a:gd name="T6" fmla="*/ 33 w 54"/>
                <a:gd name="T7" fmla="*/ 6 h 165"/>
                <a:gd name="T8" fmla="*/ 35 w 54"/>
                <a:gd name="T9" fmla="*/ 11 h 165"/>
                <a:gd name="T10" fmla="*/ 37 w 54"/>
                <a:gd name="T11" fmla="*/ 14 h 165"/>
                <a:gd name="T12" fmla="*/ 37 w 54"/>
                <a:gd name="T13" fmla="*/ 20 h 165"/>
                <a:gd name="T14" fmla="*/ 37 w 54"/>
                <a:gd name="T15" fmla="*/ 35 h 165"/>
                <a:gd name="T16" fmla="*/ 37 w 54"/>
                <a:gd name="T17" fmla="*/ 62 h 165"/>
                <a:gd name="T18" fmla="*/ 38 w 54"/>
                <a:gd name="T19" fmla="*/ 93 h 165"/>
                <a:gd name="T20" fmla="*/ 40 w 54"/>
                <a:gd name="T21" fmla="*/ 119 h 165"/>
                <a:gd name="T22" fmla="*/ 44 w 54"/>
                <a:gd name="T23" fmla="*/ 137 h 165"/>
                <a:gd name="T24" fmla="*/ 51 w 54"/>
                <a:gd name="T25" fmla="*/ 149 h 165"/>
                <a:gd name="T26" fmla="*/ 52 w 54"/>
                <a:gd name="T27" fmla="*/ 151 h 165"/>
                <a:gd name="T28" fmla="*/ 52 w 54"/>
                <a:gd name="T29" fmla="*/ 154 h 165"/>
                <a:gd name="T30" fmla="*/ 54 w 54"/>
                <a:gd name="T31" fmla="*/ 158 h 165"/>
                <a:gd name="T32" fmla="*/ 52 w 54"/>
                <a:gd name="T33" fmla="*/ 160 h 165"/>
                <a:gd name="T34" fmla="*/ 51 w 54"/>
                <a:gd name="T35" fmla="*/ 163 h 165"/>
                <a:gd name="T36" fmla="*/ 47 w 54"/>
                <a:gd name="T37" fmla="*/ 165 h 165"/>
                <a:gd name="T38" fmla="*/ 38 w 54"/>
                <a:gd name="T39" fmla="*/ 165 h 165"/>
                <a:gd name="T40" fmla="*/ 30 w 54"/>
                <a:gd name="T41" fmla="*/ 163 h 165"/>
                <a:gd name="T42" fmla="*/ 21 w 54"/>
                <a:gd name="T43" fmla="*/ 156 h 165"/>
                <a:gd name="T44" fmla="*/ 16 w 54"/>
                <a:gd name="T45" fmla="*/ 144 h 165"/>
                <a:gd name="T46" fmla="*/ 9 w 54"/>
                <a:gd name="T47" fmla="*/ 121 h 165"/>
                <a:gd name="T48" fmla="*/ 5 w 54"/>
                <a:gd name="T49" fmla="*/ 95 h 165"/>
                <a:gd name="T50" fmla="*/ 2 w 54"/>
                <a:gd name="T51" fmla="*/ 67 h 165"/>
                <a:gd name="T52" fmla="*/ 0 w 54"/>
                <a:gd name="T53" fmla="*/ 44 h 165"/>
                <a:gd name="T54" fmla="*/ 0 w 54"/>
                <a:gd name="T55" fmla="*/ 25 h 165"/>
                <a:gd name="T56" fmla="*/ 0 w 54"/>
                <a:gd name="T57" fmla="*/ 18 h 165"/>
                <a:gd name="T58" fmla="*/ 2 w 54"/>
                <a:gd name="T59" fmla="*/ 11 h 165"/>
                <a:gd name="T60" fmla="*/ 5 w 54"/>
                <a:gd name="T61" fmla="*/ 6 h 165"/>
                <a:gd name="T62" fmla="*/ 9 w 54"/>
                <a:gd name="T63" fmla="*/ 2 h 165"/>
                <a:gd name="T64" fmla="*/ 14 w 54"/>
                <a:gd name="T65" fmla="*/ 0 h 165"/>
                <a:gd name="T66" fmla="*/ 21 w 54"/>
                <a:gd name="T67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165">
                  <a:moveTo>
                    <a:pt x="21" y="0"/>
                  </a:moveTo>
                  <a:lnTo>
                    <a:pt x="26" y="2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5" y="11"/>
                  </a:lnTo>
                  <a:lnTo>
                    <a:pt x="37" y="14"/>
                  </a:lnTo>
                  <a:lnTo>
                    <a:pt x="37" y="20"/>
                  </a:lnTo>
                  <a:lnTo>
                    <a:pt x="37" y="35"/>
                  </a:lnTo>
                  <a:lnTo>
                    <a:pt x="37" y="62"/>
                  </a:lnTo>
                  <a:lnTo>
                    <a:pt x="38" y="93"/>
                  </a:lnTo>
                  <a:lnTo>
                    <a:pt x="40" y="119"/>
                  </a:lnTo>
                  <a:lnTo>
                    <a:pt x="44" y="137"/>
                  </a:lnTo>
                  <a:lnTo>
                    <a:pt x="51" y="149"/>
                  </a:lnTo>
                  <a:lnTo>
                    <a:pt x="52" y="151"/>
                  </a:lnTo>
                  <a:lnTo>
                    <a:pt x="52" y="154"/>
                  </a:lnTo>
                  <a:lnTo>
                    <a:pt x="54" y="158"/>
                  </a:lnTo>
                  <a:lnTo>
                    <a:pt x="52" y="160"/>
                  </a:lnTo>
                  <a:lnTo>
                    <a:pt x="51" y="163"/>
                  </a:lnTo>
                  <a:lnTo>
                    <a:pt x="47" y="165"/>
                  </a:lnTo>
                  <a:lnTo>
                    <a:pt x="38" y="165"/>
                  </a:lnTo>
                  <a:lnTo>
                    <a:pt x="30" y="163"/>
                  </a:lnTo>
                  <a:lnTo>
                    <a:pt x="21" y="156"/>
                  </a:lnTo>
                  <a:lnTo>
                    <a:pt x="16" y="144"/>
                  </a:lnTo>
                  <a:lnTo>
                    <a:pt x="9" y="121"/>
                  </a:lnTo>
                  <a:lnTo>
                    <a:pt x="5" y="95"/>
                  </a:lnTo>
                  <a:lnTo>
                    <a:pt x="2" y="67"/>
                  </a:lnTo>
                  <a:lnTo>
                    <a:pt x="0" y="44"/>
                  </a:lnTo>
                  <a:lnTo>
                    <a:pt x="0" y="25"/>
                  </a:lnTo>
                  <a:lnTo>
                    <a:pt x="0" y="18"/>
                  </a:lnTo>
                  <a:lnTo>
                    <a:pt x="2" y="11"/>
                  </a:lnTo>
                  <a:lnTo>
                    <a:pt x="5" y="6"/>
                  </a:lnTo>
                  <a:lnTo>
                    <a:pt x="9" y="2"/>
                  </a:lnTo>
                  <a:lnTo>
                    <a:pt x="14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4"/>
            <p:cNvSpPr>
              <a:spLocks/>
            </p:cNvSpPr>
            <p:nvPr userDrawn="1"/>
          </p:nvSpPr>
          <p:spPr bwMode="auto">
            <a:xfrm>
              <a:off x="6334126" y="5121275"/>
              <a:ext cx="61913" cy="38100"/>
            </a:xfrm>
            <a:custGeom>
              <a:avLst/>
              <a:gdLst>
                <a:gd name="T0" fmla="*/ 20 w 39"/>
                <a:gd name="T1" fmla="*/ 0 h 24"/>
                <a:gd name="T2" fmla="*/ 27 w 39"/>
                <a:gd name="T3" fmla="*/ 0 h 24"/>
                <a:gd name="T4" fmla="*/ 32 w 39"/>
                <a:gd name="T5" fmla="*/ 3 h 24"/>
                <a:gd name="T6" fmla="*/ 35 w 39"/>
                <a:gd name="T7" fmla="*/ 7 h 24"/>
                <a:gd name="T8" fmla="*/ 39 w 39"/>
                <a:gd name="T9" fmla="*/ 10 h 24"/>
                <a:gd name="T10" fmla="*/ 39 w 39"/>
                <a:gd name="T11" fmla="*/ 14 h 24"/>
                <a:gd name="T12" fmla="*/ 37 w 39"/>
                <a:gd name="T13" fmla="*/ 17 h 24"/>
                <a:gd name="T14" fmla="*/ 35 w 39"/>
                <a:gd name="T15" fmla="*/ 19 h 24"/>
                <a:gd name="T16" fmla="*/ 30 w 39"/>
                <a:gd name="T17" fmla="*/ 21 h 24"/>
                <a:gd name="T18" fmla="*/ 27 w 39"/>
                <a:gd name="T19" fmla="*/ 23 h 24"/>
                <a:gd name="T20" fmla="*/ 20 w 39"/>
                <a:gd name="T21" fmla="*/ 24 h 24"/>
                <a:gd name="T22" fmla="*/ 16 w 39"/>
                <a:gd name="T23" fmla="*/ 24 h 24"/>
                <a:gd name="T24" fmla="*/ 13 w 39"/>
                <a:gd name="T25" fmla="*/ 23 h 24"/>
                <a:gd name="T26" fmla="*/ 7 w 39"/>
                <a:gd name="T27" fmla="*/ 23 h 24"/>
                <a:gd name="T28" fmla="*/ 4 w 39"/>
                <a:gd name="T29" fmla="*/ 21 h 24"/>
                <a:gd name="T30" fmla="*/ 2 w 39"/>
                <a:gd name="T31" fmla="*/ 17 h 24"/>
                <a:gd name="T32" fmla="*/ 0 w 39"/>
                <a:gd name="T33" fmla="*/ 14 h 24"/>
                <a:gd name="T34" fmla="*/ 0 w 39"/>
                <a:gd name="T35" fmla="*/ 10 h 24"/>
                <a:gd name="T36" fmla="*/ 2 w 39"/>
                <a:gd name="T37" fmla="*/ 7 h 24"/>
                <a:gd name="T38" fmla="*/ 4 w 39"/>
                <a:gd name="T39" fmla="*/ 3 h 24"/>
                <a:gd name="T40" fmla="*/ 6 w 39"/>
                <a:gd name="T41" fmla="*/ 2 h 24"/>
                <a:gd name="T42" fmla="*/ 9 w 39"/>
                <a:gd name="T43" fmla="*/ 0 h 24"/>
                <a:gd name="T44" fmla="*/ 14 w 39"/>
                <a:gd name="T45" fmla="*/ 0 h 24"/>
                <a:gd name="T46" fmla="*/ 20 w 39"/>
                <a:gd name="T4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24">
                  <a:moveTo>
                    <a:pt x="20" y="0"/>
                  </a:moveTo>
                  <a:lnTo>
                    <a:pt x="27" y="0"/>
                  </a:lnTo>
                  <a:lnTo>
                    <a:pt x="32" y="3"/>
                  </a:lnTo>
                  <a:lnTo>
                    <a:pt x="35" y="7"/>
                  </a:lnTo>
                  <a:lnTo>
                    <a:pt x="39" y="10"/>
                  </a:lnTo>
                  <a:lnTo>
                    <a:pt x="39" y="14"/>
                  </a:lnTo>
                  <a:lnTo>
                    <a:pt x="37" y="17"/>
                  </a:lnTo>
                  <a:lnTo>
                    <a:pt x="35" y="19"/>
                  </a:lnTo>
                  <a:lnTo>
                    <a:pt x="30" y="21"/>
                  </a:lnTo>
                  <a:lnTo>
                    <a:pt x="27" y="23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7"/>
                  </a:lnTo>
                  <a:lnTo>
                    <a:pt x="4" y="3"/>
                  </a:lnTo>
                  <a:lnTo>
                    <a:pt x="6" y="2"/>
                  </a:lnTo>
                  <a:lnTo>
                    <a:pt x="9" y="0"/>
                  </a:lnTo>
                  <a:lnTo>
                    <a:pt x="14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5"/>
            <p:cNvSpPr>
              <a:spLocks/>
            </p:cNvSpPr>
            <p:nvPr userDrawn="1"/>
          </p:nvSpPr>
          <p:spPr bwMode="auto">
            <a:xfrm>
              <a:off x="6440488" y="5170488"/>
              <a:ext cx="211138" cy="414338"/>
            </a:xfrm>
            <a:custGeom>
              <a:avLst/>
              <a:gdLst>
                <a:gd name="T0" fmla="*/ 72 w 133"/>
                <a:gd name="T1" fmla="*/ 2 h 261"/>
                <a:gd name="T2" fmla="*/ 99 w 133"/>
                <a:gd name="T3" fmla="*/ 14 h 261"/>
                <a:gd name="T4" fmla="*/ 112 w 133"/>
                <a:gd name="T5" fmla="*/ 39 h 261"/>
                <a:gd name="T6" fmla="*/ 99 w 133"/>
                <a:gd name="T7" fmla="*/ 55 h 261"/>
                <a:gd name="T8" fmla="*/ 89 w 133"/>
                <a:gd name="T9" fmla="*/ 55 h 261"/>
                <a:gd name="T10" fmla="*/ 82 w 133"/>
                <a:gd name="T11" fmla="*/ 49 h 261"/>
                <a:gd name="T12" fmla="*/ 73 w 133"/>
                <a:gd name="T13" fmla="*/ 34 h 261"/>
                <a:gd name="T14" fmla="*/ 54 w 133"/>
                <a:gd name="T15" fmla="*/ 27 h 261"/>
                <a:gd name="T16" fmla="*/ 38 w 133"/>
                <a:gd name="T17" fmla="*/ 30 h 261"/>
                <a:gd name="T18" fmla="*/ 33 w 133"/>
                <a:gd name="T19" fmla="*/ 39 h 261"/>
                <a:gd name="T20" fmla="*/ 35 w 133"/>
                <a:gd name="T21" fmla="*/ 49 h 261"/>
                <a:gd name="T22" fmla="*/ 45 w 133"/>
                <a:gd name="T23" fmla="*/ 65 h 261"/>
                <a:gd name="T24" fmla="*/ 72 w 133"/>
                <a:gd name="T25" fmla="*/ 90 h 261"/>
                <a:gd name="T26" fmla="*/ 105 w 133"/>
                <a:gd name="T27" fmla="*/ 123 h 261"/>
                <a:gd name="T28" fmla="*/ 129 w 133"/>
                <a:gd name="T29" fmla="*/ 158 h 261"/>
                <a:gd name="T30" fmla="*/ 127 w 133"/>
                <a:gd name="T31" fmla="*/ 198 h 261"/>
                <a:gd name="T32" fmla="*/ 99 w 133"/>
                <a:gd name="T33" fmla="*/ 235 h 261"/>
                <a:gd name="T34" fmla="*/ 66 w 133"/>
                <a:gd name="T35" fmla="*/ 256 h 261"/>
                <a:gd name="T36" fmla="*/ 35 w 133"/>
                <a:gd name="T37" fmla="*/ 261 h 261"/>
                <a:gd name="T38" fmla="*/ 16 w 133"/>
                <a:gd name="T39" fmla="*/ 251 h 261"/>
                <a:gd name="T40" fmla="*/ 3 w 133"/>
                <a:gd name="T41" fmla="*/ 235 h 261"/>
                <a:gd name="T42" fmla="*/ 2 w 133"/>
                <a:gd name="T43" fmla="*/ 217 h 261"/>
                <a:gd name="T44" fmla="*/ 7 w 133"/>
                <a:gd name="T45" fmla="*/ 214 h 261"/>
                <a:gd name="T46" fmla="*/ 12 w 133"/>
                <a:gd name="T47" fmla="*/ 216 h 261"/>
                <a:gd name="T48" fmla="*/ 21 w 133"/>
                <a:gd name="T49" fmla="*/ 226 h 261"/>
                <a:gd name="T50" fmla="*/ 44 w 133"/>
                <a:gd name="T51" fmla="*/ 237 h 261"/>
                <a:gd name="T52" fmla="*/ 82 w 133"/>
                <a:gd name="T53" fmla="*/ 219 h 261"/>
                <a:gd name="T54" fmla="*/ 101 w 133"/>
                <a:gd name="T55" fmla="*/ 181 h 261"/>
                <a:gd name="T56" fmla="*/ 87 w 133"/>
                <a:gd name="T57" fmla="*/ 146 h 261"/>
                <a:gd name="T58" fmla="*/ 47 w 133"/>
                <a:gd name="T59" fmla="*/ 107 h 261"/>
                <a:gd name="T60" fmla="*/ 12 w 133"/>
                <a:gd name="T61" fmla="*/ 70 h 261"/>
                <a:gd name="T62" fmla="*/ 0 w 133"/>
                <a:gd name="T63" fmla="*/ 39 h 261"/>
                <a:gd name="T64" fmla="*/ 12 w 133"/>
                <a:gd name="T65" fmla="*/ 13 h 261"/>
                <a:gd name="T66" fmla="*/ 51 w 133"/>
                <a:gd name="T6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3" h="261">
                  <a:moveTo>
                    <a:pt x="51" y="0"/>
                  </a:moveTo>
                  <a:lnTo>
                    <a:pt x="72" y="2"/>
                  </a:lnTo>
                  <a:lnTo>
                    <a:pt x="87" y="7"/>
                  </a:lnTo>
                  <a:lnTo>
                    <a:pt x="99" y="14"/>
                  </a:lnTo>
                  <a:lnTo>
                    <a:pt x="108" y="25"/>
                  </a:lnTo>
                  <a:lnTo>
                    <a:pt x="112" y="39"/>
                  </a:lnTo>
                  <a:lnTo>
                    <a:pt x="108" y="49"/>
                  </a:lnTo>
                  <a:lnTo>
                    <a:pt x="99" y="55"/>
                  </a:lnTo>
                  <a:lnTo>
                    <a:pt x="92" y="56"/>
                  </a:lnTo>
                  <a:lnTo>
                    <a:pt x="89" y="55"/>
                  </a:lnTo>
                  <a:lnTo>
                    <a:pt x="85" y="53"/>
                  </a:lnTo>
                  <a:lnTo>
                    <a:pt x="82" y="49"/>
                  </a:lnTo>
                  <a:lnTo>
                    <a:pt x="80" y="44"/>
                  </a:lnTo>
                  <a:lnTo>
                    <a:pt x="73" y="34"/>
                  </a:lnTo>
                  <a:lnTo>
                    <a:pt x="65" y="28"/>
                  </a:lnTo>
                  <a:lnTo>
                    <a:pt x="54" y="27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5" y="34"/>
                  </a:lnTo>
                  <a:lnTo>
                    <a:pt x="33" y="39"/>
                  </a:lnTo>
                  <a:lnTo>
                    <a:pt x="33" y="44"/>
                  </a:lnTo>
                  <a:lnTo>
                    <a:pt x="35" y="49"/>
                  </a:lnTo>
                  <a:lnTo>
                    <a:pt x="38" y="55"/>
                  </a:lnTo>
                  <a:lnTo>
                    <a:pt x="45" y="65"/>
                  </a:lnTo>
                  <a:lnTo>
                    <a:pt x="58" y="77"/>
                  </a:lnTo>
                  <a:lnTo>
                    <a:pt x="72" y="90"/>
                  </a:lnTo>
                  <a:lnTo>
                    <a:pt x="84" y="104"/>
                  </a:lnTo>
                  <a:lnTo>
                    <a:pt x="105" y="123"/>
                  </a:lnTo>
                  <a:lnTo>
                    <a:pt x="120" y="142"/>
                  </a:lnTo>
                  <a:lnTo>
                    <a:pt x="129" y="158"/>
                  </a:lnTo>
                  <a:lnTo>
                    <a:pt x="133" y="175"/>
                  </a:lnTo>
                  <a:lnTo>
                    <a:pt x="127" y="198"/>
                  </a:lnTo>
                  <a:lnTo>
                    <a:pt x="115" y="219"/>
                  </a:lnTo>
                  <a:lnTo>
                    <a:pt x="99" y="235"/>
                  </a:lnTo>
                  <a:lnTo>
                    <a:pt x="82" y="249"/>
                  </a:lnTo>
                  <a:lnTo>
                    <a:pt x="66" y="256"/>
                  </a:lnTo>
                  <a:lnTo>
                    <a:pt x="49" y="261"/>
                  </a:lnTo>
                  <a:lnTo>
                    <a:pt x="35" y="261"/>
                  </a:lnTo>
                  <a:lnTo>
                    <a:pt x="23" y="258"/>
                  </a:lnTo>
                  <a:lnTo>
                    <a:pt x="16" y="251"/>
                  </a:lnTo>
                  <a:lnTo>
                    <a:pt x="9" y="244"/>
                  </a:lnTo>
                  <a:lnTo>
                    <a:pt x="3" y="235"/>
                  </a:lnTo>
                  <a:lnTo>
                    <a:pt x="2" y="223"/>
                  </a:lnTo>
                  <a:lnTo>
                    <a:pt x="2" y="217"/>
                  </a:lnTo>
                  <a:lnTo>
                    <a:pt x="3" y="216"/>
                  </a:lnTo>
                  <a:lnTo>
                    <a:pt x="7" y="214"/>
                  </a:lnTo>
                  <a:lnTo>
                    <a:pt x="10" y="214"/>
                  </a:lnTo>
                  <a:lnTo>
                    <a:pt x="12" y="216"/>
                  </a:lnTo>
                  <a:lnTo>
                    <a:pt x="16" y="217"/>
                  </a:lnTo>
                  <a:lnTo>
                    <a:pt x="21" y="226"/>
                  </a:lnTo>
                  <a:lnTo>
                    <a:pt x="31" y="233"/>
                  </a:lnTo>
                  <a:lnTo>
                    <a:pt x="44" y="237"/>
                  </a:lnTo>
                  <a:lnTo>
                    <a:pt x="65" y="231"/>
                  </a:lnTo>
                  <a:lnTo>
                    <a:pt x="82" y="219"/>
                  </a:lnTo>
                  <a:lnTo>
                    <a:pt x="96" y="200"/>
                  </a:lnTo>
                  <a:lnTo>
                    <a:pt x="101" y="181"/>
                  </a:lnTo>
                  <a:lnTo>
                    <a:pt x="99" y="163"/>
                  </a:lnTo>
                  <a:lnTo>
                    <a:pt x="87" y="146"/>
                  </a:lnTo>
                  <a:lnTo>
                    <a:pt x="70" y="128"/>
                  </a:lnTo>
                  <a:lnTo>
                    <a:pt x="47" y="107"/>
                  </a:lnTo>
                  <a:lnTo>
                    <a:pt x="26" y="88"/>
                  </a:lnTo>
                  <a:lnTo>
                    <a:pt x="12" y="70"/>
                  </a:lnTo>
                  <a:lnTo>
                    <a:pt x="3" y="53"/>
                  </a:lnTo>
                  <a:lnTo>
                    <a:pt x="0" y="39"/>
                  </a:lnTo>
                  <a:lnTo>
                    <a:pt x="3" y="25"/>
                  </a:lnTo>
                  <a:lnTo>
                    <a:pt x="12" y="13"/>
                  </a:lnTo>
                  <a:lnTo>
                    <a:pt x="28" y="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6"/>
            <p:cNvSpPr>
              <a:spLocks/>
            </p:cNvSpPr>
            <p:nvPr userDrawn="1"/>
          </p:nvSpPr>
          <p:spPr bwMode="auto">
            <a:xfrm>
              <a:off x="6692901" y="5076825"/>
              <a:ext cx="233363" cy="504825"/>
            </a:xfrm>
            <a:custGeom>
              <a:avLst/>
              <a:gdLst>
                <a:gd name="T0" fmla="*/ 26 w 147"/>
                <a:gd name="T1" fmla="*/ 2 h 318"/>
                <a:gd name="T2" fmla="*/ 35 w 147"/>
                <a:gd name="T3" fmla="*/ 9 h 318"/>
                <a:gd name="T4" fmla="*/ 38 w 147"/>
                <a:gd name="T5" fmla="*/ 21 h 318"/>
                <a:gd name="T6" fmla="*/ 31 w 147"/>
                <a:gd name="T7" fmla="*/ 66 h 318"/>
                <a:gd name="T8" fmla="*/ 26 w 147"/>
                <a:gd name="T9" fmla="*/ 163 h 318"/>
                <a:gd name="T10" fmla="*/ 47 w 147"/>
                <a:gd name="T11" fmla="*/ 178 h 318"/>
                <a:gd name="T12" fmla="*/ 77 w 147"/>
                <a:gd name="T13" fmla="*/ 131 h 318"/>
                <a:gd name="T14" fmla="*/ 107 w 147"/>
                <a:gd name="T15" fmla="*/ 119 h 318"/>
                <a:gd name="T16" fmla="*/ 129 w 147"/>
                <a:gd name="T17" fmla="*/ 136 h 318"/>
                <a:gd name="T18" fmla="*/ 143 w 147"/>
                <a:gd name="T19" fmla="*/ 182 h 318"/>
                <a:gd name="T20" fmla="*/ 147 w 147"/>
                <a:gd name="T21" fmla="*/ 255 h 318"/>
                <a:gd name="T22" fmla="*/ 142 w 147"/>
                <a:gd name="T23" fmla="*/ 310 h 318"/>
                <a:gd name="T24" fmla="*/ 135 w 147"/>
                <a:gd name="T25" fmla="*/ 318 h 318"/>
                <a:gd name="T26" fmla="*/ 126 w 147"/>
                <a:gd name="T27" fmla="*/ 318 h 318"/>
                <a:gd name="T28" fmla="*/ 121 w 147"/>
                <a:gd name="T29" fmla="*/ 315 h 318"/>
                <a:gd name="T30" fmla="*/ 117 w 147"/>
                <a:gd name="T31" fmla="*/ 308 h 318"/>
                <a:gd name="T32" fmla="*/ 119 w 147"/>
                <a:gd name="T33" fmla="*/ 262 h 318"/>
                <a:gd name="T34" fmla="*/ 115 w 147"/>
                <a:gd name="T35" fmla="*/ 198 h 318"/>
                <a:gd name="T36" fmla="*/ 107 w 147"/>
                <a:gd name="T37" fmla="*/ 163 h 318"/>
                <a:gd name="T38" fmla="*/ 100 w 147"/>
                <a:gd name="T39" fmla="*/ 156 h 318"/>
                <a:gd name="T40" fmla="*/ 93 w 147"/>
                <a:gd name="T41" fmla="*/ 157 h 318"/>
                <a:gd name="T42" fmla="*/ 84 w 147"/>
                <a:gd name="T43" fmla="*/ 164 h 318"/>
                <a:gd name="T44" fmla="*/ 58 w 147"/>
                <a:gd name="T45" fmla="*/ 213 h 318"/>
                <a:gd name="T46" fmla="*/ 38 w 147"/>
                <a:gd name="T47" fmla="*/ 254 h 318"/>
                <a:gd name="T48" fmla="*/ 31 w 147"/>
                <a:gd name="T49" fmla="*/ 259 h 318"/>
                <a:gd name="T50" fmla="*/ 26 w 147"/>
                <a:gd name="T51" fmla="*/ 261 h 318"/>
                <a:gd name="T52" fmla="*/ 19 w 147"/>
                <a:gd name="T53" fmla="*/ 261 h 318"/>
                <a:gd name="T54" fmla="*/ 12 w 147"/>
                <a:gd name="T55" fmla="*/ 257 h 318"/>
                <a:gd name="T56" fmla="*/ 7 w 147"/>
                <a:gd name="T57" fmla="*/ 248 h 318"/>
                <a:gd name="T58" fmla="*/ 5 w 147"/>
                <a:gd name="T59" fmla="*/ 226 h 318"/>
                <a:gd name="T60" fmla="*/ 2 w 147"/>
                <a:gd name="T61" fmla="*/ 170 h 318"/>
                <a:gd name="T62" fmla="*/ 2 w 147"/>
                <a:gd name="T63" fmla="*/ 96 h 318"/>
                <a:gd name="T64" fmla="*/ 7 w 147"/>
                <a:gd name="T65" fmla="*/ 23 h 318"/>
                <a:gd name="T66" fmla="*/ 9 w 147"/>
                <a:gd name="T67" fmla="*/ 10 h 318"/>
                <a:gd name="T68" fmla="*/ 12 w 147"/>
                <a:gd name="T69" fmla="*/ 3 h 318"/>
                <a:gd name="T70" fmla="*/ 19 w 147"/>
                <a:gd name="T7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7" h="318">
                  <a:moveTo>
                    <a:pt x="19" y="0"/>
                  </a:moveTo>
                  <a:lnTo>
                    <a:pt x="26" y="2"/>
                  </a:lnTo>
                  <a:lnTo>
                    <a:pt x="31" y="3"/>
                  </a:lnTo>
                  <a:lnTo>
                    <a:pt x="35" y="9"/>
                  </a:lnTo>
                  <a:lnTo>
                    <a:pt x="38" y="14"/>
                  </a:lnTo>
                  <a:lnTo>
                    <a:pt x="38" y="21"/>
                  </a:lnTo>
                  <a:lnTo>
                    <a:pt x="38" y="28"/>
                  </a:lnTo>
                  <a:lnTo>
                    <a:pt x="31" y="66"/>
                  </a:lnTo>
                  <a:lnTo>
                    <a:pt x="28" y="112"/>
                  </a:lnTo>
                  <a:lnTo>
                    <a:pt x="26" y="163"/>
                  </a:lnTo>
                  <a:lnTo>
                    <a:pt x="30" y="215"/>
                  </a:lnTo>
                  <a:lnTo>
                    <a:pt x="47" y="178"/>
                  </a:lnTo>
                  <a:lnTo>
                    <a:pt x="63" y="150"/>
                  </a:lnTo>
                  <a:lnTo>
                    <a:pt x="77" y="131"/>
                  </a:lnTo>
                  <a:lnTo>
                    <a:pt x="93" y="121"/>
                  </a:lnTo>
                  <a:lnTo>
                    <a:pt x="107" y="119"/>
                  </a:lnTo>
                  <a:lnTo>
                    <a:pt x="119" y="124"/>
                  </a:lnTo>
                  <a:lnTo>
                    <a:pt x="129" y="136"/>
                  </a:lnTo>
                  <a:lnTo>
                    <a:pt x="138" y="156"/>
                  </a:lnTo>
                  <a:lnTo>
                    <a:pt x="143" y="182"/>
                  </a:lnTo>
                  <a:lnTo>
                    <a:pt x="147" y="215"/>
                  </a:lnTo>
                  <a:lnTo>
                    <a:pt x="147" y="255"/>
                  </a:lnTo>
                  <a:lnTo>
                    <a:pt x="143" y="303"/>
                  </a:lnTo>
                  <a:lnTo>
                    <a:pt x="142" y="310"/>
                  </a:lnTo>
                  <a:lnTo>
                    <a:pt x="140" y="315"/>
                  </a:lnTo>
                  <a:lnTo>
                    <a:pt x="135" y="318"/>
                  </a:lnTo>
                  <a:lnTo>
                    <a:pt x="129" y="318"/>
                  </a:lnTo>
                  <a:lnTo>
                    <a:pt x="126" y="318"/>
                  </a:lnTo>
                  <a:lnTo>
                    <a:pt x="124" y="317"/>
                  </a:lnTo>
                  <a:lnTo>
                    <a:pt x="121" y="315"/>
                  </a:lnTo>
                  <a:lnTo>
                    <a:pt x="119" y="311"/>
                  </a:lnTo>
                  <a:lnTo>
                    <a:pt x="117" y="308"/>
                  </a:lnTo>
                  <a:lnTo>
                    <a:pt x="117" y="303"/>
                  </a:lnTo>
                  <a:lnTo>
                    <a:pt x="119" y="262"/>
                  </a:lnTo>
                  <a:lnTo>
                    <a:pt x="117" y="227"/>
                  </a:lnTo>
                  <a:lnTo>
                    <a:pt x="115" y="198"/>
                  </a:lnTo>
                  <a:lnTo>
                    <a:pt x="110" y="170"/>
                  </a:lnTo>
                  <a:lnTo>
                    <a:pt x="107" y="163"/>
                  </a:lnTo>
                  <a:lnTo>
                    <a:pt x="103" y="157"/>
                  </a:lnTo>
                  <a:lnTo>
                    <a:pt x="100" y="156"/>
                  </a:lnTo>
                  <a:lnTo>
                    <a:pt x="96" y="156"/>
                  </a:lnTo>
                  <a:lnTo>
                    <a:pt x="93" y="157"/>
                  </a:lnTo>
                  <a:lnTo>
                    <a:pt x="89" y="161"/>
                  </a:lnTo>
                  <a:lnTo>
                    <a:pt x="84" y="164"/>
                  </a:lnTo>
                  <a:lnTo>
                    <a:pt x="72" y="185"/>
                  </a:lnTo>
                  <a:lnTo>
                    <a:pt x="58" y="213"/>
                  </a:lnTo>
                  <a:lnTo>
                    <a:pt x="42" y="248"/>
                  </a:lnTo>
                  <a:lnTo>
                    <a:pt x="38" y="254"/>
                  </a:lnTo>
                  <a:lnTo>
                    <a:pt x="35" y="257"/>
                  </a:lnTo>
                  <a:lnTo>
                    <a:pt x="31" y="259"/>
                  </a:lnTo>
                  <a:lnTo>
                    <a:pt x="28" y="261"/>
                  </a:lnTo>
                  <a:lnTo>
                    <a:pt x="26" y="261"/>
                  </a:lnTo>
                  <a:lnTo>
                    <a:pt x="23" y="261"/>
                  </a:lnTo>
                  <a:lnTo>
                    <a:pt x="19" y="261"/>
                  </a:lnTo>
                  <a:lnTo>
                    <a:pt x="16" y="259"/>
                  </a:lnTo>
                  <a:lnTo>
                    <a:pt x="12" y="257"/>
                  </a:lnTo>
                  <a:lnTo>
                    <a:pt x="10" y="254"/>
                  </a:lnTo>
                  <a:lnTo>
                    <a:pt x="7" y="248"/>
                  </a:lnTo>
                  <a:lnTo>
                    <a:pt x="7" y="241"/>
                  </a:lnTo>
                  <a:lnTo>
                    <a:pt x="5" y="226"/>
                  </a:lnTo>
                  <a:lnTo>
                    <a:pt x="3" y="201"/>
                  </a:lnTo>
                  <a:lnTo>
                    <a:pt x="2" y="170"/>
                  </a:lnTo>
                  <a:lnTo>
                    <a:pt x="0" y="135"/>
                  </a:lnTo>
                  <a:lnTo>
                    <a:pt x="2" y="96"/>
                  </a:lnTo>
                  <a:lnTo>
                    <a:pt x="3" y="59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9" y="10"/>
                  </a:lnTo>
                  <a:lnTo>
                    <a:pt x="10" y="7"/>
                  </a:lnTo>
                  <a:lnTo>
                    <a:pt x="12" y="3"/>
                  </a:lnTo>
                  <a:lnTo>
                    <a:pt x="1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7"/>
            <p:cNvSpPr>
              <a:spLocks/>
            </p:cNvSpPr>
            <p:nvPr userDrawn="1"/>
          </p:nvSpPr>
          <p:spPr bwMode="auto">
            <a:xfrm>
              <a:off x="6978651" y="5259388"/>
              <a:ext cx="71438" cy="303213"/>
            </a:xfrm>
            <a:custGeom>
              <a:avLst/>
              <a:gdLst>
                <a:gd name="T0" fmla="*/ 14 w 45"/>
                <a:gd name="T1" fmla="*/ 0 h 191"/>
                <a:gd name="T2" fmla="*/ 19 w 45"/>
                <a:gd name="T3" fmla="*/ 0 h 191"/>
                <a:gd name="T4" fmla="*/ 24 w 45"/>
                <a:gd name="T5" fmla="*/ 2 h 191"/>
                <a:gd name="T6" fmla="*/ 28 w 45"/>
                <a:gd name="T7" fmla="*/ 4 h 191"/>
                <a:gd name="T8" fmla="*/ 31 w 45"/>
                <a:gd name="T9" fmla="*/ 6 h 191"/>
                <a:gd name="T10" fmla="*/ 35 w 45"/>
                <a:gd name="T11" fmla="*/ 9 h 191"/>
                <a:gd name="T12" fmla="*/ 37 w 45"/>
                <a:gd name="T13" fmla="*/ 14 h 191"/>
                <a:gd name="T14" fmla="*/ 38 w 45"/>
                <a:gd name="T15" fmla="*/ 20 h 191"/>
                <a:gd name="T16" fmla="*/ 38 w 45"/>
                <a:gd name="T17" fmla="*/ 28 h 191"/>
                <a:gd name="T18" fmla="*/ 37 w 45"/>
                <a:gd name="T19" fmla="*/ 65 h 191"/>
                <a:gd name="T20" fmla="*/ 35 w 45"/>
                <a:gd name="T21" fmla="*/ 102 h 191"/>
                <a:gd name="T22" fmla="*/ 37 w 45"/>
                <a:gd name="T23" fmla="*/ 132 h 191"/>
                <a:gd name="T24" fmla="*/ 38 w 45"/>
                <a:gd name="T25" fmla="*/ 158 h 191"/>
                <a:gd name="T26" fmla="*/ 44 w 45"/>
                <a:gd name="T27" fmla="*/ 177 h 191"/>
                <a:gd name="T28" fmla="*/ 45 w 45"/>
                <a:gd name="T29" fmla="*/ 181 h 191"/>
                <a:gd name="T30" fmla="*/ 45 w 45"/>
                <a:gd name="T31" fmla="*/ 186 h 191"/>
                <a:gd name="T32" fmla="*/ 44 w 45"/>
                <a:gd name="T33" fmla="*/ 188 h 191"/>
                <a:gd name="T34" fmla="*/ 40 w 45"/>
                <a:gd name="T35" fmla="*/ 191 h 191"/>
                <a:gd name="T36" fmla="*/ 37 w 45"/>
                <a:gd name="T37" fmla="*/ 191 h 191"/>
                <a:gd name="T38" fmla="*/ 31 w 45"/>
                <a:gd name="T39" fmla="*/ 191 h 191"/>
                <a:gd name="T40" fmla="*/ 28 w 45"/>
                <a:gd name="T41" fmla="*/ 189 h 191"/>
                <a:gd name="T42" fmla="*/ 23 w 45"/>
                <a:gd name="T43" fmla="*/ 188 h 191"/>
                <a:gd name="T44" fmla="*/ 19 w 45"/>
                <a:gd name="T45" fmla="*/ 184 h 191"/>
                <a:gd name="T46" fmla="*/ 16 w 45"/>
                <a:gd name="T47" fmla="*/ 177 h 191"/>
                <a:gd name="T48" fmla="*/ 12 w 45"/>
                <a:gd name="T49" fmla="*/ 170 h 191"/>
                <a:gd name="T50" fmla="*/ 9 w 45"/>
                <a:gd name="T51" fmla="*/ 149 h 191"/>
                <a:gd name="T52" fmla="*/ 4 w 45"/>
                <a:gd name="T53" fmla="*/ 121 h 191"/>
                <a:gd name="T54" fmla="*/ 2 w 45"/>
                <a:gd name="T55" fmla="*/ 90 h 191"/>
                <a:gd name="T56" fmla="*/ 0 w 45"/>
                <a:gd name="T57" fmla="*/ 55 h 191"/>
                <a:gd name="T58" fmla="*/ 2 w 45"/>
                <a:gd name="T59" fmla="*/ 23 h 191"/>
                <a:gd name="T60" fmla="*/ 2 w 45"/>
                <a:gd name="T61" fmla="*/ 16 h 191"/>
                <a:gd name="T62" fmla="*/ 4 w 45"/>
                <a:gd name="T63" fmla="*/ 9 h 191"/>
                <a:gd name="T64" fmla="*/ 7 w 45"/>
                <a:gd name="T65" fmla="*/ 6 h 191"/>
                <a:gd name="T66" fmla="*/ 11 w 45"/>
                <a:gd name="T67" fmla="*/ 2 h 191"/>
                <a:gd name="T68" fmla="*/ 14 w 45"/>
                <a:gd name="T6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" h="191">
                  <a:moveTo>
                    <a:pt x="14" y="0"/>
                  </a:moveTo>
                  <a:lnTo>
                    <a:pt x="19" y="0"/>
                  </a:lnTo>
                  <a:lnTo>
                    <a:pt x="24" y="2"/>
                  </a:lnTo>
                  <a:lnTo>
                    <a:pt x="28" y="4"/>
                  </a:lnTo>
                  <a:lnTo>
                    <a:pt x="31" y="6"/>
                  </a:lnTo>
                  <a:lnTo>
                    <a:pt x="35" y="9"/>
                  </a:lnTo>
                  <a:lnTo>
                    <a:pt x="37" y="14"/>
                  </a:lnTo>
                  <a:lnTo>
                    <a:pt x="38" y="20"/>
                  </a:lnTo>
                  <a:lnTo>
                    <a:pt x="38" y="28"/>
                  </a:lnTo>
                  <a:lnTo>
                    <a:pt x="37" y="65"/>
                  </a:lnTo>
                  <a:lnTo>
                    <a:pt x="35" y="102"/>
                  </a:lnTo>
                  <a:lnTo>
                    <a:pt x="37" y="132"/>
                  </a:lnTo>
                  <a:lnTo>
                    <a:pt x="38" y="158"/>
                  </a:lnTo>
                  <a:lnTo>
                    <a:pt x="44" y="177"/>
                  </a:lnTo>
                  <a:lnTo>
                    <a:pt x="45" y="181"/>
                  </a:lnTo>
                  <a:lnTo>
                    <a:pt x="45" y="186"/>
                  </a:lnTo>
                  <a:lnTo>
                    <a:pt x="44" y="188"/>
                  </a:lnTo>
                  <a:lnTo>
                    <a:pt x="40" y="191"/>
                  </a:lnTo>
                  <a:lnTo>
                    <a:pt x="37" y="191"/>
                  </a:lnTo>
                  <a:lnTo>
                    <a:pt x="31" y="191"/>
                  </a:lnTo>
                  <a:lnTo>
                    <a:pt x="28" y="189"/>
                  </a:lnTo>
                  <a:lnTo>
                    <a:pt x="23" y="188"/>
                  </a:lnTo>
                  <a:lnTo>
                    <a:pt x="19" y="184"/>
                  </a:lnTo>
                  <a:lnTo>
                    <a:pt x="16" y="177"/>
                  </a:lnTo>
                  <a:lnTo>
                    <a:pt x="12" y="170"/>
                  </a:lnTo>
                  <a:lnTo>
                    <a:pt x="9" y="149"/>
                  </a:lnTo>
                  <a:lnTo>
                    <a:pt x="4" y="121"/>
                  </a:lnTo>
                  <a:lnTo>
                    <a:pt x="2" y="90"/>
                  </a:lnTo>
                  <a:lnTo>
                    <a:pt x="0" y="55"/>
                  </a:lnTo>
                  <a:lnTo>
                    <a:pt x="2" y="23"/>
                  </a:lnTo>
                  <a:lnTo>
                    <a:pt x="2" y="16"/>
                  </a:lnTo>
                  <a:lnTo>
                    <a:pt x="4" y="9"/>
                  </a:lnTo>
                  <a:lnTo>
                    <a:pt x="7" y="6"/>
                  </a:lnTo>
                  <a:lnTo>
                    <a:pt x="11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8"/>
            <p:cNvSpPr>
              <a:spLocks/>
            </p:cNvSpPr>
            <p:nvPr userDrawn="1"/>
          </p:nvSpPr>
          <p:spPr bwMode="auto">
            <a:xfrm>
              <a:off x="7011988" y="5137150"/>
              <a:ext cx="63500" cy="44450"/>
            </a:xfrm>
            <a:custGeom>
              <a:avLst/>
              <a:gdLst>
                <a:gd name="T0" fmla="*/ 10 w 40"/>
                <a:gd name="T1" fmla="*/ 0 h 28"/>
                <a:gd name="T2" fmla="*/ 17 w 40"/>
                <a:gd name="T3" fmla="*/ 0 h 28"/>
                <a:gd name="T4" fmla="*/ 23 w 40"/>
                <a:gd name="T5" fmla="*/ 2 h 28"/>
                <a:gd name="T6" fmla="*/ 30 w 40"/>
                <a:gd name="T7" fmla="*/ 6 h 28"/>
                <a:gd name="T8" fmla="*/ 35 w 40"/>
                <a:gd name="T9" fmla="*/ 9 h 28"/>
                <a:gd name="T10" fmla="*/ 38 w 40"/>
                <a:gd name="T11" fmla="*/ 13 h 28"/>
                <a:gd name="T12" fmla="*/ 40 w 40"/>
                <a:gd name="T13" fmla="*/ 18 h 28"/>
                <a:gd name="T14" fmla="*/ 38 w 40"/>
                <a:gd name="T15" fmla="*/ 21 h 28"/>
                <a:gd name="T16" fmla="*/ 37 w 40"/>
                <a:gd name="T17" fmla="*/ 25 h 28"/>
                <a:gd name="T18" fmla="*/ 35 w 40"/>
                <a:gd name="T19" fmla="*/ 27 h 28"/>
                <a:gd name="T20" fmla="*/ 30 w 40"/>
                <a:gd name="T21" fmla="*/ 28 h 28"/>
                <a:gd name="T22" fmla="*/ 26 w 40"/>
                <a:gd name="T23" fmla="*/ 28 h 28"/>
                <a:gd name="T24" fmla="*/ 21 w 40"/>
                <a:gd name="T25" fmla="*/ 28 h 28"/>
                <a:gd name="T26" fmla="*/ 16 w 40"/>
                <a:gd name="T27" fmla="*/ 27 h 28"/>
                <a:gd name="T28" fmla="*/ 10 w 40"/>
                <a:gd name="T29" fmla="*/ 25 h 28"/>
                <a:gd name="T30" fmla="*/ 5 w 40"/>
                <a:gd name="T31" fmla="*/ 21 h 28"/>
                <a:gd name="T32" fmla="*/ 2 w 40"/>
                <a:gd name="T33" fmla="*/ 18 h 28"/>
                <a:gd name="T34" fmla="*/ 0 w 40"/>
                <a:gd name="T35" fmla="*/ 14 h 28"/>
                <a:gd name="T36" fmla="*/ 0 w 40"/>
                <a:gd name="T37" fmla="*/ 9 h 28"/>
                <a:gd name="T38" fmla="*/ 2 w 40"/>
                <a:gd name="T39" fmla="*/ 6 h 28"/>
                <a:gd name="T40" fmla="*/ 3 w 40"/>
                <a:gd name="T41" fmla="*/ 4 h 28"/>
                <a:gd name="T42" fmla="*/ 7 w 40"/>
                <a:gd name="T43" fmla="*/ 2 h 28"/>
                <a:gd name="T44" fmla="*/ 10 w 40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28">
                  <a:moveTo>
                    <a:pt x="10" y="0"/>
                  </a:moveTo>
                  <a:lnTo>
                    <a:pt x="17" y="0"/>
                  </a:lnTo>
                  <a:lnTo>
                    <a:pt x="23" y="2"/>
                  </a:lnTo>
                  <a:lnTo>
                    <a:pt x="30" y="6"/>
                  </a:lnTo>
                  <a:lnTo>
                    <a:pt x="35" y="9"/>
                  </a:lnTo>
                  <a:lnTo>
                    <a:pt x="38" y="13"/>
                  </a:lnTo>
                  <a:lnTo>
                    <a:pt x="40" y="18"/>
                  </a:lnTo>
                  <a:lnTo>
                    <a:pt x="38" y="21"/>
                  </a:lnTo>
                  <a:lnTo>
                    <a:pt x="37" y="25"/>
                  </a:lnTo>
                  <a:lnTo>
                    <a:pt x="35" y="27"/>
                  </a:lnTo>
                  <a:lnTo>
                    <a:pt x="30" y="28"/>
                  </a:lnTo>
                  <a:lnTo>
                    <a:pt x="26" y="28"/>
                  </a:lnTo>
                  <a:lnTo>
                    <a:pt x="21" y="28"/>
                  </a:lnTo>
                  <a:lnTo>
                    <a:pt x="16" y="27"/>
                  </a:lnTo>
                  <a:lnTo>
                    <a:pt x="10" y="25"/>
                  </a:lnTo>
                  <a:lnTo>
                    <a:pt x="5" y="21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4"/>
                  </a:lnTo>
                  <a:lnTo>
                    <a:pt x="7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9"/>
            <p:cNvSpPr>
              <a:spLocks/>
            </p:cNvSpPr>
            <p:nvPr userDrawn="1"/>
          </p:nvSpPr>
          <p:spPr bwMode="auto">
            <a:xfrm>
              <a:off x="7105651" y="5262563"/>
              <a:ext cx="261938" cy="330200"/>
            </a:xfrm>
            <a:custGeom>
              <a:avLst/>
              <a:gdLst>
                <a:gd name="T0" fmla="*/ 156 w 165"/>
                <a:gd name="T1" fmla="*/ 4 h 208"/>
                <a:gd name="T2" fmla="*/ 165 w 165"/>
                <a:gd name="T3" fmla="*/ 28 h 208"/>
                <a:gd name="T4" fmla="*/ 163 w 165"/>
                <a:gd name="T5" fmla="*/ 72 h 208"/>
                <a:gd name="T6" fmla="*/ 158 w 165"/>
                <a:gd name="T7" fmla="*/ 124 h 208"/>
                <a:gd name="T8" fmla="*/ 156 w 165"/>
                <a:gd name="T9" fmla="*/ 163 h 208"/>
                <a:gd name="T10" fmla="*/ 161 w 165"/>
                <a:gd name="T11" fmla="*/ 193 h 208"/>
                <a:gd name="T12" fmla="*/ 163 w 165"/>
                <a:gd name="T13" fmla="*/ 198 h 208"/>
                <a:gd name="T14" fmla="*/ 160 w 165"/>
                <a:gd name="T15" fmla="*/ 203 h 208"/>
                <a:gd name="T16" fmla="*/ 154 w 165"/>
                <a:gd name="T17" fmla="*/ 207 h 208"/>
                <a:gd name="T18" fmla="*/ 147 w 165"/>
                <a:gd name="T19" fmla="*/ 207 h 208"/>
                <a:gd name="T20" fmla="*/ 139 w 165"/>
                <a:gd name="T21" fmla="*/ 203 h 208"/>
                <a:gd name="T22" fmla="*/ 132 w 165"/>
                <a:gd name="T23" fmla="*/ 187 h 208"/>
                <a:gd name="T24" fmla="*/ 133 w 165"/>
                <a:gd name="T25" fmla="*/ 131 h 208"/>
                <a:gd name="T26" fmla="*/ 133 w 165"/>
                <a:gd name="T27" fmla="*/ 49 h 208"/>
                <a:gd name="T28" fmla="*/ 130 w 165"/>
                <a:gd name="T29" fmla="*/ 42 h 208"/>
                <a:gd name="T30" fmla="*/ 125 w 165"/>
                <a:gd name="T31" fmla="*/ 40 h 208"/>
                <a:gd name="T32" fmla="*/ 118 w 165"/>
                <a:gd name="T33" fmla="*/ 47 h 208"/>
                <a:gd name="T34" fmla="*/ 91 w 165"/>
                <a:gd name="T35" fmla="*/ 89 h 208"/>
                <a:gd name="T36" fmla="*/ 70 w 165"/>
                <a:gd name="T37" fmla="*/ 130 h 208"/>
                <a:gd name="T38" fmla="*/ 55 w 165"/>
                <a:gd name="T39" fmla="*/ 152 h 208"/>
                <a:gd name="T40" fmla="*/ 34 w 165"/>
                <a:gd name="T41" fmla="*/ 158 h 208"/>
                <a:gd name="T42" fmla="*/ 16 w 165"/>
                <a:gd name="T43" fmla="*/ 149 h 208"/>
                <a:gd name="T44" fmla="*/ 7 w 165"/>
                <a:gd name="T45" fmla="*/ 138 h 208"/>
                <a:gd name="T46" fmla="*/ 4 w 165"/>
                <a:gd name="T47" fmla="*/ 107 h 208"/>
                <a:gd name="T48" fmla="*/ 0 w 165"/>
                <a:gd name="T49" fmla="*/ 49 h 208"/>
                <a:gd name="T50" fmla="*/ 4 w 165"/>
                <a:gd name="T51" fmla="*/ 18 h 208"/>
                <a:gd name="T52" fmla="*/ 7 w 165"/>
                <a:gd name="T53" fmla="*/ 11 h 208"/>
                <a:gd name="T54" fmla="*/ 16 w 165"/>
                <a:gd name="T55" fmla="*/ 11 h 208"/>
                <a:gd name="T56" fmla="*/ 27 w 165"/>
                <a:gd name="T57" fmla="*/ 12 h 208"/>
                <a:gd name="T58" fmla="*/ 32 w 165"/>
                <a:gd name="T59" fmla="*/ 16 h 208"/>
                <a:gd name="T60" fmla="*/ 35 w 165"/>
                <a:gd name="T61" fmla="*/ 21 h 208"/>
                <a:gd name="T62" fmla="*/ 35 w 165"/>
                <a:gd name="T63" fmla="*/ 30 h 208"/>
                <a:gd name="T64" fmla="*/ 32 w 165"/>
                <a:gd name="T65" fmla="*/ 63 h 208"/>
                <a:gd name="T66" fmla="*/ 34 w 165"/>
                <a:gd name="T67" fmla="*/ 102 h 208"/>
                <a:gd name="T68" fmla="*/ 35 w 165"/>
                <a:gd name="T69" fmla="*/ 119 h 208"/>
                <a:gd name="T70" fmla="*/ 37 w 165"/>
                <a:gd name="T71" fmla="*/ 121 h 208"/>
                <a:gd name="T72" fmla="*/ 41 w 165"/>
                <a:gd name="T73" fmla="*/ 117 h 208"/>
                <a:gd name="T74" fmla="*/ 63 w 165"/>
                <a:gd name="T75" fmla="*/ 88 h 208"/>
                <a:gd name="T76" fmla="*/ 90 w 165"/>
                <a:gd name="T77" fmla="*/ 46 h 208"/>
                <a:gd name="T78" fmla="*/ 116 w 165"/>
                <a:gd name="T79" fmla="*/ 12 h 208"/>
                <a:gd name="T80" fmla="*/ 147 w 165"/>
                <a:gd name="T8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208">
                  <a:moveTo>
                    <a:pt x="147" y="0"/>
                  </a:moveTo>
                  <a:lnTo>
                    <a:pt x="156" y="4"/>
                  </a:lnTo>
                  <a:lnTo>
                    <a:pt x="163" y="14"/>
                  </a:lnTo>
                  <a:lnTo>
                    <a:pt x="165" y="28"/>
                  </a:lnTo>
                  <a:lnTo>
                    <a:pt x="165" y="47"/>
                  </a:lnTo>
                  <a:lnTo>
                    <a:pt x="163" y="72"/>
                  </a:lnTo>
                  <a:lnTo>
                    <a:pt x="161" y="100"/>
                  </a:lnTo>
                  <a:lnTo>
                    <a:pt x="158" y="124"/>
                  </a:lnTo>
                  <a:lnTo>
                    <a:pt x="156" y="144"/>
                  </a:lnTo>
                  <a:lnTo>
                    <a:pt x="156" y="163"/>
                  </a:lnTo>
                  <a:lnTo>
                    <a:pt x="158" y="180"/>
                  </a:lnTo>
                  <a:lnTo>
                    <a:pt x="161" y="193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1" y="200"/>
                  </a:lnTo>
                  <a:lnTo>
                    <a:pt x="160" y="203"/>
                  </a:lnTo>
                  <a:lnTo>
                    <a:pt x="158" y="205"/>
                  </a:lnTo>
                  <a:lnTo>
                    <a:pt x="154" y="207"/>
                  </a:lnTo>
                  <a:lnTo>
                    <a:pt x="151" y="208"/>
                  </a:lnTo>
                  <a:lnTo>
                    <a:pt x="147" y="207"/>
                  </a:lnTo>
                  <a:lnTo>
                    <a:pt x="144" y="205"/>
                  </a:lnTo>
                  <a:lnTo>
                    <a:pt x="139" y="203"/>
                  </a:lnTo>
                  <a:lnTo>
                    <a:pt x="135" y="196"/>
                  </a:lnTo>
                  <a:lnTo>
                    <a:pt x="132" y="187"/>
                  </a:lnTo>
                  <a:lnTo>
                    <a:pt x="130" y="175"/>
                  </a:lnTo>
                  <a:lnTo>
                    <a:pt x="133" y="131"/>
                  </a:lnTo>
                  <a:lnTo>
                    <a:pt x="133" y="89"/>
                  </a:lnTo>
                  <a:lnTo>
                    <a:pt x="133" y="49"/>
                  </a:lnTo>
                  <a:lnTo>
                    <a:pt x="132" y="44"/>
                  </a:lnTo>
                  <a:lnTo>
                    <a:pt x="130" y="42"/>
                  </a:lnTo>
                  <a:lnTo>
                    <a:pt x="128" y="40"/>
                  </a:lnTo>
                  <a:lnTo>
                    <a:pt x="125" y="40"/>
                  </a:lnTo>
                  <a:lnTo>
                    <a:pt x="121" y="44"/>
                  </a:lnTo>
                  <a:lnTo>
                    <a:pt x="118" y="47"/>
                  </a:lnTo>
                  <a:lnTo>
                    <a:pt x="105" y="68"/>
                  </a:lnTo>
                  <a:lnTo>
                    <a:pt x="91" y="89"/>
                  </a:lnTo>
                  <a:lnTo>
                    <a:pt x="81" y="110"/>
                  </a:lnTo>
                  <a:lnTo>
                    <a:pt x="70" y="130"/>
                  </a:lnTo>
                  <a:lnTo>
                    <a:pt x="62" y="144"/>
                  </a:lnTo>
                  <a:lnTo>
                    <a:pt x="55" y="152"/>
                  </a:lnTo>
                  <a:lnTo>
                    <a:pt x="46" y="159"/>
                  </a:lnTo>
                  <a:lnTo>
                    <a:pt x="34" y="158"/>
                  </a:lnTo>
                  <a:lnTo>
                    <a:pt x="23" y="154"/>
                  </a:lnTo>
                  <a:lnTo>
                    <a:pt x="16" y="149"/>
                  </a:lnTo>
                  <a:lnTo>
                    <a:pt x="11" y="144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4" y="107"/>
                  </a:lnTo>
                  <a:lnTo>
                    <a:pt x="2" y="79"/>
                  </a:lnTo>
                  <a:lnTo>
                    <a:pt x="0" y="49"/>
                  </a:lnTo>
                  <a:lnTo>
                    <a:pt x="2" y="23"/>
                  </a:lnTo>
                  <a:lnTo>
                    <a:pt x="4" y="18"/>
                  </a:lnTo>
                  <a:lnTo>
                    <a:pt x="6" y="14"/>
                  </a:lnTo>
                  <a:lnTo>
                    <a:pt x="7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23" y="11"/>
                  </a:lnTo>
                  <a:lnTo>
                    <a:pt x="27" y="12"/>
                  </a:lnTo>
                  <a:lnTo>
                    <a:pt x="30" y="14"/>
                  </a:lnTo>
                  <a:lnTo>
                    <a:pt x="32" y="16"/>
                  </a:lnTo>
                  <a:lnTo>
                    <a:pt x="34" y="18"/>
                  </a:lnTo>
                  <a:lnTo>
                    <a:pt x="35" y="21"/>
                  </a:lnTo>
                  <a:lnTo>
                    <a:pt x="35" y="25"/>
                  </a:lnTo>
                  <a:lnTo>
                    <a:pt x="35" y="30"/>
                  </a:lnTo>
                  <a:lnTo>
                    <a:pt x="34" y="44"/>
                  </a:lnTo>
                  <a:lnTo>
                    <a:pt x="32" y="63"/>
                  </a:lnTo>
                  <a:lnTo>
                    <a:pt x="32" y="84"/>
                  </a:lnTo>
                  <a:lnTo>
                    <a:pt x="34" y="102"/>
                  </a:lnTo>
                  <a:lnTo>
                    <a:pt x="35" y="116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7" y="121"/>
                  </a:lnTo>
                  <a:lnTo>
                    <a:pt x="39" y="119"/>
                  </a:lnTo>
                  <a:lnTo>
                    <a:pt x="41" y="117"/>
                  </a:lnTo>
                  <a:lnTo>
                    <a:pt x="51" y="105"/>
                  </a:lnTo>
                  <a:lnTo>
                    <a:pt x="63" y="88"/>
                  </a:lnTo>
                  <a:lnTo>
                    <a:pt x="76" y="67"/>
                  </a:lnTo>
                  <a:lnTo>
                    <a:pt x="90" y="46"/>
                  </a:lnTo>
                  <a:lnTo>
                    <a:pt x="100" y="30"/>
                  </a:lnTo>
                  <a:lnTo>
                    <a:pt x="116" y="12"/>
                  </a:lnTo>
                  <a:lnTo>
                    <a:pt x="130" y="4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0"/>
            <p:cNvSpPr>
              <a:spLocks/>
            </p:cNvSpPr>
            <p:nvPr userDrawn="1"/>
          </p:nvSpPr>
          <p:spPr bwMode="auto">
            <a:xfrm>
              <a:off x="7416801" y="5257800"/>
              <a:ext cx="284163" cy="596900"/>
            </a:xfrm>
            <a:custGeom>
              <a:avLst/>
              <a:gdLst>
                <a:gd name="T0" fmla="*/ 119 w 179"/>
                <a:gd name="T1" fmla="*/ 1 h 376"/>
                <a:gd name="T2" fmla="*/ 130 w 179"/>
                <a:gd name="T3" fmla="*/ 8 h 376"/>
                <a:gd name="T4" fmla="*/ 128 w 179"/>
                <a:gd name="T5" fmla="*/ 15 h 376"/>
                <a:gd name="T6" fmla="*/ 123 w 179"/>
                <a:gd name="T7" fmla="*/ 17 h 376"/>
                <a:gd name="T8" fmla="*/ 114 w 179"/>
                <a:gd name="T9" fmla="*/ 19 h 376"/>
                <a:gd name="T10" fmla="*/ 88 w 179"/>
                <a:gd name="T11" fmla="*/ 29 h 376"/>
                <a:gd name="T12" fmla="*/ 49 w 179"/>
                <a:gd name="T13" fmla="*/ 59 h 376"/>
                <a:gd name="T14" fmla="*/ 30 w 179"/>
                <a:gd name="T15" fmla="*/ 98 h 376"/>
                <a:gd name="T16" fmla="*/ 44 w 179"/>
                <a:gd name="T17" fmla="*/ 136 h 376"/>
                <a:gd name="T18" fmla="*/ 67 w 179"/>
                <a:gd name="T19" fmla="*/ 145 h 376"/>
                <a:gd name="T20" fmla="*/ 89 w 179"/>
                <a:gd name="T21" fmla="*/ 129 h 376"/>
                <a:gd name="T22" fmla="*/ 109 w 179"/>
                <a:gd name="T23" fmla="*/ 110 h 376"/>
                <a:gd name="T24" fmla="*/ 117 w 179"/>
                <a:gd name="T25" fmla="*/ 99 h 376"/>
                <a:gd name="T26" fmla="*/ 123 w 179"/>
                <a:gd name="T27" fmla="*/ 92 h 376"/>
                <a:gd name="T28" fmla="*/ 126 w 179"/>
                <a:gd name="T29" fmla="*/ 85 h 376"/>
                <a:gd name="T30" fmla="*/ 128 w 179"/>
                <a:gd name="T31" fmla="*/ 75 h 376"/>
                <a:gd name="T32" fmla="*/ 128 w 179"/>
                <a:gd name="T33" fmla="*/ 66 h 376"/>
                <a:gd name="T34" fmla="*/ 131 w 179"/>
                <a:gd name="T35" fmla="*/ 61 h 376"/>
                <a:gd name="T36" fmla="*/ 140 w 179"/>
                <a:gd name="T37" fmla="*/ 57 h 376"/>
                <a:gd name="T38" fmla="*/ 151 w 179"/>
                <a:gd name="T39" fmla="*/ 59 h 376"/>
                <a:gd name="T40" fmla="*/ 158 w 179"/>
                <a:gd name="T41" fmla="*/ 64 h 376"/>
                <a:gd name="T42" fmla="*/ 161 w 179"/>
                <a:gd name="T43" fmla="*/ 75 h 376"/>
                <a:gd name="T44" fmla="*/ 166 w 179"/>
                <a:gd name="T45" fmla="*/ 124 h 376"/>
                <a:gd name="T46" fmla="*/ 172 w 179"/>
                <a:gd name="T47" fmla="*/ 185 h 376"/>
                <a:gd name="T48" fmla="*/ 177 w 179"/>
                <a:gd name="T49" fmla="*/ 232 h 376"/>
                <a:gd name="T50" fmla="*/ 179 w 179"/>
                <a:gd name="T51" fmla="*/ 287 h 376"/>
                <a:gd name="T52" fmla="*/ 170 w 179"/>
                <a:gd name="T53" fmla="*/ 336 h 376"/>
                <a:gd name="T54" fmla="*/ 145 w 179"/>
                <a:gd name="T55" fmla="*/ 369 h 376"/>
                <a:gd name="T56" fmla="*/ 107 w 179"/>
                <a:gd name="T57" fmla="*/ 376 h 376"/>
                <a:gd name="T58" fmla="*/ 95 w 179"/>
                <a:gd name="T59" fmla="*/ 367 h 376"/>
                <a:gd name="T60" fmla="*/ 95 w 179"/>
                <a:gd name="T61" fmla="*/ 360 h 376"/>
                <a:gd name="T62" fmla="*/ 100 w 179"/>
                <a:gd name="T63" fmla="*/ 358 h 376"/>
                <a:gd name="T64" fmla="*/ 117 w 179"/>
                <a:gd name="T65" fmla="*/ 358 h 376"/>
                <a:gd name="T66" fmla="*/ 142 w 179"/>
                <a:gd name="T67" fmla="*/ 334 h 376"/>
                <a:gd name="T68" fmla="*/ 151 w 179"/>
                <a:gd name="T69" fmla="*/ 281 h 376"/>
                <a:gd name="T70" fmla="*/ 147 w 179"/>
                <a:gd name="T71" fmla="*/ 220 h 376"/>
                <a:gd name="T72" fmla="*/ 140 w 179"/>
                <a:gd name="T73" fmla="*/ 164 h 376"/>
                <a:gd name="T74" fmla="*/ 135 w 179"/>
                <a:gd name="T75" fmla="*/ 119 h 376"/>
                <a:gd name="T76" fmla="*/ 103 w 179"/>
                <a:gd name="T77" fmla="*/ 152 h 376"/>
                <a:gd name="T78" fmla="*/ 65 w 179"/>
                <a:gd name="T79" fmla="*/ 164 h 376"/>
                <a:gd name="T80" fmla="*/ 23 w 179"/>
                <a:gd name="T81" fmla="*/ 152 h 376"/>
                <a:gd name="T82" fmla="*/ 2 w 179"/>
                <a:gd name="T83" fmla="*/ 119 h 376"/>
                <a:gd name="T84" fmla="*/ 4 w 179"/>
                <a:gd name="T85" fmla="*/ 82 h 376"/>
                <a:gd name="T86" fmla="*/ 28 w 179"/>
                <a:gd name="T87" fmla="*/ 42 h 376"/>
                <a:gd name="T88" fmla="*/ 65 w 179"/>
                <a:gd name="T89" fmla="*/ 10 h 376"/>
                <a:gd name="T90" fmla="*/ 107 w 179"/>
                <a:gd name="T91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9" h="376">
                  <a:moveTo>
                    <a:pt x="107" y="0"/>
                  </a:moveTo>
                  <a:lnTo>
                    <a:pt x="119" y="1"/>
                  </a:lnTo>
                  <a:lnTo>
                    <a:pt x="128" y="5"/>
                  </a:lnTo>
                  <a:lnTo>
                    <a:pt x="130" y="8"/>
                  </a:lnTo>
                  <a:lnTo>
                    <a:pt x="130" y="12"/>
                  </a:lnTo>
                  <a:lnTo>
                    <a:pt x="128" y="15"/>
                  </a:lnTo>
                  <a:lnTo>
                    <a:pt x="126" y="17"/>
                  </a:lnTo>
                  <a:lnTo>
                    <a:pt x="123" y="17"/>
                  </a:lnTo>
                  <a:lnTo>
                    <a:pt x="119" y="19"/>
                  </a:lnTo>
                  <a:lnTo>
                    <a:pt x="114" y="19"/>
                  </a:lnTo>
                  <a:lnTo>
                    <a:pt x="107" y="21"/>
                  </a:lnTo>
                  <a:lnTo>
                    <a:pt x="88" y="29"/>
                  </a:lnTo>
                  <a:lnTo>
                    <a:pt x="67" y="42"/>
                  </a:lnTo>
                  <a:lnTo>
                    <a:pt x="49" y="59"/>
                  </a:lnTo>
                  <a:lnTo>
                    <a:pt x="35" y="77"/>
                  </a:lnTo>
                  <a:lnTo>
                    <a:pt x="30" y="98"/>
                  </a:lnTo>
                  <a:lnTo>
                    <a:pt x="34" y="120"/>
                  </a:lnTo>
                  <a:lnTo>
                    <a:pt x="44" y="136"/>
                  </a:lnTo>
                  <a:lnTo>
                    <a:pt x="54" y="143"/>
                  </a:lnTo>
                  <a:lnTo>
                    <a:pt x="67" y="145"/>
                  </a:lnTo>
                  <a:lnTo>
                    <a:pt x="77" y="138"/>
                  </a:lnTo>
                  <a:lnTo>
                    <a:pt x="89" y="129"/>
                  </a:lnTo>
                  <a:lnTo>
                    <a:pt x="102" y="117"/>
                  </a:lnTo>
                  <a:lnTo>
                    <a:pt x="109" y="110"/>
                  </a:lnTo>
                  <a:lnTo>
                    <a:pt x="114" y="103"/>
                  </a:lnTo>
                  <a:lnTo>
                    <a:pt x="117" y="99"/>
                  </a:lnTo>
                  <a:lnTo>
                    <a:pt x="121" y="96"/>
                  </a:lnTo>
                  <a:lnTo>
                    <a:pt x="123" y="92"/>
                  </a:lnTo>
                  <a:lnTo>
                    <a:pt x="124" y="91"/>
                  </a:lnTo>
                  <a:lnTo>
                    <a:pt x="126" y="85"/>
                  </a:lnTo>
                  <a:lnTo>
                    <a:pt x="128" y="80"/>
                  </a:lnTo>
                  <a:lnTo>
                    <a:pt x="128" y="75"/>
                  </a:lnTo>
                  <a:lnTo>
                    <a:pt x="128" y="71"/>
                  </a:lnTo>
                  <a:lnTo>
                    <a:pt x="128" y="66"/>
                  </a:lnTo>
                  <a:lnTo>
                    <a:pt x="130" y="63"/>
                  </a:lnTo>
                  <a:lnTo>
                    <a:pt x="131" y="61"/>
                  </a:lnTo>
                  <a:lnTo>
                    <a:pt x="135" y="59"/>
                  </a:lnTo>
                  <a:lnTo>
                    <a:pt x="140" y="57"/>
                  </a:lnTo>
                  <a:lnTo>
                    <a:pt x="145" y="59"/>
                  </a:lnTo>
                  <a:lnTo>
                    <a:pt x="151" y="59"/>
                  </a:lnTo>
                  <a:lnTo>
                    <a:pt x="154" y="61"/>
                  </a:lnTo>
                  <a:lnTo>
                    <a:pt x="158" y="64"/>
                  </a:lnTo>
                  <a:lnTo>
                    <a:pt x="159" y="70"/>
                  </a:lnTo>
                  <a:lnTo>
                    <a:pt x="161" y="75"/>
                  </a:lnTo>
                  <a:lnTo>
                    <a:pt x="163" y="94"/>
                  </a:lnTo>
                  <a:lnTo>
                    <a:pt x="166" y="124"/>
                  </a:lnTo>
                  <a:lnTo>
                    <a:pt x="170" y="166"/>
                  </a:lnTo>
                  <a:lnTo>
                    <a:pt x="172" y="185"/>
                  </a:lnTo>
                  <a:lnTo>
                    <a:pt x="173" y="208"/>
                  </a:lnTo>
                  <a:lnTo>
                    <a:pt x="177" y="232"/>
                  </a:lnTo>
                  <a:lnTo>
                    <a:pt x="179" y="260"/>
                  </a:lnTo>
                  <a:lnTo>
                    <a:pt x="179" y="287"/>
                  </a:lnTo>
                  <a:lnTo>
                    <a:pt x="175" y="313"/>
                  </a:lnTo>
                  <a:lnTo>
                    <a:pt x="170" y="336"/>
                  </a:lnTo>
                  <a:lnTo>
                    <a:pt x="161" y="355"/>
                  </a:lnTo>
                  <a:lnTo>
                    <a:pt x="145" y="369"/>
                  </a:lnTo>
                  <a:lnTo>
                    <a:pt x="124" y="376"/>
                  </a:lnTo>
                  <a:lnTo>
                    <a:pt x="107" y="376"/>
                  </a:lnTo>
                  <a:lnTo>
                    <a:pt x="96" y="371"/>
                  </a:lnTo>
                  <a:lnTo>
                    <a:pt x="95" y="367"/>
                  </a:lnTo>
                  <a:lnTo>
                    <a:pt x="95" y="364"/>
                  </a:lnTo>
                  <a:lnTo>
                    <a:pt x="95" y="360"/>
                  </a:lnTo>
                  <a:lnTo>
                    <a:pt x="96" y="358"/>
                  </a:lnTo>
                  <a:lnTo>
                    <a:pt x="100" y="358"/>
                  </a:lnTo>
                  <a:lnTo>
                    <a:pt x="103" y="358"/>
                  </a:lnTo>
                  <a:lnTo>
                    <a:pt x="117" y="358"/>
                  </a:lnTo>
                  <a:lnTo>
                    <a:pt x="131" y="351"/>
                  </a:lnTo>
                  <a:lnTo>
                    <a:pt x="142" y="334"/>
                  </a:lnTo>
                  <a:lnTo>
                    <a:pt x="149" y="309"/>
                  </a:lnTo>
                  <a:lnTo>
                    <a:pt x="151" y="281"/>
                  </a:lnTo>
                  <a:lnTo>
                    <a:pt x="149" y="246"/>
                  </a:lnTo>
                  <a:lnTo>
                    <a:pt x="147" y="220"/>
                  </a:lnTo>
                  <a:lnTo>
                    <a:pt x="144" y="192"/>
                  </a:lnTo>
                  <a:lnTo>
                    <a:pt x="140" y="164"/>
                  </a:lnTo>
                  <a:lnTo>
                    <a:pt x="138" y="138"/>
                  </a:lnTo>
                  <a:lnTo>
                    <a:pt x="135" y="119"/>
                  </a:lnTo>
                  <a:lnTo>
                    <a:pt x="121" y="138"/>
                  </a:lnTo>
                  <a:lnTo>
                    <a:pt x="103" y="152"/>
                  </a:lnTo>
                  <a:lnTo>
                    <a:pt x="86" y="161"/>
                  </a:lnTo>
                  <a:lnTo>
                    <a:pt x="65" y="164"/>
                  </a:lnTo>
                  <a:lnTo>
                    <a:pt x="42" y="161"/>
                  </a:lnTo>
                  <a:lnTo>
                    <a:pt x="23" y="152"/>
                  </a:lnTo>
                  <a:lnTo>
                    <a:pt x="11" y="136"/>
                  </a:lnTo>
                  <a:lnTo>
                    <a:pt x="2" y="119"/>
                  </a:lnTo>
                  <a:lnTo>
                    <a:pt x="0" y="99"/>
                  </a:lnTo>
                  <a:lnTo>
                    <a:pt x="4" y="82"/>
                  </a:lnTo>
                  <a:lnTo>
                    <a:pt x="13" y="63"/>
                  </a:lnTo>
                  <a:lnTo>
                    <a:pt x="28" y="42"/>
                  </a:lnTo>
                  <a:lnTo>
                    <a:pt x="46" y="24"/>
                  </a:lnTo>
                  <a:lnTo>
                    <a:pt x="65" y="10"/>
                  </a:lnTo>
                  <a:lnTo>
                    <a:pt x="86" y="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1"/>
            <p:cNvSpPr>
              <a:spLocks/>
            </p:cNvSpPr>
            <p:nvPr userDrawn="1"/>
          </p:nvSpPr>
          <p:spPr bwMode="auto">
            <a:xfrm>
              <a:off x="7905751" y="5046663"/>
              <a:ext cx="330200" cy="479425"/>
            </a:xfrm>
            <a:custGeom>
              <a:avLst/>
              <a:gdLst>
                <a:gd name="T0" fmla="*/ 21 w 208"/>
                <a:gd name="T1" fmla="*/ 1 h 302"/>
                <a:gd name="T2" fmla="*/ 30 w 208"/>
                <a:gd name="T3" fmla="*/ 7 h 302"/>
                <a:gd name="T4" fmla="*/ 35 w 208"/>
                <a:gd name="T5" fmla="*/ 19 h 302"/>
                <a:gd name="T6" fmla="*/ 44 w 208"/>
                <a:gd name="T7" fmla="*/ 122 h 302"/>
                <a:gd name="T8" fmla="*/ 58 w 208"/>
                <a:gd name="T9" fmla="*/ 210 h 302"/>
                <a:gd name="T10" fmla="*/ 89 w 208"/>
                <a:gd name="T11" fmla="*/ 168 h 302"/>
                <a:gd name="T12" fmla="*/ 131 w 208"/>
                <a:gd name="T13" fmla="*/ 136 h 302"/>
                <a:gd name="T14" fmla="*/ 170 w 208"/>
                <a:gd name="T15" fmla="*/ 129 h 302"/>
                <a:gd name="T16" fmla="*/ 194 w 208"/>
                <a:gd name="T17" fmla="*/ 138 h 302"/>
                <a:gd name="T18" fmla="*/ 208 w 208"/>
                <a:gd name="T19" fmla="*/ 169 h 302"/>
                <a:gd name="T20" fmla="*/ 205 w 208"/>
                <a:gd name="T21" fmla="*/ 215 h 302"/>
                <a:gd name="T22" fmla="*/ 187 w 208"/>
                <a:gd name="T23" fmla="*/ 260 h 302"/>
                <a:gd name="T24" fmla="*/ 154 w 208"/>
                <a:gd name="T25" fmla="*/ 294 h 302"/>
                <a:gd name="T26" fmla="*/ 126 w 208"/>
                <a:gd name="T27" fmla="*/ 302 h 302"/>
                <a:gd name="T28" fmla="*/ 115 w 208"/>
                <a:gd name="T29" fmla="*/ 301 h 302"/>
                <a:gd name="T30" fmla="*/ 108 w 208"/>
                <a:gd name="T31" fmla="*/ 295 h 302"/>
                <a:gd name="T32" fmla="*/ 105 w 208"/>
                <a:gd name="T33" fmla="*/ 288 h 302"/>
                <a:gd name="T34" fmla="*/ 107 w 208"/>
                <a:gd name="T35" fmla="*/ 281 h 302"/>
                <a:gd name="T36" fmla="*/ 112 w 208"/>
                <a:gd name="T37" fmla="*/ 281 h 302"/>
                <a:gd name="T38" fmla="*/ 133 w 208"/>
                <a:gd name="T39" fmla="*/ 283 h 302"/>
                <a:gd name="T40" fmla="*/ 161 w 208"/>
                <a:gd name="T41" fmla="*/ 257 h 302"/>
                <a:gd name="T42" fmla="*/ 177 w 208"/>
                <a:gd name="T43" fmla="*/ 197 h 302"/>
                <a:gd name="T44" fmla="*/ 171 w 208"/>
                <a:gd name="T45" fmla="*/ 157 h 302"/>
                <a:gd name="T46" fmla="*/ 164 w 208"/>
                <a:gd name="T47" fmla="*/ 152 h 302"/>
                <a:gd name="T48" fmla="*/ 154 w 208"/>
                <a:gd name="T49" fmla="*/ 154 h 302"/>
                <a:gd name="T50" fmla="*/ 140 w 208"/>
                <a:gd name="T51" fmla="*/ 161 h 302"/>
                <a:gd name="T52" fmla="*/ 110 w 208"/>
                <a:gd name="T53" fmla="*/ 183 h 302"/>
                <a:gd name="T54" fmla="*/ 79 w 208"/>
                <a:gd name="T55" fmla="*/ 227 h 302"/>
                <a:gd name="T56" fmla="*/ 63 w 208"/>
                <a:gd name="T57" fmla="*/ 266 h 302"/>
                <a:gd name="T58" fmla="*/ 56 w 208"/>
                <a:gd name="T59" fmla="*/ 274 h 302"/>
                <a:gd name="T60" fmla="*/ 45 w 208"/>
                <a:gd name="T61" fmla="*/ 276 h 302"/>
                <a:gd name="T62" fmla="*/ 37 w 208"/>
                <a:gd name="T63" fmla="*/ 274 h 302"/>
                <a:gd name="T64" fmla="*/ 31 w 208"/>
                <a:gd name="T65" fmla="*/ 267 h 302"/>
                <a:gd name="T66" fmla="*/ 31 w 208"/>
                <a:gd name="T67" fmla="*/ 259 h 302"/>
                <a:gd name="T68" fmla="*/ 31 w 208"/>
                <a:gd name="T69" fmla="*/ 224 h 302"/>
                <a:gd name="T70" fmla="*/ 26 w 208"/>
                <a:gd name="T71" fmla="*/ 187 h 302"/>
                <a:gd name="T72" fmla="*/ 17 w 208"/>
                <a:gd name="T73" fmla="*/ 140 h 302"/>
                <a:gd name="T74" fmla="*/ 7 w 208"/>
                <a:gd name="T75" fmla="*/ 78 h 302"/>
                <a:gd name="T76" fmla="*/ 0 w 208"/>
                <a:gd name="T77" fmla="*/ 22 h 302"/>
                <a:gd name="T78" fmla="*/ 2 w 208"/>
                <a:gd name="T79" fmla="*/ 8 h 302"/>
                <a:gd name="T80" fmla="*/ 9 w 208"/>
                <a:gd name="T81" fmla="*/ 1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302">
                  <a:moveTo>
                    <a:pt x="14" y="0"/>
                  </a:moveTo>
                  <a:lnTo>
                    <a:pt x="21" y="1"/>
                  </a:lnTo>
                  <a:lnTo>
                    <a:pt x="26" y="3"/>
                  </a:lnTo>
                  <a:lnTo>
                    <a:pt x="30" y="7"/>
                  </a:lnTo>
                  <a:lnTo>
                    <a:pt x="33" y="12"/>
                  </a:lnTo>
                  <a:lnTo>
                    <a:pt x="35" y="19"/>
                  </a:lnTo>
                  <a:lnTo>
                    <a:pt x="40" y="75"/>
                  </a:lnTo>
                  <a:lnTo>
                    <a:pt x="44" y="122"/>
                  </a:lnTo>
                  <a:lnTo>
                    <a:pt x="49" y="166"/>
                  </a:lnTo>
                  <a:lnTo>
                    <a:pt x="58" y="210"/>
                  </a:lnTo>
                  <a:lnTo>
                    <a:pt x="72" y="189"/>
                  </a:lnTo>
                  <a:lnTo>
                    <a:pt x="89" y="168"/>
                  </a:lnTo>
                  <a:lnTo>
                    <a:pt x="108" y="150"/>
                  </a:lnTo>
                  <a:lnTo>
                    <a:pt x="131" y="136"/>
                  </a:lnTo>
                  <a:lnTo>
                    <a:pt x="157" y="129"/>
                  </a:lnTo>
                  <a:lnTo>
                    <a:pt x="170" y="129"/>
                  </a:lnTo>
                  <a:lnTo>
                    <a:pt x="184" y="133"/>
                  </a:lnTo>
                  <a:lnTo>
                    <a:pt x="194" y="138"/>
                  </a:lnTo>
                  <a:lnTo>
                    <a:pt x="203" y="152"/>
                  </a:lnTo>
                  <a:lnTo>
                    <a:pt x="208" y="169"/>
                  </a:lnTo>
                  <a:lnTo>
                    <a:pt x="208" y="192"/>
                  </a:lnTo>
                  <a:lnTo>
                    <a:pt x="205" y="215"/>
                  </a:lnTo>
                  <a:lnTo>
                    <a:pt x="198" y="239"/>
                  </a:lnTo>
                  <a:lnTo>
                    <a:pt x="187" y="260"/>
                  </a:lnTo>
                  <a:lnTo>
                    <a:pt x="173" y="280"/>
                  </a:lnTo>
                  <a:lnTo>
                    <a:pt x="154" y="294"/>
                  </a:lnTo>
                  <a:lnTo>
                    <a:pt x="133" y="302"/>
                  </a:lnTo>
                  <a:lnTo>
                    <a:pt x="126" y="302"/>
                  </a:lnTo>
                  <a:lnTo>
                    <a:pt x="119" y="301"/>
                  </a:lnTo>
                  <a:lnTo>
                    <a:pt x="115" y="301"/>
                  </a:lnTo>
                  <a:lnTo>
                    <a:pt x="112" y="297"/>
                  </a:lnTo>
                  <a:lnTo>
                    <a:pt x="108" y="295"/>
                  </a:lnTo>
                  <a:lnTo>
                    <a:pt x="107" y="292"/>
                  </a:lnTo>
                  <a:lnTo>
                    <a:pt x="105" y="288"/>
                  </a:lnTo>
                  <a:lnTo>
                    <a:pt x="105" y="285"/>
                  </a:lnTo>
                  <a:lnTo>
                    <a:pt x="107" y="281"/>
                  </a:lnTo>
                  <a:lnTo>
                    <a:pt x="108" y="281"/>
                  </a:lnTo>
                  <a:lnTo>
                    <a:pt x="112" y="281"/>
                  </a:lnTo>
                  <a:lnTo>
                    <a:pt x="122" y="285"/>
                  </a:lnTo>
                  <a:lnTo>
                    <a:pt x="133" y="283"/>
                  </a:lnTo>
                  <a:lnTo>
                    <a:pt x="145" y="276"/>
                  </a:lnTo>
                  <a:lnTo>
                    <a:pt x="161" y="257"/>
                  </a:lnTo>
                  <a:lnTo>
                    <a:pt x="171" y="229"/>
                  </a:lnTo>
                  <a:lnTo>
                    <a:pt x="177" y="197"/>
                  </a:lnTo>
                  <a:lnTo>
                    <a:pt x="173" y="162"/>
                  </a:lnTo>
                  <a:lnTo>
                    <a:pt x="171" y="157"/>
                  </a:lnTo>
                  <a:lnTo>
                    <a:pt x="168" y="154"/>
                  </a:lnTo>
                  <a:lnTo>
                    <a:pt x="164" y="152"/>
                  </a:lnTo>
                  <a:lnTo>
                    <a:pt x="161" y="152"/>
                  </a:lnTo>
                  <a:lnTo>
                    <a:pt x="154" y="154"/>
                  </a:lnTo>
                  <a:lnTo>
                    <a:pt x="149" y="155"/>
                  </a:lnTo>
                  <a:lnTo>
                    <a:pt x="140" y="161"/>
                  </a:lnTo>
                  <a:lnTo>
                    <a:pt x="126" y="169"/>
                  </a:lnTo>
                  <a:lnTo>
                    <a:pt x="110" y="183"/>
                  </a:lnTo>
                  <a:lnTo>
                    <a:pt x="94" y="201"/>
                  </a:lnTo>
                  <a:lnTo>
                    <a:pt x="79" y="227"/>
                  </a:lnTo>
                  <a:lnTo>
                    <a:pt x="66" y="259"/>
                  </a:lnTo>
                  <a:lnTo>
                    <a:pt x="63" y="266"/>
                  </a:lnTo>
                  <a:lnTo>
                    <a:pt x="59" y="271"/>
                  </a:lnTo>
                  <a:lnTo>
                    <a:pt x="56" y="274"/>
                  </a:lnTo>
                  <a:lnTo>
                    <a:pt x="51" y="276"/>
                  </a:lnTo>
                  <a:lnTo>
                    <a:pt x="45" y="276"/>
                  </a:lnTo>
                  <a:lnTo>
                    <a:pt x="40" y="276"/>
                  </a:lnTo>
                  <a:lnTo>
                    <a:pt x="37" y="274"/>
                  </a:lnTo>
                  <a:lnTo>
                    <a:pt x="33" y="271"/>
                  </a:lnTo>
                  <a:lnTo>
                    <a:pt x="31" y="267"/>
                  </a:lnTo>
                  <a:lnTo>
                    <a:pt x="31" y="264"/>
                  </a:lnTo>
                  <a:lnTo>
                    <a:pt x="31" y="259"/>
                  </a:lnTo>
                  <a:lnTo>
                    <a:pt x="33" y="243"/>
                  </a:lnTo>
                  <a:lnTo>
                    <a:pt x="31" y="224"/>
                  </a:lnTo>
                  <a:lnTo>
                    <a:pt x="28" y="201"/>
                  </a:lnTo>
                  <a:lnTo>
                    <a:pt x="26" y="187"/>
                  </a:lnTo>
                  <a:lnTo>
                    <a:pt x="21" y="166"/>
                  </a:lnTo>
                  <a:lnTo>
                    <a:pt x="17" y="140"/>
                  </a:lnTo>
                  <a:lnTo>
                    <a:pt x="12" y="110"/>
                  </a:lnTo>
                  <a:lnTo>
                    <a:pt x="7" y="78"/>
                  </a:lnTo>
                  <a:lnTo>
                    <a:pt x="4" y="49"/>
                  </a:lnTo>
                  <a:lnTo>
                    <a:pt x="0" y="22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5"/>
                  </a:lnTo>
                  <a:lnTo>
                    <a:pt x="9" y="1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2"/>
            <p:cNvSpPr>
              <a:spLocks/>
            </p:cNvSpPr>
            <p:nvPr userDrawn="1"/>
          </p:nvSpPr>
          <p:spPr bwMode="auto">
            <a:xfrm>
              <a:off x="8275638" y="5257800"/>
              <a:ext cx="254000" cy="590550"/>
            </a:xfrm>
            <a:custGeom>
              <a:avLst/>
              <a:gdLst>
                <a:gd name="T0" fmla="*/ 150 w 160"/>
                <a:gd name="T1" fmla="*/ 1 h 372"/>
                <a:gd name="T2" fmla="*/ 159 w 160"/>
                <a:gd name="T3" fmla="*/ 10 h 372"/>
                <a:gd name="T4" fmla="*/ 160 w 160"/>
                <a:gd name="T5" fmla="*/ 45 h 372"/>
                <a:gd name="T6" fmla="*/ 150 w 160"/>
                <a:gd name="T7" fmla="*/ 105 h 372"/>
                <a:gd name="T8" fmla="*/ 131 w 160"/>
                <a:gd name="T9" fmla="*/ 175 h 372"/>
                <a:gd name="T10" fmla="*/ 117 w 160"/>
                <a:gd name="T11" fmla="*/ 241 h 372"/>
                <a:gd name="T12" fmla="*/ 115 w 160"/>
                <a:gd name="T13" fmla="*/ 287 h 372"/>
                <a:gd name="T14" fmla="*/ 118 w 160"/>
                <a:gd name="T15" fmla="*/ 318 h 372"/>
                <a:gd name="T16" fmla="*/ 122 w 160"/>
                <a:gd name="T17" fmla="*/ 350 h 372"/>
                <a:gd name="T18" fmla="*/ 120 w 160"/>
                <a:gd name="T19" fmla="*/ 365 h 372"/>
                <a:gd name="T20" fmla="*/ 115 w 160"/>
                <a:gd name="T21" fmla="*/ 372 h 372"/>
                <a:gd name="T22" fmla="*/ 110 w 160"/>
                <a:gd name="T23" fmla="*/ 372 h 372"/>
                <a:gd name="T24" fmla="*/ 103 w 160"/>
                <a:gd name="T25" fmla="*/ 369 h 372"/>
                <a:gd name="T26" fmla="*/ 97 w 160"/>
                <a:gd name="T27" fmla="*/ 364 h 372"/>
                <a:gd name="T28" fmla="*/ 99 w 160"/>
                <a:gd name="T29" fmla="*/ 357 h 372"/>
                <a:gd name="T30" fmla="*/ 99 w 160"/>
                <a:gd name="T31" fmla="*/ 348 h 372"/>
                <a:gd name="T32" fmla="*/ 97 w 160"/>
                <a:gd name="T33" fmla="*/ 336 h 372"/>
                <a:gd name="T34" fmla="*/ 94 w 160"/>
                <a:gd name="T35" fmla="*/ 262 h 372"/>
                <a:gd name="T36" fmla="*/ 101 w 160"/>
                <a:gd name="T37" fmla="*/ 206 h 372"/>
                <a:gd name="T38" fmla="*/ 113 w 160"/>
                <a:gd name="T39" fmla="*/ 147 h 372"/>
                <a:gd name="T40" fmla="*/ 131 w 160"/>
                <a:gd name="T41" fmla="*/ 66 h 372"/>
                <a:gd name="T42" fmla="*/ 103 w 160"/>
                <a:gd name="T43" fmla="*/ 119 h 372"/>
                <a:gd name="T44" fmla="*/ 80 w 160"/>
                <a:gd name="T45" fmla="*/ 155 h 372"/>
                <a:gd name="T46" fmla="*/ 59 w 160"/>
                <a:gd name="T47" fmla="*/ 168 h 372"/>
                <a:gd name="T48" fmla="*/ 43 w 160"/>
                <a:gd name="T49" fmla="*/ 164 h 372"/>
                <a:gd name="T50" fmla="*/ 31 w 160"/>
                <a:gd name="T51" fmla="*/ 159 h 372"/>
                <a:gd name="T52" fmla="*/ 22 w 160"/>
                <a:gd name="T53" fmla="*/ 150 h 372"/>
                <a:gd name="T54" fmla="*/ 15 w 160"/>
                <a:gd name="T55" fmla="*/ 133 h 372"/>
                <a:gd name="T56" fmla="*/ 5 w 160"/>
                <a:gd name="T57" fmla="*/ 96 h 372"/>
                <a:gd name="T58" fmla="*/ 0 w 160"/>
                <a:gd name="T59" fmla="*/ 61 h 372"/>
                <a:gd name="T60" fmla="*/ 1 w 160"/>
                <a:gd name="T61" fmla="*/ 38 h 372"/>
                <a:gd name="T62" fmla="*/ 14 w 160"/>
                <a:gd name="T63" fmla="*/ 29 h 372"/>
                <a:gd name="T64" fmla="*/ 21 w 160"/>
                <a:gd name="T65" fmla="*/ 33 h 372"/>
                <a:gd name="T66" fmla="*/ 26 w 160"/>
                <a:gd name="T67" fmla="*/ 42 h 372"/>
                <a:gd name="T68" fmla="*/ 28 w 160"/>
                <a:gd name="T69" fmla="*/ 54 h 372"/>
                <a:gd name="T70" fmla="*/ 33 w 160"/>
                <a:gd name="T71" fmla="*/ 98 h 372"/>
                <a:gd name="T72" fmla="*/ 43 w 160"/>
                <a:gd name="T73" fmla="*/ 136 h 372"/>
                <a:gd name="T74" fmla="*/ 59 w 160"/>
                <a:gd name="T75" fmla="*/ 138 h 372"/>
                <a:gd name="T76" fmla="*/ 89 w 160"/>
                <a:gd name="T77" fmla="*/ 98 h 372"/>
                <a:gd name="T78" fmla="*/ 122 w 160"/>
                <a:gd name="T79" fmla="*/ 29 h 372"/>
                <a:gd name="T80" fmla="*/ 136 w 160"/>
                <a:gd name="T81" fmla="*/ 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" h="372">
                  <a:moveTo>
                    <a:pt x="145" y="0"/>
                  </a:moveTo>
                  <a:lnTo>
                    <a:pt x="150" y="1"/>
                  </a:lnTo>
                  <a:lnTo>
                    <a:pt x="155" y="3"/>
                  </a:lnTo>
                  <a:lnTo>
                    <a:pt x="159" y="10"/>
                  </a:lnTo>
                  <a:lnTo>
                    <a:pt x="160" y="24"/>
                  </a:lnTo>
                  <a:lnTo>
                    <a:pt x="160" y="45"/>
                  </a:lnTo>
                  <a:lnTo>
                    <a:pt x="157" y="71"/>
                  </a:lnTo>
                  <a:lnTo>
                    <a:pt x="150" y="105"/>
                  </a:lnTo>
                  <a:lnTo>
                    <a:pt x="139" y="140"/>
                  </a:lnTo>
                  <a:lnTo>
                    <a:pt x="131" y="175"/>
                  </a:lnTo>
                  <a:lnTo>
                    <a:pt x="122" y="211"/>
                  </a:lnTo>
                  <a:lnTo>
                    <a:pt x="117" y="241"/>
                  </a:lnTo>
                  <a:lnTo>
                    <a:pt x="115" y="267"/>
                  </a:lnTo>
                  <a:lnTo>
                    <a:pt x="115" y="287"/>
                  </a:lnTo>
                  <a:lnTo>
                    <a:pt x="117" y="304"/>
                  </a:lnTo>
                  <a:lnTo>
                    <a:pt x="118" y="318"/>
                  </a:lnTo>
                  <a:lnTo>
                    <a:pt x="120" y="337"/>
                  </a:lnTo>
                  <a:lnTo>
                    <a:pt x="122" y="350"/>
                  </a:lnTo>
                  <a:lnTo>
                    <a:pt x="122" y="360"/>
                  </a:lnTo>
                  <a:lnTo>
                    <a:pt x="120" y="365"/>
                  </a:lnTo>
                  <a:lnTo>
                    <a:pt x="118" y="371"/>
                  </a:lnTo>
                  <a:lnTo>
                    <a:pt x="115" y="372"/>
                  </a:lnTo>
                  <a:lnTo>
                    <a:pt x="113" y="372"/>
                  </a:lnTo>
                  <a:lnTo>
                    <a:pt x="110" y="372"/>
                  </a:lnTo>
                  <a:lnTo>
                    <a:pt x="104" y="371"/>
                  </a:lnTo>
                  <a:lnTo>
                    <a:pt x="103" y="369"/>
                  </a:lnTo>
                  <a:lnTo>
                    <a:pt x="99" y="367"/>
                  </a:lnTo>
                  <a:lnTo>
                    <a:pt x="97" y="364"/>
                  </a:lnTo>
                  <a:lnTo>
                    <a:pt x="97" y="360"/>
                  </a:lnTo>
                  <a:lnTo>
                    <a:pt x="99" y="357"/>
                  </a:lnTo>
                  <a:lnTo>
                    <a:pt x="99" y="351"/>
                  </a:lnTo>
                  <a:lnTo>
                    <a:pt x="99" y="348"/>
                  </a:lnTo>
                  <a:lnTo>
                    <a:pt x="97" y="343"/>
                  </a:lnTo>
                  <a:lnTo>
                    <a:pt x="97" y="336"/>
                  </a:lnTo>
                  <a:lnTo>
                    <a:pt x="94" y="295"/>
                  </a:lnTo>
                  <a:lnTo>
                    <a:pt x="94" y="262"/>
                  </a:lnTo>
                  <a:lnTo>
                    <a:pt x="96" y="234"/>
                  </a:lnTo>
                  <a:lnTo>
                    <a:pt x="101" y="206"/>
                  </a:lnTo>
                  <a:lnTo>
                    <a:pt x="106" y="178"/>
                  </a:lnTo>
                  <a:lnTo>
                    <a:pt x="113" y="147"/>
                  </a:lnTo>
                  <a:lnTo>
                    <a:pt x="122" y="110"/>
                  </a:lnTo>
                  <a:lnTo>
                    <a:pt x="131" y="66"/>
                  </a:lnTo>
                  <a:lnTo>
                    <a:pt x="117" y="94"/>
                  </a:lnTo>
                  <a:lnTo>
                    <a:pt x="103" y="119"/>
                  </a:lnTo>
                  <a:lnTo>
                    <a:pt x="90" y="140"/>
                  </a:lnTo>
                  <a:lnTo>
                    <a:pt x="80" y="155"/>
                  </a:lnTo>
                  <a:lnTo>
                    <a:pt x="70" y="164"/>
                  </a:lnTo>
                  <a:lnTo>
                    <a:pt x="59" y="168"/>
                  </a:lnTo>
                  <a:lnTo>
                    <a:pt x="50" y="168"/>
                  </a:lnTo>
                  <a:lnTo>
                    <a:pt x="43" y="164"/>
                  </a:lnTo>
                  <a:lnTo>
                    <a:pt x="36" y="162"/>
                  </a:lnTo>
                  <a:lnTo>
                    <a:pt x="31" y="159"/>
                  </a:lnTo>
                  <a:lnTo>
                    <a:pt x="26" y="155"/>
                  </a:lnTo>
                  <a:lnTo>
                    <a:pt x="22" y="150"/>
                  </a:lnTo>
                  <a:lnTo>
                    <a:pt x="19" y="143"/>
                  </a:lnTo>
                  <a:lnTo>
                    <a:pt x="15" y="133"/>
                  </a:lnTo>
                  <a:lnTo>
                    <a:pt x="10" y="115"/>
                  </a:lnTo>
                  <a:lnTo>
                    <a:pt x="5" y="96"/>
                  </a:lnTo>
                  <a:lnTo>
                    <a:pt x="3" y="77"/>
                  </a:lnTo>
                  <a:lnTo>
                    <a:pt x="0" y="61"/>
                  </a:lnTo>
                  <a:lnTo>
                    <a:pt x="0" y="49"/>
                  </a:lnTo>
                  <a:lnTo>
                    <a:pt x="1" y="38"/>
                  </a:lnTo>
                  <a:lnTo>
                    <a:pt x="7" y="31"/>
                  </a:lnTo>
                  <a:lnTo>
                    <a:pt x="14" y="29"/>
                  </a:lnTo>
                  <a:lnTo>
                    <a:pt x="17" y="31"/>
                  </a:lnTo>
                  <a:lnTo>
                    <a:pt x="21" y="33"/>
                  </a:lnTo>
                  <a:lnTo>
                    <a:pt x="22" y="36"/>
                  </a:lnTo>
                  <a:lnTo>
                    <a:pt x="26" y="42"/>
                  </a:lnTo>
                  <a:lnTo>
                    <a:pt x="28" y="47"/>
                  </a:lnTo>
                  <a:lnTo>
                    <a:pt x="28" y="54"/>
                  </a:lnTo>
                  <a:lnTo>
                    <a:pt x="29" y="73"/>
                  </a:lnTo>
                  <a:lnTo>
                    <a:pt x="33" y="98"/>
                  </a:lnTo>
                  <a:lnTo>
                    <a:pt x="38" y="122"/>
                  </a:lnTo>
                  <a:lnTo>
                    <a:pt x="43" y="136"/>
                  </a:lnTo>
                  <a:lnTo>
                    <a:pt x="50" y="141"/>
                  </a:lnTo>
                  <a:lnTo>
                    <a:pt x="59" y="138"/>
                  </a:lnTo>
                  <a:lnTo>
                    <a:pt x="70" y="126"/>
                  </a:lnTo>
                  <a:lnTo>
                    <a:pt x="89" y="98"/>
                  </a:lnTo>
                  <a:lnTo>
                    <a:pt x="106" y="66"/>
                  </a:lnTo>
                  <a:lnTo>
                    <a:pt x="122" y="29"/>
                  </a:lnTo>
                  <a:lnTo>
                    <a:pt x="129" y="10"/>
                  </a:lnTo>
                  <a:lnTo>
                    <a:pt x="136" y="1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3"/>
            <p:cNvSpPr>
              <a:spLocks/>
            </p:cNvSpPr>
            <p:nvPr userDrawn="1"/>
          </p:nvSpPr>
          <p:spPr bwMode="auto">
            <a:xfrm>
              <a:off x="8743951" y="5254625"/>
              <a:ext cx="280988" cy="344488"/>
            </a:xfrm>
            <a:custGeom>
              <a:avLst/>
              <a:gdLst>
                <a:gd name="T0" fmla="*/ 135 w 177"/>
                <a:gd name="T1" fmla="*/ 2 h 217"/>
                <a:gd name="T2" fmla="*/ 161 w 177"/>
                <a:gd name="T3" fmla="*/ 14 h 217"/>
                <a:gd name="T4" fmla="*/ 164 w 177"/>
                <a:gd name="T5" fmla="*/ 42 h 217"/>
                <a:gd name="T6" fmla="*/ 166 w 177"/>
                <a:gd name="T7" fmla="*/ 96 h 217"/>
                <a:gd name="T8" fmla="*/ 170 w 177"/>
                <a:gd name="T9" fmla="*/ 154 h 217"/>
                <a:gd name="T10" fmla="*/ 177 w 177"/>
                <a:gd name="T11" fmla="*/ 196 h 217"/>
                <a:gd name="T12" fmla="*/ 177 w 177"/>
                <a:gd name="T13" fmla="*/ 210 h 217"/>
                <a:gd name="T14" fmla="*/ 171 w 177"/>
                <a:gd name="T15" fmla="*/ 217 h 217"/>
                <a:gd name="T16" fmla="*/ 161 w 177"/>
                <a:gd name="T17" fmla="*/ 217 h 217"/>
                <a:gd name="T18" fmla="*/ 150 w 177"/>
                <a:gd name="T19" fmla="*/ 213 h 217"/>
                <a:gd name="T20" fmla="*/ 143 w 177"/>
                <a:gd name="T21" fmla="*/ 206 h 217"/>
                <a:gd name="T22" fmla="*/ 142 w 177"/>
                <a:gd name="T23" fmla="*/ 191 h 217"/>
                <a:gd name="T24" fmla="*/ 140 w 177"/>
                <a:gd name="T25" fmla="*/ 150 h 217"/>
                <a:gd name="T26" fmla="*/ 135 w 177"/>
                <a:gd name="T27" fmla="*/ 87 h 217"/>
                <a:gd name="T28" fmla="*/ 129 w 177"/>
                <a:gd name="T29" fmla="*/ 35 h 217"/>
                <a:gd name="T30" fmla="*/ 126 w 177"/>
                <a:gd name="T31" fmla="*/ 28 h 217"/>
                <a:gd name="T32" fmla="*/ 122 w 177"/>
                <a:gd name="T33" fmla="*/ 28 h 217"/>
                <a:gd name="T34" fmla="*/ 115 w 177"/>
                <a:gd name="T35" fmla="*/ 35 h 217"/>
                <a:gd name="T36" fmla="*/ 100 w 177"/>
                <a:gd name="T37" fmla="*/ 56 h 217"/>
                <a:gd name="T38" fmla="*/ 73 w 177"/>
                <a:gd name="T39" fmla="*/ 100 h 217"/>
                <a:gd name="T40" fmla="*/ 47 w 177"/>
                <a:gd name="T41" fmla="*/ 170 h 217"/>
                <a:gd name="T42" fmla="*/ 44 w 177"/>
                <a:gd name="T43" fmla="*/ 177 h 217"/>
                <a:gd name="T44" fmla="*/ 35 w 177"/>
                <a:gd name="T45" fmla="*/ 178 h 217"/>
                <a:gd name="T46" fmla="*/ 23 w 177"/>
                <a:gd name="T47" fmla="*/ 177 h 217"/>
                <a:gd name="T48" fmla="*/ 14 w 177"/>
                <a:gd name="T49" fmla="*/ 171 h 217"/>
                <a:gd name="T50" fmla="*/ 11 w 177"/>
                <a:gd name="T51" fmla="*/ 166 h 217"/>
                <a:gd name="T52" fmla="*/ 7 w 177"/>
                <a:gd name="T53" fmla="*/ 154 h 217"/>
                <a:gd name="T54" fmla="*/ 4 w 177"/>
                <a:gd name="T55" fmla="*/ 126 h 217"/>
                <a:gd name="T56" fmla="*/ 2 w 177"/>
                <a:gd name="T57" fmla="*/ 75 h 217"/>
                <a:gd name="T58" fmla="*/ 0 w 177"/>
                <a:gd name="T59" fmla="*/ 24 h 217"/>
                <a:gd name="T60" fmla="*/ 2 w 177"/>
                <a:gd name="T61" fmla="*/ 10 h 217"/>
                <a:gd name="T62" fmla="*/ 7 w 177"/>
                <a:gd name="T63" fmla="*/ 2 h 217"/>
                <a:gd name="T64" fmla="*/ 16 w 177"/>
                <a:gd name="T65" fmla="*/ 2 h 217"/>
                <a:gd name="T66" fmla="*/ 26 w 177"/>
                <a:gd name="T67" fmla="*/ 14 h 217"/>
                <a:gd name="T68" fmla="*/ 28 w 177"/>
                <a:gd name="T69" fmla="*/ 38 h 217"/>
                <a:gd name="T70" fmla="*/ 30 w 177"/>
                <a:gd name="T71" fmla="*/ 98 h 217"/>
                <a:gd name="T72" fmla="*/ 46 w 177"/>
                <a:gd name="T73" fmla="*/ 101 h 217"/>
                <a:gd name="T74" fmla="*/ 73 w 177"/>
                <a:gd name="T75" fmla="*/ 54 h 217"/>
                <a:gd name="T76" fmla="*/ 96 w 177"/>
                <a:gd name="T77" fmla="*/ 17 h 217"/>
                <a:gd name="T78" fmla="*/ 112 w 177"/>
                <a:gd name="T79" fmla="*/ 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7" h="217">
                  <a:moveTo>
                    <a:pt x="121" y="0"/>
                  </a:moveTo>
                  <a:lnTo>
                    <a:pt x="135" y="2"/>
                  </a:lnTo>
                  <a:lnTo>
                    <a:pt x="152" y="7"/>
                  </a:lnTo>
                  <a:lnTo>
                    <a:pt x="161" y="14"/>
                  </a:lnTo>
                  <a:lnTo>
                    <a:pt x="163" y="24"/>
                  </a:lnTo>
                  <a:lnTo>
                    <a:pt x="164" y="42"/>
                  </a:lnTo>
                  <a:lnTo>
                    <a:pt x="164" y="68"/>
                  </a:lnTo>
                  <a:lnTo>
                    <a:pt x="166" y="96"/>
                  </a:lnTo>
                  <a:lnTo>
                    <a:pt x="168" y="124"/>
                  </a:lnTo>
                  <a:lnTo>
                    <a:pt x="170" y="154"/>
                  </a:lnTo>
                  <a:lnTo>
                    <a:pt x="173" y="177"/>
                  </a:lnTo>
                  <a:lnTo>
                    <a:pt x="177" y="196"/>
                  </a:lnTo>
                  <a:lnTo>
                    <a:pt x="177" y="205"/>
                  </a:lnTo>
                  <a:lnTo>
                    <a:pt x="177" y="210"/>
                  </a:lnTo>
                  <a:lnTo>
                    <a:pt x="175" y="213"/>
                  </a:lnTo>
                  <a:lnTo>
                    <a:pt x="171" y="217"/>
                  </a:lnTo>
                  <a:lnTo>
                    <a:pt x="168" y="217"/>
                  </a:lnTo>
                  <a:lnTo>
                    <a:pt x="161" y="217"/>
                  </a:lnTo>
                  <a:lnTo>
                    <a:pt x="156" y="215"/>
                  </a:lnTo>
                  <a:lnTo>
                    <a:pt x="150" y="213"/>
                  </a:lnTo>
                  <a:lnTo>
                    <a:pt x="147" y="210"/>
                  </a:lnTo>
                  <a:lnTo>
                    <a:pt x="143" y="206"/>
                  </a:lnTo>
                  <a:lnTo>
                    <a:pt x="142" y="199"/>
                  </a:lnTo>
                  <a:lnTo>
                    <a:pt x="142" y="191"/>
                  </a:lnTo>
                  <a:lnTo>
                    <a:pt x="140" y="175"/>
                  </a:lnTo>
                  <a:lnTo>
                    <a:pt x="140" y="150"/>
                  </a:lnTo>
                  <a:lnTo>
                    <a:pt x="138" y="119"/>
                  </a:lnTo>
                  <a:lnTo>
                    <a:pt x="135" y="87"/>
                  </a:lnTo>
                  <a:lnTo>
                    <a:pt x="133" y="58"/>
                  </a:lnTo>
                  <a:lnTo>
                    <a:pt x="129" y="35"/>
                  </a:lnTo>
                  <a:lnTo>
                    <a:pt x="128" y="30"/>
                  </a:lnTo>
                  <a:lnTo>
                    <a:pt x="126" y="28"/>
                  </a:lnTo>
                  <a:lnTo>
                    <a:pt x="124" y="26"/>
                  </a:lnTo>
                  <a:lnTo>
                    <a:pt x="122" y="28"/>
                  </a:lnTo>
                  <a:lnTo>
                    <a:pt x="119" y="30"/>
                  </a:lnTo>
                  <a:lnTo>
                    <a:pt x="115" y="35"/>
                  </a:lnTo>
                  <a:lnTo>
                    <a:pt x="110" y="42"/>
                  </a:lnTo>
                  <a:lnTo>
                    <a:pt x="100" y="56"/>
                  </a:lnTo>
                  <a:lnTo>
                    <a:pt x="87" y="75"/>
                  </a:lnTo>
                  <a:lnTo>
                    <a:pt x="73" y="100"/>
                  </a:lnTo>
                  <a:lnTo>
                    <a:pt x="60" y="131"/>
                  </a:lnTo>
                  <a:lnTo>
                    <a:pt x="47" y="170"/>
                  </a:lnTo>
                  <a:lnTo>
                    <a:pt x="46" y="173"/>
                  </a:lnTo>
                  <a:lnTo>
                    <a:pt x="44" y="177"/>
                  </a:lnTo>
                  <a:lnTo>
                    <a:pt x="40" y="178"/>
                  </a:lnTo>
                  <a:lnTo>
                    <a:pt x="35" y="178"/>
                  </a:lnTo>
                  <a:lnTo>
                    <a:pt x="30" y="178"/>
                  </a:lnTo>
                  <a:lnTo>
                    <a:pt x="23" y="177"/>
                  </a:lnTo>
                  <a:lnTo>
                    <a:pt x="19" y="175"/>
                  </a:lnTo>
                  <a:lnTo>
                    <a:pt x="14" y="171"/>
                  </a:lnTo>
                  <a:lnTo>
                    <a:pt x="12" y="170"/>
                  </a:lnTo>
                  <a:lnTo>
                    <a:pt x="11" y="166"/>
                  </a:lnTo>
                  <a:lnTo>
                    <a:pt x="9" y="161"/>
                  </a:lnTo>
                  <a:lnTo>
                    <a:pt x="7" y="154"/>
                  </a:lnTo>
                  <a:lnTo>
                    <a:pt x="5" y="143"/>
                  </a:lnTo>
                  <a:lnTo>
                    <a:pt x="4" y="126"/>
                  </a:lnTo>
                  <a:lnTo>
                    <a:pt x="2" y="101"/>
                  </a:lnTo>
                  <a:lnTo>
                    <a:pt x="2" y="75"/>
                  </a:lnTo>
                  <a:lnTo>
                    <a:pt x="0" y="49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2" y="10"/>
                  </a:lnTo>
                  <a:lnTo>
                    <a:pt x="4" y="5"/>
                  </a:lnTo>
                  <a:lnTo>
                    <a:pt x="7" y="2"/>
                  </a:lnTo>
                  <a:lnTo>
                    <a:pt x="11" y="2"/>
                  </a:lnTo>
                  <a:lnTo>
                    <a:pt x="16" y="2"/>
                  </a:lnTo>
                  <a:lnTo>
                    <a:pt x="23" y="5"/>
                  </a:lnTo>
                  <a:lnTo>
                    <a:pt x="26" y="14"/>
                  </a:lnTo>
                  <a:lnTo>
                    <a:pt x="28" y="24"/>
                  </a:lnTo>
                  <a:lnTo>
                    <a:pt x="28" y="38"/>
                  </a:lnTo>
                  <a:lnTo>
                    <a:pt x="28" y="68"/>
                  </a:lnTo>
                  <a:lnTo>
                    <a:pt x="30" y="98"/>
                  </a:lnTo>
                  <a:lnTo>
                    <a:pt x="33" y="128"/>
                  </a:lnTo>
                  <a:lnTo>
                    <a:pt x="46" y="101"/>
                  </a:lnTo>
                  <a:lnTo>
                    <a:pt x="60" y="77"/>
                  </a:lnTo>
                  <a:lnTo>
                    <a:pt x="73" y="54"/>
                  </a:lnTo>
                  <a:lnTo>
                    <a:pt x="86" y="33"/>
                  </a:lnTo>
                  <a:lnTo>
                    <a:pt x="96" y="17"/>
                  </a:lnTo>
                  <a:lnTo>
                    <a:pt x="105" y="5"/>
                  </a:lnTo>
                  <a:lnTo>
                    <a:pt x="112" y="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4"/>
            <p:cNvSpPr>
              <a:spLocks/>
            </p:cNvSpPr>
            <p:nvPr userDrawn="1"/>
          </p:nvSpPr>
          <p:spPr bwMode="auto">
            <a:xfrm>
              <a:off x="9043988" y="5251450"/>
              <a:ext cx="271463" cy="330200"/>
            </a:xfrm>
            <a:custGeom>
              <a:avLst/>
              <a:gdLst>
                <a:gd name="T0" fmla="*/ 114 w 171"/>
                <a:gd name="T1" fmla="*/ 2 h 208"/>
                <a:gd name="T2" fmla="*/ 121 w 171"/>
                <a:gd name="T3" fmla="*/ 5 h 208"/>
                <a:gd name="T4" fmla="*/ 124 w 171"/>
                <a:gd name="T5" fmla="*/ 12 h 208"/>
                <a:gd name="T6" fmla="*/ 119 w 171"/>
                <a:gd name="T7" fmla="*/ 23 h 208"/>
                <a:gd name="T8" fmla="*/ 73 w 171"/>
                <a:gd name="T9" fmla="*/ 47 h 208"/>
                <a:gd name="T10" fmla="*/ 42 w 171"/>
                <a:gd name="T11" fmla="*/ 79 h 208"/>
                <a:gd name="T12" fmla="*/ 30 w 171"/>
                <a:gd name="T13" fmla="*/ 109 h 208"/>
                <a:gd name="T14" fmla="*/ 38 w 171"/>
                <a:gd name="T15" fmla="*/ 123 h 208"/>
                <a:gd name="T16" fmla="*/ 65 w 171"/>
                <a:gd name="T17" fmla="*/ 119 h 208"/>
                <a:gd name="T18" fmla="*/ 98 w 171"/>
                <a:gd name="T19" fmla="*/ 105 h 208"/>
                <a:gd name="T20" fmla="*/ 126 w 171"/>
                <a:gd name="T21" fmla="*/ 86 h 208"/>
                <a:gd name="T22" fmla="*/ 128 w 171"/>
                <a:gd name="T23" fmla="*/ 60 h 208"/>
                <a:gd name="T24" fmla="*/ 140 w 171"/>
                <a:gd name="T25" fmla="*/ 49 h 208"/>
                <a:gd name="T26" fmla="*/ 152 w 171"/>
                <a:gd name="T27" fmla="*/ 54 h 208"/>
                <a:gd name="T28" fmla="*/ 157 w 171"/>
                <a:gd name="T29" fmla="*/ 58 h 208"/>
                <a:gd name="T30" fmla="*/ 159 w 171"/>
                <a:gd name="T31" fmla="*/ 63 h 208"/>
                <a:gd name="T32" fmla="*/ 161 w 171"/>
                <a:gd name="T33" fmla="*/ 112 h 208"/>
                <a:gd name="T34" fmla="*/ 166 w 171"/>
                <a:gd name="T35" fmla="*/ 172 h 208"/>
                <a:gd name="T36" fmla="*/ 169 w 171"/>
                <a:gd name="T37" fmla="*/ 200 h 208"/>
                <a:gd name="T38" fmla="*/ 164 w 171"/>
                <a:gd name="T39" fmla="*/ 207 h 208"/>
                <a:gd name="T40" fmla="*/ 156 w 171"/>
                <a:gd name="T41" fmla="*/ 207 h 208"/>
                <a:gd name="T42" fmla="*/ 147 w 171"/>
                <a:gd name="T43" fmla="*/ 198 h 208"/>
                <a:gd name="T44" fmla="*/ 135 w 171"/>
                <a:gd name="T45" fmla="*/ 158 h 208"/>
                <a:gd name="T46" fmla="*/ 129 w 171"/>
                <a:gd name="T47" fmla="*/ 117 h 208"/>
                <a:gd name="T48" fmla="*/ 86 w 171"/>
                <a:gd name="T49" fmla="*/ 140 h 208"/>
                <a:gd name="T50" fmla="*/ 44 w 171"/>
                <a:gd name="T51" fmla="*/ 151 h 208"/>
                <a:gd name="T52" fmla="*/ 12 w 171"/>
                <a:gd name="T53" fmla="*/ 138 h 208"/>
                <a:gd name="T54" fmla="*/ 0 w 171"/>
                <a:gd name="T55" fmla="*/ 102 h 208"/>
                <a:gd name="T56" fmla="*/ 17 w 171"/>
                <a:gd name="T57" fmla="*/ 58 h 208"/>
                <a:gd name="T58" fmla="*/ 58 w 171"/>
                <a:gd name="T59" fmla="*/ 19 h 208"/>
                <a:gd name="T60" fmla="*/ 91 w 171"/>
                <a:gd name="T61" fmla="*/ 2 h 208"/>
                <a:gd name="T62" fmla="*/ 110 w 171"/>
                <a:gd name="T6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1" h="208">
                  <a:moveTo>
                    <a:pt x="110" y="0"/>
                  </a:moveTo>
                  <a:lnTo>
                    <a:pt x="114" y="2"/>
                  </a:lnTo>
                  <a:lnTo>
                    <a:pt x="117" y="4"/>
                  </a:lnTo>
                  <a:lnTo>
                    <a:pt x="121" y="5"/>
                  </a:lnTo>
                  <a:lnTo>
                    <a:pt x="122" y="9"/>
                  </a:lnTo>
                  <a:lnTo>
                    <a:pt x="124" y="12"/>
                  </a:lnTo>
                  <a:lnTo>
                    <a:pt x="122" y="18"/>
                  </a:lnTo>
                  <a:lnTo>
                    <a:pt x="119" y="23"/>
                  </a:lnTo>
                  <a:lnTo>
                    <a:pt x="96" y="33"/>
                  </a:lnTo>
                  <a:lnTo>
                    <a:pt x="73" y="47"/>
                  </a:lnTo>
                  <a:lnTo>
                    <a:pt x="56" y="63"/>
                  </a:lnTo>
                  <a:lnTo>
                    <a:pt x="42" y="79"/>
                  </a:lnTo>
                  <a:lnTo>
                    <a:pt x="33" y="95"/>
                  </a:lnTo>
                  <a:lnTo>
                    <a:pt x="30" y="109"/>
                  </a:lnTo>
                  <a:lnTo>
                    <a:pt x="31" y="119"/>
                  </a:lnTo>
                  <a:lnTo>
                    <a:pt x="38" y="123"/>
                  </a:lnTo>
                  <a:lnTo>
                    <a:pt x="49" y="123"/>
                  </a:lnTo>
                  <a:lnTo>
                    <a:pt x="65" y="119"/>
                  </a:lnTo>
                  <a:lnTo>
                    <a:pt x="82" y="112"/>
                  </a:lnTo>
                  <a:lnTo>
                    <a:pt x="98" y="105"/>
                  </a:lnTo>
                  <a:lnTo>
                    <a:pt x="114" y="95"/>
                  </a:lnTo>
                  <a:lnTo>
                    <a:pt x="126" y="86"/>
                  </a:lnTo>
                  <a:lnTo>
                    <a:pt x="126" y="70"/>
                  </a:lnTo>
                  <a:lnTo>
                    <a:pt x="128" y="60"/>
                  </a:lnTo>
                  <a:lnTo>
                    <a:pt x="131" y="51"/>
                  </a:lnTo>
                  <a:lnTo>
                    <a:pt x="140" y="49"/>
                  </a:lnTo>
                  <a:lnTo>
                    <a:pt x="147" y="51"/>
                  </a:lnTo>
                  <a:lnTo>
                    <a:pt x="152" y="54"/>
                  </a:lnTo>
                  <a:lnTo>
                    <a:pt x="154" y="56"/>
                  </a:lnTo>
                  <a:lnTo>
                    <a:pt x="157" y="58"/>
                  </a:lnTo>
                  <a:lnTo>
                    <a:pt x="157" y="61"/>
                  </a:lnTo>
                  <a:lnTo>
                    <a:pt x="159" y="63"/>
                  </a:lnTo>
                  <a:lnTo>
                    <a:pt x="159" y="84"/>
                  </a:lnTo>
                  <a:lnTo>
                    <a:pt x="161" y="112"/>
                  </a:lnTo>
                  <a:lnTo>
                    <a:pt x="163" y="142"/>
                  </a:lnTo>
                  <a:lnTo>
                    <a:pt x="166" y="172"/>
                  </a:lnTo>
                  <a:lnTo>
                    <a:pt x="171" y="194"/>
                  </a:lnTo>
                  <a:lnTo>
                    <a:pt x="169" y="200"/>
                  </a:lnTo>
                  <a:lnTo>
                    <a:pt x="168" y="205"/>
                  </a:lnTo>
                  <a:lnTo>
                    <a:pt x="164" y="207"/>
                  </a:lnTo>
                  <a:lnTo>
                    <a:pt x="161" y="208"/>
                  </a:lnTo>
                  <a:lnTo>
                    <a:pt x="156" y="207"/>
                  </a:lnTo>
                  <a:lnTo>
                    <a:pt x="150" y="203"/>
                  </a:lnTo>
                  <a:lnTo>
                    <a:pt x="147" y="198"/>
                  </a:lnTo>
                  <a:lnTo>
                    <a:pt x="140" y="179"/>
                  </a:lnTo>
                  <a:lnTo>
                    <a:pt x="135" y="158"/>
                  </a:lnTo>
                  <a:lnTo>
                    <a:pt x="131" y="135"/>
                  </a:lnTo>
                  <a:lnTo>
                    <a:pt x="129" y="117"/>
                  </a:lnTo>
                  <a:lnTo>
                    <a:pt x="108" y="130"/>
                  </a:lnTo>
                  <a:lnTo>
                    <a:pt x="86" y="140"/>
                  </a:lnTo>
                  <a:lnTo>
                    <a:pt x="65" y="147"/>
                  </a:lnTo>
                  <a:lnTo>
                    <a:pt x="44" y="151"/>
                  </a:lnTo>
                  <a:lnTo>
                    <a:pt x="26" y="149"/>
                  </a:lnTo>
                  <a:lnTo>
                    <a:pt x="12" y="138"/>
                  </a:lnTo>
                  <a:lnTo>
                    <a:pt x="2" y="121"/>
                  </a:lnTo>
                  <a:lnTo>
                    <a:pt x="0" y="102"/>
                  </a:lnTo>
                  <a:lnTo>
                    <a:pt x="5" y="81"/>
                  </a:lnTo>
                  <a:lnTo>
                    <a:pt x="17" y="58"/>
                  </a:lnTo>
                  <a:lnTo>
                    <a:pt x="37" y="37"/>
                  </a:lnTo>
                  <a:lnTo>
                    <a:pt x="58" y="19"/>
                  </a:lnTo>
                  <a:lnTo>
                    <a:pt x="75" y="9"/>
                  </a:lnTo>
                  <a:lnTo>
                    <a:pt x="91" y="2"/>
                  </a:lnTo>
                  <a:lnTo>
                    <a:pt x="101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5"/>
            <p:cNvSpPr>
              <a:spLocks/>
            </p:cNvSpPr>
            <p:nvPr userDrawn="1"/>
          </p:nvSpPr>
          <p:spPr bwMode="auto">
            <a:xfrm>
              <a:off x="9356726" y="5065713"/>
              <a:ext cx="120650" cy="503238"/>
            </a:xfrm>
            <a:custGeom>
              <a:avLst/>
              <a:gdLst>
                <a:gd name="T0" fmla="*/ 16 w 76"/>
                <a:gd name="T1" fmla="*/ 0 h 317"/>
                <a:gd name="T2" fmla="*/ 21 w 76"/>
                <a:gd name="T3" fmla="*/ 0 h 317"/>
                <a:gd name="T4" fmla="*/ 28 w 76"/>
                <a:gd name="T5" fmla="*/ 3 h 317"/>
                <a:gd name="T6" fmla="*/ 34 w 76"/>
                <a:gd name="T7" fmla="*/ 10 h 317"/>
                <a:gd name="T8" fmla="*/ 35 w 76"/>
                <a:gd name="T9" fmla="*/ 24 h 317"/>
                <a:gd name="T10" fmla="*/ 35 w 76"/>
                <a:gd name="T11" fmla="*/ 47 h 317"/>
                <a:gd name="T12" fmla="*/ 37 w 76"/>
                <a:gd name="T13" fmla="*/ 72 h 317"/>
                <a:gd name="T14" fmla="*/ 37 w 76"/>
                <a:gd name="T15" fmla="*/ 103 h 317"/>
                <a:gd name="T16" fmla="*/ 39 w 76"/>
                <a:gd name="T17" fmla="*/ 142 h 317"/>
                <a:gd name="T18" fmla="*/ 42 w 76"/>
                <a:gd name="T19" fmla="*/ 180 h 317"/>
                <a:gd name="T20" fmla="*/ 46 w 76"/>
                <a:gd name="T21" fmla="*/ 219 h 317"/>
                <a:gd name="T22" fmla="*/ 51 w 76"/>
                <a:gd name="T23" fmla="*/ 255 h 317"/>
                <a:gd name="T24" fmla="*/ 53 w 76"/>
                <a:gd name="T25" fmla="*/ 254 h 317"/>
                <a:gd name="T26" fmla="*/ 56 w 76"/>
                <a:gd name="T27" fmla="*/ 252 h 317"/>
                <a:gd name="T28" fmla="*/ 60 w 76"/>
                <a:gd name="T29" fmla="*/ 250 h 317"/>
                <a:gd name="T30" fmla="*/ 62 w 76"/>
                <a:gd name="T31" fmla="*/ 248 h 317"/>
                <a:gd name="T32" fmla="*/ 65 w 76"/>
                <a:gd name="T33" fmla="*/ 247 h 317"/>
                <a:gd name="T34" fmla="*/ 69 w 76"/>
                <a:gd name="T35" fmla="*/ 247 h 317"/>
                <a:gd name="T36" fmla="*/ 70 w 76"/>
                <a:gd name="T37" fmla="*/ 248 h 317"/>
                <a:gd name="T38" fmla="*/ 74 w 76"/>
                <a:gd name="T39" fmla="*/ 250 h 317"/>
                <a:gd name="T40" fmla="*/ 74 w 76"/>
                <a:gd name="T41" fmla="*/ 255 h 317"/>
                <a:gd name="T42" fmla="*/ 76 w 76"/>
                <a:gd name="T43" fmla="*/ 261 h 317"/>
                <a:gd name="T44" fmla="*/ 72 w 76"/>
                <a:gd name="T45" fmla="*/ 283 h 317"/>
                <a:gd name="T46" fmla="*/ 63 w 76"/>
                <a:gd name="T47" fmla="*/ 301 h 317"/>
                <a:gd name="T48" fmla="*/ 53 w 76"/>
                <a:gd name="T49" fmla="*/ 313 h 317"/>
                <a:gd name="T50" fmla="*/ 42 w 76"/>
                <a:gd name="T51" fmla="*/ 317 h 317"/>
                <a:gd name="T52" fmla="*/ 35 w 76"/>
                <a:gd name="T53" fmla="*/ 315 h 317"/>
                <a:gd name="T54" fmla="*/ 30 w 76"/>
                <a:gd name="T55" fmla="*/ 306 h 317"/>
                <a:gd name="T56" fmla="*/ 27 w 76"/>
                <a:gd name="T57" fmla="*/ 296 h 317"/>
                <a:gd name="T58" fmla="*/ 23 w 76"/>
                <a:gd name="T59" fmla="*/ 282 h 317"/>
                <a:gd name="T60" fmla="*/ 21 w 76"/>
                <a:gd name="T61" fmla="*/ 264 h 317"/>
                <a:gd name="T62" fmla="*/ 18 w 76"/>
                <a:gd name="T63" fmla="*/ 238 h 317"/>
                <a:gd name="T64" fmla="*/ 14 w 76"/>
                <a:gd name="T65" fmla="*/ 205 h 317"/>
                <a:gd name="T66" fmla="*/ 13 w 76"/>
                <a:gd name="T67" fmla="*/ 168 h 317"/>
                <a:gd name="T68" fmla="*/ 9 w 76"/>
                <a:gd name="T69" fmla="*/ 131 h 317"/>
                <a:gd name="T70" fmla="*/ 6 w 76"/>
                <a:gd name="T71" fmla="*/ 94 h 317"/>
                <a:gd name="T72" fmla="*/ 2 w 76"/>
                <a:gd name="T73" fmla="*/ 65 h 317"/>
                <a:gd name="T74" fmla="*/ 0 w 76"/>
                <a:gd name="T75" fmla="*/ 40 h 317"/>
                <a:gd name="T76" fmla="*/ 0 w 76"/>
                <a:gd name="T77" fmla="*/ 26 h 317"/>
                <a:gd name="T78" fmla="*/ 0 w 76"/>
                <a:gd name="T79" fmla="*/ 19 h 317"/>
                <a:gd name="T80" fmla="*/ 0 w 76"/>
                <a:gd name="T81" fmla="*/ 12 h 317"/>
                <a:gd name="T82" fmla="*/ 4 w 76"/>
                <a:gd name="T83" fmla="*/ 7 h 317"/>
                <a:gd name="T84" fmla="*/ 6 w 76"/>
                <a:gd name="T85" fmla="*/ 3 h 317"/>
                <a:gd name="T86" fmla="*/ 9 w 76"/>
                <a:gd name="T87" fmla="*/ 2 h 317"/>
                <a:gd name="T88" fmla="*/ 13 w 76"/>
                <a:gd name="T89" fmla="*/ 0 h 317"/>
                <a:gd name="T90" fmla="*/ 16 w 76"/>
                <a:gd name="T91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6" h="317">
                  <a:moveTo>
                    <a:pt x="16" y="0"/>
                  </a:moveTo>
                  <a:lnTo>
                    <a:pt x="21" y="0"/>
                  </a:lnTo>
                  <a:lnTo>
                    <a:pt x="28" y="3"/>
                  </a:lnTo>
                  <a:lnTo>
                    <a:pt x="34" y="10"/>
                  </a:lnTo>
                  <a:lnTo>
                    <a:pt x="35" y="24"/>
                  </a:lnTo>
                  <a:lnTo>
                    <a:pt x="35" y="47"/>
                  </a:lnTo>
                  <a:lnTo>
                    <a:pt x="37" y="72"/>
                  </a:lnTo>
                  <a:lnTo>
                    <a:pt x="37" y="103"/>
                  </a:lnTo>
                  <a:lnTo>
                    <a:pt x="39" y="142"/>
                  </a:lnTo>
                  <a:lnTo>
                    <a:pt x="42" y="180"/>
                  </a:lnTo>
                  <a:lnTo>
                    <a:pt x="46" y="219"/>
                  </a:lnTo>
                  <a:lnTo>
                    <a:pt x="51" y="255"/>
                  </a:lnTo>
                  <a:lnTo>
                    <a:pt x="53" y="254"/>
                  </a:lnTo>
                  <a:lnTo>
                    <a:pt x="56" y="252"/>
                  </a:lnTo>
                  <a:lnTo>
                    <a:pt x="60" y="250"/>
                  </a:lnTo>
                  <a:lnTo>
                    <a:pt x="62" y="248"/>
                  </a:lnTo>
                  <a:lnTo>
                    <a:pt x="65" y="247"/>
                  </a:lnTo>
                  <a:lnTo>
                    <a:pt x="69" y="247"/>
                  </a:lnTo>
                  <a:lnTo>
                    <a:pt x="70" y="248"/>
                  </a:lnTo>
                  <a:lnTo>
                    <a:pt x="74" y="250"/>
                  </a:lnTo>
                  <a:lnTo>
                    <a:pt x="74" y="255"/>
                  </a:lnTo>
                  <a:lnTo>
                    <a:pt x="76" y="261"/>
                  </a:lnTo>
                  <a:lnTo>
                    <a:pt x="72" y="283"/>
                  </a:lnTo>
                  <a:lnTo>
                    <a:pt x="63" y="301"/>
                  </a:lnTo>
                  <a:lnTo>
                    <a:pt x="53" y="313"/>
                  </a:lnTo>
                  <a:lnTo>
                    <a:pt x="42" y="317"/>
                  </a:lnTo>
                  <a:lnTo>
                    <a:pt x="35" y="315"/>
                  </a:lnTo>
                  <a:lnTo>
                    <a:pt x="30" y="306"/>
                  </a:lnTo>
                  <a:lnTo>
                    <a:pt x="27" y="296"/>
                  </a:lnTo>
                  <a:lnTo>
                    <a:pt x="23" y="282"/>
                  </a:lnTo>
                  <a:lnTo>
                    <a:pt x="21" y="264"/>
                  </a:lnTo>
                  <a:lnTo>
                    <a:pt x="18" y="238"/>
                  </a:lnTo>
                  <a:lnTo>
                    <a:pt x="14" y="205"/>
                  </a:lnTo>
                  <a:lnTo>
                    <a:pt x="13" y="168"/>
                  </a:lnTo>
                  <a:lnTo>
                    <a:pt x="9" y="131"/>
                  </a:lnTo>
                  <a:lnTo>
                    <a:pt x="6" y="94"/>
                  </a:lnTo>
                  <a:lnTo>
                    <a:pt x="2" y="65"/>
                  </a:lnTo>
                  <a:lnTo>
                    <a:pt x="0" y="40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0" y="12"/>
                  </a:lnTo>
                  <a:lnTo>
                    <a:pt x="4" y="7"/>
                  </a:lnTo>
                  <a:lnTo>
                    <a:pt x="6" y="3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6"/>
            <p:cNvSpPr>
              <a:spLocks/>
            </p:cNvSpPr>
            <p:nvPr userDrawn="1"/>
          </p:nvSpPr>
          <p:spPr bwMode="auto">
            <a:xfrm>
              <a:off x="9299576" y="5176838"/>
              <a:ext cx="312738" cy="74613"/>
            </a:xfrm>
            <a:custGeom>
              <a:avLst/>
              <a:gdLst>
                <a:gd name="T0" fmla="*/ 183 w 197"/>
                <a:gd name="T1" fmla="*/ 0 h 47"/>
                <a:gd name="T2" fmla="*/ 187 w 197"/>
                <a:gd name="T3" fmla="*/ 3 h 47"/>
                <a:gd name="T4" fmla="*/ 192 w 197"/>
                <a:gd name="T5" fmla="*/ 7 h 47"/>
                <a:gd name="T6" fmla="*/ 196 w 197"/>
                <a:gd name="T7" fmla="*/ 10 h 47"/>
                <a:gd name="T8" fmla="*/ 197 w 197"/>
                <a:gd name="T9" fmla="*/ 14 h 47"/>
                <a:gd name="T10" fmla="*/ 196 w 197"/>
                <a:gd name="T11" fmla="*/ 16 h 47"/>
                <a:gd name="T12" fmla="*/ 194 w 197"/>
                <a:gd name="T13" fmla="*/ 19 h 47"/>
                <a:gd name="T14" fmla="*/ 190 w 197"/>
                <a:gd name="T15" fmla="*/ 21 h 47"/>
                <a:gd name="T16" fmla="*/ 183 w 197"/>
                <a:gd name="T17" fmla="*/ 23 h 47"/>
                <a:gd name="T18" fmla="*/ 176 w 197"/>
                <a:gd name="T19" fmla="*/ 24 h 47"/>
                <a:gd name="T20" fmla="*/ 157 w 197"/>
                <a:gd name="T21" fmla="*/ 26 h 47"/>
                <a:gd name="T22" fmla="*/ 131 w 197"/>
                <a:gd name="T23" fmla="*/ 31 h 47"/>
                <a:gd name="T24" fmla="*/ 105 w 197"/>
                <a:gd name="T25" fmla="*/ 37 h 47"/>
                <a:gd name="T26" fmla="*/ 78 w 197"/>
                <a:gd name="T27" fmla="*/ 42 h 47"/>
                <a:gd name="T28" fmla="*/ 52 w 197"/>
                <a:gd name="T29" fmla="*/ 45 h 47"/>
                <a:gd name="T30" fmla="*/ 33 w 197"/>
                <a:gd name="T31" fmla="*/ 47 h 47"/>
                <a:gd name="T32" fmla="*/ 19 w 197"/>
                <a:gd name="T33" fmla="*/ 47 h 47"/>
                <a:gd name="T34" fmla="*/ 8 w 197"/>
                <a:gd name="T35" fmla="*/ 42 h 47"/>
                <a:gd name="T36" fmla="*/ 2 w 197"/>
                <a:gd name="T37" fmla="*/ 35 h 47"/>
                <a:gd name="T38" fmla="*/ 0 w 197"/>
                <a:gd name="T39" fmla="*/ 31 h 47"/>
                <a:gd name="T40" fmla="*/ 2 w 197"/>
                <a:gd name="T41" fmla="*/ 26 h 47"/>
                <a:gd name="T42" fmla="*/ 3 w 197"/>
                <a:gd name="T43" fmla="*/ 23 h 47"/>
                <a:gd name="T44" fmla="*/ 5 w 197"/>
                <a:gd name="T45" fmla="*/ 21 h 47"/>
                <a:gd name="T46" fmla="*/ 10 w 197"/>
                <a:gd name="T47" fmla="*/ 19 h 47"/>
                <a:gd name="T48" fmla="*/ 17 w 197"/>
                <a:gd name="T49" fmla="*/ 17 h 47"/>
                <a:gd name="T50" fmla="*/ 31 w 197"/>
                <a:gd name="T51" fmla="*/ 17 h 47"/>
                <a:gd name="T52" fmla="*/ 47 w 197"/>
                <a:gd name="T53" fmla="*/ 16 h 47"/>
                <a:gd name="T54" fmla="*/ 64 w 197"/>
                <a:gd name="T55" fmla="*/ 12 h 47"/>
                <a:gd name="T56" fmla="*/ 122 w 197"/>
                <a:gd name="T57" fmla="*/ 5 h 47"/>
                <a:gd name="T58" fmla="*/ 183 w 197"/>
                <a:gd name="T5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97" h="47">
                  <a:moveTo>
                    <a:pt x="183" y="0"/>
                  </a:moveTo>
                  <a:lnTo>
                    <a:pt x="187" y="3"/>
                  </a:lnTo>
                  <a:lnTo>
                    <a:pt x="192" y="7"/>
                  </a:lnTo>
                  <a:lnTo>
                    <a:pt x="196" y="10"/>
                  </a:lnTo>
                  <a:lnTo>
                    <a:pt x="197" y="14"/>
                  </a:lnTo>
                  <a:lnTo>
                    <a:pt x="196" y="16"/>
                  </a:lnTo>
                  <a:lnTo>
                    <a:pt x="194" y="19"/>
                  </a:lnTo>
                  <a:lnTo>
                    <a:pt x="190" y="21"/>
                  </a:lnTo>
                  <a:lnTo>
                    <a:pt x="183" y="23"/>
                  </a:lnTo>
                  <a:lnTo>
                    <a:pt x="176" y="24"/>
                  </a:lnTo>
                  <a:lnTo>
                    <a:pt x="157" y="26"/>
                  </a:lnTo>
                  <a:lnTo>
                    <a:pt x="131" y="31"/>
                  </a:lnTo>
                  <a:lnTo>
                    <a:pt x="105" y="37"/>
                  </a:lnTo>
                  <a:lnTo>
                    <a:pt x="78" y="42"/>
                  </a:lnTo>
                  <a:lnTo>
                    <a:pt x="52" y="45"/>
                  </a:lnTo>
                  <a:lnTo>
                    <a:pt x="33" y="47"/>
                  </a:lnTo>
                  <a:lnTo>
                    <a:pt x="19" y="47"/>
                  </a:lnTo>
                  <a:lnTo>
                    <a:pt x="8" y="42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2" y="26"/>
                  </a:lnTo>
                  <a:lnTo>
                    <a:pt x="3" y="23"/>
                  </a:lnTo>
                  <a:lnTo>
                    <a:pt x="5" y="21"/>
                  </a:lnTo>
                  <a:lnTo>
                    <a:pt x="10" y="19"/>
                  </a:lnTo>
                  <a:lnTo>
                    <a:pt x="17" y="17"/>
                  </a:lnTo>
                  <a:lnTo>
                    <a:pt x="31" y="17"/>
                  </a:lnTo>
                  <a:lnTo>
                    <a:pt x="47" y="16"/>
                  </a:lnTo>
                  <a:lnTo>
                    <a:pt x="64" y="12"/>
                  </a:lnTo>
                  <a:lnTo>
                    <a:pt x="122" y="5"/>
                  </a:lnTo>
                  <a:lnTo>
                    <a:pt x="18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7"/>
            <p:cNvSpPr>
              <a:spLocks/>
            </p:cNvSpPr>
            <p:nvPr userDrawn="1"/>
          </p:nvSpPr>
          <p:spPr bwMode="auto">
            <a:xfrm>
              <a:off x="9512301" y="5254625"/>
              <a:ext cx="277813" cy="300038"/>
            </a:xfrm>
            <a:custGeom>
              <a:avLst/>
              <a:gdLst>
                <a:gd name="T0" fmla="*/ 158 w 175"/>
                <a:gd name="T1" fmla="*/ 2 h 189"/>
                <a:gd name="T2" fmla="*/ 163 w 175"/>
                <a:gd name="T3" fmla="*/ 19 h 189"/>
                <a:gd name="T4" fmla="*/ 159 w 175"/>
                <a:gd name="T5" fmla="*/ 65 h 189"/>
                <a:gd name="T6" fmla="*/ 161 w 175"/>
                <a:gd name="T7" fmla="*/ 112 h 189"/>
                <a:gd name="T8" fmla="*/ 168 w 175"/>
                <a:gd name="T9" fmla="*/ 157 h 189"/>
                <a:gd name="T10" fmla="*/ 172 w 175"/>
                <a:gd name="T11" fmla="*/ 163 h 189"/>
                <a:gd name="T12" fmla="*/ 175 w 175"/>
                <a:gd name="T13" fmla="*/ 170 h 189"/>
                <a:gd name="T14" fmla="*/ 173 w 175"/>
                <a:gd name="T15" fmla="*/ 180 h 189"/>
                <a:gd name="T16" fmla="*/ 168 w 175"/>
                <a:gd name="T17" fmla="*/ 189 h 189"/>
                <a:gd name="T18" fmla="*/ 159 w 175"/>
                <a:gd name="T19" fmla="*/ 189 h 189"/>
                <a:gd name="T20" fmla="*/ 153 w 175"/>
                <a:gd name="T21" fmla="*/ 185 h 189"/>
                <a:gd name="T22" fmla="*/ 142 w 175"/>
                <a:gd name="T23" fmla="*/ 166 h 189"/>
                <a:gd name="T24" fmla="*/ 132 w 175"/>
                <a:gd name="T25" fmla="*/ 112 h 189"/>
                <a:gd name="T26" fmla="*/ 104 w 175"/>
                <a:gd name="T27" fmla="*/ 156 h 189"/>
                <a:gd name="T28" fmla="*/ 76 w 175"/>
                <a:gd name="T29" fmla="*/ 173 h 189"/>
                <a:gd name="T30" fmla="*/ 46 w 175"/>
                <a:gd name="T31" fmla="*/ 164 h 189"/>
                <a:gd name="T32" fmla="*/ 23 w 175"/>
                <a:gd name="T33" fmla="*/ 131 h 189"/>
                <a:gd name="T34" fmla="*/ 9 w 175"/>
                <a:gd name="T35" fmla="*/ 87 h 189"/>
                <a:gd name="T36" fmla="*/ 2 w 175"/>
                <a:gd name="T37" fmla="*/ 49 h 189"/>
                <a:gd name="T38" fmla="*/ 0 w 175"/>
                <a:gd name="T39" fmla="*/ 31 h 189"/>
                <a:gd name="T40" fmla="*/ 2 w 175"/>
                <a:gd name="T41" fmla="*/ 23 h 189"/>
                <a:gd name="T42" fmla="*/ 6 w 175"/>
                <a:gd name="T43" fmla="*/ 16 h 189"/>
                <a:gd name="T44" fmla="*/ 13 w 175"/>
                <a:gd name="T45" fmla="*/ 12 h 189"/>
                <a:gd name="T46" fmla="*/ 28 w 175"/>
                <a:gd name="T47" fmla="*/ 14 h 189"/>
                <a:gd name="T48" fmla="*/ 34 w 175"/>
                <a:gd name="T49" fmla="*/ 31 h 189"/>
                <a:gd name="T50" fmla="*/ 41 w 175"/>
                <a:gd name="T51" fmla="*/ 82 h 189"/>
                <a:gd name="T52" fmla="*/ 55 w 175"/>
                <a:gd name="T53" fmla="*/ 135 h 189"/>
                <a:gd name="T54" fmla="*/ 63 w 175"/>
                <a:gd name="T55" fmla="*/ 145 h 189"/>
                <a:gd name="T56" fmla="*/ 72 w 175"/>
                <a:gd name="T57" fmla="*/ 147 h 189"/>
                <a:gd name="T58" fmla="*/ 83 w 175"/>
                <a:gd name="T59" fmla="*/ 140 h 189"/>
                <a:gd name="T60" fmla="*/ 109 w 175"/>
                <a:gd name="T61" fmla="*/ 105 h 189"/>
                <a:gd name="T62" fmla="*/ 133 w 175"/>
                <a:gd name="T63" fmla="*/ 42 h 189"/>
                <a:gd name="T64" fmla="*/ 139 w 175"/>
                <a:gd name="T65" fmla="*/ 9 h 189"/>
                <a:gd name="T66" fmla="*/ 153 w 175"/>
                <a:gd name="T67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5" h="189">
                  <a:moveTo>
                    <a:pt x="153" y="0"/>
                  </a:moveTo>
                  <a:lnTo>
                    <a:pt x="158" y="2"/>
                  </a:lnTo>
                  <a:lnTo>
                    <a:pt x="161" y="9"/>
                  </a:lnTo>
                  <a:lnTo>
                    <a:pt x="163" y="19"/>
                  </a:lnTo>
                  <a:lnTo>
                    <a:pt x="163" y="35"/>
                  </a:lnTo>
                  <a:lnTo>
                    <a:pt x="159" y="65"/>
                  </a:lnTo>
                  <a:lnTo>
                    <a:pt x="159" y="89"/>
                  </a:lnTo>
                  <a:lnTo>
                    <a:pt x="161" y="112"/>
                  </a:lnTo>
                  <a:lnTo>
                    <a:pt x="163" y="133"/>
                  </a:lnTo>
                  <a:lnTo>
                    <a:pt x="168" y="157"/>
                  </a:lnTo>
                  <a:lnTo>
                    <a:pt x="170" y="159"/>
                  </a:lnTo>
                  <a:lnTo>
                    <a:pt x="172" y="163"/>
                  </a:lnTo>
                  <a:lnTo>
                    <a:pt x="173" y="166"/>
                  </a:lnTo>
                  <a:lnTo>
                    <a:pt x="175" y="170"/>
                  </a:lnTo>
                  <a:lnTo>
                    <a:pt x="175" y="175"/>
                  </a:lnTo>
                  <a:lnTo>
                    <a:pt x="173" y="180"/>
                  </a:lnTo>
                  <a:lnTo>
                    <a:pt x="170" y="185"/>
                  </a:lnTo>
                  <a:lnTo>
                    <a:pt x="168" y="189"/>
                  </a:lnTo>
                  <a:lnTo>
                    <a:pt x="163" y="189"/>
                  </a:lnTo>
                  <a:lnTo>
                    <a:pt x="159" y="189"/>
                  </a:lnTo>
                  <a:lnTo>
                    <a:pt x="156" y="189"/>
                  </a:lnTo>
                  <a:lnTo>
                    <a:pt x="153" y="185"/>
                  </a:lnTo>
                  <a:lnTo>
                    <a:pt x="149" y="182"/>
                  </a:lnTo>
                  <a:lnTo>
                    <a:pt x="142" y="166"/>
                  </a:lnTo>
                  <a:lnTo>
                    <a:pt x="137" y="142"/>
                  </a:lnTo>
                  <a:lnTo>
                    <a:pt x="132" y="112"/>
                  </a:lnTo>
                  <a:lnTo>
                    <a:pt x="119" y="135"/>
                  </a:lnTo>
                  <a:lnTo>
                    <a:pt x="104" y="156"/>
                  </a:lnTo>
                  <a:lnTo>
                    <a:pt x="91" y="168"/>
                  </a:lnTo>
                  <a:lnTo>
                    <a:pt x="76" y="173"/>
                  </a:lnTo>
                  <a:lnTo>
                    <a:pt x="62" y="173"/>
                  </a:lnTo>
                  <a:lnTo>
                    <a:pt x="46" y="164"/>
                  </a:lnTo>
                  <a:lnTo>
                    <a:pt x="32" y="149"/>
                  </a:lnTo>
                  <a:lnTo>
                    <a:pt x="23" y="131"/>
                  </a:lnTo>
                  <a:lnTo>
                    <a:pt x="16" y="108"/>
                  </a:lnTo>
                  <a:lnTo>
                    <a:pt x="9" y="87"/>
                  </a:lnTo>
                  <a:lnTo>
                    <a:pt x="6" y="66"/>
                  </a:lnTo>
                  <a:lnTo>
                    <a:pt x="2" y="49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6"/>
                  </a:lnTo>
                  <a:lnTo>
                    <a:pt x="9" y="12"/>
                  </a:lnTo>
                  <a:lnTo>
                    <a:pt x="13" y="12"/>
                  </a:lnTo>
                  <a:lnTo>
                    <a:pt x="20" y="10"/>
                  </a:lnTo>
                  <a:lnTo>
                    <a:pt x="28" y="14"/>
                  </a:lnTo>
                  <a:lnTo>
                    <a:pt x="32" y="19"/>
                  </a:lnTo>
                  <a:lnTo>
                    <a:pt x="34" y="31"/>
                  </a:lnTo>
                  <a:lnTo>
                    <a:pt x="37" y="51"/>
                  </a:lnTo>
                  <a:lnTo>
                    <a:pt x="41" y="82"/>
                  </a:lnTo>
                  <a:lnTo>
                    <a:pt x="48" y="112"/>
                  </a:lnTo>
                  <a:lnTo>
                    <a:pt x="55" y="135"/>
                  </a:lnTo>
                  <a:lnTo>
                    <a:pt x="58" y="142"/>
                  </a:lnTo>
                  <a:lnTo>
                    <a:pt x="63" y="145"/>
                  </a:lnTo>
                  <a:lnTo>
                    <a:pt x="69" y="147"/>
                  </a:lnTo>
                  <a:lnTo>
                    <a:pt x="72" y="147"/>
                  </a:lnTo>
                  <a:lnTo>
                    <a:pt x="77" y="145"/>
                  </a:lnTo>
                  <a:lnTo>
                    <a:pt x="83" y="140"/>
                  </a:lnTo>
                  <a:lnTo>
                    <a:pt x="97" y="126"/>
                  </a:lnTo>
                  <a:lnTo>
                    <a:pt x="109" y="105"/>
                  </a:lnTo>
                  <a:lnTo>
                    <a:pt x="123" y="77"/>
                  </a:lnTo>
                  <a:lnTo>
                    <a:pt x="133" y="42"/>
                  </a:lnTo>
                  <a:lnTo>
                    <a:pt x="135" y="23"/>
                  </a:lnTo>
                  <a:lnTo>
                    <a:pt x="139" y="9"/>
                  </a:lnTo>
                  <a:lnTo>
                    <a:pt x="144" y="0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8"/>
            <p:cNvSpPr>
              <a:spLocks/>
            </p:cNvSpPr>
            <p:nvPr userDrawn="1"/>
          </p:nvSpPr>
          <p:spPr bwMode="auto">
            <a:xfrm>
              <a:off x="9853613" y="5240338"/>
              <a:ext cx="217488" cy="314325"/>
            </a:xfrm>
            <a:custGeom>
              <a:avLst/>
              <a:gdLst>
                <a:gd name="T0" fmla="*/ 105 w 137"/>
                <a:gd name="T1" fmla="*/ 0 h 198"/>
                <a:gd name="T2" fmla="*/ 119 w 137"/>
                <a:gd name="T3" fmla="*/ 0 h 198"/>
                <a:gd name="T4" fmla="*/ 128 w 137"/>
                <a:gd name="T5" fmla="*/ 5 h 198"/>
                <a:gd name="T6" fmla="*/ 135 w 137"/>
                <a:gd name="T7" fmla="*/ 14 h 198"/>
                <a:gd name="T8" fmla="*/ 137 w 137"/>
                <a:gd name="T9" fmla="*/ 32 h 198"/>
                <a:gd name="T10" fmla="*/ 135 w 137"/>
                <a:gd name="T11" fmla="*/ 46 h 198"/>
                <a:gd name="T12" fmla="*/ 132 w 137"/>
                <a:gd name="T13" fmla="*/ 58 h 198"/>
                <a:gd name="T14" fmla="*/ 126 w 137"/>
                <a:gd name="T15" fmla="*/ 68 h 198"/>
                <a:gd name="T16" fmla="*/ 118 w 137"/>
                <a:gd name="T17" fmla="*/ 74 h 198"/>
                <a:gd name="T18" fmla="*/ 107 w 137"/>
                <a:gd name="T19" fmla="*/ 75 h 198"/>
                <a:gd name="T20" fmla="*/ 104 w 137"/>
                <a:gd name="T21" fmla="*/ 74 h 198"/>
                <a:gd name="T22" fmla="*/ 102 w 137"/>
                <a:gd name="T23" fmla="*/ 72 h 198"/>
                <a:gd name="T24" fmla="*/ 102 w 137"/>
                <a:gd name="T25" fmla="*/ 68 h 198"/>
                <a:gd name="T26" fmla="*/ 102 w 137"/>
                <a:gd name="T27" fmla="*/ 67 h 198"/>
                <a:gd name="T28" fmla="*/ 104 w 137"/>
                <a:gd name="T29" fmla="*/ 63 h 198"/>
                <a:gd name="T30" fmla="*/ 105 w 137"/>
                <a:gd name="T31" fmla="*/ 58 h 198"/>
                <a:gd name="T32" fmla="*/ 105 w 137"/>
                <a:gd name="T33" fmla="*/ 49 h 198"/>
                <a:gd name="T34" fmla="*/ 107 w 137"/>
                <a:gd name="T35" fmla="*/ 39 h 198"/>
                <a:gd name="T36" fmla="*/ 104 w 137"/>
                <a:gd name="T37" fmla="*/ 30 h 198"/>
                <a:gd name="T38" fmla="*/ 98 w 137"/>
                <a:gd name="T39" fmla="*/ 26 h 198"/>
                <a:gd name="T40" fmla="*/ 88 w 137"/>
                <a:gd name="T41" fmla="*/ 28 h 198"/>
                <a:gd name="T42" fmla="*/ 77 w 137"/>
                <a:gd name="T43" fmla="*/ 37 h 198"/>
                <a:gd name="T44" fmla="*/ 69 w 137"/>
                <a:gd name="T45" fmla="*/ 54 h 198"/>
                <a:gd name="T46" fmla="*/ 58 w 137"/>
                <a:gd name="T47" fmla="*/ 75 h 198"/>
                <a:gd name="T48" fmla="*/ 53 w 137"/>
                <a:gd name="T49" fmla="*/ 103 h 198"/>
                <a:gd name="T50" fmla="*/ 51 w 137"/>
                <a:gd name="T51" fmla="*/ 117 h 198"/>
                <a:gd name="T52" fmla="*/ 51 w 137"/>
                <a:gd name="T53" fmla="*/ 131 h 198"/>
                <a:gd name="T54" fmla="*/ 51 w 137"/>
                <a:gd name="T55" fmla="*/ 149 h 198"/>
                <a:gd name="T56" fmla="*/ 55 w 137"/>
                <a:gd name="T57" fmla="*/ 175 h 198"/>
                <a:gd name="T58" fmla="*/ 56 w 137"/>
                <a:gd name="T59" fmla="*/ 182 h 198"/>
                <a:gd name="T60" fmla="*/ 56 w 137"/>
                <a:gd name="T61" fmla="*/ 189 h 198"/>
                <a:gd name="T62" fmla="*/ 55 w 137"/>
                <a:gd name="T63" fmla="*/ 193 h 198"/>
                <a:gd name="T64" fmla="*/ 55 w 137"/>
                <a:gd name="T65" fmla="*/ 196 h 198"/>
                <a:gd name="T66" fmla="*/ 53 w 137"/>
                <a:gd name="T67" fmla="*/ 198 h 198"/>
                <a:gd name="T68" fmla="*/ 49 w 137"/>
                <a:gd name="T69" fmla="*/ 198 h 198"/>
                <a:gd name="T70" fmla="*/ 46 w 137"/>
                <a:gd name="T71" fmla="*/ 198 h 198"/>
                <a:gd name="T72" fmla="*/ 41 w 137"/>
                <a:gd name="T73" fmla="*/ 198 h 198"/>
                <a:gd name="T74" fmla="*/ 35 w 137"/>
                <a:gd name="T75" fmla="*/ 196 h 198"/>
                <a:gd name="T76" fmla="*/ 32 w 137"/>
                <a:gd name="T77" fmla="*/ 194 h 198"/>
                <a:gd name="T78" fmla="*/ 28 w 137"/>
                <a:gd name="T79" fmla="*/ 191 h 198"/>
                <a:gd name="T80" fmla="*/ 27 w 137"/>
                <a:gd name="T81" fmla="*/ 186 h 198"/>
                <a:gd name="T82" fmla="*/ 14 w 137"/>
                <a:gd name="T83" fmla="*/ 138 h 198"/>
                <a:gd name="T84" fmla="*/ 7 w 137"/>
                <a:gd name="T85" fmla="*/ 93 h 198"/>
                <a:gd name="T86" fmla="*/ 2 w 137"/>
                <a:gd name="T87" fmla="*/ 49 h 198"/>
                <a:gd name="T88" fmla="*/ 0 w 137"/>
                <a:gd name="T89" fmla="*/ 14 h 198"/>
                <a:gd name="T90" fmla="*/ 0 w 137"/>
                <a:gd name="T91" fmla="*/ 9 h 198"/>
                <a:gd name="T92" fmla="*/ 4 w 137"/>
                <a:gd name="T93" fmla="*/ 5 h 198"/>
                <a:gd name="T94" fmla="*/ 7 w 137"/>
                <a:gd name="T95" fmla="*/ 4 h 198"/>
                <a:gd name="T96" fmla="*/ 11 w 137"/>
                <a:gd name="T97" fmla="*/ 2 h 198"/>
                <a:gd name="T98" fmla="*/ 14 w 137"/>
                <a:gd name="T99" fmla="*/ 2 h 198"/>
                <a:gd name="T100" fmla="*/ 18 w 137"/>
                <a:gd name="T101" fmla="*/ 4 h 198"/>
                <a:gd name="T102" fmla="*/ 21 w 137"/>
                <a:gd name="T103" fmla="*/ 4 h 198"/>
                <a:gd name="T104" fmla="*/ 25 w 137"/>
                <a:gd name="T105" fmla="*/ 7 h 198"/>
                <a:gd name="T106" fmla="*/ 27 w 137"/>
                <a:gd name="T107" fmla="*/ 12 h 198"/>
                <a:gd name="T108" fmla="*/ 30 w 137"/>
                <a:gd name="T109" fmla="*/ 28 h 198"/>
                <a:gd name="T110" fmla="*/ 34 w 137"/>
                <a:gd name="T111" fmla="*/ 47 h 198"/>
                <a:gd name="T112" fmla="*/ 37 w 137"/>
                <a:gd name="T113" fmla="*/ 68 h 198"/>
                <a:gd name="T114" fmla="*/ 44 w 137"/>
                <a:gd name="T115" fmla="*/ 49 h 198"/>
                <a:gd name="T116" fmla="*/ 55 w 137"/>
                <a:gd name="T117" fmla="*/ 32 h 198"/>
                <a:gd name="T118" fmla="*/ 67 w 137"/>
                <a:gd name="T119" fmla="*/ 16 h 198"/>
                <a:gd name="T120" fmla="*/ 84 w 137"/>
                <a:gd name="T121" fmla="*/ 5 h 198"/>
                <a:gd name="T122" fmla="*/ 105 w 137"/>
                <a:gd name="T12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" h="198">
                  <a:moveTo>
                    <a:pt x="105" y="0"/>
                  </a:moveTo>
                  <a:lnTo>
                    <a:pt x="119" y="0"/>
                  </a:lnTo>
                  <a:lnTo>
                    <a:pt x="128" y="5"/>
                  </a:lnTo>
                  <a:lnTo>
                    <a:pt x="135" y="14"/>
                  </a:lnTo>
                  <a:lnTo>
                    <a:pt x="137" y="32"/>
                  </a:lnTo>
                  <a:lnTo>
                    <a:pt x="135" y="46"/>
                  </a:lnTo>
                  <a:lnTo>
                    <a:pt x="132" y="58"/>
                  </a:lnTo>
                  <a:lnTo>
                    <a:pt x="126" y="68"/>
                  </a:lnTo>
                  <a:lnTo>
                    <a:pt x="118" y="74"/>
                  </a:lnTo>
                  <a:lnTo>
                    <a:pt x="107" y="75"/>
                  </a:lnTo>
                  <a:lnTo>
                    <a:pt x="104" y="74"/>
                  </a:lnTo>
                  <a:lnTo>
                    <a:pt x="102" y="72"/>
                  </a:lnTo>
                  <a:lnTo>
                    <a:pt x="102" y="68"/>
                  </a:lnTo>
                  <a:lnTo>
                    <a:pt x="102" y="67"/>
                  </a:lnTo>
                  <a:lnTo>
                    <a:pt x="104" y="63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7" y="39"/>
                  </a:lnTo>
                  <a:lnTo>
                    <a:pt x="104" y="30"/>
                  </a:lnTo>
                  <a:lnTo>
                    <a:pt x="98" y="26"/>
                  </a:lnTo>
                  <a:lnTo>
                    <a:pt x="88" y="28"/>
                  </a:lnTo>
                  <a:lnTo>
                    <a:pt x="77" y="37"/>
                  </a:lnTo>
                  <a:lnTo>
                    <a:pt x="69" y="54"/>
                  </a:lnTo>
                  <a:lnTo>
                    <a:pt x="58" y="75"/>
                  </a:lnTo>
                  <a:lnTo>
                    <a:pt x="53" y="103"/>
                  </a:lnTo>
                  <a:lnTo>
                    <a:pt x="51" y="117"/>
                  </a:lnTo>
                  <a:lnTo>
                    <a:pt x="51" y="131"/>
                  </a:lnTo>
                  <a:lnTo>
                    <a:pt x="51" y="149"/>
                  </a:lnTo>
                  <a:lnTo>
                    <a:pt x="55" y="175"/>
                  </a:lnTo>
                  <a:lnTo>
                    <a:pt x="56" y="182"/>
                  </a:lnTo>
                  <a:lnTo>
                    <a:pt x="56" y="189"/>
                  </a:lnTo>
                  <a:lnTo>
                    <a:pt x="55" y="193"/>
                  </a:lnTo>
                  <a:lnTo>
                    <a:pt x="55" y="196"/>
                  </a:lnTo>
                  <a:lnTo>
                    <a:pt x="53" y="198"/>
                  </a:lnTo>
                  <a:lnTo>
                    <a:pt x="49" y="198"/>
                  </a:lnTo>
                  <a:lnTo>
                    <a:pt x="46" y="198"/>
                  </a:lnTo>
                  <a:lnTo>
                    <a:pt x="41" y="198"/>
                  </a:lnTo>
                  <a:lnTo>
                    <a:pt x="35" y="196"/>
                  </a:lnTo>
                  <a:lnTo>
                    <a:pt x="32" y="194"/>
                  </a:lnTo>
                  <a:lnTo>
                    <a:pt x="28" y="191"/>
                  </a:lnTo>
                  <a:lnTo>
                    <a:pt x="27" y="186"/>
                  </a:lnTo>
                  <a:lnTo>
                    <a:pt x="14" y="138"/>
                  </a:lnTo>
                  <a:lnTo>
                    <a:pt x="7" y="93"/>
                  </a:lnTo>
                  <a:lnTo>
                    <a:pt x="2" y="49"/>
                  </a:lnTo>
                  <a:lnTo>
                    <a:pt x="0" y="14"/>
                  </a:lnTo>
                  <a:lnTo>
                    <a:pt x="0" y="9"/>
                  </a:lnTo>
                  <a:lnTo>
                    <a:pt x="4" y="5"/>
                  </a:lnTo>
                  <a:lnTo>
                    <a:pt x="7" y="4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8" y="4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28"/>
                  </a:lnTo>
                  <a:lnTo>
                    <a:pt x="34" y="47"/>
                  </a:lnTo>
                  <a:lnTo>
                    <a:pt x="37" y="68"/>
                  </a:lnTo>
                  <a:lnTo>
                    <a:pt x="44" y="49"/>
                  </a:lnTo>
                  <a:lnTo>
                    <a:pt x="55" y="32"/>
                  </a:lnTo>
                  <a:lnTo>
                    <a:pt x="67" y="16"/>
                  </a:lnTo>
                  <a:lnTo>
                    <a:pt x="84" y="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59"/>
            <p:cNvSpPr>
              <a:spLocks noEditPoints="1"/>
            </p:cNvSpPr>
            <p:nvPr userDrawn="1"/>
          </p:nvSpPr>
          <p:spPr bwMode="auto">
            <a:xfrm>
              <a:off x="10059988" y="5268913"/>
              <a:ext cx="266700" cy="285750"/>
            </a:xfrm>
            <a:custGeom>
              <a:avLst/>
              <a:gdLst>
                <a:gd name="T0" fmla="*/ 110 w 168"/>
                <a:gd name="T1" fmla="*/ 26 h 180"/>
                <a:gd name="T2" fmla="*/ 84 w 168"/>
                <a:gd name="T3" fmla="*/ 42 h 180"/>
                <a:gd name="T4" fmla="*/ 59 w 168"/>
                <a:gd name="T5" fmla="*/ 68 h 180"/>
                <a:gd name="T6" fmla="*/ 51 w 168"/>
                <a:gd name="T7" fmla="*/ 87 h 180"/>
                <a:gd name="T8" fmla="*/ 86 w 168"/>
                <a:gd name="T9" fmla="*/ 80 h 180"/>
                <a:gd name="T10" fmla="*/ 124 w 168"/>
                <a:gd name="T11" fmla="*/ 59 h 180"/>
                <a:gd name="T12" fmla="*/ 138 w 168"/>
                <a:gd name="T13" fmla="*/ 35 h 180"/>
                <a:gd name="T14" fmla="*/ 124 w 168"/>
                <a:gd name="T15" fmla="*/ 22 h 180"/>
                <a:gd name="T16" fmla="*/ 134 w 168"/>
                <a:gd name="T17" fmla="*/ 1 h 180"/>
                <a:gd name="T18" fmla="*/ 162 w 168"/>
                <a:gd name="T19" fmla="*/ 22 h 180"/>
                <a:gd name="T20" fmla="*/ 164 w 168"/>
                <a:gd name="T21" fmla="*/ 57 h 180"/>
                <a:gd name="T22" fmla="*/ 136 w 168"/>
                <a:gd name="T23" fmla="*/ 87 h 180"/>
                <a:gd name="T24" fmla="*/ 91 w 168"/>
                <a:gd name="T25" fmla="*/ 108 h 180"/>
                <a:gd name="T26" fmla="*/ 51 w 168"/>
                <a:gd name="T27" fmla="*/ 115 h 180"/>
                <a:gd name="T28" fmla="*/ 59 w 168"/>
                <a:gd name="T29" fmla="*/ 138 h 180"/>
                <a:gd name="T30" fmla="*/ 93 w 168"/>
                <a:gd name="T31" fmla="*/ 155 h 180"/>
                <a:gd name="T32" fmla="*/ 138 w 168"/>
                <a:gd name="T33" fmla="*/ 150 h 180"/>
                <a:gd name="T34" fmla="*/ 148 w 168"/>
                <a:gd name="T35" fmla="*/ 147 h 180"/>
                <a:gd name="T36" fmla="*/ 155 w 168"/>
                <a:gd name="T37" fmla="*/ 148 h 180"/>
                <a:gd name="T38" fmla="*/ 157 w 168"/>
                <a:gd name="T39" fmla="*/ 154 h 180"/>
                <a:gd name="T40" fmla="*/ 154 w 168"/>
                <a:gd name="T41" fmla="*/ 162 h 180"/>
                <a:gd name="T42" fmla="*/ 147 w 168"/>
                <a:gd name="T43" fmla="*/ 171 h 180"/>
                <a:gd name="T44" fmla="*/ 117 w 168"/>
                <a:gd name="T45" fmla="*/ 180 h 180"/>
                <a:gd name="T46" fmla="*/ 66 w 168"/>
                <a:gd name="T47" fmla="*/ 175 h 180"/>
                <a:gd name="T48" fmla="*/ 28 w 168"/>
                <a:gd name="T49" fmla="*/ 145 h 180"/>
                <a:gd name="T50" fmla="*/ 19 w 168"/>
                <a:gd name="T51" fmla="*/ 112 h 180"/>
                <a:gd name="T52" fmla="*/ 5 w 168"/>
                <a:gd name="T53" fmla="*/ 105 h 180"/>
                <a:gd name="T54" fmla="*/ 0 w 168"/>
                <a:gd name="T55" fmla="*/ 98 h 180"/>
                <a:gd name="T56" fmla="*/ 2 w 168"/>
                <a:gd name="T57" fmla="*/ 91 h 180"/>
                <a:gd name="T58" fmla="*/ 9 w 168"/>
                <a:gd name="T59" fmla="*/ 84 h 180"/>
                <a:gd name="T60" fmla="*/ 23 w 168"/>
                <a:gd name="T61" fmla="*/ 80 h 180"/>
                <a:gd name="T62" fmla="*/ 51 w 168"/>
                <a:gd name="T63" fmla="*/ 35 h 180"/>
                <a:gd name="T64" fmla="*/ 91 w 168"/>
                <a:gd name="T65" fmla="*/ 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" h="180">
                  <a:moveTo>
                    <a:pt x="124" y="22"/>
                  </a:moveTo>
                  <a:lnTo>
                    <a:pt x="110" y="26"/>
                  </a:lnTo>
                  <a:lnTo>
                    <a:pt x="96" y="33"/>
                  </a:lnTo>
                  <a:lnTo>
                    <a:pt x="84" y="42"/>
                  </a:lnTo>
                  <a:lnTo>
                    <a:pt x="73" y="50"/>
                  </a:lnTo>
                  <a:lnTo>
                    <a:pt x="59" y="68"/>
                  </a:lnTo>
                  <a:lnTo>
                    <a:pt x="51" y="84"/>
                  </a:lnTo>
                  <a:lnTo>
                    <a:pt x="51" y="87"/>
                  </a:lnTo>
                  <a:lnTo>
                    <a:pt x="61" y="85"/>
                  </a:lnTo>
                  <a:lnTo>
                    <a:pt x="86" y="80"/>
                  </a:lnTo>
                  <a:lnTo>
                    <a:pt x="106" y="70"/>
                  </a:lnTo>
                  <a:lnTo>
                    <a:pt x="124" y="59"/>
                  </a:lnTo>
                  <a:lnTo>
                    <a:pt x="134" y="47"/>
                  </a:lnTo>
                  <a:lnTo>
                    <a:pt x="138" y="35"/>
                  </a:lnTo>
                  <a:lnTo>
                    <a:pt x="133" y="26"/>
                  </a:lnTo>
                  <a:lnTo>
                    <a:pt x="124" y="22"/>
                  </a:lnTo>
                  <a:close/>
                  <a:moveTo>
                    <a:pt x="113" y="0"/>
                  </a:moveTo>
                  <a:lnTo>
                    <a:pt x="134" y="1"/>
                  </a:lnTo>
                  <a:lnTo>
                    <a:pt x="154" y="10"/>
                  </a:lnTo>
                  <a:lnTo>
                    <a:pt x="162" y="22"/>
                  </a:lnTo>
                  <a:lnTo>
                    <a:pt x="168" y="38"/>
                  </a:lnTo>
                  <a:lnTo>
                    <a:pt x="164" y="57"/>
                  </a:lnTo>
                  <a:lnTo>
                    <a:pt x="154" y="71"/>
                  </a:lnTo>
                  <a:lnTo>
                    <a:pt x="136" y="87"/>
                  </a:lnTo>
                  <a:lnTo>
                    <a:pt x="115" y="99"/>
                  </a:lnTo>
                  <a:lnTo>
                    <a:pt x="91" y="108"/>
                  </a:lnTo>
                  <a:lnTo>
                    <a:pt x="68" y="113"/>
                  </a:lnTo>
                  <a:lnTo>
                    <a:pt x="51" y="115"/>
                  </a:lnTo>
                  <a:lnTo>
                    <a:pt x="51" y="122"/>
                  </a:lnTo>
                  <a:lnTo>
                    <a:pt x="59" y="138"/>
                  </a:lnTo>
                  <a:lnTo>
                    <a:pt x="73" y="148"/>
                  </a:lnTo>
                  <a:lnTo>
                    <a:pt x="93" y="155"/>
                  </a:lnTo>
                  <a:lnTo>
                    <a:pt x="113" y="155"/>
                  </a:lnTo>
                  <a:lnTo>
                    <a:pt x="138" y="150"/>
                  </a:lnTo>
                  <a:lnTo>
                    <a:pt x="143" y="148"/>
                  </a:lnTo>
                  <a:lnTo>
                    <a:pt x="148" y="147"/>
                  </a:lnTo>
                  <a:lnTo>
                    <a:pt x="152" y="147"/>
                  </a:lnTo>
                  <a:lnTo>
                    <a:pt x="155" y="148"/>
                  </a:lnTo>
                  <a:lnTo>
                    <a:pt x="157" y="150"/>
                  </a:lnTo>
                  <a:lnTo>
                    <a:pt x="157" y="154"/>
                  </a:lnTo>
                  <a:lnTo>
                    <a:pt x="157" y="159"/>
                  </a:lnTo>
                  <a:lnTo>
                    <a:pt x="154" y="162"/>
                  </a:lnTo>
                  <a:lnTo>
                    <a:pt x="152" y="168"/>
                  </a:lnTo>
                  <a:lnTo>
                    <a:pt x="147" y="171"/>
                  </a:lnTo>
                  <a:lnTo>
                    <a:pt x="143" y="173"/>
                  </a:lnTo>
                  <a:lnTo>
                    <a:pt x="117" y="180"/>
                  </a:lnTo>
                  <a:lnTo>
                    <a:pt x="91" y="180"/>
                  </a:lnTo>
                  <a:lnTo>
                    <a:pt x="66" y="175"/>
                  </a:lnTo>
                  <a:lnTo>
                    <a:pt x="45" y="162"/>
                  </a:lnTo>
                  <a:lnTo>
                    <a:pt x="28" y="145"/>
                  </a:lnTo>
                  <a:lnTo>
                    <a:pt x="21" y="126"/>
                  </a:lnTo>
                  <a:lnTo>
                    <a:pt x="19" y="112"/>
                  </a:lnTo>
                  <a:lnTo>
                    <a:pt x="10" y="110"/>
                  </a:lnTo>
                  <a:lnTo>
                    <a:pt x="5" y="105"/>
                  </a:lnTo>
                  <a:lnTo>
                    <a:pt x="2" y="101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2" y="91"/>
                  </a:lnTo>
                  <a:lnTo>
                    <a:pt x="3" y="87"/>
                  </a:lnTo>
                  <a:lnTo>
                    <a:pt x="9" y="84"/>
                  </a:lnTo>
                  <a:lnTo>
                    <a:pt x="21" y="85"/>
                  </a:lnTo>
                  <a:lnTo>
                    <a:pt x="23" y="80"/>
                  </a:lnTo>
                  <a:lnTo>
                    <a:pt x="33" y="57"/>
                  </a:lnTo>
                  <a:lnTo>
                    <a:pt x="51" y="35"/>
                  </a:lnTo>
                  <a:lnTo>
                    <a:pt x="70" y="19"/>
                  </a:lnTo>
                  <a:lnTo>
                    <a:pt x="91" y="7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9" name="Tekstvak 118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Titel dia - INTRO</a:t>
            </a:r>
          </a:p>
        </p:txBody>
      </p:sp>
      <p:grpSp>
        <p:nvGrpSpPr>
          <p:cNvPr id="112" name="Logo"/>
          <p:cNvGrpSpPr/>
          <p:nvPr userDrawn="1"/>
        </p:nvGrpSpPr>
        <p:grpSpPr>
          <a:xfrm>
            <a:off x="1327526" y="546049"/>
            <a:ext cx="6536301" cy="3461393"/>
            <a:chOff x="1327526" y="546049"/>
            <a:chExt cx="6536301" cy="3461393"/>
          </a:xfrm>
        </p:grpSpPr>
        <p:sp>
          <p:nvSpPr>
            <p:cNvPr id="116" name="Freeform 6"/>
            <p:cNvSpPr>
              <a:spLocks/>
            </p:cNvSpPr>
            <p:nvPr userDrawn="1"/>
          </p:nvSpPr>
          <p:spPr bwMode="auto">
            <a:xfrm>
              <a:off x="4264158" y="2817376"/>
              <a:ext cx="290149" cy="336619"/>
            </a:xfrm>
            <a:custGeom>
              <a:avLst/>
              <a:gdLst>
                <a:gd name="T0" fmla="*/ 131 w 256"/>
                <a:gd name="T1" fmla="*/ 0 h 297"/>
                <a:gd name="T2" fmla="*/ 163 w 256"/>
                <a:gd name="T3" fmla="*/ 3 h 297"/>
                <a:gd name="T4" fmla="*/ 191 w 256"/>
                <a:gd name="T5" fmla="*/ 14 h 297"/>
                <a:gd name="T6" fmla="*/ 212 w 256"/>
                <a:gd name="T7" fmla="*/ 28 h 297"/>
                <a:gd name="T8" fmla="*/ 231 w 256"/>
                <a:gd name="T9" fmla="*/ 47 h 297"/>
                <a:gd name="T10" fmla="*/ 243 w 256"/>
                <a:gd name="T11" fmla="*/ 70 h 297"/>
                <a:gd name="T12" fmla="*/ 252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3 w 256"/>
                <a:gd name="T21" fmla="*/ 297 h 297"/>
                <a:gd name="T22" fmla="*/ 173 w 256"/>
                <a:gd name="T23" fmla="*/ 140 h 297"/>
                <a:gd name="T24" fmla="*/ 173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1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1" y="0"/>
                  </a:moveTo>
                  <a:lnTo>
                    <a:pt x="163" y="3"/>
                  </a:lnTo>
                  <a:lnTo>
                    <a:pt x="191" y="14"/>
                  </a:lnTo>
                  <a:lnTo>
                    <a:pt x="212" y="28"/>
                  </a:lnTo>
                  <a:lnTo>
                    <a:pt x="231" y="47"/>
                  </a:lnTo>
                  <a:lnTo>
                    <a:pt x="243" y="70"/>
                  </a:lnTo>
                  <a:lnTo>
                    <a:pt x="252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7"/>
            <p:cNvSpPr>
              <a:spLocks/>
            </p:cNvSpPr>
            <p:nvPr userDrawn="1"/>
          </p:nvSpPr>
          <p:spPr bwMode="auto">
            <a:xfrm>
              <a:off x="6572888" y="2817376"/>
              <a:ext cx="290149" cy="336619"/>
            </a:xfrm>
            <a:custGeom>
              <a:avLst/>
              <a:gdLst>
                <a:gd name="T0" fmla="*/ 130 w 256"/>
                <a:gd name="T1" fmla="*/ 0 h 297"/>
                <a:gd name="T2" fmla="*/ 163 w 256"/>
                <a:gd name="T3" fmla="*/ 3 h 297"/>
                <a:gd name="T4" fmla="*/ 189 w 256"/>
                <a:gd name="T5" fmla="*/ 14 h 297"/>
                <a:gd name="T6" fmla="*/ 212 w 256"/>
                <a:gd name="T7" fmla="*/ 28 h 297"/>
                <a:gd name="T8" fmla="*/ 229 w 256"/>
                <a:gd name="T9" fmla="*/ 47 h 297"/>
                <a:gd name="T10" fmla="*/ 243 w 256"/>
                <a:gd name="T11" fmla="*/ 70 h 297"/>
                <a:gd name="T12" fmla="*/ 250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2 w 256"/>
                <a:gd name="T21" fmla="*/ 297 h 297"/>
                <a:gd name="T22" fmla="*/ 173 w 256"/>
                <a:gd name="T23" fmla="*/ 140 h 297"/>
                <a:gd name="T24" fmla="*/ 172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0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0" y="0"/>
                  </a:moveTo>
                  <a:lnTo>
                    <a:pt x="163" y="3"/>
                  </a:lnTo>
                  <a:lnTo>
                    <a:pt x="189" y="14"/>
                  </a:lnTo>
                  <a:lnTo>
                    <a:pt x="212" y="28"/>
                  </a:lnTo>
                  <a:lnTo>
                    <a:pt x="229" y="47"/>
                  </a:lnTo>
                  <a:lnTo>
                    <a:pt x="243" y="70"/>
                  </a:lnTo>
                  <a:lnTo>
                    <a:pt x="250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2" y="297"/>
                  </a:lnTo>
                  <a:lnTo>
                    <a:pt x="173" y="140"/>
                  </a:lnTo>
                  <a:lnTo>
                    <a:pt x="172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8"/>
            <p:cNvSpPr>
              <a:spLocks noEditPoints="1"/>
            </p:cNvSpPr>
            <p:nvPr userDrawn="1"/>
          </p:nvSpPr>
          <p:spPr bwMode="auto">
            <a:xfrm>
              <a:off x="3924138" y="2819643"/>
              <a:ext cx="286750" cy="338886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2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1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8 w 253"/>
                <a:gd name="T51" fmla="*/ 295 h 299"/>
                <a:gd name="T52" fmla="*/ 188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6 w 253"/>
                <a:gd name="T61" fmla="*/ 280 h 299"/>
                <a:gd name="T62" fmla="*/ 167 w 253"/>
                <a:gd name="T63" fmla="*/ 287 h 299"/>
                <a:gd name="T64" fmla="*/ 155 w 253"/>
                <a:gd name="T65" fmla="*/ 292 h 299"/>
                <a:gd name="T66" fmla="*/ 139 w 253"/>
                <a:gd name="T67" fmla="*/ 297 h 299"/>
                <a:gd name="T68" fmla="*/ 118 w 253"/>
                <a:gd name="T69" fmla="*/ 299 h 299"/>
                <a:gd name="T70" fmla="*/ 87 w 253"/>
                <a:gd name="T71" fmla="*/ 294 h 299"/>
                <a:gd name="T72" fmla="*/ 59 w 253"/>
                <a:gd name="T73" fmla="*/ 278 h 299"/>
                <a:gd name="T74" fmla="*/ 34 w 253"/>
                <a:gd name="T75" fmla="*/ 253 h 299"/>
                <a:gd name="T76" fmla="*/ 15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7 w 253"/>
                <a:gd name="T87" fmla="*/ 57 h 299"/>
                <a:gd name="T88" fmla="*/ 48 w 253"/>
                <a:gd name="T89" fmla="*/ 36 h 299"/>
                <a:gd name="T90" fmla="*/ 71 w 253"/>
                <a:gd name="T91" fmla="*/ 21 h 299"/>
                <a:gd name="T92" fmla="*/ 97 w 253"/>
                <a:gd name="T93" fmla="*/ 8 h 299"/>
                <a:gd name="T94" fmla="*/ 125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2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1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8" y="295"/>
                  </a:lnTo>
                  <a:lnTo>
                    <a:pt x="188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6" y="280"/>
                  </a:lnTo>
                  <a:lnTo>
                    <a:pt x="167" y="287"/>
                  </a:lnTo>
                  <a:lnTo>
                    <a:pt x="155" y="292"/>
                  </a:lnTo>
                  <a:lnTo>
                    <a:pt x="139" y="297"/>
                  </a:lnTo>
                  <a:lnTo>
                    <a:pt x="118" y="299"/>
                  </a:lnTo>
                  <a:lnTo>
                    <a:pt x="87" y="294"/>
                  </a:lnTo>
                  <a:lnTo>
                    <a:pt x="59" y="278"/>
                  </a:lnTo>
                  <a:lnTo>
                    <a:pt x="34" y="253"/>
                  </a:lnTo>
                  <a:lnTo>
                    <a:pt x="15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7" y="57"/>
                  </a:lnTo>
                  <a:lnTo>
                    <a:pt x="48" y="36"/>
                  </a:lnTo>
                  <a:lnTo>
                    <a:pt x="71" y="21"/>
                  </a:lnTo>
                  <a:lnTo>
                    <a:pt x="97" y="8"/>
                  </a:lnTo>
                  <a:lnTo>
                    <a:pt x="125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9"/>
            <p:cNvSpPr>
              <a:spLocks noEditPoints="1"/>
            </p:cNvSpPr>
            <p:nvPr userDrawn="1"/>
          </p:nvSpPr>
          <p:spPr bwMode="auto">
            <a:xfrm>
              <a:off x="5232079" y="2819643"/>
              <a:ext cx="286750" cy="338886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9 w 253"/>
                <a:gd name="T41" fmla="*/ 5 h 299"/>
                <a:gd name="T42" fmla="*/ 234 w 253"/>
                <a:gd name="T43" fmla="*/ 10 h 299"/>
                <a:gd name="T44" fmla="*/ 253 w 253"/>
                <a:gd name="T45" fmla="*/ 15 h 299"/>
                <a:gd name="T46" fmla="*/ 253 w 253"/>
                <a:gd name="T47" fmla="*/ 295 h 299"/>
                <a:gd name="T48" fmla="*/ 190 w 253"/>
                <a:gd name="T49" fmla="*/ 295 h 299"/>
                <a:gd name="T50" fmla="*/ 190 w 253"/>
                <a:gd name="T51" fmla="*/ 295 h 299"/>
                <a:gd name="T52" fmla="*/ 188 w 253"/>
                <a:gd name="T53" fmla="*/ 292 h 299"/>
                <a:gd name="T54" fmla="*/ 187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4 w 253"/>
                <a:gd name="T61" fmla="*/ 281 h 299"/>
                <a:gd name="T62" fmla="*/ 162 w 253"/>
                <a:gd name="T63" fmla="*/ 290 h 299"/>
                <a:gd name="T64" fmla="*/ 145 w 253"/>
                <a:gd name="T65" fmla="*/ 297 h 299"/>
                <a:gd name="T66" fmla="*/ 118 w 253"/>
                <a:gd name="T67" fmla="*/ 299 h 299"/>
                <a:gd name="T68" fmla="*/ 89 w 253"/>
                <a:gd name="T69" fmla="*/ 294 h 299"/>
                <a:gd name="T70" fmla="*/ 61 w 253"/>
                <a:gd name="T71" fmla="*/ 278 h 299"/>
                <a:gd name="T72" fmla="*/ 36 w 253"/>
                <a:gd name="T73" fmla="*/ 253 h 299"/>
                <a:gd name="T74" fmla="*/ 17 w 253"/>
                <a:gd name="T75" fmla="*/ 222 h 299"/>
                <a:gd name="T76" fmla="*/ 5 w 253"/>
                <a:gd name="T77" fmla="*/ 185 h 299"/>
                <a:gd name="T78" fmla="*/ 0 w 253"/>
                <a:gd name="T79" fmla="*/ 147 h 299"/>
                <a:gd name="T80" fmla="*/ 3 w 253"/>
                <a:gd name="T81" fmla="*/ 112 h 299"/>
                <a:gd name="T82" fmla="*/ 14 w 253"/>
                <a:gd name="T83" fmla="*/ 82 h 299"/>
                <a:gd name="T84" fmla="*/ 29 w 253"/>
                <a:gd name="T85" fmla="*/ 57 h 299"/>
                <a:gd name="T86" fmla="*/ 48 w 253"/>
                <a:gd name="T87" fmla="*/ 36 h 299"/>
                <a:gd name="T88" fmla="*/ 73 w 253"/>
                <a:gd name="T89" fmla="*/ 21 h 299"/>
                <a:gd name="T90" fmla="*/ 99 w 253"/>
                <a:gd name="T91" fmla="*/ 8 h 299"/>
                <a:gd name="T92" fmla="*/ 127 w 253"/>
                <a:gd name="T93" fmla="*/ 1 h 299"/>
                <a:gd name="T94" fmla="*/ 155 w 253"/>
                <a:gd name="T95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9" y="5"/>
                  </a:lnTo>
                  <a:lnTo>
                    <a:pt x="234" y="10"/>
                  </a:lnTo>
                  <a:lnTo>
                    <a:pt x="253" y="15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90" y="295"/>
                  </a:lnTo>
                  <a:lnTo>
                    <a:pt x="188" y="292"/>
                  </a:lnTo>
                  <a:lnTo>
                    <a:pt x="187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4" y="281"/>
                  </a:lnTo>
                  <a:lnTo>
                    <a:pt x="162" y="290"/>
                  </a:lnTo>
                  <a:lnTo>
                    <a:pt x="145" y="297"/>
                  </a:lnTo>
                  <a:lnTo>
                    <a:pt x="118" y="299"/>
                  </a:lnTo>
                  <a:lnTo>
                    <a:pt x="89" y="294"/>
                  </a:lnTo>
                  <a:lnTo>
                    <a:pt x="61" y="278"/>
                  </a:lnTo>
                  <a:lnTo>
                    <a:pt x="36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9" y="57"/>
                  </a:lnTo>
                  <a:lnTo>
                    <a:pt x="48" y="36"/>
                  </a:lnTo>
                  <a:lnTo>
                    <a:pt x="73" y="21"/>
                  </a:lnTo>
                  <a:lnTo>
                    <a:pt x="99" y="8"/>
                  </a:lnTo>
                  <a:lnTo>
                    <a:pt x="127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0"/>
            <p:cNvSpPr>
              <a:spLocks noEditPoints="1"/>
            </p:cNvSpPr>
            <p:nvPr userDrawn="1"/>
          </p:nvSpPr>
          <p:spPr bwMode="auto">
            <a:xfrm>
              <a:off x="6900439" y="2819643"/>
              <a:ext cx="286750" cy="338886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6 w 253"/>
                <a:gd name="T21" fmla="*/ 234 h 299"/>
                <a:gd name="T22" fmla="*/ 136 w 253"/>
                <a:gd name="T23" fmla="*/ 236 h 299"/>
                <a:gd name="T24" fmla="*/ 154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2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3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9 w 253"/>
                <a:gd name="T51" fmla="*/ 295 h 299"/>
                <a:gd name="T52" fmla="*/ 189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2 w 253"/>
                <a:gd name="T59" fmla="*/ 276 h 299"/>
                <a:gd name="T60" fmla="*/ 176 w 253"/>
                <a:gd name="T61" fmla="*/ 280 h 299"/>
                <a:gd name="T62" fmla="*/ 168 w 253"/>
                <a:gd name="T63" fmla="*/ 287 h 299"/>
                <a:gd name="T64" fmla="*/ 155 w 253"/>
                <a:gd name="T65" fmla="*/ 292 h 299"/>
                <a:gd name="T66" fmla="*/ 140 w 253"/>
                <a:gd name="T67" fmla="*/ 297 h 299"/>
                <a:gd name="T68" fmla="*/ 119 w 253"/>
                <a:gd name="T69" fmla="*/ 299 h 299"/>
                <a:gd name="T70" fmla="*/ 89 w 253"/>
                <a:gd name="T71" fmla="*/ 294 h 299"/>
                <a:gd name="T72" fmla="*/ 59 w 253"/>
                <a:gd name="T73" fmla="*/ 278 h 299"/>
                <a:gd name="T74" fmla="*/ 35 w 253"/>
                <a:gd name="T75" fmla="*/ 253 h 299"/>
                <a:gd name="T76" fmla="*/ 17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8 w 253"/>
                <a:gd name="T87" fmla="*/ 57 h 299"/>
                <a:gd name="T88" fmla="*/ 49 w 253"/>
                <a:gd name="T89" fmla="*/ 36 h 299"/>
                <a:gd name="T90" fmla="*/ 71 w 253"/>
                <a:gd name="T91" fmla="*/ 21 h 299"/>
                <a:gd name="T92" fmla="*/ 98 w 253"/>
                <a:gd name="T93" fmla="*/ 8 h 299"/>
                <a:gd name="T94" fmla="*/ 126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6" y="234"/>
                  </a:lnTo>
                  <a:lnTo>
                    <a:pt x="136" y="236"/>
                  </a:lnTo>
                  <a:lnTo>
                    <a:pt x="154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2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3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9" y="295"/>
                  </a:lnTo>
                  <a:lnTo>
                    <a:pt x="189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2" y="276"/>
                  </a:lnTo>
                  <a:lnTo>
                    <a:pt x="176" y="280"/>
                  </a:lnTo>
                  <a:lnTo>
                    <a:pt x="168" y="287"/>
                  </a:lnTo>
                  <a:lnTo>
                    <a:pt x="155" y="292"/>
                  </a:lnTo>
                  <a:lnTo>
                    <a:pt x="140" y="297"/>
                  </a:lnTo>
                  <a:lnTo>
                    <a:pt x="119" y="299"/>
                  </a:lnTo>
                  <a:lnTo>
                    <a:pt x="89" y="294"/>
                  </a:lnTo>
                  <a:lnTo>
                    <a:pt x="59" y="278"/>
                  </a:lnTo>
                  <a:lnTo>
                    <a:pt x="35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8" y="57"/>
                  </a:lnTo>
                  <a:lnTo>
                    <a:pt x="49" y="36"/>
                  </a:lnTo>
                  <a:lnTo>
                    <a:pt x="71" y="21"/>
                  </a:lnTo>
                  <a:lnTo>
                    <a:pt x="98" y="8"/>
                  </a:lnTo>
                  <a:lnTo>
                    <a:pt x="126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11"/>
            <p:cNvSpPr>
              <a:spLocks/>
            </p:cNvSpPr>
            <p:nvPr userDrawn="1"/>
          </p:nvSpPr>
          <p:spPr bwMode="auto">
            <a:xfrm>
              <a:off x="5572098" y="2817376"/>
              <a:ext cx="486228" cy="336619"/>
            </a:xfrm>
            <a:custGeom>
              <a:avLst/>
              <a:gdLst>
                <a:gd name="T0" fmla="*/ 131 w 429"/>
                <a:gd name="T1" fmla="*/ 0 h 297"/>
                <a:gd name="T2" fmla="*/ 161 w 429"/>
                <a:gd name="T3" fmla="*/ 3 h 297"/>
                <a:gd name="T4" fmla="*/ 186 w 429"/>
                <a:gd name="T5" fmla="*/ 10 h 297"/>
                <a:gd name="T6" fmla="*/ 207 w 429"/>
                <a:gd name="T7" fmla="*/ 23 h 297"/>
                <a:gd name="T8" fmla="*/ 235 w 429"/>
                <a:gd name="T9" fmla="*/ 12 h 297"/>
                <a:gd name="T10" fmla="*/ 268 w 429"/>
                <a:gd name="T11" fmla="*/ 3 h 297"/>
                <a:gd name="T12" fmla="*/ 304 w 429"/>
                <a:gd name="T13" fmla="*/ 0 h 297"/>
                <a:gd name="T14" fmla="*/ 336 w 429"/>
                <a:gd name="T15" fmla="*/ 3 h 297"/>
                <a:gd name="T16" fmla="*/ 364 w 429"/>
                <a:gd name="T17" fmla="*/ 14 h 297"/>
                <a:gd name="T18" fmla="*/ 385 w 429"/>
                <a:gd name="T19" fmla="*/ 28 h 297"/>
                <a:gd name="T20" fmla="*/ 404 w 429"/>
                <a:gd name="T21" fmla="*/ 47 h 297"/>
                <a:gd name="T22" fmla="*/ 416 w 429"/>
                <a:gd name="T23" fmla="*/ 70 h 297"/>
                <a:gd name="T24" fmla="*/ 425 w 429"/>
                <a:gd name="T25" fmla="*/ 98 h 297"/>
                <a:gd name="T26" fmla="*/ 427 w 429"/>
                <a:gd name="T27" fmla="*/ 122 h 297"/>
                <a:gd name="T28" fmla="*/ 429 w 429"/>
                <a:gd name="T29" fmla="*/ 156 h 297"/>
                <a:gd name="T30" fmla="*/ 429 w 429"/>
                <a:gd name="T31" fmla="*/ 297 h 297"/>
                <a:gd name="T32" fmla="*/ 346 w 429"/>
                <a:gd name="T33" fmla="*/ 297 h 297"/>
                <a:gd name="T34" fmla="*/ 346 w 429"/>
                <a:gd name="T35" fmla="*/ 140 h 297"/>
                <a:gd name="T36" fmla="*/ 346 w 429"/>
                <a:gd name="T37" fmla="*/ 119 h 297"/>
                <a:gd name="T38" fmla="*/ 345 w 429"/>
                <a:gd name="T39" fmla="*/ 100 h 297"/>
                <a:gd name="T40" fmla="*/ 339 w 429"/>
                <a:gd name="T41" fmla="*/ 84 h 297"/>
                <a:gd name="T42" fmla="*/ 329 w 429"/>
                <a:gd name="T43" fmla="*/ 73 h 297"/>
                <a:gd name="T44" fmla="*/ 315 w 429"/>
                <a:gd name="T45" fmla="*/ 66 h 297"/>
                <a:gd name="T46" fmla="*/ 296 w 429"/>
                <a:gd name="T47" fmla="*/ 63 h 297"/>
                <a:gd name="T48" fmla="*/ 280 w 429"/>
                <a:gd name="T49" fmla="*/ 65 h 297"/>
                <a:gd name="T50" fmla="*/ 263 w 429"/>
                <a:gd name="T51" fmla="*/ 68 h 297"/>
                <a:gd name="T52" fmla="*/ 247 w 429"/>
                <a:gd name="T53" fmla="*/ 75 h 297"/>
                <a:gd name="T54" fmla="*/ 249 w 429"/>
                <a:gd name="T55" fmla="*/ 80 h 297"/>
                <a:gd name="T56" fmla="*/ 252 w 429"/>
                <a:gd name="T57" fmla="*/ 94 h 297"/>
                <a:gd name="T58" fmla="*/ 256 w 429"/>
                <a:gd name="T59" fmla="*/ 114 h 297"/>
                <a:gd name="T60" fmla="*/ 257 w 429"/>
                <a:gd name="T61" fmla="*/ 138 h 297"/>
                <a:gd name="T62" fmla="*/ 257 w 429"/>
                <a:gd name="T63" fmla="*/ 297 h 297"/>
                <a:gd name="T64" fmla="*/ 173 w 429"/>
                <a:gd name="T65" fmla="*/ 297 h 297"/>
                <a:gd name="T66" fmla="*/ 173 w 429"/>
                <a:gd name="T67" fmla="*/ 140 h 297"/>
                <a:gd name="T68" fmla="*/ 173 w 429"/>
                <a:gd name="T69" fmla="*/ 117 h 297"/>
                <a:gd name="T70" fmla="*/ 170 w 429"/>
                <a:gd name="T71" fmla="*/ 98 h 297"/>
                <a:gd name="T72" fmla="*/ 165 w 429"/>
                <a:gd name="T73" fmla="*/ 84 h 297"/>
                <a:gd name="T74" fmla="*/ 156 w 429"/>
                <a:gd name="T75" fmla="*/ 72 h 297"/>
                <a:gd name="T76" fmla="*/ 142 w 429"/>
                <a:gd name="T77" fmla="*/ 66 h 297"/>
                <a:gd name="T78" fmla="*/ 123 w 429"/>
                <a:gd name="T79" fmla="*/ 63 h 297"/>
                <a:gd name="T80" fmla="*/ 103 w 429"/>
                <a:gd name="T81" fmla="*/ 65 h 297"/>
                <a:gd name="T82" fmla="*/ 84 w 429"/>
                <a:gd name="T83" fmla="*/ 70 h 297"/>
                <a:gd name="T84" fmla="*/ 84 w 429"/>
                <a:gd name="T85" fmla="*/ 297 h 297"/>
                <a:gd name="T86" fmla="*/ 0 w 429"/>
                <a:gd name="T87" fmla="*/ 297 h 297"/>
                <a:gd name="T88" fmla="*/ 0 w 429"/>
                <a:gd name="T89" fmla="*/ 26 h 297"/>
                <a:gd name="T90" fmla="*/ 39 w 429"/>
                <a:gd name="T91" fmla="*/ 14 h 297"/>
                <a:gd name="T92" fmla="*/ 84 w 429"/>
                <a:gd name="T93" fmla="*/ 5 h 297"/>
                <a:gd name="T94" fmla="*/ 131 w 429"/>
                <a:gd name="T95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9" h="297">
                  <a:moveTo>
                    <a:pt x="131" y="0"/>
                  </a:moveTo>
                  <a:lnTo>
                    <a:pt x="161" y="3"/>
                  </a:lnTo>
                  <a:lnTo>
                    <a:pt x="186" y="10"/>
                  </a:lnTo>
                  <a:lnTo>
                    <a:pt x="207" y="23"/>
                  </a:lnTo>
                  <a:lnTo>
                    <a:pt x="235" y="12"/>
                  </a:lnTo>
                  <a:lnTo>
                    <a:pt x="268" y="3"/>
                  </a:lnTo>
                  <a:lnTo>
                    <a:pt x="304" y="0"/>
                  </a:lnTo>
                  <a:lnTo>
                    <a:pt x="336" y="3"/>
                  </a:lnTo>
                  <a:lnTo>
                    <a:pt x="364" y="14"/>
                  </a:lnTo>
                  <a:lnTo>
                    <a:pt x="385" y="28"/>
                  </a:lnTo>
                  <a:lnTo>
                    <a:pt x="404" y="47"/>
                  </a:lnTo>
                  <a:lnTo>
                    <a:pt x="416" y="70"/>
                  </a:lnTo>
                  <a:lnTo>
                    <a:pt x="425" y="98"/>
                  </a:lnTo>
                  <a:lnTo>
                    <a:pt x="427" y="122"/>
                  </a:lnTo>
                  <a:lnTo>
                    <a:pt x="429" y="156"/>
                  </a:lnTo>
                  <a:lnTo>
                    <a:pt x="429" y="297"/>
                  </a:lnTo>
                  <a:lnTo>
                    <a:pt x="346" y="297"/>
                  </a:lnTo>
                  <a:lnTo>
                    <a:pt x="346" y="140"/>
                  </a:lnTo>
                  <a:lnTo>
                    <a:pt x="346" y="119"/>
                  </a:lnTo>
                  <a:lnTo>
                    <a:pt x="345" y="100"/>
                  </a:lnTo>
                  <a:lnTo>
                    <a:pt x="339" y="84"/>
                  </a:lnTo>
                  <a:lnTo>
                    <a:pt x="329" y="73"/>
                  </a:lnTo>
                  <a:lnTo>
                    <a:pt x="315" y="66"/>
                  </a:lnTo>
                  <a:lnTo>
                    <a:pt x="296" y="63"/>
                  </a:lnTo>
                  <a:lnTo>
                    <a:pt x="280" y="65"/>
                  </a:lnTo>
                  <a:lnTo>
                    <a:pt x="263" y="68"/>
                  </a:lnTo>
                  <a:lnTo>
                    <a:pt x="247" y="75"/>
                  </a:lnTo>
                  <a:lnTo>
                    <a:pt x="249" y="80"/>
                  </a:lnTo>
                  <a:lnTo>
                    <a:pt x="252" y="94"/>
                  </a:lnTo>
                  <a:lnTo>
                    <a:pt x="256" y="114"/>
                  </a:lnTo>
                  <a:lnTo>
                    <a:pt x="257" y="138"/>
                  </a:lnTo>
                  <a:lnTo>
                    <a:pt x="257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7"/>
                  </a:lnTo>
                  <a:lnTo>
                    <a:pt x="170" y="98"/>
                  </a:lnTo>
                  <a:lnTo>
                    <a:pt x="165" y="84"/>
                  </a:lnTo>
                  <a:lnTo>
                    <a:pt x="156" y="72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4" y="70"/>
                  </a:lnTo>
                  <a:lnTo>
                    <a:pt x="84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39" y="14"/>
                  </a:lnTo>
                  <a:lnTo>
                    <a:pt x="84" y="5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12"/>
            <p:cNvSpPr>
              <a:spLocks noEditPoints="1"/>
            </p:cNvSpPr>
            <p:nvPr userDrawn="1"/>
          </p:nvSpPr>
          <p:spPr bwMode="auto">
            <a:xfrm>
              <a:off x="6103661" y="2819643"/>
              <a:ext cx="283349" cy="489627"/>
            </a:xfrm>
            <a:custGeom>
              <a:avLst/>
              <a:gdLst>
                <a:gd name="T0" fmla="*/ 105 w 250"/>
                <a:gd name="T1" fmla="*/ 61 h 432"/>
                <a:gd name="T2" fmla="*/ 96 w 250"/>
                <a:gd name="T3" fmla="*/ 61 h 432"/>
                <a:gd name="T4" fmla="*/ 89 w 250"/>
                <a:gd name="T5" fmla="*/ 61 h 432"/>
                <a:gd name="T6" fmla="*/ 82 w 250"/>
                <a:gd name="T7" fmla="*/ 61 h 432"/>
                <a:gd name="T8" fmla="*/ 82 w 250"/>
                <a:gd name="T9" fmla="*/ 234 h 432"/>
                <a:gd name="T10" fmla="*/ 87 w 250"/>
                <a:gd name="T11" fmla="*/ 238 h 432"/>
                <a:gd name="T12" fmla="*/ 96 w 250"/>
                <a:gd name="T13" fmla="*/ 239 h 432"/>
                <a:gd name="T14" fmla="*/ 108 w 250"/>
                <a:gd name="T15" fmla="*/ 239 h 432"/>
                <a:gd name="T16" fmla="*/ 122 w 250"/>
                <a:gd name="T17" fmla="*/ 238 h 432"/>
                <a:gd name="T18" fmla="*/ 136 w 250"/>
                <a:gd name="T19" fmla="*/ 232 h 432"/>
                <a:gd name="T20" fmla="*/ 148 w 250"/>
                <a:gd name="T21" fmla="*/ 222 h 432"/>
                <a:gd name="T22" fmla="*/ 159 w 250"/>
                <a:gd name="T23" fmla="*/ 203 h 432"/>
                <a:gd name="T24" fmla="*/ 166 w 250"/>
                <a:gd name="T25" fmla="*/ 178 h 432"/>
                <a:gd name="T26" fmla="*/ 168 w 250"/>
                <a:gd name="T27" fmla="*/ 143 h 432"/>
                <a:gd name="T28" fmla="*/ 162 w 250"/>
                <a:gd name="T29" fmla="*/ 115 h 432"/>
                <a:gd name="T30" fmla="*/ 152 w 250"/>
                <a:gd name="T31" fmla="*/ 92 h 432"/>
                <a:gd name="T32" fmla="*/ 138 w 250"/>
                <a:gd name="T33" fmla="*/ 75 h 432"/>
                <a:gd name="T34" fmla="*/ 122 w 250"/>
                <a:gd name="T35" fmla="*/ 64 h 432"/>
                <a:gd name="T36" fmla="*/ 105 w 250"/>
                <a:gd name="T37" fmla="*/ 61 h 432"/>
                <a:gd name="T38" fmla="*/ 98 w 250"/>
                <a:gd name="T39" fmla="*/ 0 h 432"/>
                <a:gd name="T40" fmla="*/ 122 w 250"/>
                <a:gd name="T41" fmla="*/ 1 h 432"/>
                <a:gd name="T42" fmla="*/ 147 w 250"/>
                <a:gd name="T43" fmla="*/ 7 h 432"/>
                <a:gd name="T44" fmla="*/ 171 w 250"/>
                <a:gd name="T45" fmla="*/ 15 h 432"/>
                <a:gd name="T46" fmla="*/ 194 w 250"/>
                <a:gd name="T47" fmla="*/ 28 h 432"/>
                <a:gd name="T48" fmla="*/ 213 w 250"/>
                <a:gd name="T49" fmla="*/ 45 h 432"/>
                <a:gd name="T50" fmla="*/ 229 w 250"/>
                <a:gd name="T51" fmla="*/ 66 h 432"/>
                <a:gd name="T52" fmla="*/ 241 w 250"/>
                <a:gd name="T53" fmla="*/ 91 h 432"/>
                <a:gd name="T54" fmla="*/ 248 w 250"/>
                <a:gd name="T55" fmla="*/ 120 h 432"/>
                <a:gd name="T56" fmla="*/ 250 w 250"/>
                <a:gd name="T57" fmla="*/ 155 h 432"/>
                <a:gd name="T58" fmla="*/ 246 w 250"/>
                <a:gd name="T59" fmla="*/ 194 h 432"/>
                <a:gd name="T60" fmla="*/ 238 w 250"/>
                <a:gd name="T61" fmla="*/ 222 h 432"/>
                <a:gd name="T62" fmla="*/ 224 w 250"/>
                <a:gd name="T63" fmla="*/ 248 h 432"/>
                <a:gd name="T64" fmla="*/ 206 w 250"/>
                <a:gd name="T65" fmla="*/ 269 h 432"/>
                <a:gd name="T66" fmla="*/ 185 w 250"/>
                <a:gd name="T67" fmla="*/ 285 h 432"/>
                <a:gd name="T68" fmla="*/ 159 w 250"/>
                <a:gd name="T69" fmla="*/ 295 h 432"/>
                <a:gd name="T70" fmla="*/ 129 w 250"/>
                <a:gd name="T71" fmla="*/ 299 h 432"/>
                <a:gd name="T72" fmla="*/ 112 w 250"/>
                <a:gd name="T73" fmla="*/ 297 h 432"/>
                <a:gd name="T74" fmla="*/ 94 w 250"/>
                <a:gd name="T75" fmla="*/ 294 h 432"/>
                <a:gd name="T76" fmla="*/ 82 w 250"/>
                <a:gd name="T77" fmla="*/ 290 h 432"/>
                <a:gd name="T78" fmla="*/ 82 w 250"/>
                <a:gd name="T79" fmla="*/ 432 h 432"/>
                <a:gd name="T80" fmla="*/ 0 w 250"/>
                <a:gd name="T81" fmla="*/ 432 h 432"/>
                <a:gd name="T82" fmla="*/ 0 w 250"/>
                <a:gd name="T83" fmla="*/ 12 h 432"/>
                <a:gd name="T84" fmla="*/ 28 w 250"/>
                <a:gd name="T85" fmla="*/ 5 h 432"/>
                <a:gd name="T86" fmla="*/ 61 w 250"/>
                <a:gd name="T87" fmla="*/ 1 h 432"/>
                <a:gd name="T88" fmla="*/ 98 w 250"/>
                <a:gd name="T89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0" h="432">
                  <a:moveTo>
                    <a:pt x="105" y="61"/>
                  </a:moveTo>
                  <a:lnTo>
                    <a:pt x="96" y="61"/>
                  </a:lnTo>
                  <a:lnTo>
                    <a:pt x="89" y="61"/>
                  </a:lnTo>
                  <a:lnTo>
                    <a:pt x="82" y="61"/>
                  </a:lnTo>
                  <a:lnTo>
                    <a:pt x="82" y="234"/>
                  </a:lnTo>
                  <a:lnTo>
                    <a:pt x="87" y="238"/>
                  </a:lnTo>
                  <a:lnTo>
                    <a:pt x="96" y="239"/>
                  </a:lnTo>
                  <a:lnTo>
                    <a:pt x="108" y="239"/>
                  </a:lnTo>
                  <a:lnTo>
                    <a:pt x="122" y="238"/>
                  </a:lnTo>
                  <a:lnTo>
                    <a:pt x="136" y="232"/>
                  </a:lnTo>
                  <a:lnTo>
                    <a:pt x="148" y="222"/>
                  </a:lnTo>
                  <a:lnTo>
                    <a:pt x="159" y="203"/>
                  </a:lnTo>
                  <a:lnTo>
                    <a:pt x="166" y="178"/>
                  </a:lnTo>
                  <a:lnTo>
                    <a:pt x="168" y="143"/>
                  </a:lnTo>
                  <a:lnTo>
                    <a:pt x="162" y="115"/>
                  </a:lnTo>
                  <a:lnTo>
                    <a:pt x="152" y="92"/>
                  </a:lnTo>
                  <a:lnTo>
                    <a:pt x="138" y="75"/>
                  </a:lnTo>
                  <a:lnTo>
                    <a:pt x="122" y="64"/>
                  </a:lnTo>
                  <a:lnTo>
                    <a:pt x="105" y="61"/>
                  </a:lnTo>
                  <a:close/>
                  <a:moveTo>
                    <a:pt x="98" y="0"/>
                  </a:moveTo>
                  <a:lnTo>
                    <a:pt x="122" y="1"/>
                  </a:lnTo>
                  <a:lnTo>
                    <a:pt x="147" y="7"/>
                  </a:lnTo>
                  <a:lnTo>
                    <a:pt x="171" y="15"/>
                  </a:lnTo>
                  <a:lnTo>
                    <a:pt x="194" y="28"/>
                  </a:lnTo>
                  <a:lnTo>
                    <a:pt x="213" y="45"/>
                  </a:lnTo>
                  <a:lnTo>
                    <a:pt x="229" y="66"/>
                  </a:lnTo>
                  <a:lnTo>
                    <a:pt x="241" y="91"/>
                  </a:lnTo>
                  <a:lnTo>
                    <a:pt x="248" y="120"/>
                  </a:lnTo>
                  <a:lnTo>
                    <a:pt x="250" y="155"/>
                  </a:lnTo>
                  <a:lnTo>
                    <a:pt x="246" y="194"/>
                  </a:lnTo>
                  <a:lnTo>
                    <a:pt x="238" y="222"/>
                  </a:lnTo>
                  <a:lnTo>
                    <a:pt x="224" y="248"/>
                  </a:lnTo>
                  <a:lnTo>
                    <a:pt x="206" y="269"/>
                  </a:lnTo>
                  <a:lnTo>
                    <a:pt x="185" y="285"/>
                  </a:lnTo>
                  <a:lnTo>
                    <a:pt x="159" y="295"/>
                  </a:lnTo>
                  <a:lnTo>
                    <a:pt x="129" y="299"/>
                  </a:lnTo>
                  <a:lnTo>
                    <a:pt x="112" y="297"/>
                  </a:lnTo>
                  <a:lnTo>
                    <a:pt x="94" y="294"/>
                  </a:lnTo>
                  <a:lnTo>
                    <a:pt x="82" y="290"/>
                  </a:lnTo>
                  <a:lnTo>
                    <a:pt x="82" y="432"/>
                  </a:lnTo>
                  <a:lnTo>
                    <a:pt x="0" y="432"/>
                  </a:lnTo>
                  <a:lnTo>
                    <a:pt x="0" y="12"/>
                  </a:lnTo>
                  <a:lnTo>
                    <a:pt x="28" y="5"/>
                  </a:lnTo>
                  <a:lnTo>
                    <a:pt x="61" y="1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13"/>
            <p:cNvSpPr>
              <a:spLocks/>
            </p:cNvSpPr>
            <p:nvPr userDrawn="1"/>
          </p:nvSpPr>
          <p:spPr bwMode="auto">
            <a:xfrm>
              <a:off x="3522917" y="2817376"/>
              <a:ext cx="222146" cy="346819"/>
            </a:xfrm>
            <a:custGeom>
              <a:avLst/>
              <a:gdLst>
                <a:gd name="T0" fmla="*/ 91 w 196"/>
                <a:gd name="T1" fmla="*/ 0 h 306"/>
                <a:gd name="T2" fmla="*/ 110 w 196"/>
                <a:gd name="T3" fmla="*/ 2 h 306"/>
                <a:gd name="T4" fmla="*/ 128 w 196"/>
                <a:gd name="T5" fmla="*/ 3 h 306"/>
                <a:gd name="T6" fmla="*/ 145 w 196"/>
                <a:gd name="T7" fmla="*/ 9 h 306"/>
                <a:gd name="T8" fmla="*/ 168 w 196"/>
                <a:gd name="T9" fmla="*/ 17 h 306"/>
                <a:gd name="T10" fmla="*/ 168 w 196"/>
                <a:gd name="T11" fmla="*/ 79 h 306"/>
                <a:gd name="T12" fmla="*/ 149 w 196"/>
                <a:gd name="T13" fmla="*/ 68 h 306"/>
                <a:gd name="T14" fmla="*/ 131 w 196"/>
                <a:gd name="T15" fmla="*/ 61 h 306"/>
                <a:gd name="T16" fmla="*/ 117 w 196"/>
                <a:gd name="T17" fmla="*/ 58 h 306"/>
                <a:gd name="T18" fmla="*/ 102 w 196"/>
                <a:gd name="T19" fmla="*/ 56 h 306"/>
                <a:gd name="T20" fmla="*/ 89 w 196"/>
                <a:gd name="T21" fmla="*/ 59 h 306"/>
                <a:gd name="T22" fmla="*/ 81 w 196"/>
                <a:gd name="T23" fmla="*/ 65 h 306"/>
                <a:gd name="T24" fmla="*/ 76 w 196"/>
                <a:gd name="T25" fmla="*/ 72 h 306"/>
                <a:gd name="T26" fmla="*/ 74 w 196"/>
                <a:gd name="T27" fmla="*/ 80 h 306"/>
                <a:gd name="T28" fmla="*/ 74 w 196"/>
                <a:gd name="T29" fmla="*/ 87 h 306"/>
                <a:gd name="T30" fmla="*/ 83 w 196"/>
                <a:gd name="T31" fmla="*/ 100 h 306"/>
                <a:gd name="T32" fmla="*/ 100 w 196"/>
                <a:gd name="T33" fmla="*/ 112 h 306"/>
                <a:gd name="T34" fmla="*/ 128 w 196"/>
                <a:gd name="T35" fmla="*/ 128 h 306"/>
                <a:gd name="T36" fmla="*/ 151 w 196"/>
                <a:gd name="T37" fmla="*/ 142 h 306"/>
                <a:gd name="T38" fmla="*/ 170 w 196"/>
                <a:gd name="T39" fmla="*/ 157 h 306"/>
                <a:gd name="T40" fmla="*/ 184 w 196"/>
                <a:gd name="T41" fmla="*/ 178 h 306"/>
                <a:gd name="T42" fmla="*/ 194 w 196"/>
                <a:gd name="T43" fmla="*/ 205 h 306"/>
                <a:gd name="T44" fmla="*/ 196 w 196"/>
                <a:gd name="T45" fmla="*/ 233 h 306"/>
                <a:gd name="T46" fmla="*/ 191 w 196"/>
                <a:gd name="T47" fmla="*/ 255 h 306"/>
                <a:gd name="T48" fmla="*/ 179 w 196"/>
                <a:gd name="T49" fmla="*/ 275 h 306"/>
                <a:gd name="T50" fmla="*/ 161 w 196"/>
                <a:gd name="T51" fmla="*/ 289 h 306"/>
                <a:gd name="T52" fmla="*/ 138 w 196"/>
                <a:gd name="T53" fmla="*/ 299 h 306"/>
                <a:gd name="T54" fmla="*/ 112 w 196"/>
                <a:gd name="T55" fmla="*/ 304 h 306"/>
                <a:gd name="T56" fmla="*/ 83 w 196"/>
                <a:gd name="T57" fmla="*/ 306 h 306"/>
                <a:gd name="T58" fmla="*/ 55 w 196"/>
                <a:gd name="T59" fmla="*/ 304 h 306"/>
                <a:gd name="T60" fmla="*/ 30 w 196"/>
                <a:gd name="T61" fmla="*/ 299 h 306"/>
                <a:gd name="T62" fmla="*/ 7 w 196"/>
                <a:gd name="T63" fmla="*/ 292 h 306"/>
                <a:gd name="T64" fmla="*/ 7 w 196"/>
                <a:gd name="T65" fmla="*/ 229 h 306"/>
                <a:gd name="T66" fmla="*/ 30 w 196"/>
                <a:gd name="T67" fmla="*/ 240 h 306"/>
                <a:gd name="T68" fmla="*/ 51 w 196"/>
                <a:gd name="T69" fmla="*/ 248 h 306"/>
                <a:gd name="T70" fmla="*/ 74 w 196"/>
                <a:gd name="T71" fmla="*/ 254 h 306"/>
                <a:gd name="T72" fmla="*/ 93 w 196"/>
                <a:gd name="T73" fmla="*/ 250 h 306"/>
                <a:gd name="T74" fmla="*/ 107 w 196"/>
                <a:gd name="T75" fmla="*/ 245 h 306"/>
                <a:gd name="T76" fmla="*/ 114 w 196"/>
                <a:gd name="T77" fmla="*/ 236 h 306"/>
                <a:gd name="T78" fmla="*/ 117 w 196"/>
                <a:gd name="T79" fmla="*/ 226 h 306"/>
                <a:gd name="T80" fmla="*/ 117 w 196"/>
                <a:gd name="T81" fmla="*/ 215 h 306"/>
                <a:gd name="T82" fmla="*/ 109 w 196"/>
                <a:gd name="T83" fmla="*/ 201 h 306"/>
                <a:gd name="T84" fmla="*/ 95 w 196"/>
                <a:gd name="T85" fmla="*/ 187 h 306"/>
                <a:gd name="T86" fmla="*/ 76 w 196"/>
                <a:gd name="T87" fmla="*/ 175 h 306"/>
                <a:gd name="T88" fmla="*/ 55 w 196"/>
                <a:gd name="T89" fmla="*/ 161 h 306"/>
                <a:gd name="T90" fmla="*/ 37 w 196"/>
                <a:gd name="T91" fmla="*/ 149 h 306"/>
                <a:gd name="T92" fmla="*/ 21 w 196"/>
                <a:gd name="T93" fmla="*/ 133 h 306"/>
                <a:gd name="T94" fmla="*/ 9 w 196"/>
                <a:gd name="T95" fmla="*/ 115 h 306"/>
                <a:gd name="T96" fmla="*/ 2 w 196"/>
                <a:gd name="T97" fmla="*/ 93 h 306"/>
                <a:gd name="T98" fmla="*/ 0 w 196"/>
                <a:gd name="T99" fmla="*/ 68 h 306"/>
                <a:gd name="T100" fmla="*/ 6 w 196"/>
                <a:gd name="T101" fmla="*/ 47 h 306"/>
                <a:gd name="T102" fmla="*/ 14 w 196"/>
                <a:gd name="T103" fmla="*/ 30 h 306"/>
                <a:gd name="T104" fmla="*/ 30 w 196"/>
                <a:gd name="T105" fmla="*/ 17 h 306"/>
                <a:gd name="T106" fmla="*/ 48 w 196"/>
                <a:gd name="T107" fmla="*/ 9 h 306"/>
                <a:gd name="T108" fmla="*/ 69 w 196"/>
                <a:gd name="T109" fmla="*/ 2 h 306"/>
                <a:gd name="T110" fmla="*/ 91 w 196"/>
                <a:gd name="T111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6" h="306">
                  <a:moveTo>
                    <a:pt x="91" y="0"/>
                  </a:moveTo>
                  <a:lnTo>
                    <a:pt x="110" y="2"/>
                  </a:lnTo>
                  <a:lnTo>
                    <a:pt x="128" y="3"/>
                  </a:lnTo>
                  <a:lnTo>
                    <a:pt x="145" y="9"/>
                  </a:lnTo>
                  <a:lnTo>
                    <a:pt x="168" y="17"/>
                  </a:lnTo>
                  <a:lnTo>
                    <a:pt x="168" y="79"/>
                  </a:lnTo>
                  <a:lnTo>
                    <a:pt x="149" y="68"/>
                  </a:lnTo>
                  <a:lnTo>
                    <a:pt x="131" y="61"/>
                  </a:lnTo>
                  <a:lnTo>
                    <a:pt x="117" y="58"/>
                  </a:lnTo>
                  <a:lnTo>
                    <a:pt x="102" y="56"/>
                  </a:lnTo>
                  <a:lnTo>
                    <a:pt x="89" y="59"/>
                  </a:lnTo>
                  <a:lnTo>
                    <a:pt x="81" y="65"/>
                  </a:lnTo>
                  <a:lnTo>
                    <a:pt x="76" y="72"/>
                  </a:lnTo>
                  <a:lnTo>
                    <a:pt x="74" y="80"/>
                  </a:lnTo>
                  <a:lnTo>
                    <a:pt x="74" y="87"/>
                  </a:lnTo>
                  <a:lnTo>
                    <a:pt x="83" y="100"/>
                  </a:lnTo>
                  <a:lnTo>
                    <a:pt x="100" y="112"/>
                  </a:lnTo>
                  <a:lnTo>
                    <a:pt x="128" y="128"/>
                  </a:lnTo>
                  <a:lnTo>
                    <a:pt x="151" y="142"/>
                  </a:lnTo>
                  <a:lnTo>
                    <a:pt x="170" y="157"/>
                  </a:lnTo>
                  <a:lnTo>
                    <a:pt x="184" y="178"/>
                  </a:lnTo>
                  <a:lnTo>
                    <a:pt x="194" y="205"/>
                  </a:lnTo>
                  <a:lnTo>
                    <a:pt x="196" y="233"/>
                  </a:lnTo>
                  <a:lnTo>
                    <a:pt x="191" y="255"/>
                  </a:lnTo>
                  <a:lnTo>
                    <a:pt x="179" y="275"/>
                  </a:lnTo>
                  <a:lnTo>
                    <a:pt x="161" y="289"/>
                  </a:lnTo>
                  <a:lnTo>
                    <a:pt x="138" y="299"/>
                  </a:lnTo>
                  <a:lnTo>
                    <a:pt x="112" y="304"/>
                  </a:lnTo>
                  <a:lnTo>
                    <a:pt x="83" y="306"/>
                  </a:lnTo>
                  <a:lnTo>
                    <a:pt x="55" y="304"/>
                  </a:lnTo>
                  <a:lnTo>
                    <a:pt x="30" y="299"/>
                  </a:lnTo>
                  <a:lnTo>
                    <a:pt x="7" y="292"/>
                  </a:lnTo>
                  <a:lnTo>
                    <a:pt x="7" y="229"/>
                  </a:lnTo>
                  <a:lnTo>
                    <a:pt x="30" y="240"/>
                  </a:lnTo>
                  <a:lnTo>
                    <a:pt x="51" y="248"/>
                  </a:lnTo>
                  <a:lnTo>
                    <a:pt x="74" y="254"/>
                  </a:lnTo>
                  <a:lnTo>
                    <a:pt x="93" y="250"/>
                  </a:lnTo>
                  <a:lnTo>
                    <a:pt x="107" y="245"/>
                  </a:lnTo>
                  <a:lnTo>
                    <a:pt x="114" y="236"/>
                  </a:lnTo>
                  <a:lnTo>
                    <a:pt x="117" y="226"/>
                  </a:lnTo>
                  <a:lnTo>
                    <a:pt x="117" y="215"/>
                  </a:lnTo>
                  <a:lnTo>
                    <a:pt x="109" y="201"/>
                  </a:lnTo>
                  <a:lnTo>
                    <a:pt x="95" y="187"/>
                  </a:lnTo>
                  <a:lnTo>
                    <a:pt x="76" y="175"/>
                  </a:lnTo>
                  <a:lnTo>
                    <a:pt x="55" y="161"/>
                  </a:lnTo>
                  <a:lnTo>
                    <a:pt x="37" y="149"/>
                  </a:lnTo>
                  <a:lnTo>
                    <a:pt x="21" y="133"/>
                  </a:lnTo>
                  <a:lnTo>
                    <a:pt x="9" y="115"/>
                  </a:lnTo>
                  <a:lnTo>
                    <a:pt x="2" y="93"/>
                  </a:lnTo>
                  <a:lnTo>
                    <a:pt x="0" y="68"/>
                  </a:lnTo>
                  <a:lnTo>
                    <a:pt x="6" y="47"/>
                  </a:lnTo>
                  <a:lnTo>
                    <a:pt x="14" y="30"/>
                  </a:lnTo>
                  <a:lnTo>
                    <a:pt x="30" y="17"/>
                  </a:lnTo>
                  <a:lnTo>
                    <a:pt x="48" y="9"/>
                  </a:lnTo>
                  <a:lnTo>
                    <a:pt x="69" y="2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14"/>
            <p:cNvSpPr>
              <a:spLocks/>
            </p:cNvSpPr>
            <p:nvPr userDrawn="1"/>
          </p:nvSpPr>
          <p:spPr bwMode="auto">
            <a:xfrm>
              <a:off x="2900681" y="2823044"/>
              <a:ext cx="164343" cy="330951"/>
            </a:xfrm>
            <a:custGeom>
              <a:avLst/>
              <a:gdLst>
                <a:gd name="T0" fmla="*/ 140 w 145"/>
                <a:gd name="T1" fmla="*/ 0 h 292"/>
                <a:gd name="T2" fmla="*/ 145 w 145"/>
                <a:gd name="T3" fmla="*/ 0 h 292"/>
                <a:gd name="T4" fmla="*/ 145 w 145"/>
                <a:gd name="T5" fmla="*/ 61 h 292"/>
                <a:gd name="T6" fmla="*/ 138 w 145"/>
                <a:gd name="T7" fmla="*/ 61 h 292"/>
                <a:gd name="T8" fmla="*/ 133 w 145"/>
                <a:gd name="T9" fmla="*/ 61 h 292"/>
                <a:gd name="T10" fmla="*/ 117 w 145"/>
                <a:gd name="T11" fmla="*/ 61 h 292"/>
                <a:gd name="T12" fmla="*/ 98 w 145"/>
                <a:gd name="T13" fmla="*/ 63 h 292"/>
                <a:gd name="T14" fmla="*/ 82 w 145"/>
                <a:gd name="T15" fmla="*/ 68 h 292"/>
                <a:gd name="T16" fmla="*/ 84 w 145"/>
                <a:gd name="T17" fmla="*/ 292 h 292"/>
                <a:gd name="T18" fmla="*/ 0 w 145"/>
                <a:gd name="T19" fmla="*/ 292 h 292"/>
                <a:gd name="T20" fmla="*/ 0 w 145"/>
                <a:gd name="T21" fmla="*/ 25 h 292"/>
                <a:gd name="T22" fmla="*/ 21 w 145"/>
                <a:gd name="T23" fmla="*/ 18 h 292"/>
                <a:gd name="T24" fmla="*/ 44 w 145"/>
                <a:gd name="T25" fmla="*/ 11 h 292"/>
                <a:gd name="T26" fmla="*/ 72 w 145"/>
                <a:gd name="T27" fmla="*/ 5 h 292"/>
                <a:gd name="T28" fmla="*/ 103 w 145"/>
                <a:gd name="T29" fmla="*/ 2 h 292"/>
                <a:gd name="T30" fmla="*/ 140 w 145"/>
                <a:gd name="T3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92">
                  <a:moveTo>
                    <a:pt x="140" y="0"/>
                  </a:moveTo>
                  <a:lnTo>
                    <a:pt x="145" y="0"/>
                  </a:lnTo>
                  <a:lnTo>
                    <a:pt x="145" y="61"/>
                  </a:lnTo>
                  <a:lnTo>
                    <a:pt x="138" y="61"/>
                  </a:lnTo>
                  <a:lnTo>
                    <a:pt x="133" y="61"/>
                  </a:lnTo>
                  <a:lnTo>
                    <a:pt x="117" y="61"/>
                  </a:lnTo>
                  <a:lnTo>
                    <a:pt x="98" y="63"/>
                  </a:lnTo>
                  <a:lnTo>
                    <a:pt x="82" y="68"/>
                  </a:lnTo>
                  <a:lnTo>
                    <a:pt x="84" y="292"/>
                  </a:lnTo>
                  <a:lnTo>
                    <a:pt x="0" y="292"/>
                  </a:lnTo>
                  <a:lnTo>
                    <a:pt x="0" y="25"/>
                  </a:lnTo>
                  <a:lnTo>
                    <a:pt x="21" y="18"/>
                  </a:lnTo>
                  <a:lnTo>
                    <a:pt x="44" y="11"/>
                  </a:lnTo>
                  <a:lnTo>
                    <a:pt x="72" y="5"/>
                  </a:lnTo>
                  <a:lnTo>
                    <a:pt x="103" y="2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5"/>
            <p:cNvSpPr>
              <a:spLocks/>
            </p:cNvSpPr>
            <p:nvPr userDrawn="1"/>
          </p:nvSpPr>
          <p:spPr bwMode="auto">
            <a:xfrm>
              <a:off x="3103559" y="2819643"/>
              <a:ext cx="90672" cy="334353"/>
            </a:xfrm>
            <a:custGeom>
              <a:avLst/>
              <a:gdLst>
                <a:gd name="T0" fmla="*/ 40 w 80"/>
                <a:gd name="T1" fmla="*/ 0 h 295"/>
                <a:gd name="T2" fmla="*/ 61 w 80"/>
                <a:gd name="T3" fmla="*/ 1 h 295"/>
                <a:gd name="T4" fmla="*/ 73 w 80"/>
                <a:gd name="T5" fmla="*/ 1 h 295"/>
                <a:gd name="T6" fmla="*/ 78 w 80"/>
                <a:gd name="T7" fmla="*/ 3 h 295"/>
                <a:gd name="T8" fmla="*/ 80 w 80"/>
                <a:gd name="T9" fmla="*/ 3 h 295"/>
                <a:gd name="T10" fmla="*/ 80 w 80"/>
                <a:gd name="T11" fmla="*/ 295 h 295"/>
                <a:gd name="T12" fmla="*/ 0 w 80"/>
                <a:gd name="T13" fmla="*/ 295 h 295"/>
                <a:gd name="T14" fmla="*/ 0 w 80"/>
                <a:gd name="T15" fmla="*/ 3 h 295"/>
                <a:gd name="T16" fmla="*/ 1 w 80"/>
                <a:gd name="T17" fmla="*/ 3 h 295"/>
                <a:gd name="T18" fmla="*/ 8 w 80"/>
                <a:gd name="T19" fmla="*/ 1 h 295"/>
                <a:gd name="T20" fmla="*/ 21 w 80"/>
                <a:gd name="T21" fmla="*/ 1 h 295"/>
                <a:gd name="T22" fmla="*/ 40 w 80"/>
                <a:gd name="T23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295">
                  <a:moveTo>
                    <a:pt x="40" y="0"/>
                  </a:moveTo>
                  <a:lnTo>
                    <a:pt x="61" y="1"/>
                  </a:lnTo>
                  <a:lnTo>
                    <a:pt x="73" y="1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0" y="295"/>
                  </a:lnTo>
                  <a:lnTo>
                    <a:pt x="0" y="295"/>
                  </a:lnTo>
                  <a:lnTo>
                    <a:pt x="0" y="3"/>
                  </a:lnTo>
                  <a:lnTo>
                    <a:pt x="1" y="3"/>
                  </a:lnTo>
                  <a:lnTo>
                    <a:pt x="8" y="1"/>
                  </a:lnTo>
                  <a:lnTo>
                    <a:pt x="21" y="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6"/>
            <p:cNvSpPr>
              <a:spLocks/>
            </p:cNvSpPr>
            <p:nvPr userDrawn="1"/>
          </p:nvSpPr>
          <p:spPr bwMode="auto">
            <a:xfrm>
              <a:off x="3774531" y="2714237"/>
              <a:ext cx="155276" cy="449958"/>
            </a:xfrm>
            <a:custGeom>
              <a:avLst/>
              <a:gdLst>
                <a:gd name="T0" fmla="*/ 42 w 137"/>
                <a:gd name="T1" fmla="*/ 0 h 397"/>
                <a:gd name="T2" fmla="*/ 63 w 137"/>
                <a:gd name="T3" fmla="*/ 0 h 397"/>
                <a:gd name="T4" fmla="*/ 76 w 137"/>
                <a:gd name="T5" fmla="*/ 2 h 397"/>
                <a:gd name="T6" fmla="*/ 83 w 137"/>
                <a:gd name="T7" fmla="*/ 3 h 397"/>
                <a:gd name="T8" fmla="*/ 84 w 137"/>
                <a:gd name="T9" fmla="*/ 3 h 397"/>
                <a:gd name="T10" fmla="*/ 84 w 137"/>
                <a:gd name="T11" fmla="*/ 289 h 397"/>
                <a:gd name="T12" fmla="*/ 86 w 137"/>
                <a:gd name="T13" fmla="*/ 306 h 397"/>
                <a:gd name="T14" fmla="*/ 90 w 137"/>
                <a:gd name="T15" fmla="*/ 317 h 397"/>
                <a:gd name="T16" fmla="*/ 98 w 137"/>
                <a:gd name="T17" fmla="*/ 324 h 397"/>
                <a:gd name="T18" fmla="*/ 109 w 137"/>
                <a:gd name="T19" fmla="*/ 325 h 397"/>
                <a:gd name="T20" fmla="*/ 114 w 137"/>
                <a:gd name="T21" fmla="*/ 325 h 397"/>
                <a:gd name="T22" fmla="*/ 119 w 137"/>
                <a:gd name="T23" fmla="*/ 324 h 397"/>
                <a:gd name="T24" fmla="*/ 137 w 137"/>
                <a:gd name="T25" fmla="*/ 390 h 397"/>
                <a:gd name="T26" fmla="*/ 116 w 137"/>
                <a:gd name="T27" fmla="*/ 395 h 397"/>
                <a:gd name="T28" fmla="*/ 88 w 137"/>
                <a:gd name="T29" fmla="*/ 397 h 397"/>
                <a:gd name="T30" fmla="*/ 74 w 137"/>
                <a:gd name="T31" fmla="*/ 397 h 397"/>
                <a:gd name="T32" fmla="*/ 60 w 137"/>
                <a:gd name="T33" fmla="*/ 394 h 397"/>
                <a:gd name="T34" fmla="*/ 46 w 137"/>
                <a:gd name="T35" fmla="*/ 388 h 397"/>
                <a:gd name="T36" fmla="*/ 32 w 137"/>
                <a:gd name="T37" fmla="*/ 380 h 397"/>
                <a:gd name="T38" fmla="*/ 20 w 137"/>
                <a:gd name="T39" fmla="*/ 366 h 397"/>
                <a:gd name="T40" fmla="*/ 9 w 137"/>
                <a:gd name="T41" fmla="*/ 348 h 397"/>
                <a:gd name="T42" fmla="*/ 4 w 137"/>
                <a:gd name="T43" fmla="*/ 324 h 397"/>
                <a:gd name="T44" fmla="*/ 0 w 137"/>
                <a:gd name="T45" fmla="*/ 292 h 397"/>
                <a:gd name="T46" fmla="*/ 0 w 137"/>
                <a:gd name="T47" fmla="*/ 3 h 397"/>
                <a:gd name="T48" fmla="*/ 2 w 137"/>
                <a:gd name="T49" fmla="*/ 3 h 397"/>
                <a:gd name="T50" fmla="*/ 4 w 137"/>
                <a:gd name="T51" fmla="*/ 3 h 397"/>
                <a:gd name="T52" fmla="*/ 11 w 137"/>
                <a:gd name="T53" fmla="*/ 2 h 397"/>
                <a:gd name="T54" fmla="*/ 23 w 137"/>
                <a:gd name="T55" fmla="*/ 0 h 397"/>
                <a:gd name="T56" fmla="*/ 42 w 137"/>
                <a:gd name="T5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397">
                  <a:moveTo>
                    <a:pt x="42" y="0"/>
                  </a:moveTo>
                  <a:lnTo>
                    <a:pt x="63" y="0"/>
                  </a:lnTo>
                  <a:lnTo>
                    <a:pt x="76" y="2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289"/>
                  </a:lnTo>
                  <a:lnTo>
                    <a:pt x="86" y="306"/>
                  </a:lnTo>
                  <a:lnTo>
                    <a:pt x="90" y="317"/>
                  </a:lnTo>
                  <a:lnTo>
                    <a:pt x="98" y="324"/>
                  </a:lnTo>
                  <a:lnTo>
                    <a:pt x="109" y="325"/>
                  </a:lnTo>
                  <a:lnTo>
                    <a:pt x="114" y="325"/>
                  </a:lnTo>
                  <a:lnTo>
                    <a:pt x="119" y="324"/>
                  </a:lnTo>
                  <a:lnTo>
                    <a:pt x="137" y="390"/>
                  </a:lnTo>
                  <a:lnTo>
                    <a:pt x="116" y="395"/>
                  </a:lnTo>
                  <a:lnTo>
                    <a:pt x="88" y="397"/>
                  </a:lnTo>
                  <a:lnTo>
                    <a:pt x="74" y="397"/>
                  </a:lnTo>
                  <a:lnTo>
                    <a:pt x="60" y="394"/>
                  </a:lnTo>
                  <a:lnTo>
                    <a:pt x="46" y="388"/>
                  </a:lnTo>
                  <a:lnTo>
                    <a:pt x="32" y="380"/>
                  </a:lnTo>
                  <a:lnTo>
                    <a:pt x="20" y="366"/>
                  </a:lnTo>
                  <a:lnTo>
                    <a:pt x="9" y="348"/>
                  </a:lnTo>
                  <a:lnTo>
                    <a:pt x="4" y="324"/>
                  </a:lnTo>
                  <a:lnTo>
                    <a:pt x="0" y="292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7"/>
            <p:cNvSpPr>
              <a:spLocks/>
            </p:cNvSpPr>
            <p:nvPr userDrawn="1"/>
          </p:nvSpPr>
          <p:spPr bwMode="auto">
            <a:xfrm>
              <a:off x="6424413" y="2823044"/>
              <a:ext cx="92939" cy="330951"/>
            </a:xfrm>
            <a:custGeom>
              <a:avLst/>
              <a:gdLst>
                <a:gd name="T0" fmla="*/ 42 w 82"/>
                <a:gd name="T1" fmla="*/ 0 h 292"/>
                <a:gd name="T2" fmla="*/ 63 w 82"/>
                <a:gd name="T3" fmla="*/ 0 h 292"/>
                <a:gd name="T4" fmla="*/ 75 w 82"/>
                <a:gd name="T5" fmla="*/ 2 h 292"/>
                <a:gd name="T6" fmla="*/ 81 w 82"/>
                <a:gd name="T7" fmla="*/ 5 h 292"/>
                <a:gd name="T8" fmla="*/ 82 w 82"/>
                <a:gd name="T9" fmla="*/ 5 h 292"/>
                <a:gd name="T10" fmla="*/ 82 w 82"/>
                <a:gd name="T11" fmla="*/ 292 h 292"/>
                <a:gd name="T12" fmla="*/ 0 w 82"/>
                <a:gd name="T13" fmla="*/ 292 h 292"/>
                <a:gd name="T14" fmla="*/ 2 w 82"/>
                <a:gd name="T15" fmla="*/ 5 h 292"/>
                <a:gd name="T16" fmla="*/ 4 w 82"/>
                <a:gd name="T17" fmla="*/ 5 h 292"/>
                <a:gd name="T18" fmla="*/ 11 w 82"/>
                <a:gd name="T19" fmla="*/ 2 h 292"/>
                <a:gd name="T20" fmla="*/ 23 w 82"/>
                <a:gd name="T21" fmla="*/ 0 h 292"/>
                <a:gd name="T22" fmla="*/ 42 w 82"/>
                <a:gd name="T2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292">
                  <a:moveTo>
                    <a:pt x="42" y="0"/>
                  </a:moveTo>
                  <a:lnTo>
                    <a:pt x="63" y="0"/>
                  </a:lnTo>
                  <a:lnTo>
                    <a:pt x="75" y="2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292"/>
                  </a:lnTo>
                  <a:lnTo>
                    <a:pt x="0" y="292"/>
                  </a:lnTo>
                  <a:lnTo>
                    <a:pt x="2" y="5"/>
                  </a:lnTo>
                  <a:lnTo>
                    <a:pt x="4" y="5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8"/>
            <p:cNvSpPr>
              <a:spLocks/>
            </p:cNvSpPr>
            <p:nvPr userDrawn="1"/>
          </p:nvSpPr>
          <p:spPr bwMode="auto">
            <a:xfrm>
              <a:off x="4946463" y="2714237"/>
              <a:ext cx="301484" cy="454492"/>
            </a:xfrm>
            <a:custGeom>
              <a:avLst/>
              <a:gdLst>
                <a:gd name="T0" fmla="*/ 166 w 266"/>
                <a:gd name="T1" fmla="*/ 0 h 401"/>
                <a:gd name="T2" fmla="*/ 199 w 266"/>
                <a:gd name="T3" fmla="*/ 3 h 401"/>
                <a:gd name="T4" fmla="*/ 225 w 266"/>
                <a:gd name="T5" fmla="*/ 10 h 401"/>
                <a:gd name="T6" fmla="*/ 248 w 266"/>
                <a:gd name="T7" fmla="*/ 21 h 401"/>
                <a:gd name="T8" fmla="*/ 266 w 266"/>
                <a:gd name="T9" fmla="*/ 35 h 401"/>
                <a:gd name="T10" fmla="*/ 224 w 266"/>
                <a:gd name="T11" fmla="*/ 91 h 401"/>
                <a:gd name="T12" fmla="*/ 204 w 266"/>
                <a:gd name="T13" fmla="*/ 77 h 401"/>
                <a:gd name="T14" fmla="*/ 183 w 266"/>
                <a:gd name="T15" fmla="*/ 72 h 401"/>
                <a:gd name="T16" fmla="*/ 166 w 266"/>
                <a:gd name="T17" fmla="*/ 70 h 401"/>
                <a:gd name="T18" fmla="*/ 143 w 266"/>
                <a:gd name="T19" fmla="*/ 73 h 401"/>
                <a:gd name="T20" fmla="*/ 124 w 266"/>
                <a:gd name="T21" fmla="*/ 84 h 401"/>
                <a:gd name="T22" fmla="*/ 110 w 266"/>
                <a:gd name="T23" fmla="*/ 100 h 401"/>
                <a:gd name="T24" fmla="*/ 101 w 266"/>
                <a:gd name="T25" fmla="*/ 121 h 401"/>
                <a:gd name="T26" fmla="*/ 94 w 266"/>
                <a:gd name="T27" fmla="*/ 145 h 401"/>
                <a:gd name="T28" fmla="*/ 91 w 266"/>
                <a:gd name="T29" fmla="*/ 171 h 401"/>
                <a:gd name="T30" fmla="*/ 89 w 266"/>
                <a:gd name="T31" fmla="*/ 199 h 401"/>
                <a:gd name="T32" fmla="*/ 91 w 266"/>
                <a:gd name="T33" fmla="*/ 229 h 401"/>
                <a:gd name="T34" fmla="*/ 94 w 266"/>
                <a:gd name="T35" fmla="*/ 257 h 401"/>
                <a:gd name="T36" fmla="*/ 103 w 266"/>
                <a:gd name="T37" fmla="*/ 282 h 401"/>
                <a:gd name="T38" fmla="*/ 113 w 266"/>
                <a:gd name="T39" fmla="*/ 301 h 401"/>
                <a:gd name="T40" fmla="*/ 127 w 266"/>
                <a:gd name="T41" fmla="*/ 317 h 401"/>
                <a:gd name="T42" fmla="*/ 147 w 266"/>
                <a:gd name="T43" fmla="*/ 327 h 401"/>
                <a:gd name="T44" fmla="*/ 168 w 266"/>
                <a:gd name="T45" fmla="*/ 329 h 401"/>
                <a:gd name="T46" fmla="*/ 199 w 266"/>
                <a:gd name="T47" fmla="*/ 325 h 401"/>
                <a:gd name="T48" fmla="*/ 227 w 266"/>
                <a:gd name="T49" fmla="*/ 318 h 401"/>
                <a:gd name="T50" fmla="*/ 260 w 266"/>
                <a:gd name="T51" fmla="*/ 383 h 401"/>
                <a:gd name="T52" fmla="*/ 239 w 266"/>
                <a:gd name="T53" fmla="*/ 388 h 401"/>
                <a:gd name="T54" fmla="*/ 215 w 266"/>
                <a:gd name="T55" fmla="*/ 394 h 401"/>
                <a:gd name="T56" fmla="*/ 190 w 266"/>
                <a:gd name="T57" fmla="*/ 399 h 401"/>
                <a:gd name="T58" fmla="*/ 166 w 266"/>
                <a:gd name="T59" fmla="*/ 401 h 401"/>
                <a:gd name="T60" fmla="*/ 134 w 266"/>
                <a:gd name="T61" fmla="*/ 397 h 401"/>
                <a:gd name="T62" fmla="*/ 105 w 266"/>
                <a:gd name="T63" fmla="*/ 392 h 401"/>
                <a:gd name="T64" fmla="*/ 78 w 266"/>
                <a:gd name="T65" fmla="*/ 380 h 401"/>
                <a:gd name="T66" fmla="*/ 56 w 266"/>
                <a:gd name="T67" fmla="*/ 364 h 401"/>
                <a:gd name="T68" fmla="*/ 36 w 266"/>
                <a:gd name="T69" fmla="*/ 343 h 401"/>
                <a:gd name="T70" fmla="*/ 21 w 266"/>
                <a:gd name="T71" fmla="*/ 315 h 401"/>
                <a:gd name="T72" fmla="*/ 8 w 266"/>
                <a:gd name="T73" fmla="*/ 283 h 401"/>
                <a:gd name="T74" fmla="*/ 1 w 266"/>
                <a:gd name="T75" fmla="*/ 245 h 401"/>
                <a:gd name="T76" fmla="*/ 0 w 266"/>
                <a:gd name="T77" fmla="*/ 199 h 401"/>
                <a:gd name="T78" fmla="*/ 1 w 266"/>
                <a:gd name="T79" fmla="*/ 156 h 401"/>
                <a:gd name="T80" fmla="*/ 10 w 266"/>
                <a:gd name="T81" fmla="*/ 119 h 401"/>
                <a:gd name="T82" fmla="*/ 22 w 266"/>
                <a:gd name="T83" fmla="*/ 86 h 401"/>
                <a:gd name="T84" fmla="*/ 38 w 266"/>
                <a:gd name="T85" fmla="*/ 59 h 401"/>
                <a:gd name="T86" fmla="*/ 59 w 266"/>
                <a:gd name="T87" fmla="*/ 38 h 401"/>
                <a:gd name="T88" fmla="*/ 82 w 266"/>
                <a:gd name="T89" fmla="*/ 21 h 401"/>
                <a:gd name="T90" fmla="*/ 108 w 266"/>
                <a:gd name="T91" fmla="*/ 9 h 401"/>
                <a:gd name="T92" fmla="*/ 136 w 266"/>
                <a:gd name="T93" fmla="*/ 3 h 401"/>
                <a:gd name="T94" fmla="*/ 166 w 266"/>
                <a:gd name="T95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6" h="401">
                  <a:moveTo>
                    <a:pt x="166" y="0"/>
                  </a:moveTo>
                  <a:lnTo>
                    <a:pt x="199" y="3"/>
                  </a:lnTo>
                  <a:lnTo>
                    <a:pt x="225" y="10"/>
                  </a:lnTo>
                  <a:lnTo>
                    <a:pt x="248" y="21"/>
                  </a:lnTo>
                  <a:lnTo>
                    <a:pt x="266" y="35"/>
                  </a:lnTo>
                  <a:lnTo>
                    <a:pt x="224" y="91"/>
                  </a:lnTo>
                  <a:lnTo>
                    <a:pt x="204" y="77"/>
                  </a:lnTo>
                  <a:lnTo>
                    <a:pt x="183" y="72"/>
                  </a:lnTo>
                  <a:lnTo>
                    <a:pt x="166" y="70"/>
                  </a:lnTo>
                  <a:lnTo>
                    <a:pt x="143" y="73"/>
                  </a:lnTo>
                  <a:lnTo>
                    <a:pt x="124" y="84"/>
                  </a:lnTo>
                  <a:lnTo>
                    <a:pt x="110" y="100"/>
                  </a:lnTo>
                  <a:lnTo>
                    <a:pt x="101" y="121"/>
                  </a:lnTo>
                  <a:lnTo>
                    <a:pt x="94" y="145"/>
                  </a:lnTo>
                  <a:lnTo>
                    <a:pt x="91" y="171"/>
                  </a:lnTo>
                  <a:lnTo>
                    <a:pt x="89" y="199"/>
                  </a:lnTo>
                  <a:lnTo>
                    <a:pt x="91" y="229"/>
                  </a:lnTo>
                  <a:lnTo>
                    <a:pt x="94" y="257"/>
                  </a:lnTo>
                  <a:lnTo>
                    <a:pt x="103" y="282"/>
                  </a:lnTo>
                  <a:lnTo>
                    <a:pt x="113" y="301"/>
                  </a:lnTo>
                  <a:lnTo>
                    <a:pt x="127" y="317"/>
                  </a:lnTo>
                  <a:lnTo>
                    <a:pt x="147" y="327"/>
                  </a:lnTo>
                  <a:lnTo>
                    <a:pt x="168" y="329"/>
                  </a:lnTo>
                  <a:lnTo>
                    <a:pt x="199" y="325"/>
                  </a:lnTo>
                  <a:lnTo>
                    <a:pt x="227" y="318"/>
                  </a:lnTo>
                  <a:lnTo>
                    <a:pt x="260" y="383"/>
                  </a:lnTo>
                  <a:lnTo>
                    <a:pt x="239" y="388"/>
                  </a:lnTo>
                  <a:lnTo>
                    <a:pt x="215" y="394"/>
                  </a:lnTo>
                  <a:lnTo>
                    <a:pt x="190" y="399"/>
                  </a:lnTo>
                  <a:lnTo>
                    <a:pt x="166" y="401"/>
                  </a:lnTo>
                  <a:lnTo>
                    <a:pt x="134" y="397"/>
                  </a:lnTo>
                  <a:lnTo>
                    <a:pt x="105" y="392"/>
                  </a:lnTo>
                  <a:lnTo>
                    <a:pt x="78" y="380"/>
                  </a:lnTo>
                  <a:lnTo>
                    <a:pt x="56" y="364"/>
                  </a:lnTo>
                  <a:lnTo>
                    <a:pt x="36" y="343"/>
                  </a:lnTo>
                  <a:lnTo>
                    <a:pt x="21" y="315"/>
                  </a:lnTo>
                  <a:lnTo>
                    <a:pt x="8" y="283"/>
                  </a:lnTo>
                  <a:lnTo>
                    <a:pt x="1" y="245"/>
                  </a:lnTo>
                  <a:lnTo>
                    <a:pt x="0" y="199"/>
                  </a:lnTo>
                  <a:lnTo>
                    <a:pt x="1" y="156"/>
                  </a:lnTo>
                  <a:lnTo>
                    <a:pt x="10" y="119"/>
                  </a:lnTo>
                  <a:lnTo>
                    <a:pt x="22" y="86"/>
                  </a:lnTo>
                  <a:lnTo>
                    <a:pt x="38" y="59"/>
                  </a:lnTo>
                  <a:lnTo>
                    <a:pt x="59" y="38"/>
                  </a:lnTo>
                  <a:lnTo>
                    <a:pt x="82" y="21"/>
                  </a:lnTo>
                  <a:lnTo>
                    <a:pt x="108" y="9"/>
                  </a:lnTo>
                  <a:lnTo>
                    <a:pt x="136" y="3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9"/>
            <p:cNvSpPr>
              <a:spLocks noEditPoints="1"/>
            </p:cNvSpPr>
            <p:nvPr userDrawn="1"/>
          </p:nvSpPr>
          <p:spPr bwMode="auto">
            <a:xfrm>
              <a:off x="4595110" y="2714237"/>
              <a:ext cx="290149" cy="449958"/>
            </a:xfrm>
            <a:custGeom>
              <a:avLst/>
              <a:gdLst>
                <a:gd name="T0" fmla="*/ 156 w 256"/>
                <a:gd name="T1" fmla="*/ 152 h 397"/>
                <a:gd name="T2" fmla="*/ 137 w 256"/>
                <a:gd name="T3" fmla="*/ 152 h 397"/>
                <a:gd name="T4" fmla="*/ 117 w 256"/>
                <a:gd name="T5" fmla="*/ 159 h 397"/>
                <a:gd name="T6" fmla="*/ 103 w 256"/>
                <a:gd name="T7" fmla="*/ 175 h 397"/>
                <a:gd name="T8" fmla="*/ 93 w 256"/>
                <a:gd name="T9" fmla="*/ 196 h 397"/>
                <a:gd name="T10" fmla="*/ 86 w 256"/>
                <a:gd name="T11" fmla="*/ 220 h 397"/>
                <a:gd name="T12" fmla="*/ 84 w 256"/>
                <a:gd name="T13" fmla="*/ 247 h 397"/>
                <a:gd name="T14" fmla="*/ 86 w 256"/>
                <a:gd name="T15" fmla="*/ 273 h 397"/>
                <a:gd name="T16" fmla="*/ 93 w 256"/>
                <a:gd name="T17" fmla="*/ 297 h 397"/>
                <a:gd name="T18" fmla="*/ 102 w 256"/>
                <a:gd name="T19" fmla="*/ 313 h 397"/>
                <a:gd name="T20" fmla="*/ 112 w 256"/>
                <a:gd name="T21" fmla="*/ 324 h 397"/>
                <a:gd name="T22" fmla="*/ 124 w 256"/>
                <a:gd name="T23" fmla="*/ 331 h 397"/>
                <a:gd name="T24" fmla="*/ 135 w 256"/>
                <a:gd name="T25" fmla="*/ 332 h 397"/>
                <a:gd name="T26" fmla="*/ 154 w 256"/>
                <a:gd name="T27" fmla="*/ 329 h 397"/>
                <a:gd name="T28" fmla="*/ 172 w 256"/>
                <a:gd name="T29" fmla="*/ 317 h 397"/>
                <a:gd name="T30" fmla="*/ 172 w 256"/>
                <a:gd name="T31" fmla="*/ 156 h 397"/>
                <a:gd name="T32" fmla="*/ 156 w 256"/>
                <a:gd name="T33" fmla="*/ 152 h 397"/>
                <a:gd name="T34" fmla="*/ 214 w 256"/>
                <a:gd name="T35" fmla="*/ 0 h 397"/>
                <a:gd name="T36" fmla="*/ 235 w 256"/>
                <a:gd name="T37" fmla="*/ 0 h 397"/>
                <a:gd name="T38" fmla="*/ 247 w 256"/>
                <a:gd name="T39" fmla="*/ 2 h 397"/>
                <a:gd name="T40" fmla="*/ 254 w 256"/>
                <a:gd name="T41" fmla="*/ 3 h 397"/>
                <a:gd name="T42" fmla="*/ 256 w 256"/>
                <a:gd name="T43" fmla="*/ 3 h 397"/>
                <a:gd name="T44" fmla="*/ 256 w 256"/>
                <a:gd name="T45" fmla="*/ 388 h 397"/>
                <a:gd name="T46" fmla="*/ 193 w 256"/>
                <a:gd name="T47" fmla="*/ 388 h 397"/>
                <a:gd name="T48" fmla="*/ 184 w 256"/>
                <a:gd name="T49" fmla="*/ 373 h 397"/>
                <a:gd name="T50" fmla="*/ 165 w 256"/>
                <a:gd name="T51" fmla="*/ 385 h 397"/>
                <a:gd name="T52" fmla="*/ 145 w 256"/>
                <a:gd name="T53" fmla="*/ 394 h 397"/>
                <a:gd name="T54" fmla="*/ 124 w 256"/>
                <a:gd name="T55" fmla="*/ 397 h 397"/>
                <a:gd name="T56" fmla="*/ 91 w 256"/>
                <a:gd name="T57" fmla="*/ 390 h 397"/>
                <a:gd name="T58" fmla="*/ 61 w 256"/>
                <a:gd name="T59" fmla="*/ 374 h 397"/>
                <a:gd name="T60" fmla="*/ 35 w 256"/>
                <a:gd name="T61" fmla="*/ 352 h 397"/>
                <a:gd name="T62" fmla="*/ 16 w 256"/>
                <a:gd name="T63" fmla="*/ 318 h 397"/>
                <a:gd name="T64" fmla="*/ 4 w 256"/>
                <a:gd name="T65" fmla="*/ 282 h 397"/>
                <a:gd name="T66" fmla="*/ 0 w 256"/>
                <a:gd name="T67" fmla="*/ 243 h 397"/>
                <a:gd name="T68" fmla="*/ 0 w 256"/>
                <a:gd name="T69" fmla="*/ 210 h 397"/>
                <a:gd name="T70" fmla="*/ 7 w 256"/>
                <a:gd name="T71" fmla="*/ 180 h 397"/>
                <a:gd name="T72" fmla="*/ 19 w 256"/>
                <a:gd name="T73" fmla="*/ 156 h 397"/>
                <a:gd name="T74" fmla="*/ 35 w 256"/>
                <a:gd name="T75" fmla="*/ 136 h 397"/>
                <a:gd name="T76" fmla="*/ 54 w 256"/>
                <a:gd name="T77" fmla="*/ 119 h 397"/>
                <a:gd name="T78" fmla="*/ 75 w 256"/>
                <a:gd name="T79" fmla="*/ 107 h 397"/>
                <a:gd name="T80" fmla="*/ 100 w 256"/>
                <a:gd name="T81" fmla="*/ 98 h 397"/>
                <a:gd name="T82" fmla="*/ 124 w 256"/>
                <a:gd name="T83" fmla="*/ 93 h 397"/>
                <a:gd name="T84" fmla="*/ 149 w 256"/>
                <a:gd name="T85" fmla="*/ 91 h 397"/>
                <a:gd name="T86" fmla="*/ 158 w 256"/>
                <a:gd name="T87" fmla="*/ 93 h 397"/>
                <a:gd name="T88" fmla="*/ 165 w 256"/>
                <a:gd name="T89" fmla="*/ 93 h 397"/>
                <a:gd name="T90" fmla="*/ 172 w 256"/>
                <a:gd name="T91" fmla="*/ 94 h 397"/>
                <a:gd name="T92" fmla="*/ 172 w 256"/>
                <a:gd name="T93" fmla="*/ 3 h 397"/>
                <a:gd name="T94" fmla="*/ 173 w 256"/>
                <a:gd name="T95" fmla="*/ 3 h 397"/>
                <a:gd name="T96" fmla="*/ 180 w 256"/>
                <a:gd name="T97" fmla="*/ 2 h 397"/>
                <a:gd name="T98" fmla="*/ 194 w 256"/>
                <a:gd name="T99" fmla="*/ 0 h 397"/>
                <a:gd name="T100" fmla="*/ 214 w 256"/>
                <a:gd name="T10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6" h="397">
                  <a:moveTo>
                    <a:pt x="156" y="152"/>
                  </a:moveTo>
                  <a:lnTo>
                    <a:pt x="137" y="152"/>
                  </a:lnTo>
                  <a:lnTo>
                    <a:pt x="117" y="159"/>
                  </a:lnTo>
                  <a:lnTo>
                    <a:pt x="103" y="175"/>
                  </a:lnTo>
                  <a:lnTo>
                    <a:pt x="93" y="196"/>
                  </a:lnTo>
                  <a:lnTo>
                    <a:pt x="86" y="220"/>
                  </a:lnTo>
                  <a:lnTo>
                    <a:pt x="84" y="247"/>
                  </a:lnTo>
                  <a:lnTo>
                    <a:pt x="86" y="273"/>
                  </a:lnTo>
                  <a:lnTo>
                    <a:pt x="93" y="297"/>
                  </a:lnTo>
                  <a:lnTo>
                    <a:pt x="102" y="313"/>
                  </a:lnTo>
                  <a:lnTo>
                    <a:pt x="112" y="324"/>
                  </a:lnTo>
                  <a:lnTo>
                    <a:pt x="124" y="331"/>
                  </a:lnTo>
                  <a:lnTo>
                    <a:pt x="135" y="332"/>
                  </a:lnTo>
                  <a:lnTo>
                    <a:pt x="154" y="329"/>
                  </a:lnTo>
                  <a:lnTo>
                    <a:pt x="172" y="317"/>
                  </a:lnTo>
                  <a:lnTo>
                    <a:pt x="172" y="156"/>
                  </a:lnTo>
                  <a:lnTo>
                    <a:pt x="156" y="152"/>
                  </a:lnTo>
                  <a:close/>
                  <a:moveTo>
                    <a:pt x="214" y="0"/>
                  </a:moveTo>
                  <a:lnTo>
                    <a:pt x="235" y="0"/>
                  </a:lnTo>
                  <a:lnTo>
                    <a:pt x="247" y="2"/>
                  </a:lnTo>
                  <a:lnTo>
                    <a:pt x="254" y="3"/>
                  </a:lnTo>
                  <a:lnTo>
                    <a:pt x="256" y="3"/>
                  </a:lnTo>
                  <a:lnTo>
                    <a:pt x="256" y="388"/>
                  </a:lnTo>
                  <a:lnTo>
                    <a:pt x="193" y="388"/>
                  </a:lnTo>
                  <a:lnTo>
                    <a:pt x="184" y="373"/>
                  </a:lnTo>
                  <a:lnTo>
                    <a:pt x="165" y="385"/>
                  </a:lnTo>
                  <a:lnTo>
                    <a:pt x="145" y="394"/>
                  </a:lnTo>
                  <a:lnTo>
                    <a:pt x="124" y="397"/>
                  </a:lnTo>
                  <a:lnTo>
                    <a:pt x="91" y="390"/>
                  </a:lnTo>
                  <a:lnTo>
                    <a:pt x="61" y="374"/>
                  </a:lnTo>
                  <a:lnTo>
                    <a:pt x="35" y="352"/>
                  </a:lnTo>
                  <a:lnTo>
                    <a:pt x="16" y="318"/>
                  </a:lnTo>
                  <a:lnTo>
                    <a:pt x="4" y="282"/>
                  </a:lnTo>
                  <a:lnTo>
                    <a:pt x="0" y="243"/>
                  </a:lnTo>
                  <a:lnTo>
                    <a:pt x="0" y="210"/>
                  </a:lnTo>
                  <a:lnTo>
                    <a:pt x="7" y="180"/>
                  </a:lnTo>
                  <a:lnTo>
                    <a:pt x="19" y="156"/>
                  </a:lnTo>
                  <a:lnTo>
                    <a:pt x="35" y="136"/>
                  </a:lnTo>
                  <a:lnTo>
                    <a:pt x="54" y="119"/>
                  </a:lnTo>
                  <a:lnTo>
                    <a:pt x="75" y="107"/>
                  </a:lnTo>
                  <a:lnTo>
                    <a:pt x="100" y="98"/>
                  </a:lnTo>
                  <a:lnTo>
                    <a:pt x="124" y="93"/>
                  </a:lnTo>
                  <a:lnTo>
                    <a:pt x="149" y="91"/>
                  </a:lnTo>
                  <a:lnTo>
                    <a:pt x="158" y="93"/>
                  </a:lnTo>
                  <a:lnTo>
                    <a:pt x="165" y="93"/>
                  </a:lnTo>
                  <a:lnTo>
                    <a:pt x="172" y="94"/>
                  </a:lnTo>
                  <a:lnTo>
                    <a:pt x="172" y="3"/>
                  </a:lnTo>
                  <a:lnTo>
                    <a:pt x="173" y="3"/>
                  </a:lnTo>
                  <a:lnTo>
                    <a:pt x="180" y="2"/>
                  </a:lnTo>
                  <a:lnTo>
                    <a:pt x="194" y="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20"/>
            <p:cNvSpPr>
              <a:spLocks noEditPoints="1"/>
            </p:cNvSpPr>
            <p:nvPr userDrawn="1"/>
          </p:nvSpPr>
          <p:spPr bwMode="auto">
            <a:xfrm>
              <a:off x="3230499" y="2817376"/>
              <a:ext cx="265214" cy="349086"/>
            </a:xfrm>
            <a:custGeom>
              <a:avLst/>
              <a:gdLst>
                <a:gd name="T0" fmla="*/ 111 w 234"/>
                <a:gd name="T1" fmla="*/ 61 h 308"/>
                <a:gd name="T2" fmla="*/ 90 w 234"/>
                <a:gd name="T3" fmla="*/ 84 h 308"/>
                <a:gd name="T4" fmla="*/ 82 w 234"/>
                <a:gd name="T5" fmla="*/ 112 h 308"/>
                <a:gd name="T6" fmla="*/ 80 w 234"/>
                <a:gd name="T7" fmla="*/ 131 h 308"/>
                <a:gd name="T8" fmla="*/ 171 w 234"/>
                <a:gd name="T9" fmla="*/ 135 h 308"/>
                <a:gd name="T10" fmla="*/ 167 w 234"/>
                <a:gd name="T11" fmla="*/ 93 h 308"/>
                <a:gd name="T12" fmla="*/ 146 w 234"/>
                <a:gd name="T13" fmla="*/ 61 h 308"/>
                <a:gd name="T14" fmla="*/ 131 w 234"/>
                <a:gd name="T15" fmla="*/ 58 h 308"/>
                <a:gd name="T16" fmla="*/ 127 w 234"/>
                <a:gd name="T17" fmla="*/ 0 h 308"/>
                <a:gd name="T18" fmla="*/ 167 w 234"/>
                <a:gd name="T19" fmla="*/ 7 h 308"/>
                <a:gd name="T20" fmla="*/ 202 w 234"/>
                <a:gd name="T21" fmla="*/ 28 h 308"/>
                <a:gd name="T22" fmla="*/ 225 w 234"/>
                <a:gd name="T23" fmla="*/ 66 h 308"/>
                <a:gd name="T24" fmla="*/ 234 w 234"/>
                <a:gd name="T25" fmla="*/ 128 h 308"/>
                <a:gd name="T26" fmla="*/ 232 w 234"/>
                <a:gd name="T27" fmla="*/ 166 h 308"/>
                <a:gd name="T28" fmla="*/ 229 w 234"/>
                <a:gd name="T29" fmla="*/ 182 h 308"/>
                <a:gd name="T30" fmla="*/ 185 w 234"/>
                <a:gd name="T31" fmla="*/ 184 h 308"/>
                <a:gd name="T32" fmla="*/ 80 w 234"/>
                <a:gd name="T33" fmla="*/ 184 h 308"/>
                <a:gd name="T34" fmla="*/ 80 w 234"/>
                <a:gd name="T35" fmla="*/ 194 h 308"/>
                <a:gd name="T36" fmla="*/ 83 w 234"/>
                <a:gd name="T37" fmla="*/ 213 h 308"/>
                <a:gd name="T38" fmla="*/ 101 w 234"/>
                <a:gd name="T39" fmla="*/ 234 h 308"/>
                <a:gd name="T40" fmla="*/ 138 w 234"/>
                <a:gd name="T41" fmla="*/ 247 h 308"/>
                <a:gd name="T42" fmla="*/ 180 w 234"/>
                <a:gd name="T43" fmla="*/ 241 h 308"/>
                <a:gd name="T44" fmla="*/ 222 w 234"/>
                <a:gd name="T45" fmla="*/ 226 h 308"/>
                <a:gd name="T46" fmla="*/ 187 w 234"/>
                <a:gd name="T47" fmla="*/ 299 h 308"/>
                <a:gd name="T48" fmla="*/ 131 w 234"/>
                <a:gd name="T49" fmla="*/ 308 h 308"/>
                <a:gd name="T50" fmla="*/ 131 w 234"/>
                <a:gd name="T51" fmla="*/ 308 h 308"/>
                <a:gd name="T52" fmla="*/ 76 w 234"/>
                <a:gd name="T53" fmla="*/ 297 h 308"/>
                <a:gd name="T54" fmla="*/ 36 w 234"/>
                <a:gd name="T55" fmla="*/ 271 h 308"/>
                <a:gd name="T56" fmla="*/ 10 w 234"/>
                <a:gd name="T57" fmla="*/ 224 h 308"/>
                <a:gd name="T58" fmla="*/ 0 w 234"/>
                <a:gd name="T59" fmla="*/ 154 h 308"/>
                <a:gd name="T60" fmla="*/ 3 w 234"/>
                <a:gd name="T61" fmla="*/ 115 h 308"/>
                <a:gd name="T62" fmla="*/ 21 w 234"/>
                <a:gd name="T63" fmla="*/ 58 h 308"/>
                <a:gd name="T64" fmla="*/ 54 w 234"/>
                <a:gd name="T65" fmla="*/ 21 h 308"/>
                <a:gd name="T66" fmla="*/ 99 w 234"/>
                <a:gd name="T67" fmla="*/ 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4" h="308">
                  <a:moveTo>
                    <a:pt x="131" y="58"/>
                  </a:moveTo>
                  <a:lnTo>
                    <a:pt x="111" y="61"/>
                  </a:lnTo>
                  <a:lnTo>
                    <a:pt x="99" y="70"/>
                  </a:lnTo>
                  <a:lnTo>
                    <a:pt x="90" y="84"/>
                  </a:lnTo>
                  <a:lnTo>
                    <a:pt x="85" y="98"/>
                  </a:lnTo>
                  <a:lnTo>
                    <a:pt x="82" y="112"/>
                  </a:lnTo>
                  <a:lnTo>
                    <a:pt x="80" y="122"/>
                  </a:lnTo>
                  <a:lnTo>
                    <a:pt x="80" y="131"/>
                  </a:lnTo>
                  <a:lnTo>
                    <a:pt x="82" y="135"/>
                  </a:lnTo>
                  <a:lnTo>
                    <a:pt x="171" y="135"/>
                  </a:lnTo>
                  <a:lnTo>
                    <a:pt x="171" y="117"/>
                  </a:lnTo>
                  <a:lnTo>
                    <a:pt x="167" y="93"/>
                  </a:lnTo>
                  <a:lnTo>
                    <a:pt x="159" y="73"/>
                  </a:lnTo>
                  <a:lnTo>
                    <a:pt x="146" y="61"/>
                  </a:lnTo>
                  <a:lnTo>
                    <a:pt x="131" y="58"/>
                  </a:lnTo>
                  <a:lnTo>
                    <a:pt x="131" y="58"/>
                  </a:lnTo>
                  <a:close/>
                  <a:moveTo>
                    <a:pt x="125" y="0"/>
                  </a:moveTo>
                  <a:lnTo>
                    <a:pt x="127" y="0"/>
                  </a:lnTo>
                  <a:lnTo>
                    <a:pt x="148" y="2"/>
                  </a:lnTo>
                  <a:lnTo>
                    <a:pt x="167" y="7"/>
                  </a:lnTo>
                  <a:lnTo>
                    <a:pt x="187" y="16"/>
                  </a:lnTo>
                  <a:lnTo>
                    <a:pt x="202" y="28"/>
                  </a:lnTo>
                  <a:lnTo>
                    <a:pt x="215" y="45"/>
                  </a:lnTo>
                  <a:lnTo>
                    <a:pt x="225" y="66"/>
                  </a:lnTo>
                  <a:lnTo>
                    <a:pt x="232" y="94"/>
                  </a:lnTo>
                  <a:lnTo>
                    <a:pt x="234" y="128"/>
                  </a:lnTo>
                  <a:lnTo>
                    <a:pt x="234" y="149"/>
                  </a:lnTo>
                  <a:lnTo>
                    <a:pt x="232" y="166"/>
                  </a:lnTo>
                  <a:lnTo>
                    <a:pt x="230" y="177"/>
                  </a:lnTo>
                  <a:lnTo>
                    <a:pt x="229" y="182"/>
                  </a:lnTo>
                  <a:lnTo>
                    <a:pt x="211" y="184"/>
                  </a:lnTo>
                  <a:lnTo>
                    <a:pt x="185" y="184"/>
                  </a:lnTo>
                  <a:lnTo>
                    <a:pt x="157" y="184"/>
                  </a:lnTo>
                  <a:lnTo>
                    <a:pt x="80" y="184"/>
                  </a:lnTo>
                  <a:lnTo>
                    <a:pt x="80" y="187"/>
                  </a:lnTo>
                  <a:lnTo>
                    <a:pt x="80" y="194"/>
                  </a:lnTo>
                  <a:lnTo>
                    <a:pt x="80" y="203"/>
                  </a:lnTo>
                  <a:lnTo>
                    <a:pt x="83" y="213"/>
                  </a:lnTo>
                  <a:lnTo>
                    <a:pt x="90" y="226"/>
                  </a:lnTo>
                  <a:lnTo>
                    <a:pt x="101" y="234"/>
                  </a:lnTo>
                  <a:lnTo>
                    <a:pt x="117" y="243"/>
                  </a:lnTo>
                  <a:lnTo>
                    <a:pt x="138" y="247"/>
                  </a:lnTo>
                  <a:lnTo>
                    <a:pt x="160" y="247"/>
                  </a:lnTo>
                  <a:lnTo>
                    <a:pt x="180" y="241"/>
                  </a:lnTo>
                  <a:lnTo>
                    <a:pt x="199" y="234"/>
                  </a:lnTo>
                  <a:lnTo>
                    <a:pt x="222" y="226"/>
                  </a:lnTo>
                  <a:lnTo>
                    <a:pt x="222" y="287"/>
                  </a:lnTo>
                  <a:lnTo>
                    <a:pt x="187" y="299"/>
                  </a:lnTo>
                  <a:lnTo>
                    <a:pt x="155" y="306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03" y="304"/>
                  </a:lnTo>
                  <a:lnTo>
                    <a:pt x="76" y="297"/>
                  </a:lnTo>
                  <a:lnTo>
                    <a:pt x="55" y="287"/>
                  </a:lnTo>
                  <a:lnTo>
                    <a:pt x="36" y="271"/>
                  </a:lnTo>
                  <a:lnTo>
                    <a:pt x="22" y="250"/>
                  </a:lnTo>
                  <a:lnTo>
                    <a:pt x="10" y="224"/>
                  </a:lnTo>
                  <a:lnTo>
                    <a:pt x="3" y="192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3" y="115"/>
                  </a:lnTo>
                  <a:lnTo>
                    <a:pt x="10" y="84"/>
                  </a:lnTo>
                  <a:lnTo>
                    <a:pt x="21" y="58"/>
                  </a:lnTo>
                  <a:lnTo>
                    <a:pt x="35" y="37"/>
                  </a:lnTo>
                  <a:lnTo>
                    <a:pt x="54" y="21"/>
                  </a:lnTo>
                  <a:lnTo>
                    <a:pt x="75" y="10"/>
                  </a:lnTo>
                  <a:lnTo>
                    <a:pt x="99" y="3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1"/>
            <p:cNvSpPr>
              <a:spLocks/>
            </p:cNvSpPr>
            <p:nvPr userDrawn="1"/>
          </p:nvSpPr>
          <p:spPr bwMode="auto">
            <a:xfrm>
              <a:off x="2624132" y="2704036"/>
              <a:ext cx="296951" cy="452225"/>
            </a:xfrm>
            <a:custGeom>
              <a:avLst/>
              <a:gdLst>
                <a:gd name="T0" fmla="*/ 162 w 262"/>
                <a:gd name="T1" fmla="*/ 0 h 399"/>
                <a:gd name="T2" fmla="*/ 197 w 262"/>
                <a:gd name="T3" fmla="*/ 2 h 399"/>
                <a:gd name="T4" fmla="*/ 225 w 262"/>
                <a:gd name="T5" fmla="*/ 5 h 399"/>
                <a:gd name="T6" fmla="*/ 244 w 262"/>
                <a:gd name="T7" fmla="*/ 11 h 399"/>
                <a:gd name="T8" fmla="*/ 257 w 262"/>
                <a:gd name="T9" fmla="*/ 16 h 399"/>
                <a:gd name="T10" fmla="*/ 262 w 262"/>
                <a:gd name="T11" fmla="*/ 18 h 399"/>
                <a:gd name="T12" fmla="*/ 243 w 262"/>
                <a:gd name="T13" fmla="*/ 79 h 399"/>
                <a:gd name="T14" fmla="*/ 239 w 262"/>
                <a:gd name="T15" fmla="*/ 79 h 399"/>
                <a:gd name="T16" fmla="*/ 230 w 262"/>
                <a:gd name="T17" fmla="*/ 75 h 399"/>
                <a:gd name="T18" fmla="*/ 213 w 262"/>
                <a:gd name="T19" fmla="*/ 70 h 399"/>
                <a:gd name="T20" fmla="*/ 188 w 262"/>
                <a:gd name="T21" fmla="*/ 67 h 399"/>
                <a:gd name="T22" fmla="*/ 157 w 262"/>
                <a:gd name="T23" fmla="*/ 67 h 399"/>
                <a:gd name="T24" fmla="*/ 136 w 262"/>
                <a:gd name="T25" fmla="*/ 67 h 399"/>
                <a:gd name="T26" fmla="*/ 117 w 262"/>
                <a:gd name="T27" fmla="*/ 68 h 399"/>
                <a:gd name="T28" fmla="*/ 99 w 262"/>
                <a:gd name="T29" fmla="*/ 74 h 399"/>
                <a:gd name="T30" fmla="*/ 89 w 262"/>
                <a:gd name="T31" fmla="*/ 81 h 399"/>
                <a:gd name="T32" fmla="*/ 89 w 262"/>
                <a:gd name="T33" fmla="*/ 168 h 399"/>
                <a:gd name="T34" fmla="*/ 215 w 262"/>
                <a:gd name="T35" fmla="*/ 168 h 399"/>
                <a:gd name="T36" fmla="*/ 215 w 262"/>
                <a:gd name="T37" fmla="*/ 236 h 399"/>
                <a:gd name="T38" fmla="*/ 89 w 262"/>
                <a:gd name="T39" fmla="*/ 236 h 399"/>
                <a:gd name="T40" fmla="*/ 87 w 262"/>
                <a:gd name="T41" fmla="*/ 399 h 399"/>
                <a:gd name="T42" fmla="*/ 0 w 262"/>
                <a:gd name="T43" fmla="*/ 399 h 399"/>
                <a:gd name="T44" fmla="*/ 0 w 262"/>
                <a:gd name="T45" fmla="*/ 33 h 399"/>
                <a:gd name="T46" fmla="*/ 3 w 262"/>
                <a:gd name="T47" fmla="*/ 32 h 399"/>
                <a:gd name="T48" fmla="*/ 10 w 262"/>
                <a:gd name="T49" fmla="*/ 26 h 399"/>
                <a:gd name="T50" fmla="*/ 26 w 262"/>
                <a:gd name="T51" fmla="*/ 19 h 399"/>
                <a:gd name="T52" fmla="*/ 47 w 262"/>
                <a:gd name="T53" fmla="*/ 12 h 399"/>
                <a:gd name="T54" fmla="*/ 78 w 262"/>
                <a:gd name="T55" fmla="*/ 5 h 399"/>
                <a:gd name="T56" fmla="*/ 118 w 262"/>
                <a:gd name="T57" fmla="*/ 2 h 399"/>
                <a:gd name="T58" fmla="*/ 162 w 262"/>
                <a:gd name="T59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2" h="399">
                  <a:moveTo>
                    <a:pt x="162" y="0"/>
                  </a:moveTo>
                  <a:lnTo>
                    <a:pt x="197" y="2"/>
                  </a:lnTo>
                  <a:lnTo>
                    <a:pt x="225" y="5"/>
                  </a:lnTo>
                  <a:lnTo>
                    <a:pt x="244" y="11"/>
                  </a:lnTo>
                  <a:lnTo>
                    <a:pt x="257" y="16"/>
                  </a:lnTo>
                  <a:lnTo>
                    <a:pt x="262" y="18"/>
                  </a:lnTo>
                  <a:lnTo>
                    <a:pt x="243" y="79"/>
                  </a:lnTo>
                  <a:lnTo>
                    <a:pt x="239" y="79"/>
                  </a:lnTo>
                  <a:lnTo>
                    <a:pt x="230" y="75"/>
                  </a:lnTo>
                  <a:lnTo>
                    <a:pt x="213" y="70"/>
                  </a:lnTo>
                  <a:lnTo>
                    <a:pt x="188" y="67"/>
                  </a:lnTo>
                  <a:lnTo>
                    <a:pt x="157" y="67"/>
                  </a:lnTo>
                  <a:lnTo>
                    <a:pt x="136" y="67"/>
                  </a:lnTo>
                  <a:lnTo>
                    <a:pt x="117" y="68"/>
                  </a:lnTo>
                  <a:lnTo>
                    <a:pt x="99" y="74"/>
                  </a:lnTo>
                  <a:lnTo>
                    <a:pt x="89" y="81"/>
                  </a:lnTo>
                  <a:lnTo>
                    <a:pt x="89" y="168"/>
                  </a:lnTo>
                  <a:lnTo>
                    <a:pt x="215" y="168"/>
                  </a:lnTo>
                  <a:lnTo>
                    <a:pt x="215" y="236"/>
                  </a:lnTo>
                  <a:lnTo>
                    <a:pt x="89" y="236"/>
                  </a:lnTo>
                  <a:lnTo>
                    <a:pt x="87" y="399"/>
                  </a:lnTo>
                  <a:lnTo>
                    <a:pt x="0" y="399"/>
                  </a:lnTo>
                  <a:lnTo>
                    <a:pt x="0" y="33"/>
                  </a:lnTo>
                  <a:lnTo>
                    <a:pt x="3" y="32"/>
                  </a:lnTo>
                  <a:lnTo>
                    <a:pt x="10" y="26"/>
                  </a:lnTo>
                  <a:lnTo>
                    <a:pt x="26" y="19"/>
                  </a:lnTo>
                  <a:lnTo>
                    <a:pt x="47" y="12"/>
                  </a:lnTo>
                  <a:lnTo>
                    <a:pt x="78" y="5"/>
                  </a:lnTo>
                  <a:lnTo>
                    <a:pt x="118" y="2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2"/>
            <p:cNvSpPr>
              <a:spLocks/>
            </p:cNvSpPr>
            <p:nvPr userDrawn="1"/>
          </p:nvSpPr>
          <p:spPr bwMode="auto">
            <a:xfrm>
              <a:off x="7536274" y="2709704"/>
              <a:ext cx="97472" cy="97472"/>
            </a:xfrm>
            <a:custGeom>
              <a:avLst/>
              <a:gdLst>
                <a:gd name="T0" fmla="*/ 42 w 86"/>
                <a:gd name="T1" fmla="*/ 0 h 86"/>
                <a:gd name="T2" fmla="*/ 59 w 86"/>
                <a:gd name="T3" fmla="*/ 4 h 86"/>
                <a:gd name="T4" fmla="*/ 73 w 86"/>
                <a:gd name="T5" fmla="*/ 13 h 86"/>
                <a:gd name="T6" fmla="*/ 82 w 86"/>
                <a:gd name="T7" fmla="*/ 27 h 86"/>
                <a:gd name="T8" fmla="*/ 86 w 86"/>
                <a:gd name="T9" fmla="*/ 44 h 86"/>
                <a:gd name="T10" fmla="*/ 82 w 86"/>
                <a:gd name="T11" fmla="*/ 60 h 86"/>
                <a:gd name="T12" fmla="*/ 73 w 86"/>
                <a:gd name="T13" fmla="*/ 74 h 86"/>
                <a:gd name="T14" fmla="*/ 59 w 86"/>
                <a:gd name="T15" fmla="*/ 83 h 86"/>
                <a:gd name="T16" fmla="*/ 42 w 86"/>
                <a:gd name="T17" fmla="*/ 86 h 86"/>
                <a:gd name="T18" fmla="*/ 26 w 86"/>
                <a:gd name="T19" fmla="*/ 83 h 86"/>
                <a:gd name="T20" fmla="*/ 12 w 86"/>
                <a:gd name="T21" fmla="*/ 74 h 86"/>
                <a:gd name="T22" fmla="*/ 4 w 86"/>
                <a:gd name="T23" fmla="*/ 60 h 86"/>
                <a:gd name="T24" fmla="*/ 0 w 86"/>
                <a:gd name="T25" fmla="*/ 44 h 86"/>
                <a:gd name="T26" fmla="*/ 4 w 86"/>
                <a:gd name="T27" fmla="*/ 27 h 86"/>
                <a:gd name="T28" fmla="*/ 12 w 86"/>
                <a:gd name="T29" fmla="*/ 13 h 86"/>
                <a:gd name="T30" fmla="*/ 26 w 86"/>
                <a:gd name="T31" fmla="*/ 4 h 86"/>
                <a:gd name="T32" fmla="*/ 42 w 86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59" y="4"/>
                  </a:lnTo>
                  <a:lnTo>
                    <a:pt x="73" y="13"/>
                  </a:lnTo>
                  <a:lnTo>
                    <a:pt x="82" y="27"/>
                  </a:lnTo>
                  <a:lnTo>
                    <a:pt x="86" y="44"/>
                  </a:lnTo>
                  <a:lnTo>
                    <a:pt x="82" y="60"/>
                  </a:lnTo>
                  <a:lnTo>
                    <a:pt x="73" y="74"/>
                  </a:lnTo>
                  <a:lnTo>
                    <a:pt x="59" y="83"/>
                  </a:lnTo>
                  <a:lnTo>
                    <a:pt x="42" y="86"/>
                  </a:lnTo>
                  <a:lnTo>
                    <a:pt x="26" y="83"/>
                  </a:lnTo>
                  <a:lnTo>
                    <a:pt x="12" y="74"/>
                  </a:lnTo>
                  <a:lnTo>
                    <a:pt x="4" y="60"/>
                  </a:lnTo>
                  <a:lnTo>
                    <a:pt x="0" y="44"/>
                  </a:lnTo>
                  <a:lnTo>
                    <a:pt x="4" y="27"/>
                  </a:lnTo>
                  <a:lnTo>
                    <a:pt x="12" y="13"/>
                  </a:lnTo>
                  <a:lnTo>
                    <a:pt x="26" y="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23"/>
            <p:cNvSpPr>
              <a:spLocks/>
            </p:cNvSpPr>
            <p:nvPr userDrawn="1"/>
          </p:nvSpPr>
          <p:spPr bwMode="auto">
            <a:xfrm>
              <a:off x="7660948" y="2819643"/>
              <a:ext cx="202879" cy="241414"/>
            </a:xfrm>
            <a:custGeom>
              <a:avLst/>
              <a:gdLst>
                <a:gd name="T0" fmla="*/ 100 w 179"/>
                <a:gd name="T1" fmla="*/ 0 h 213"/>
                <a:gd name="T2" fmla="*/ 119 w 179"/>
                <a:gd name="T3" fmla="*/ 1 h 213"/>
                <a:gd name="T4" fmla="*/ 137 w 179"/>
                <a:gd name="T5" fmla="*/ 5 h 213"/>
                <a:gd name="T6" fmla="*/ 152 w 179"/>
                <a:gd name="T7" fmla="*/ 12 h 213"/>
                <a:gd name="T8" fmla="*/ 166 w 179"/>
                <a:gd name="T9" fmla="*/ 26 h 213"/>
                <a:gd name="T10" fmla="*/ 175 w 179"/>
                <a:gd name="T11" fmla="*/ 43 h 213"/>
                <a:gd name="T12" fmla="*/ 179 w 179"/>
                <a:gd name="T13" fmla="*/ 68 h 213"/>
                <a:gd name="T14" fmla="*/ 177 w 179"/>
                <a:gd name="T15" fmla="*/ 85 h 213"/>
                <a:gd name="T16" fmla="*/ 173 w 179"/>
                <a:gd name="T17" fmla="*/ 105 h 213"/>
                <a:gd name="T18" fmla="*/ 170 w 179"/>
                <a:gd name="T19" fmla="*/ 119 h 213"/>
                <a:gd name="T20" fmla="*/ 165 w 179"/>
                <a:gd name="T21" fmla="*/ 136 h 213"/>
                <a:gd name="T22" fmla="*/ 158 w 179"/>
                <a:gd name="T23" fmla="*/ 157 h 213"/>
                <a:gd name="T24" fmla="*/ 149 w 179"/>
                <a:gd name="T25" fmla="*/ 178 h 213"/>
                <a:gd name="T26" fmla="*/ 144 w 179"/>
                <a:gd name="T27" fmla="*/ 196 h 213"/>
                <a:gd name="T28" fmla="*/ 138 w 179"/>
                <a:gd name="T29" fmla="*/ 208 h 213"/>
                <a:gd name="T30" fmla="*/ 137 w 179"/>
                <a:gd name="T31" fmla="*/ 213 h 213"/>
                <a:gd name="T32" fmla="*/ 93 w 179"/>
                <a:gd name="T33" fmla="*/ 213 h 213"/>
                <a:gd name="T34" fmla="*/ 93 w 179"/>
                <a:gd name="T35" fmla="*/ 150 h 213"/>
                <a:gd name="T36" fmla="*/ 100 w 179"/>
                <a:gd name="T37" fmla="*/ 127 h 213"/>
                <a:gd name="T38" fmla="*/ 109 w 179"/>
                <a:gd name="T39" fmla="*/ 103 h 213"/>
                <a:gd name="T40" fmla="*/ 110 w 179"/>
                <a:gd name="T41" fmla="*/ 92 h 213"/>
                <a:gd name="T42" fmla="*/ 112 w 179"/>
                <a:gd name="T43" fmla="*/ 84 h 213"/>
                <a:gd name="T44" fmla="*/ 114 w 179"/>
                <a:gd name="T45" fmla="*/ 78 h 213"/>
                <a:gd name="T46" fmla="*/ 112 w 179"/>
                <a:gd name="T47" fmla="*/ 73 h 213"/>
                <a:gd name="T48" fmla="*/ 112 w 179"/>
                <a:gd name="T49" fmla="*/ 70 h 213"/>
                <a:gd name="T50" fmla="*/ 110 w 179"/>
                <a:gd name="T51" fmla="*/ 68 h 213"/>
                <a:gd name="T52" fmla="*/ 109 w 179"/>
                <a:gd name="T53" fmla="*/ 66 h 213"/>
                <a:gd name="T54" fmla="*/ 107 w 179"/>
                <a:gd name="T55" fmla="*/ 64 h 213"/>
                <a:gd name="T56" fmla="*/ 100 w 179"/>
                <a:gd name="T57" fmla="*/ 63 h 213"/>
                <a:gd name="T58" fmla="*/ 93 w 179"/>
                <a:gd name="T59" fmla="*/ 63 h 213"/>
                <a:gd name="T60" fmla="*/ 81 w 179"/>
                <a:gd name="T61" fmla="*/ 63 h 213"/>
                <a:gd name="T62" fmla="*/ 63 w 179"/>
                <a:gd name="T63" fmla="*/ 66 h 213"/>
                <a:gd name="T64" fmla="*/ 63 w 179"/>
                <a:gd name="T65" fmla="*/ 213 h 213"/>
                <a:gd name="T66" fmla="*/ 0 w 179"/>
                <a:gd name="T67" fmla="*/ 213 h 213"/>
                <a:gd name="T68" fmla="*/ 0 w 179"/>
                <a:gd name="T69" fmla="*/ 17 h 213"/>
                <a:gd name="T70" fmla="*/ 19 w 179"/>
                <a:gd name="T71" fmla="*/ 12 h 213"/>
                <a:gd name="T72" fmla="*/ 47 w 179"/>
                <a:gd name="T73" fmla="*/ 5 h 213"/>
                <a:gd name="T74" fmla="*/ 81 w 179"/>
                <a:gd name="T75" fmla="*/ 1 h 213"/>
                <a:gd name="T76" fmla="*/ 89 w 179"/>
                <a:gd name="T77" fmla="*/ 0 h 213"/>
                <a:gd name="T78" fmla="*/ 100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100" y="0"/>
                  </a:moveTo>
                  <a:lnTo>
                    <a:pt x="119" y="1"/>
                  </a:lnTo>
                  <a:lnTo>
                    <a:pt x="137" y="5"/>
                  </a:lnTo>
                  <a:lnTo>
                    <a:pt x="152" y="12"/>
                  </a:lnTo>
                  <a:lnTo>
                    <a:pt x="166" y="26"/>
                  </a:lnTo>
                  <a:lnTo>
                    <a:pt x="175" y="43"/>
                  </a:lnTo>
                  <a:lnTo>
                    <a:pt x="179" y="68"/>
                  </a:lnTo>
                  <a:lnTo>
                    <a:pt x="177" y="85"/>
                  </a:lnTo>
                  <a:lnTo>
                    <a:pt x="173" y="105"/>
                  </a:lnTo>
                  <a:lnTo>
                    <a:pt x="170" y="119"/>
                  </a:lnTo>
                  <a:lnTo>
                    <a:pt x="165" y="136"/>
                  </a:lnTo>
                  <a:lnTo>
                    <a:pt x="158" y="157"/>
                  </a:lnTo>
                  <a:lnTo>
                    <a:pt x="149" y="178"/>
                  </a:lnTo>
                  <a:lnTo>
                    <a:pt x="144" y="196"/>
                  </a:lnTo>
                  <a:lnTo>
                    <a:pt x="138" y="208"/>
                  </a:lnTo>
                  <a:lnTo>
                    <a:pt x="137" y="213"/>
                  </a:lnTo>
                  <a:lnTo>
                    <a:pt x="93" y="213"/>
                  </a:lnTo>
                  <a:lnTo>
                    <a:pt x="93" y="150"/>
                  </a:lnTo>
                  <a:lnTo>
                    <a:pt x="100" y="127"/>
                  </a:lnTo>
                  <a:lnTo>
                    <a:pt x="109" y="103"/>
                  </a:lnTo>
                  <a:lnTo>
                    <a:pt x="110" y="92"/>
                  </a:lnTo>
                  <a:lnTo>
                    <a:pt x="112" y="84"/>
                  </a:lnTo>
                  <a:lnTo>
                    <a:pt x="114" y="78"/>
                  </a:lnTo>
                  <a:lnTo>
                    <a:pt x="112" y="73"/>
                  </a:lnTo>
                  <a:lnTo>
                    <a:pt x="112" y="70"/>
                  </a:lnTo>
                  <a:lnTo>
                    <a:pt x="110" y="68"/>
                  </a:lnTo>
                  <a:lnTo>
                    <a:pt x="109" y="66"/>
                  </a:lnTo>
                  <a:lnTo>
                    <a:pt x="107" y="64"/>
                  </a:lnTo>
                  <a:lnTo>
                    <a:pt x="100" y="63"/>
                  </a:lnTo>
                  <a:lnTo>
                    <a:pt x="93" y="63"/>
                  </a:lnTo>
                  <a:lnTo>
                    <a:pt x="81" y="63"/>
                  </a:lnTo>
                  <a:lnTo>
                    <a:pt x="63" y="66"/>
                  </a:lnTo>
                  <a:lnTo>
                    <a:pt x="63" y="213"/>
                  </a:lnTo>
                  <a:lnTo>
                    <a:pt x="0" y="213"/>
                  </a:lnTo>
                  <a:lnTo>
                    <a:pt x="0" y="17"/>
                  </a:lnTo>
                  <a:lnTo>
                    <a:pt x="19" y="12"/>
                  </a:lnTo>
                  <a:lnTo>
                    <a:pt x="47" y="5"/>
                  </a:lnTo>
                  <a:lnTo>
                    <a:pt x="81" y="1"/>
                  </a:lnTo>
                  <a:lnTo>
                    <a:pt x="89" y="0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Rectangle 24"/>
            <p:cNvSpPr>
              <a:spLocks noChangeArrowheads="1"/>
            </p:cNvSpPr>
            <p:nvPr userDrawn="1"/>
          </p:nvSpPr>
          <p:spPr bwMode="auto">
            <a:xfrm>
              <a:off x="7367399" y="3090525"/>
              <a:ext cx="434092" cy="63470"/>
            </a:xfrm>
            <a:prstGeom prst="rect">
              <a:avLst/>
            </a:prstGeom>
            <a:solidFill>
              <a:schemeClr val="accent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25"/>
            <p:cNvSpPr>
              <a:spLocks/>
            </p:cNvSpPr>
            <p:nvPr userDrawn="1"/>
          </p:nvSpPr>
          <p:spPr bwMode="auto">
            <a:xfrm>
              <a:off x="7544209" y="2838911"/>
              <a:ext cx="79338" cy="222146"/>
            </a:xfrm>
            <a:custGeom>
              <a:avLst/>
              <a:gdLst>
                <a:gd name="T0" fmla="*/ 35 w 70"/>
                <a:gd name="T1" fmla="*/ 0 h 196"/>
                <a:gd name="T2" fmla="*/ 56 w 70"/>
                <a:gd name="T3" fmla="*/ 0 h 196"/>
                <a:gd name="T4" fmla="*/ 66 w 70"/>
                <a:gd name="T5" fmla="*/ 2 h 196"/>
                <a:gd name="T6" fmla="*/ 70 w 70"/>
                <a:gd name="T7" fmla="*/ 2 h 196"/>
                <a:gd name="T8" fmla="*/ 70 w 70"/>
                <a:gd name="T9" fmla="*/ 196 h 196"/>
                <a:gd name="T10" fmla="*/ 0 w 70"/>
                <a:gd name="T11" fmla="*/ 196 h 196"/>
                <a:gd name="T12" fmla="*/ 0 w 70"/>
                <a:gd name="T13" fmla="*/ 2 h 196"/>
                <a:gd name="T14" fmla="*/ 5 w 70"/>
                <a:gd name="T15" fmla="*/ 2 h 196"/>
                <a:gd name="T16" fmla="*/ 17 w 70"/>
                <a:gd name="T17" fmla="*/ 0 h 196"/>
                <a:gd name="T18" fmla="*/ 35 w 70"/>
                <a:gd name="T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96">
                  <a:moveTo>
                    <a:pt x="35" y="0"/>
                  </a:moveTo>
                  <a:lnTo>
                    <a:pt x="56" y="0"/>
                  </a:lnTo>
                  <a:lnTo>
                    <a:pt x="66" y="2"/>
                  </a:lnTo>
                  <a:lnTo>
                    <a:pt x="70" y="2"/>
                  </a:lnTo>
                  <a:lnTo>
                    <a:pt x="70" y="196"/>
                  </a:lnTo>
                  <a:lnTo>
                    <a:pt x="0" y="196"/>
                  </a:lnTo>
                  <a:lnTo>
                    <a:pt x="0" y="2"/>
                  </a:lnTo>
                  <a:lnTo>
                    <a:pt x="5" y="2"/>
                  </a:lnTo>
                  <a:lnTo>
                    <a:pt x="17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26"/>
            <p:cNvSpPr>
              <a:spLocks/>
            </p:cNvSpPr>
            <p:nvPr userDrawn="1"/>
          </p:nvSpPr>
          <p:spPr bwMode="auto">
            <a:xfrm>
              <a:off x="7306195" y="2819643"/>
              <a:ext cx="202879" cy="241414"/>
            </a:xfrm>
            <a:custGeom>
              <a:avLst/>
              <a:gdLst>
                <a:gd name="T0" fmla="*/ 77 w 179"/>
                <a:gd name="T1" fmla="*/ 0 h 213"/>
                <a:gd name="T2" fmla="*/ 88 w 179"/>
                <a:gd name="T3" fmla="*/ 0 h 213"/>
                <a:gd name="T4" fmla="*/ 98 w 179"/>
                <a:gd name="T5" fmla="*/ 1 h 213"/>
                <a:gd name="T6" fmla="*/ 131 w 179"/>
                <a:gd name="T7" fmla="*/ 5 h 213"/>
                <a:gd name="T8" fmla="*/ 159 w 179"/>
                <a:gd name="T9" fmla="*/ 12 h 213"/>
                <a:gd name="T10" fmla="*/ 179 w 179"/>
                <a:gd name="T11" fmla="*/ 17 h 213"/>
                <a:gd name="T12" fmla="*/ 179 w 179"/>
                <a:gd name="T13" fmla="*/ 213 h 213"/>
                <a:gd name="T14" fmla="*/ 114 w 179"/>
                <a:gd name="T15" fmla="*/ 213 h 213"/>
                <a:gd name="T16" fmla="*/ 114 w 179"/>
                <a:gd name="T17" fmla="*/ 66 h 213"/>
                <a:gd name="T18" fmla="*/ 98 w 179"/>
                <a:gd name="T19" fmla="*/ 63 h 213"/>
                <a:gd name="T20" fmla="*/ 86 w 179"/>
                <a:gd name="T21" fmla="*/ 63 h 213"/>
                <a:gd name="T22" fmla="*/ 77 w 179"/>
                <a:gd name="T23" fmla="*/ 63 h 213"/>
                <a:gd name="T24" fmla="*/ 72 w 179"/>
                <a:gd name="T25" fmla="*/ 64 h 213"/>
                <a:gd name="T26" fmla="*/ 68 w 179"/>
                <a:gd name="T27" fmla="*/ 66 h 213"/>
                <a:gd name="T28" fmla="*/ 67 w 179"/>
                <a:gd name="T29" fmla="*/ 68 h 213"/>
                <a:gd name="T30" fmla="*/ 67 w 179"/>
                <a:gd name="T31" fmla="*/ 70 h 213"/>
                <a:gd name="T32" fmla="*/ 65 w 179"/>
                <a:gd name="T33" fmla="*/ 73 h 213"/>
                <a:gd name="T34" fmla="*/ 65 w 179"/>
                <a:gd name="T35" fmla="*/ 78 h 213"/>
                <a:gd name="T36" fmla="*/ 65 w 179"/>
                <a:gd name="T37" fmla="*/ 84 h 213"/>
                <a:gd name="T38" fmla="*/ 67 w 179"/>
                <a:gd name="T39" fmla="*/ 92 h 213"/>
                <a:gd name="T40" fmla="*/ 70 w 179"/>
                <a:gd name="T41" fmla="*/ 103 h 213"/>
                <a:gd name="T42" fmla="*/ 77 w 179"/>
                <a:gd name="T43" fmla="*/ 127 h 213"/>
                <a:gd name="T44" fmla="*/ 86 w 179"/>
                <a:gd name="T45" fmla="*/ 150 h 213"/>
                <a:gd name="T46" fmla="*/ 86 w 179"/>
                <a:gd name="T47" fmla="*/ 213 h 213"/>
                <a:gd name="T48" fmla="*/ 42 w 179"/>
                <a:gd name="T49" fmla="*/ 213 h 213"/>
                <a:gd name="T50" fmla="*/ 40 w 179"/>
                <a:gd name="T51" fmla="*/ 208 h 213"/>
                <a:gd name="T52" fmla="*/ 35 w 179"/>
                <a:gd name="T53" fmla="*/ 196 h 213"/>
                <a:gd name="T54" fmla="*/ 28 w 179"/>
                <a:gd name="T55" fmla="*/ 178 h 213"/>
                <a:gd name="T56" fmla="*/ 21 w 179"/>
                <a:gd name="T57" fmla="*/ 157 h 213"/>
                <a:gd name="T58" fmla="*/ 14 w 179"/>
                <a:gd name="T59" fmla="*/ 136 h 213"/>
                <a:gd name="T60" fmla="*/ 7 w 179"/>
                <a:gd name="T61" fmla="*/ 119 h 213"/>
                <a:gd name="T62" fmla="*/ 4 w 179"/>
                <a:gd name="T63" fmla="*/ 105 h 213"/>
                <a:gd name="T64" fmla="*/ 0 w 179"/>
                <a:gd name="T65" fmla="*/ 85 h 213"/>
                <a:gd name="T66" fmla="*/ 0 w 179"/>
                <a:gd name="T67" fmla="*/ 68 h 213"/>
                <a:gd name="T68" fmla="*/ 2 w 179"/>
                <a:gd name="T69" fmla="*/ 43 h 213"/>
                <a:gd name="T70" fmla="*/ 12 w 179"/>
                <a:gd name="T71" fmla="*/ 26 h 213"/>
                <a:gd name="T72" fmla="*/ 25 w 179"/>
                <a:gd name="T73" fmla="*/ 12 h 213"/>
                <a:gd name="T74" fmla="*/ 42 w 179"/>
                <a:gd name="T75" fmla="*/ 5 h 213"/>
                <a:gd name="T76" fmla="*/ 60 w 179"/>
                <a:gd name="T77" fmla="*/ 1 h 213"/>
                <a:gd name="T78" fmla="*/ 77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77" y="0"/>
                  </a:moveTo>
                  <a:lnTo>
                    <a:pt x="88" y="0"/>
                  </a:lnTo>
                  <a:lnTo>
                    <a:pt x="98" y="1"/>
                  </a:lnTo>
                  <a:lnTo>
                    <a:pt x="131" y="5"/>
                  </a:lnTo>
                  <a:lnTo>
                    <a:pt x="159" y="12"/>
                  </a:lnTo>
                  <a:lnTo>
                    <a:pt x="179" y="17"/>
                  </a:lnTo>
                  <a:lnTo>
                    <a:pt x="179" y="213"/>
                  </a:lnTo>
                  <a:lnTo>
                    <a:pt x="114" y="213"/>
                  </a:lnTo>
                  <a:lnTo>
                    <a:pt x="114" y="66"/>
                  </a:lnTo>
                  <a:lnTo>
                    <a:pt x="98" y="63"/>
                  </a:lnTo>
                  <a:lnTo>
                    <a:pt x="86" y="63"/>
                  </a:lnTo>
                  <a:lnTo>
                    <a:pt x="77" y="63"/>
                  </a:lnTo>
                  <a:lnTo>
                    <a:pt x="72" y="64"/>
                  </a:lnTo>
                  <a:lnTo>
                    <a:pt x="68" y="66"/>
                  </a:lnTo>
                  <a:lnTo>
                    <a:pt x="67" y="68"/>
                  </a:lnTo>
                  <a:lnTo>
                    <a:pt x="67" y="70"/>
                  </a:lnTo>
                  <a:lnTo>
                    <a:pt x="65" y="73"/>
                  </a:lnTo>
                  <a:lnTo>
                    <a:pt x="65" y="78"/>
                  </a:lnTo>
                  <a:lnTo>
                    <a:pt x="65" y="84"/>
                  </a:lnTo>
                  <a:lnTo>
                    <a:pt x="67" y="92"/>
                  </a:lnTo>
                  <a:lnTo>
                    <a:pt x="70" y="103"/>
                  </a:lnTo>
                  <a:lnTo>
                    <a:pt x="77" y="127"/>
                  </a:lnTo>
                  <a:lnTo>
                    <a:pt x="86" y="150"/>
                  </a:lnTo>
                  <a:lnTo>
                    <a:pt x="86" y="213"/>
                  </a:lnTo>
                  <a:lnTo>
                    <a:pt x="42" y="213"/>
                  </a:lnTo>
                  <a:lnTo>
                    <a:pt x="40" y="208"/>
                  </a:lnTo>
                  <a:lnTo>
                    <a:pt x="35" y="196"/>
                  </a:lnTo>
                  <a:lnTo>
                    <a:pt x="28" y="178"/>
                  </a:lnTo>
                  <a:lnTo>
                    <a:pt x="21" y="157"/>
                  </a:lnTo>
                  <a:lnTo>
                    <a:pt x="14" y="136"/>
                  </a:lnTo>
                  <a:lnTo>
                    <a:pt x="7" y="119"/>
                  </a:lnTo>
                  <a:lnTo>
                    <a:pt x="4" y="105"/>
                  </a:lnTo>
                  <a:lnTo>
                    <a:pt x="0" y="85"/>
                  </a:lnTo>
                  <a:lnTo>
                    <a:pt x="0" y="68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5"/>
                  </a:lnTo>
                  <a:lnTo>
                    <a:pt x="60" y="1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9" name="Groep 138"/>
            <p:cNvGrpSpPr/>
            <p:nvPr userDrawn="1"/>
          </p:nvGrpSpPr>
          <p:grpSpPr>
            <a:xfrm>
              <a:off x="2736339" y="569851"/>
              <a:ext cx="1250138" cy="864781"/>
              <a:chOff x="2231601" y="564602"/>
              <a:chExt cx="1136489" cy="786165"/>
            </a:xfrm>
          </p:grpSpPr>
          <p:sp>
            <p:nvSpPr>
              <p:cNvPr id="179" name="Freeform 27"/>
              <p:cNvSpPr>
                <a:spLocks/>
              </p:cNvSpPr>
              <p:nvPr userDrawn="1"/>
            </p:nvSpPr>
            <p:spPr bwMode="auto">
              <a:xfrm>
                <a:off x="2231601" y="582118"/>
                <a:ext cx="1099395" cy="768649"/>
              </a:xfrm>
              <a:custGeom>
                <a:avLst/>
                <a:gdLst>
                  <a:gd name="T0" fmla="*/ 152 w 1067"/>
                  <a:gd name="T1" fmla="*/ 0 h 746"/>
                  <a:gd name="T2" fmla="*/ 152 w 1067"/>
                  <a:gd name="T3" fmla="*/ 2 h 746"/>
                  <a:gd name="T4" fmla="*/ 151 w 1067"/>
                  <a:gd name="T5" fmla="*/ 6 h 746"/>
                  <a:gd name="T6" fmla="*/ 151 w 1067"/>
                  <a:gd name="T7" fmla="*/ 9 h 746"/>
                  <a:gd name="T8" fmla="*/ 149 w 1067"/>
                  <a:gd name="T9" fmla="*/ 13 h 746"/>
                  <a:gd name="T10" fmla="*/ 149 w 1067"/>
                  <a:gd name="T11" fmla="*/ 13 h 746"/>
                  <a:gd name="T12" fmla="*/ 131 w 1067"/>
                  <a:gd name="T13" fmla="*/ 62 h 746"/>
                  <a:gd name="T14" fmla="*/ 117 w 1067"/>
                  <a:gd name="T15" fmla="*/ 109 h 746"/>
                  <a:gd name="T16" fmla="*/ 98 w 1067"/>
                  <a:gd name="T17" fmla="*/ 179 h 746"/>
                  <a:gd name="T18" fmla="*/ 82 w 1067"/>
                  <a:gd name="T19" fmla="*/ 252 h 746"/>
                  <a:gd name="T20" fmla="*/ 72 w 1067"/>
                  <a:gd name="T21" fmla="*/ 326 h 746"/>
                  <a:gd name="T22" fmla="*/ 68 w 1067"/>
                  <a:gd name="T23" fmla="*/ 401 h 746"/>
                  <a:gd name="T24" fmla="*/ 72 w 1067"/>
                  <a:gd name="T25" fmla="*/ 459 h 746"/>
                  <a:gd name="T26" fmla="*/ 84 w 1067"/>
                  <a:gd name="T27" fmla="*/ 517 h 746"/>
                  <a:gd name="T28" fmla="*/ 100 w 1067"/>
                  <a:gd name="T29" fmla="*/ 553 h 746"/>
                  <a:gd name="T30" fmla="*/ 121 w 1067"/>
                  <a:gd name="T31" fmla="*/ 587 h 746"/>
                  <a:gd name="T32" fmla="*/ 149 w 1067"/>
                  <a:gd name="T33" fmla="*/ 620 h 746"/>
                  <a:gd name="T34" fmla="*/ 184 w 1067"/>
                  <a:gd name="T35" fmla="*/ 646 h 746"/>
                  <a:gd name="T36" fmla="*/ 224 w 1067"/>
                  <a:gd name="T37" fmla="*/ 664 h 746"/>
                  <a:gd name="T38" fmla="*/ 264 w 1067"/>
                  <a:gd name="T39" fmla="*/ 678 h 746"/>
                  <a:gd name="T40" fmla="*/ 310 w 1067"/>
                  <a:gd name="T41" fmla="*/ 686 h 746"/>
                  <a:gd name="T42" fmla="*/ 373 w 1067"/>
                  <a:gd name="T43" fmla="*/ 695 h 746"/>
                  <a:gd name="T44" fmla="*/ 441 w 1067"/>
                  <a:gd name="T45" fmla="*/ 699 h 746"/>
                  <a:gd name="T46" fmla="*/ 512 w 1067"/>
                  <a:gd name="T47" fmla="*/ 699 h 746"/>
                  <a:gd name="T48" fmla="*/ 619 w 1067"/>
                  <a:gd name="T49" fmla="*/ 695 h 746"/>
                  <a:gd name="T50" fmla="*/ 731 w 1067"/>
                  <a:gd name="T51" fmla="*/ 686 h 746"/>
                  <a:gd name="T52" fmla="*/ 845 w 1067"/>
                  <a:gd name="T53" fmla="*/ 676 h 746"/>
                  <a:gd name="T54" fmla="*/ 957 w 1067"/>
                  <a:gd name="T55" fmla="*/ 662 h 746"/>
                  <a:gd name="T56" fmla="*/ 1067 w 1067"/>
                  <a:gd name="T57" fmla="*/ 648 h 746"/>
                  <a:gd name="T58" fmla="*/ 1016 w 1067"/>
                  <a:gd name="T59" fmla="*/ 657 h 746"/>
                  <a:gd name="T60" fmla="*/ 958 w 1067"/>
                  <a:gd name="T61" fmla="*/ 665 h 746"/>
                  <a:gd name="T62" fmla="*/ 892 w 1067"/>
                  <a:gd name="T63" fmla="*/ 676 h 746"/>
                  <a:gd name="T64" fmla="*/ 824 w 1067"/>
                  <a:gd name="T65" fmla="*/ 686 h 746"/>
                  <a:gd name="T66" fmla="*/ 756 w 1067"/>
                  <a:gd name="T67" fmla="*/ 697 h 746"/>
                  <a:gd name="T68" fmla="*/ 689 w 1067"/>
                  <a:gd name="T69" fmla="*/ 706 h 746"/>
                  <a:gd name="T70" fmla="*/ 628 w 1067"/>
                  <a:gd name="T71" fmla="*/ 714 h 746"/>
                  <a:gd name="T72" fmla="*/ 577 w 1067"/>
                  <a:gd name="T73" fmla="*/ 721 h 746"/>
                  <a:gd name="T74" fmla="*/ 490 w 1067"/>
                  <a:gd name="T75" fmla="*/ 732 h 746"/>
                  <a:gd name="T76" fmla="*/ 406 w 1067"/>
                  <a:gd name="T77" fmla="*/ 739 h 746"/>
                  <a:gd name="T78" fmla="*/ 325 w 1067"/>
                  <a:gd name="T79" fmla="*/ 744 h 746"/>
                  <a:gd name="T80" fmla="*/ 252 w 1067"/>
                  <a:gd name="T81" fmla="*/ 746 h 746"/>
                  <a:gd name="T82" fmla="*/ 186 w 1067"/>
                  <a:gd name="T83" fmla="*/ 744 h 746"/>
                  <a:gd name="T84" fmla="*/ 126 w 1067"/>
                  <a:gd name="T85" fmla="*/ 735 h 746"/>
                  <a:gd name="T86" fmla="*/ 105 w 1067"/>
                  <a:gd name="T87" fmla="*/ 730 h 746"/>
                  <a:gd name="T88" fmla="*/ 82 w 1067"/>
                  <a:gd name="T89" fmla="*/ 721 h 746"/>
                  <a:gd name="T90" fmla="*/ 61 w 1067"/>
                  <a:gd name="T91" fmla="*/ 711 h 746"/>
                  <a:gd name="T92" fmla="*/ 42 w 1067"/>
                  <a:gd name="T93" fmla="*/ 695 h 746"/>
                  <a:gd name="T94" fmla="*/ 26 w 1067"/>
                  <a:gd name="T95" fmla="*/ 676 h 746"/>
                  <a:gd name="T96" fmla="*/ 12 w 1067"/>
                  <a:gd name="T97" fmla="*/ 650 h 746"/>
                  <a:gd name="T98" fmla="*/ 4 w 1067"/>
                  <a:gd name="T99" fmla="*/ 618 h 746"/>
                  <a:gd name="T100" fmla="*/ 0 w 1067"/>
                  <a:gd name="T101" fmla="*/ 581 h 746"/>
                  <a:gd name="T102" fmla="*/ 0 w 1067"/>
                  <a:gd name="T103" fmla="*/ 550 h 746"/>
                  <a:gd name="T104" fmla="*/ 2 w 1067"/>
                  <a:gd name="T105" fmla="*/ 517 h 746"/>
                  <a:gd name="T106" fmla="*/ 7 w 1067"/>
                  <a:gd name="T107" fmla="*/ 478 h 746"/>
                  <a:gd name="T108" fmla="*/ 16 w 1067"/>
                  <a:gd name="T109" fmla="*/ 436 h 746"/>
                  <a:gd name="T110" fmla="*/ 26 w 1067"/>
                  <a:gd name="T111" fmla="*/ 392 h 746"/>
                  <a:gd name="T112" fmla="*/ 39 w 1067"/>
                  <a:gd name="T113" fmla="*/ 347 h 746"/>
                  <a:gd name="T114" fmla="*/ 54 w 1067"/>
                  <a:gd name="T115" fmla="*/ 294 h 746"/>
                  <a:gd name="T116" fmla="*/ 72 w 1067"/>
                  <a:gd name="T117" fmla="*/ 235 h 746"/>
                  <a:gd name="T118" fmla="*/ 93 w 1067"/>
                  <a:gd name="T119" fmla="*/ 170 h 746"/>
                  <a:gd name="T120" fmla="*/ 119 w 1067"/>
                  <a:gd name="T121" fmla="*/ 95 h 746"/>
                  <a:gd name="T122" fmla="*/ 149 w 1067"/>
                  <a:gd name="T123" fmla="*/ 13 h 746"/>
                  <a:gd name="T124" fmla="*/ 152 w 1067"/>
                  <a:gd name="T125" fmla="*/ 0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67" h="746">
                    <a:moveTo>
                      <a:pt x="152" y="0"/>
                    </a:moveTo>
                    <a:lnTo>
                      <a:pt x="152" y="2"/>
                    </a:lnTo>
                    <a:lnTo>
                      <a:pt x="151" y="6"/>
                    </a:lnTo>
                    <a:lnTo>
                      <a:pt x="151" y="9"/>
                    </a:lnTo>
                    <a:lnTo>
                      <a:pt x="149" y="13"/>
                    </a:lnTo>
                    <a:lnTo>
                      <a:pt x="149" y="13"/>
                    </a:lnTo>
                    <a:lnTo>
                      <a:pt x="131" y="62"/>
                    </a:lnTo>
                    <a:lnTo>
                      <a:pt x="117" y="109"/>
                    </a:lnTo>
                    <a:lnTo>
                      <a:pt x="98" y="179"/>
                    </a:lnTo>
                    <a:lnTo>
                      <a:pt x="82" y="252"/>
                    </a:lnTo>
                    <a:lnTo>
                      <a:pt x="72" y="326"/>
                    </a:lnTo>
                    <a:lnTo>
                      <a:pt x="68" y="401"/>
                    </a:lnTo>
                    <a:lnTo>
                      <a:pt x="72" y="459"/>
                    </a:lnTo>
                    <a:lnTo>
                      <a:pt x="84" y="517"/>
                    </a:lnTo>
                    <a:lnTo>
                      <a:pt x="100" y="553"/>
                    </a:lnTo>
                    <a:lnTo>
                      <a:pt x="121" y="587"/>
                    </a:lnTo>
                    <a:lnTo>
                      <a:pt x="149" y="620"/>
                    </a:lnTo>
                    <a:lnTo>
                      <a:pt x="184" y="646"/>
                    </a:lnTo>
                    <a:lnTo>
                      <a:pt x="224" y="664"/>
                    </a:lnTo>
                    <a:lnTo>
                      <a:pt x="264" y="678"/>
                    </a:lnTo>
                    <a:lnTo>
                      <a:pt x="310" y="686"/>
                    </a:lnTo>
                    <a:lnTo>
                      <a:pt x="373" y="695"/>
                    </a:lnTo>
                    <a:lnTo>
                      <a:pt x="441" y="699"/>
                    </a:lnTo>
                    <a:lnTo>
                      <a:pt x="512" y="699"/>
                    </a:lnTo>
                    <a:lnTo>
                      <a:pt x="619" y="695"/>
                    </a:lnTo>
                    <a:lnTo>
                      <a:pt x="731" y="686"/>
                    </a:lnTo>
                    <a:lnTo>
                      <a:pt x="845" y="676"/>
                    </a:lnTo>
                    <a:lnTo>
                      <a:pt x="957" y="662"/>
                    </a:lnTo>
                    <a:lnTo>
                      <a:pt x="1067" y="648"/>
                    </a:lnTo>
                    <a:lnTo>
                      <a:pt x="1016" y="657"/>
                    </a:lnTo>
                    <a:lnTo>
                      <a:pt x="958" y="665"/>
                    </a:lnTo>
                    <a:lnTo>
                      <a:pt x="892" y="676"/>
                    </a:lnTo>
                    <a:lnTo>
                      <a:pt x="824" y="686"/>
                    </a:lnTo>
                    <a:lnTo>
                      <a:pt x="756" y="697"/>
                    </a:lnTo>
                    <a:lnTo>
                      <a:pt x="689" y="706"/>
                    </a:lnTo>
                    <a:lnTo>
                      <a:pt x="628" y="714"/>
                    </a:lnTo>
                    <a:lnTo>
                      <a:pt x="577" y="721"/>
                    </a:lnTo>
                    <a:lnTo>
                      <a:pt x="490" y="732"/>
                    </a:lnTo>
                    <a:lnTo>
                      <a:pt x="406" y="739"/>
                    </a:lnTo>
                    <a:lnTo>
                      <a:pt x="325" y="744"/>
                    </a:lnTo>
                    <a:lnTo>
                      <a:pt x="252" y="746"/>
                    </a:lnTo>
                    <a:lnTo>
                      <a:pt x="186" y="744"/>
                    </a:lnTo>
                    <a:lnTo>
                      <a:pt x="126" y="735"/>
                    </a:lnTo>
                    <a:lnTo>
                      <a:pt x="105" y="730"/>
                    </a:lnTo>
                    <a:lnTo>
                      <a:pt x="82" y="721"/>
                    </a:lnTo>
                    <a:lnTo>
                      <a:pt x="61" y="711"/>
                    </a:lnTo>
                    <a:lnTo>
                      <a:pt x="42" y="695"/>
                    </a:lnTo>
                    <a:lnTo>
                      <a:pt x="26" y="676"/>
                    </a:lnTo>
                    <a:lnTo>
                      <a:pt x="12" y="650"/>
                    </a:lnTo>
                    <a:lnTo>
                      <a:pt x="4" y="618"/>
                    </a:lnTo>
                    <a:lnTo>
                      <a:pt x="0" y="581"/>
                    </a:lnTo>
                    <a:lnTo>
                      <a:pt x="0" y="550"/>
                    </a:lnTo>
                    <a:lnTo>
                      <a:pt x="2" y="517"/>
                    </a:lnTo>
                    <a:lnTo>
                      <a:pt x="7" y="478"/>
                    </a:lnTo>
                    <a:lnTo>
                      <a:pt x="16" y="436"/>
                    </a:lnTo>
                    <a:lnTo>
                      <a:pt x="26" y="392"/>
                    </a:lnTo>
                    <a:lnTo>
                      <a:pt x="39" y="347"/>
                    </a:lnTo>
                    <a:lnTo>
                      <a:pt x="54" y="294"/>
                    </a:lnTo>
                    <a:lnTo>
                      <a:pt x="72" y="235"/>
                    </a:lnTo>
                    <a:lnTo>
                      <a:pt x="93" y="170"/>
                    </a:lnTo>
                    <a:lnTo>
                      <a:pt x="119" y="95"/>
                    </a:lnTo>
                    <a:lnTo>
                      <a:pt x="149" y="13"/>
                    </a:lnTo>
                    <a:lnTo>
                      <a:pt x="152" y="0"/>
                    </a:lnTo>
                    <a:close/>
                  </a:path>
                </a:pathLst>
              </a:custGeom>
              <a:solidFill>
                <a:srgbClr val="AED49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28"/>
              <p:cNvSpPr>
                <a:spLocks/>
              </p:cNvSpPr>
              <p:nvPr userDrawn="1"/>
            </p:nvSpPr>
            <p:spPr bwMode="auto">
              <a:xfrm>
                <a:off x="2301666" y="564602"/>
                <a:ext cx="1066424" cy="737738"/>
              </a:xfrm>
              <a:custGeom>
                <a:avLst/>
                <a:gdLst>
                  <a:gd name="T0" fmla="*/ 91 w 1035"/>
                  <a:gd name="T1" fmla="*/ 0 h 716"/>
                  <a:gd name="T2" fmla="*/ 133 w 1035"/>
                  <a:gd name="T3" fmla="*/ 17 h 716"/>
                  <a:gd name="T4" fmla="*/ 172 w 1035"/>
                  <a:gd name="T5" fmla="*/ 38 h 716"/>
                  <a:gd name="T6" fmla="*/ 205 w 1035"/>
                  <a:gd name="T7" fmla="*/ 61 h 716"/>
                  <a:gd name="T8" fmla="*/ 193 w 1035"/>
                  <a:gd name="T9" fmla="*/ 105 h 716"/>
                  <a:gd name="T10" fmla="*/ 180 w 1035"/>
                  <a:gd name="T11" fmla="*/ 152 h 716"/>
                  <a:gd name="T12" fmla="*/ 170 w 1035"/>
                  <a:gd name="T13" fmla="*/ 199 h 716"/>
                  <a:gd name="T14" fmla="*/ 159 w 1035"/>
                  <a:gd name="T15" fmla="*/ 247 h 716"/>
                  <a:gd name="T16" fmla="*/ 152 w 1035"/>
                  <a:gd name="T17" fmla="*/ 292 h 716"/>
                  <a:gd name="T18" fmla="*/ 149 w 1035"/>
                  <a:gd name="T19" fmla="*/ 338 h 716"/>
                  <a:gd name="T20" fmla="*/ 145 w 1035"/>
                  <a:gd name="T21" fmla="*/ 378 h 716"/>
                  <a:gd name="T22" fmla="*/ 147 w 1035"/>
                  <a:gd name="T23" fmla="*/ 416 h 716"/>
                  <a:gd name="T24" fmla="*/ 154 w 1035"/>
                  <a:gd name="T25" fmla="*/ 450 h 716"/>
                  <a:gd name="T26" fmla="*/ 163 w 1035"/>
                  <a:gd name="T27" fmla="*/ 478 h 716"/>
                  <a:gd name="T28" fmla="*/ 179 w 1035"/>
                  <a:gd name="T29" fmla="*/ 499 h 716"/>
                  <a:gd name="T30" fmla="*/ 203 w 1035"/>
                  <a:gd name="T31" fmla="*/ 518 h 716"/>
                  <a:gd name="T32" fmla="*/ 235 w 1035"/>
                  <a:gd name="T33" fmla="*/ 532 h 716"/>
                  <a:gd name="T34" fmla="*/ 271 w 1035"/>
                  <a:gd name="T35" fmla="*/ 542 h 716"/>
                  <a:gd name="T36" fmla="*/ 317 w 1035"/>
                  <a:gd name="T37" fmla="*/ 549 h 716"/>
                  <a:gd name="T38" fmla="*/ 366 w 1035"/>
                  <a:gd name="T39" fmla="*/ 553 h 716"/>
                  <a:gd name="T40" fmla="*/ 420 w 1035"/>
                  <a:gd name="T41" fmla="*/ 555 h 716"/>
                  <a:gd name="T42" fmla="*/ 478 w 1035"/>
                  <a:gd name="T43" fmla="*/ 553 h 716"/>
                  <a:gd name="T44" fmla="*/ 539 w 1035"/>
                  <a:gd name="T45" fmla="*/ 548 h 716"/>
                  <a:gd name="T46" fmla="*/ 602 w 1035"/>
                  <a:gd name="T47" fmla="*/ 542 h 716"/>
                  <a:gd name="T48" fmla="*/ 668 w 1035"/>
                  <a:gd name="T49" fmla="*/ 534 h 716"/>
                  <a:gd name="T50" fmla="*/ 820 w 1035"/>
                  <a:gd name="T51" fmla="*/ 514 h 716"/>
                  <a:gd name="T52" fmla="*/ 969 w 1035"/>
                  <a:gd name="T53" fmla="*/ 495 h 716"/>
                  <a:gd name="T54" fmla="*/ 990 w 1035"/>
                  <a:gd name="T55" fmla="*/ 534 h 716"/>
                  <a:gd name="T56" fmla="*/ 1009 w 1035"/>
                  <a:gd name="T57" fmla="*/ 576 h 716"/>
                  <a:gd name="T58" fmla="*/ 1025 w 1035"/>
                  <a:gd name="T59" fmla="*/ 621 h 716"/>
                  <a:gd name="T60" fmla="*/ 1035 w 1035"/>
                  <a:gd name="T61" fmla="*/ 660 h 716"/>
                  <a:gd name="T62" fmla="*/ 999 w 1035"/>
                  <a:gd name="T63" fmla="*/ 665 h 716"/>
                  <a:gd name="T64" fmla="*/ 889 w 1035"/>
                  <a:gd name="T65" fmla="*/ 679 h 716"/>
                  <a:gd name="T66" fmla="*/ 777 w 1035"/>
                  <a:gd name="T67" fmla="*/ 693 h 716"/>
                  <a:gd name="T68" fmla="*/ 663 w 1035"/>
                  <a:gd name="T69" fmla="*/ 703 h 716"/>
                  <a:gd name="T70" fmla="*/ 551 w 1035"/>
                  <a:gd name="T71" fmla="*/ 712 h 716"/>
                  <a:gd name="T72" fmla="*/ 444 w 1035"/>
                  <a:gd name="T73" fmla="*/ 716 h 716"/>
                  <a:gd name="T74" fmla="*/ 373 w 1035"/>
                  <a:gd name="T75" fmla="*/ 716 h 716"/>
                  <a:gd name="T76" fmla="*/ 305 w 1035"/>
                  <a:gd name="T77" fmla="*/ 712 h 716"/>
                  <a:gd name="T78" fmla="*/ 242 w 1035"/>
                  <a:gd name="T79" fmla="*/ 703 h 716"/>
                  <a:gd name="T80" fmla="*/ 196 w 1035"/>
                  <a:gd name="T81" fmla="*/ 695 h 716"/>
                  <a:gd name="T82" fmla="*/ 156 w 1035"/>
                  <a:gd name="T83" fmla="*/ 681 h 716"/>
                  <a:gd name="T84" fmla="*/ 116 w 1035"/>
                  <a:gd name="T85" fmla="*/ 663 h 716"/>
                  <a:gd name="T86" fmla="*/ 81 w 1035"/>
                  <a:gd name="T87" fmla="*/ 637 h 716"/>
                  <a:gd name="T88" fmla="*/ 53 w 1035"/>
                  <a:gd name="T89" fmla="*/ 605 h 716"/>
                  <a:gd name="T90" fmla="*/ 32 w 1035"/>
                  <a:gd name="T91" fmla="*/ 570 h 716"/>
                  <a:gd name="T92" fmla="*/ 16 w 1035"/>
                  <a:gd name="T93" fmla="*/ 534 h 716"/>
                  <a:gd name="T94" fmla="*/ 4 w 1035"/>
                  <a:gd name="T95" fmla="*/ 476 h 716"/>
                  <a:gd name="T96" fmla="*/ 0 w 1035"/>
                  <a:gd name="T97" fmla="*/ 418 h 716"/>
                  <a:gd name="T98" fmla="*/ 4 w 1035"/>
                  <a:gd name="T99" fmla="*/ 343 h 716"/>
                  <a:gd name="T100" fmla="*/ 14 w 1035"/>
                  <a:gd name="T101" fmla="*/ 269 h 716"/>
                  <a:gd name="T102" fmla="*/ 30 w 1035"/>
                  <a:gd name="T103" fmla="*/ 196 h 716"/>
                  <a:gd name="T104" fmla="*/ 49 w 1035"/>
                  <a:gd name="T105" fmla="*/ 126 h 716"/>
                  <a:gd name="T106" fmla="*/ 69 w 1035"/>
                  <a:gd name="T107" fmla="*/ 65 h 716"/>
                  <a:gd name="T108" fmla="*/ 88 w 1035"/>
                  <a:gd name="T109" fmla="*/ 10 h 716"/>
                  <a:gd name="T110" fmla="*/ 91 w 1035"/>
                  <a:gd name="T111" fmla="*/ 0 h 7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35" h="716">
                    <a:moveTo>
                      <a:pt x="91" y="0"/>
                    </a:moveTo>
                    <a:lnTo>
                      <a:pt x="133" y="17"/>
                    </a:lnTo>
                    <a:lnTo>
                      <a:pt x="172" y="38"/>
                    </a:lnTo>
                    <a:lnTo>
                      <a:pt x="205" y="61"/>
                    </a:lnTo>
                    <a:lnTo>
                      <a:pt x="193" y="105"/>
                    </a:lnTo>
                    <a:lnTo>
                      <a:pt x="180" y="152"/>
                    </a:lnTo>
                    <a:lnTo>
                      <a:pt x="170" y="199"/>
                    </a:lnTo>
                    <a:lnTo>
                      <a:pt x="159" y="247"/>
                    </a:lnTo>
                    <a:lnTo>
                      <a:pt x="152" y="292"/>
                    </a:lnTo>
                    <a:lnTo>
                      <a:pt x="149" y="338"/>
                    </a:lnTo>
                    <a:lnTo>
                      <a:pt x="145" y="378"/>
                    </a:lnTo>
                    <a:lnTo>
                      <a:pt x="147" y="416"/>
                    </a:lnTo>
                    <a:lnTo>
                      <a:pt x="154" y="450"/>
                    </a:lnTo>
                    <a:lnTo>
                      <a:pt x="163" y="478"/>
                    </a:lnTo>
                    <a:lnTo>
                      <a:pt x="179" y="499"/>
                    </a:lnTo>
                    <a:lnTo>
                      <a:pt x="203" y="518"/>
                    </a:lnTo>
                    <a:lnTo>
                      <a:pt x="235" y="532"/>
                    </a:lnTo>
                    <a:lnTo>
                      <a:pt x="271" y="542"/>
                    </a:lnTo>
                    <a:lnTo>
                      <a:pt x="317" y="549"/>
                    </a:lnTo>
                    <a:lnTo>
                      <a:pt x="366" y="553"/>
                    </a:lnTo>
                    <a:lnTo>
                      <a:pt x="420" y="555"/>
                    </a:lnTo>
                    <a:lnTo>
                      <a:pt x="478" y="553"/>
                    </a:lnTo>
                    <a:lnTo>
                      <a:pt x="539" y="548"/>
                    </a:lnTo>
                    <a:lnTo>
                      <a:pt x="602" y="542"/>
                    </a:lnTo>
                    <a:lnTo>
                      <a:pt x="668" y="534"/>
                    </a:lnTo>
                    <a:lnTo>
                      <a:pt x="820" y="514"/>
                    </a:lnTo>
                    <a:lnTo>
                      <a:pt x="969" y="495"/>
                    </a:lnTo>
                    <a:lnTo>
                      <a:pt x="990" y="534"/>
                    </a:lnTo>
                    <a:lnTo>
                      <a:pt x="1009" y="576"/>
                    </a:lnTo>
                    <a:lnTo>
                      <a:pt x="1025" y="621"/>
                    </a:lnTo>
                    <a:lnTo>
                      <a:pt x="1035" y="660"/>
                    </a:lnTo>
                    <a:lnTo>
                      <a:pt x="999" y="665"/>
                    </a:lnTo>
                    <a:lnTo>
                      <a:pt x="889" y="679"/>
                    </a:lnTo>
                    <a:lnTo>
                      <a:pt x="777" y="693"/>
                    </a:lnTo>
                    <a:lnTo>
                      <a:pt x="663" y="703"/>
                    </a:lnTo>
                    <a:lnTo>
                      <a:pt x="551" y="712"/>
                    </a:lnTo>
                    <a:lnTo>
                      <a:pt x="444" y="716"/>
                    </a:lnTo>
                    <a:lnTo>
                      <a:pt x="373" y="716"/>
                    </a:lnTo>
                    <a:lnTo>
                      <a:pt x="305" y="712"/>
                    </a:lnTo>
                    <a:lnTo>
                      <a:pt x="242" y="703"/>
                    </a:lnTo>
                    <a:lnTo>
                      <a:pt x="196" y="695"/>
                    </a:lnTo>
                    <a:lnTo>
                      <a:pt x="156" y="681"/>
                    </a:lnTo>
                    <a:lnTo>
                      <a:pt x="116" y="663"/>
                    </a:lnTo>
                    <a:lnTo>
                      <a:pt x="81" y="637"/>
                    </a:lnTo>
                    <a:lnTo>
                      <a:pt x="53" y="605"/>
                    </a:lnTo>
                    <a:lnTo>
                      <a:pt x="32" y="570"/>
                    </a:lnTo>
                    <a:lnTo>
                      <a:pt x="16" y="534"/>
                    </a:lnTo>
                    <a:lnTo>
                      <a:pt x="4" y="476"/>
                    </a:lnTo>
                    <a:lnTo>
                      <a:pt x="0" y="418"/>
                    </a:lnTo>
                    <a:lnTo>
                      <a:pt x="4" y="343"/>
                    </a:lnTo>
                    <a:lnTo>
                      <a:pt x="14" y="269"/>
                    </a:lnTo>
                    <a:lnTo>
                      <a:pt x="30" y="196"/>
                    </a:lnTo>
                    <a:lnTo>
                      <a:pt x="49" y="126"/>
                    </a:lnTo>
                    <a:lnTo>
                      <a:pt x="69" y="65"/>
                    </a:lnTo>
                    <a:lnTo>
                      <a:pt x="88" y="10"/>
                    </a:lnTo>
                    <a:lnTo>
                      <a:pt x="91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0" name="Groep 139"/>
            <p:cNvGrpSpPr/>
            <p:nvPr userDrawn="1"/>
          </p:nvGrpSpPr>
          <p:grpSpPr>
            <a:xfrm>
              <a:off x="1973563" y="1825654"/>
              <a:ext cx="1207068" cy="1033658"/>
              <a:chOff x="1538168" y="1706241"/>
              <a:chExt cx="1097335" cy="939689"/>
            </a:xfrm>
          </p:grpSpPr>
          <p:sp>
            <p:nvSpPr>
              <p:cNvPr id="177" name="Freeform 29"/>
              <p:cNvSpPr>
                <a:spLocks noEditPoints="1"/>
              </p:cNvSpPr>
              <p:nvPr userDrawn="1"/>
            </p:nvSpPr>
            <p:spPr bwMode="auto">
              <a:xfrm>
                <a:off x="1538168" y="1706241"/>
                <a:ext cx="1097335" cy="918052"/>
              </a:xfrm>
              <a:custGeom>
                <a:avLst/>
                <a:gdLst>
                  <a:gd name="T0" fmla="*/ 0 w 1065"/>
                  <a:gd name="T1" fmla="*/ 891 h 891"/>
                  <a:gd name="T2" fmla="*/ 0 w 1065"/>
                  <a:gd name="T3" fmla="*/ 891 h 891"/>
                  <a:gd name="T4" fmla="*/ 546 w 1065"/>
                  <a:gd name="T5" fmla="*/ 1 h 891"/>
                  <a:gd name="T6" fmla="*/ 603 w 1065"/>
                  <a:gd name="T7" fmla="*/ 21 h 891"/>
                  <a:gd name="T8" fmla="*/ 678 w 1065"/>
                  <a:gd name="T9" fmla="*/ 70 h 891"/>
                  <a:gd name="T10" fmla="*/ 775 w 1065"/>
                  <a:gd name="T11" fmla="*/ 159 h 891"/>
                  <a:gd name="T12" fmla="*/ 843 w 1065"/>
                  <a:gd name="T13" fmla="*/ 234 h 891"/>
                  <a:gd name="T14" fmla="*/ 892 w 1065"/>
                  <a:gd name="T15" fmla="*/ 292 h 891"/>
                  <a:gd name="T16" fmla="*/ 942 w 1065"/>
                  <a:gd name="T17" fmla="*/ 355 h 891"/>
                  <a:gd name="T18" fmla="*/ 990 w 1065"/>
                  <a:gd name="T19" fmla="*/ 415 h 891"/>
                  <a:gd name="T20" fmla="*/ 1028 w 1065"/>
                  <a:gd name="T21" fmla="*/ 467 h 891"/>
                  <a:gd name="T22" fmla="*/ 1056 w 1065"/>
                  <a:gd name="T23" fmla="*/ 504 h 891"/>
                  <a:gd name="T24" fmla="*/ 1065 w 1065"/>
                  <a:gd name="T25" fmla="*/ 518 h 891"/>
                  <a:gd name="T26" fmla="*/ 1063 w 1065"/>
                  <a:gd name="T27" fmla="*/ 514 h 891"/>
                  <a:gd name="T28" fmla="*/ 1044 w 1065"/>
                  <a:gd name="T29" fmla="*/ 490 h 891"/>
                  <a:gd name="T30" fmla="*/ 1011 w 1065"/>
                  <a:gd name="T31" fmla="*/ 448 h 891"/>
                  <a:gd name="T32" fmla="*/ 967 w 1065"/>
                  <a:gd name="T33" fmla="*/ 395 h 891"/>
                  <a:gd name="T34" fmla="*/ 920 w 1065"/>
                  <a:gd name="T35" fmla="*/ 339 h 891"/>
                  <a:gd name="T36" fmla="*/ 873 w 1065"/>
                  <a:gd name="T37" fmla="*/ 287 h 891"/>
                  <a:gd name="T38" fmla="*/ 832 w 1065"/>
                  <a:gd name="T39" fmla="*/ 246 h 891"/>
                  <a:gd name="T40" fmla="*/ 747 w 1065"/>
                  <a:gd name="T41" fmla="*/ 180 h 891"/>
                  <a:gd name="T42" fmla="*/ 668 w 1065"/>
                  <a:gd name="T43" fmla="*/ 134 h 891"/>
                  <a:gd name="T44" fmla="*/ 596 w 1065"/>
                  <a:gd name="T45" fmla="*/ 112 h 891"/>
                  <a:gd name="T46" fmla="*/ 526 w 1065"/>
                  <a:gd name="T47" fmla="*/ 112 h 891"/>
                  <a:gd name="T48" fmla="*/ 463 w 1065"/>
                  <a:gd name="T49" fmla="*/ 131 h 891"/>
                  <a:gd name="T50" fmla="*/ 409 w 1065"/>
                  <a:gd name="T51" fmla="*/ 166 h 891"/>
                  <a:gd name="T52" fmla="*/ 323 w 1065"/>
                  <a:gd name="T53" fmla="*/ 257 h 891"/>
                  <a:gd name="T54" fmla="*/ 241 w 1065"/>
                  <a:gd name="T55" fmla="*/ 379 h 891"/>
                  <a:gd name="T56" fmla="*/ 159 w 1065"/>
                  <a:gd name="T57" fmla="*/ 528 h 891"/>
                  <a:gd name="T58" fmla="*/ 87 w 1065"/>
                  <a:gd name="T59" fmla="*/ 682 h 891"/>
                  <a:gd name="T60" fmla="*/ 24 w 1065"/>
                  <a:gd name="T61" fmla="*/ 828 h 891"/>
                  <a:gd name="T62" fmla="*/ 21 w 1065"/>
                  <a:gd name="T63" fmla="*/ 833 h 891"/>
                  <a:gd name="T64" fmla="*/ 75 w 1065"/>
                  <a:gd name="T65" fmla="*/ 696 h 891"/>
                  <a:gd name="T66" fmla="*/ 138 w 1065"/>
                  <a:gd name="T67" fmla="*/ 542 h 891"/>
                  <a:gd name="T68" fmla="*/ 208 w 1065"/>
                  <a:gd name="T69" fmla="*/ 388 h 891"/>
                  <a:gd name="T70" fmla="*/ 278 w 1065"/>
                  <a:gd name="T71" fmla="*/ 245 h 891"/>
                  <a:gd name="T72" fmla="*/ 332 w 1065"/>
                  <a:gd name="T73" fmla="*/ 145 h 891"/>
                  <a:gd name="T74" fmla="*/ 388 w 1065"/>
                  <a:gd name="T75" fmla="*/ 64 h 891"/>
                  <a:gd name="T76" fmla="*/ 423 w 1065"/>
                  <a:gd name="T77" fmla="*/ 29 h 891"/>
                  <a:gd name="T78" fmla="*/ 476 w 1065"/>
                  <a:gd name="T79" fmla="*/ 3 h 891"/>
                  <a:gd name="T80" fmla="*/ 512 w 1065"/>
                  <a:gd name="T81" fmla="*/ 0 h 8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65" h="891">
                    <a:moveTo>
                      <a:pt x="0" y="891"/>
                    </a:moveTo>
                    <a:lnTo>
                      <a:pt x="0" y="891"/>
                    </a:lnTo>
                    <a:lnTo>
                      <a:pt x="0" y="891"/>
                    </a:lnTo>
                    <a:lnTo>
                      <a:pt x="0" y="891"/>
                    </a:lnTo>
                    <a:close/>
                    <a:moveTo>
                      <a:pt x="512" y="0"/>
                    </a:moveTo>
                    <a:lnTo>
                      <a:pt x="546" y="1"/>
                    </a:lnTo>
                    <a:lnTo>
                      <a:pt x="575" y="10"/>
                    </a:lnTo>
                    <a:lnTo>
                      <a:pt x="603" y="21"/>
                    </a:lnTo>
                    <a:lnTo>
                      <a:pt x="642" y="43"/>
                    </a:lnTo>
                    <a:lnTo>
                      <a:pt x="678" y="70"/>
                    </a:lnTo>
                    <a:lnTo>
                      <a:pt x="727" y="112"/>
                    </a:lnTo>
                    <a:lnTo>
                      <a:pt x="775" y="159"/>
                    </a:lnTo>
                    <a:lnTo>
                      <a:pt x="822" y="210"/>
                    </a:lnTo>
                    <a:lnTo>
                      <a:pt x="843" y="234"/>
                    </a:lnTo>
                    <a:lnTo>
                      <a:pt x="867" y="262"/>
                    </a:lnTo>
                    <a:lnTo>
                      <a:pt x="892" y="292"/>
                    </a:lnTo>
                    <a:lnTo>
                      <a:pt x="916" y="323"/>
                    </a:lnTo>
                    <a:lnTo>
                      <a:pt x="942" y="355"/>
                    </a:lnTo>
                    <a:lnTo>
                      <a:pt x="967" y="385"/>
                    </a:lnTo>
                    <a:lnTo>
                      <a:pt x="990" y="415"/>
                    </a:lnTo>
                    <a:lnTo>
                      <a:pt x="1011" y="443"/>
                    </a:lnTo>
                    <a:lnTo>
                      <a:pt x="1028" y="467"/>
                    </a:lnTo>
                    <a:lnTo>
                      <a:pt x="1044" y="488"/>
                    </a:lnTo>
                    <a:lnTo>
                      <a:pt x="1056" y="504"/>
                    </a:lnTo>
                    <a:lnTo>
                      <a:pt x="1063" y="514"/>
                    </a:lnTo>
                    <a:lnTo>
                      <a:pt x="1065" y="518"/>
                    </a:lnTo>
                    <a:lnTo>
                      <a:pt x="1065" y="518"/>
                    </a:lnTo>
                    <a:lnTo>
                      <a:pt x="1063" y="514"/>
                    </a:lnTo>
                    <a:lnTo>
                      <a:pt x="1054" y="504"/>
                    </a:lnTo>
                    <a:lnTo>
                      <a:pt x="1044" y="490"/>
                    </a:lnTo>
                    <a:lnTo>
                      <a:pt x="1028" y="471"/>
                    </a:lnTo>
                    <a:lnTo>
                      <a:pt x="1011" y="448"/>
                    </a:lnTo>
                    <a:lnTo>
                      <a:pt x="990" y="422"/>
                    </a:lnTo>
                    <a:lnTo>
                      <a:pt x="967" y="395"/>
                    </a:lnTo>
                    <a:lnTo>
                      <a:pt x="944" y="367"/>
                    </a:lnTo>
                    <a:lnTo>
                      <a:pt x="920" y="339"/>
                    </a:lnTo>
                    <a:lnTo>
                      <a:pt x="897" y="313"/>
                    </a:lnTo>
                    <a:lnTo>
                      <a:pt x="873" y="287"/>
                    </a:lnTo>
                    <a:lnTo>
                      <a:pt x="852" y="266"/>
                    </a:lnTo>
                    <a:lnTo>
                      <a:pt x="832" y="246"/>
                    </a:lnTo>
                    <a:lnTo>
                      <a:pt x="790" y="211"/>
                    </a:lnTo>
                    <a:lnTo>
                      <a:pt x="747" y="180"/>
                    </a:lnTo>
                    <a:lnTo>
                      <a:pt x="701" y="152"/>
                    </a:lnTo>
                    <a:lnTo>
                      <a:pt x="668" y="134"/>
                    </a:lnTo>
                    <a:lnTo>
                      <a:pt x="633" y="120"/>
                    </a:lnTo>
                    <a:lnTo>
                      <a:pt x="596" y="112"/>
                    </a:lnTo>
                    <a:lnTo>
                      <a:pt x="556" y="110"/>
                    </a:lnTo>
                    <a:lnTo>
                      <a:pt x="526" y="112"/>
                    </a:lnTo>
                    <a:lnTo>
                      <a:pt x="497" y="117"/>
                    </a:lnTo>
                    <a:lnTo>
                      <a:pt x="463" y="131"/>
                    </a:lnTo>
                    <a:lnTo>
                      <a:pt x="435" y="147"/>
                    </a:lnTo>
                    <a:lnTo>
                      <a:pt x="409" y="166"/>
                    </a:lnTo>
                    <a:lnTo>
                      <a:pt x="365" y="208"/>
                    </a:lnTo>
                    <a:lnTo>
                      <a:pt x="323" y="257"/>
                    </a:lnTo>
                    <a:lnTo>
                      <a:pt x="283" y="315"/>
                    </a:lnTo>
                    <a:lnTo>
                      <a:pt x="241" y="379"/>
                    </a:lnTo>
                    <a:lnTo>
                      <a:pt x="199" y="451"/>
                    </a:lnTo>
                    <a:lnTo>
                      <a:pt x="159" y="528"/>
                    </a:lnTo>
                    <a:lnTo>
                      <a:pt x="122" y="605"/>
                    </a:lnTo>
                    <a:lnTo>
                      <a:pt x="87" y="682"/>
                    </a:lnTo>
                    <a:lnTo>
                      <a:pt x="54" y="758"/>
                    </a:lnTo>
                    <a:lnTo>
                      <a:pt x="24" y="828"/>
                    </a:lnTo>
                    <a:lnTo>
                      <a:pt x="0" y="891"/>
                    </a:lnTo>
                    <a:lnTo>
                      <a:pt x="21" y="833"/>
                    </a:lnTo>
                    <a:lnTo>
                      <a:pt x="47" y="766"/>
                    </a:lnTo>
                    <a:lnTo>
                      <a:pt x="75" y="696"/>
                    </a:lnTo>
                    <a:lnTo>
                      <a:pt x="107" y="621"/>
                    </a:lnTo>
                    <a:lnTo>
                      <a:pt x="138" y="542"/>
                    </a:lnTo>
                    <a:lnTo>
                      <a:pt x="173" y="465"/>
                    </a:lnTo>
                    <a:lnTo>
                      <a:pt x="208" y="388"/>
                    </a:lnTo>
                    <a:lnTo>
                      <a:pt x="243" y="315"/>
                    </a:lnTo>
                    <a:lnTo>
                      <a:pt x="278" y="245"/>
                    </a:lnTo>
                    <a:lnTo>
                      <a:pt x="304" y="194"/>
                    </a:lnTo>
                    <a:lnTo>
                      <a:pt x="332" y="145"/>
                    </a:lnTo>
                    <a:lnTo>
                      <a:pt x="360" y="101"/>
                    </a:lnTo>
                    <a:lnTo>
                      <a:pt x="388" y="64"/>
                    </a:lnTo>
                    <a:lnTo>
                      <a:pt x="406" y="47"/>
                    </a:lnTo>
                    <a:lnTo>
                      <a:pt x="423" y="29"/>
                    </a:lnTo>
                    <a:lnTo>
                      <a:pt x="448" y="15"/>
                    </a:lnTo>
                    <a:lnTo>
                      <a:pt x="476" y="3"/>
                    </a:lnTo>
                    <a:lnTo>
                      <a:pt x="495" y="0"/>
                    </a:lnTo>
                    <a:lnTo>
                      <a:pt x="512" y="0"/>
                    </a:lnTo>
                    <a:close/>
                  </a:path>
                </a:pathLst>
              </a:custGeom>
              <a:solidFill>
                <a:srgbClr val="F29FC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8" name="Freeform 30"/>
              <p:cNvSpPr>
                <a:spLocks/>
              </p:cNvSpPr>
              <p:nvPr userDrawn="1"/>
            </p:nvSpPr>
            <p:spPr bwMode="auto">
              <a:xfrm>
                <a:off x="1538168" y="1819581"/>
                <a:ext cx="1097335" cy="826349"/>
              </a:xfrm>
              <a:custGeom>
                <a:avLst/>
                <a:gdLst>
                  <a:gd name="T0" fmla="*/ 596 w 1065"/>
                  <a:gd name="T1" fmla="*/ 2 h 802"/>
                  <a:gd name="T2" fmla="*/ 668 w 1065"/>
                  <a:gd name="T3" fmla="*/ 24 h 802"/>
                  <a:gd name="T4" fmla="*/ 747 w 1065"/>
                  <a:gd name="T5" fmla="*/ 70 h 802"/>
                  <a:gd name="T6" fmla="*/ 832 w 1065"/>
                  <a:gd name="T7" fmla="*/ 136 h 802"/>
                  <a:gd name="T8" fmla="*/ 873 w 1065"/>
                  <a:gd name="T9" fmla="*/ 177 h 802"/>
                  <a:gd name="T10" fmla="*/ 920 w 1065"/>
                  <a:gd name="T11" fmla="*/ 229 h 802"/>
                  <a:gd name="T12" fmla="*/ 967 w 1065"/>
                  <a:gd name="T13" fmla="*/ 285 h 802"/>
                  <a:gd name="T14" fmla="*/ 1011 w 1065"/>
                  <a:gd name="T15" fmla="*/ 338 h 802"/>
                  <a:gd name="T16" fmla="*/ 1044 w 1065"/>
                  <a:gd name="T17" fmla="*/ 380 h 802"/>
                  <a:gd name="T18" fmla="*/ 1063 w 1065"/>
                  <a:gd name="T19" fmla="*/ 404 h 802"/>
                  <a:gd name="T20" fmla="*/ 1030 w 1065"/>
                  <a:gd name="T21" fmla="*/ 420 h 802"/>
                  <a:gd name="T22" fmla="*/ 956 w 1065"/>
                  <a:gd name="T23" fmla="*/ 438 h 802"/>
                  <a:gd name="T24" fmla="*/ 911 w 1065"/>
                  <a:gd name="T25" fmla="*/ 425 h 802"/>
                  <a:gd name="T26" fmla="*/ 876 w 1065"/>
                  <a:gd name="T27" fmla="*/ 378 h 802"/>
                  <a:gd name="T28" fmla="*/ 825 w 1065"/>
                  <a:gd name="T29" fmla="*/ 319 h 802"/>
                  <a:gd name="T30" fmla="*/ 764 w 1065"/>
                  <a:gd name="T31" fmla="*/ 255 h 802"/>
                  <a:gd name="T32" fmla="*/ 699 w 1065"/>
                  <a:gd name="T33" fmla="*/ 199 h 802"/>
                  <a:gd name="T34" fmla="*/ 635 w 1065"/>
                  <a:gd name="T35" fmla="*/ 163 h 802"/>
                  <a:gd name="T36" fmla="*/ 574 w 1065"/>
                  <a:gd name="T37" fmla="*/ 154 h 802"/>
                  <a:gd name="T38" fmla="*/ 521 w 1065"/>
                  <a:gd name="T39" fmla="*/ 180 h 802"/>
                  <a:gd name="T40" fmla="*/ 467 w 1065"/>
                  <a:gd name="T41" fmla="*/ 236 h 802"/>
                  <a:gd name="T42" fmla="*/ 409 w 1065"/>
                  <a:gd name="T43" fmla="*/ 315 h 802"/>
                  <a:gd name="T44" fmla="*/ 355 w 1065"/>
                  <a:gd name="T45" fmla="*/ 408 h 802"/>
                  <a:gd name="T46" fmla="*/ 304 w 1065"/>
                  <a:gd name="T47" fmla="*/ 508 h 802"/>
                  <a:gd name="T48" fmla="*/ 257 w 1065"/>
                  <a:gd name="T49" fmla="*/ 604 h 802"/>
                  <a:gd name="T50" fmla="*/ 220 w 1065"/>
                  <a:gd name="T51" fmla="*/ 690 h 802"/>
                  <a:gd name="T52" fmla="*/ 192 w 1065"/>
                  <a:gd name="T53" fmla="*/ 756 h 802"/>
                  <a:gd name="T54" fmla="*/ 177 w 1065"/>
                  <a:gd name="T55" fmla="*/ 795 h 802"/>
                  <a:gd name="T56" fmla="*/ 119 w 1065"/>
                  <a:gd name="T57" fmla="*/ 802 h 802"/>
                  <a:gd name="T58" fmla="*/ 30 w 1065"/>
                  <a:gd name="T59" fmla="*/ 789 h 802"/>
                  <a:gd name="T60" fmla="*/ 24 w 1065"/>
                  <a:gd name="T61" fmla="*/ 718 h 802"/>
                  <a:gd name="T62" fmla="*/ 87 w 1065"/>
                  <a:gd name="T63" fmla="*/ 572 h 802"/>
                  <a:gd name="T64" fmla="*/ 159 w 1065"/>
                  <a:gd name="T65" fmla="*/ 418 h 802"/>
                  <a:gd name="T66" fmla="*/ 241 w 1065"/>
                  <a:gd name="T67" fmla="*/ 269 h 802"/>
                  <a:gd name="T68" fmla="*/ 323 w 1065"/>
                  <a:gd name="T69" fmla="*/ 147 h 802"/>
                  <a:gd name="T70" fmla="*/ 409 w 1065"/>
                  <a:gd name="T71" fmla="*/ 56 h 802"/>
                  <a:gd name="T72" fmla="*/ 463 w 1065"/>
                  <a:gd name="T73" fmla="*/ 21 h 802"/>
                  <a:gd name="T74" fmla="*/ 526 w 1065"/>
                  <a:gd name="T75" fmla="*/ 2 h 8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65" h="802">
                    <a:moveTo>
                      <a:pt x="556" y="0"/>
                    </a:moveTo>
                    <a:lnTo>
                      <a:pt x="596" y="2"/>
                    </a:lnTo>
                    <a:lnTo>
                      <a:pt x="633" y="10"/>
                    </a:lnTo>
                    <a:lnTo>
                      <a:pt x="668" y="24"/>
                    </a:lnTo>
                    <a:lnTo>
                      <a:pt x="701" y="42"/>
                    </a:lnTo>
                    <a:lnTo>
                      <a:pt x="747" y="70"/>
                    </a:lnTo>
                    <a:lnTo>
                      <a:pt x="790" y="101"/>
                    </a:lnTo>
                    <a:lnTo>
                      <a:pt x="832" y="136"/>
                    </a:lnTo>
                    <a:lnTo>
                      <a:pt x="852" y="156"/>
                    </a:lnTo>
                    <a:lnTo>
                      <a:pt x="873" y="177"/>
                    </a:lnTo>
                    <a:lnTo>
                      <a:pt x="897" y="203"/>
                    </a:lnTo>
                    <a:lnTo>
                      <a:pt x="920" y="229"/>
                    </a:lnTo>
                    <a:lnTo>
                      <a:pt x="944" y="257"/>
                    </a:lnTo>
                    <a:lnTo>
                      <a:pt x="967" y="285"/>
                    </a:lnTo>
                    <a:lnTo>
                      <a:pt x="990" y="312"/>
                    </a:lnTo>
                    <a:lnTo>
                      <a:pt x="1011" y="338"/>
                    </a:lnTo>
                    <a:lnTo>
                      <a:pt x="1028" y="361"/>
                    </a:lnTo>
                    <a:lnTo>
                      <a:pt x="1044" y="380"/>
                    </a:lnTo>
                    <a:lnTo>
                      <a:pt x="1054" y="394"/>
                    </a:lnTo>
                    <a:lnTo>
                      <a:pt x="1063" y="404"/>
                    </a:lnTo>
                    <a:lnTo>
                      <a:pt x="1065" y="408"/>
                    </a:lnTo>
                    <a:lnTo>
                      <a:pt x="1030" y="420"/>
                    </a:lnTo>
                    <a:lnTo>
                      <a:pt x="991" y="431"/>
                    </a:lnTo>
                    <a:lnTo>
                      <a:pt x="956" y="438"/>
                    </a:lnTo>
                    <a:lnTo>
                      <a:pt x="923" y="439"/>
                    </a:lnTo>
                    <a:lnTo>
                      <a:pt x="911" y="425"/>
                    </a:lnTo>
                    <a:lnTo>
                      <a:pt x="895" y="404"/>
                    </a:lnTo>
                    <a:lnTo>
                      <a:pt x="876" y="378"/>
                    </a:lnTo>
                    <a:lnTo>
                      <a:pt x="852" y="350"/>
                    </a:lnTo>
                    <a:lnTo>
                      <a:pt x="825" y="319"/>
                    </a:lnTo>
                    <a:lnTo>
                      <a:pt x="796" y="285"/>
                    </a:lnTo>
                    <a:lnTo>
                      <a:pt x="764" y="255"/>
                    </a:lnTo>
                    <a:lnTo>
                      <a:pt x="733" y="226"/>
                    </a:lnTo>
                    <a:lnTo>
                      <a:pt x="699" y="199"/>
                    </a:lnTo>
                    <a:lnTo>
                      <a:pt x="666" y="178"/>
                    </a:lnTo>
                    <a:lnTo>
                      <a:pt x="635" y="163"/>
                    </a:lnTo>
                    <a:lnTo>
                      <a:pt x="603" y="154"/>
                    </a:lnTo>
                    <a:lnTo>
                      <a:pt x="574" y="154"/>
                    </a:lnTo>
                    <a:lnTo>
                      <a:pt x="547" y="163"/>
                    </a:lnTo>
                    <a:lnTo>
                      <a:pt x="521" y="180"/>
                    </a:lnTo>
                    <a:lnTo>
                      <a:pt x="493" y="205"/>
                    </a:lnTo>
                    <a:lnTo>
                      <a:pt x="467" y="236"/>
                    </a:lnTo>
                    <a:lnTo>
                      <a:pt x="437" y="273"/>
                    </a:lnTo>
                    <a:lnTo>
                      <a:pt x="409" y="315"/>
                    </a:lnTo>
                    <a:lnTo>
                      <a:pt x="383" y="361"/>
                    </a:lnTo>
                    <a:lnTo>
                      <a:pt x="355" y="408"/>
                    </a:lnTo>
                    <a:lnTo>
                      <a:pt x="329" y="457"/>
                    </a:lnTo>
                    <a:lnTo>
                      <a:pt x="304" y="508"/>
                    </a:lnTo>
                    <a:lnTo>
                      <a:pt x="280" y="557"/>
                    </a:lnTo>
                    <a:lnTo>
                      <a:pt x="257" y="604"/>
                    </a:lnTo>
                    <a:lnTo>
                      <a:pt x="238" y="648"/>
                    </a:lnTo>
                    <a:lnTo>
                      <a:pt x="220" y="690"/>
                    </a:lnTo>
                    <a:lnTo>
                      <a:pt x="205" y="725"/>
                    </a:lnTo>
                    <a:lnTo>
                      <a:pt x="192" y="756"/>
                    </a:lnTo>
                    <a:lnTo>
                      <a:pt x="182" y="779"/>
                    </a:lnTo>
                    <a:lnTo>
                      <a:pt x="177" y="795"/>
                    </a:lnTo>
                    <a:lnTo>
                      <a:pt x="173" y="802"/>
                    </a:lnTo>
                    <a:lnTo>
                      <a:pt x="119" y="802"/>
                    </a:lnTo>
                    <a:lnTo>
                      <a:pt x="72" y="796"/>
                    </a:lnTo>
                    <a:lnTo>
                      <a:pt x="30" y="789"/>
                    </a:lnTo>
                    <a:lnTo>
                      <a:pt x="0" y="781"/>
                    </a:lnTo>
                    <a:lnTo>
                      <a:pt x="24" y="718"/>
                    </a:lnTo>
                    <a:lnTo>
                      <a:pt x="54" y="648"/>
                    </a:lnTo>
                    <a:lnTo>
                      <a:pt x="87" y="572"/>
                    </a:lnTo>
                    <a:lnTo>
                      <a:pt x="122" y="495"/>
                    </a:lnTo>
                    <a:lnTo>
                      <a:pt x="159" y="418"/>
                    </a:lnTo>
                    <a:lnTo>
                      <a:pt x="199" y="341"/>
                    </a:lnTo>
                    <a:lnTo>
                      <a:pt x="241" y="269"/>
                    </a:lnTo>
                    <a:lnTo>
                      <a:pt x="283" y="205"/>
                    </a:lnTo>
                    <a:lnTo>
                      <a:pt x="323" y="147"/>
                    </a:lnTo>
                    <a:lnTo>
                      <a:pt x="365" y="98"/>
                    </a:lnTo>
                    <a:lnTo>
                      <a:pt x="409" y="56"/>
                    </a:lnTo>
                    <a:lnTo>
                      <a:pt x="435" y="37"/>
                    </a:lnTo>
                    <a:lnTo>
                      <a:pt x="463" y="21"/>
                    </a:lnTo>
                    <a:lnTo>
                      <a:pt x="497" y="7"/>
                    </a:lnTo>
                    <a:lnTo>
                      <a:pt x="526" y="2"/>
                    </a:lnTo>
                    <a:lnTo>
                      <a:pt x="55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1" name="Groep 140"/>
            <p:cNvGrpSpPr/>
            <p:nvPr userDrawn="1"/>
          </p:nvGrpSpPr>
          <p:grpSpPr>
            <a:xfrm>
              <a:off x="2807742" y="1357561"/>
              <a:ext cx="1193468" cy="1034791"/>
              <a:chOff x="2296513" y="1280702"/>
              <a:chExt cx="1084971" cy="940719"/>
            </a:xfrm>
          </p:grpSpPr>
          <p:sp>
            <p:nvSpPr>
              <p:cNvPr id="175" name="Freeform 31"/>
              <p:cNvSpPr>
                <a:spLocks/>
              </p:cNvSpPr>
              <p:nvPr userDrawn="1"/>
            </p:nvSpPr>
            <p:spPr bwMode="auto">
              <a:xfrm>
                <a:off x="2296513" y="1280702"/>
                <a:ext cx="1077758" cy="937628"/>
              </a:xfrm>
              <a:custGeom>
                <a:avLst/>
                <a:gdLst>
                  <a:gd name="T0" fmla="*/ 1019 w 1046"/>
                  <a:gd name="T1" fmla="*/ 5 h 910"/>
                  <a:gd name="T2" fmla="*/ 941 w 1046"/>
                  <a:gd name="T3" fmla="*/ 17 h 910"/>
                  <a:gd name="T4" fmla="*/ 827 w 1046"/>
                  <a:gd name="T5" fmla="*/ 36 h 910"/>
                  <a:gd name="T6" fmla="*/ 687 w 1046"/>
                  <a:gd name="T7" fmla="*/ 64 h 910"/>
                  <a:gd name="T8" fmla="*/ 523 w 1046"/>
                  <a:gd name="T9" fmla="*/ 103 h 910"/>
                  <a:gd name="T10" fmla="*/ 425 w 1046"/>
                  <a:gd name="T11" fmla="*/ 131 h 910"/>
                  <a:gd name="T12" fmla="*/ 336 w 1046"/>
                  <a:gd name="T13" fmla="*/ 166 h 910"/>
                  <a:gd name="T14" fmla="*/ 255 w 1046"/>
                  <a:gd name="T15" fmla="*/ 210 h 910"/>
                  <a:gd name="T16" fmla="*/ 192 w 1046"/>
                  <a:gd name="T17" fmla="*/ 264 h 910"/>
                  <a:gd name="T18" fmla="*/ 147 w 1046"/>
                  <a:gd name="T19" fmla="*/ 330 h 910"/>
                  <a:gd name="T20" fmla="*/ 126 w 1046"/>
                  <a:gd name="T21" fmla="*/ 409 h 910"/>
                  <a:gd name="T22" fmla="*/ 131 w 1046"/>
                  <a:gd name="T23" fmla="*/ 502 h 910"/>
                  <a:gd name="T24" fmla="*/ 170 w 1046"/>
                  <a:gd name="T25" fmla="*/ 612 h 910"/>
                  <a:gd name="T26" fmla="*/ 201 w 1046"/>
                  <a:gd name="T27" fmla="*/ 672 h 910"/>
                  <a:gd name="T28" fmla="*/ 240 w 1046"/>
                  <a:gd name="T29" fmla="*/ 738 h 910"/>
                  <a:gd name="T30" fmla="*/ 283 w 1046"/>
                  <a:gd name="T31" fmla="*/ 803 h 910"/>
                  <a:gd name="T32" fmla="*/ 322 w 1046"/>
                  <a:gd name="T33" fmla="*/ 859 h 910"/>
                  <a:gd name="T34" fmla="*/ 352 w 1046"/>
                  <a:gd name="T35" fmla="*/ 898 h 910"/>
                  <a:gd name="T36" fmla="*/ 350 w 1046"/>
                  <a:gd name="T37" fmla="*/ 898 h 910"/>
                  <a:gd name="T38" fmla="*/ 317 w 1046"/>
                  <a:gd name="T39" fmla="*/ 859 h 910"/>
                  <a:gd name="T40" fmla="*/ 269 w 1046"/>
                  <a:gd name="T41" fmla="*/ 799 h 910"/>
                  <a:gd name="T42" fmla="*/ 212 w 1046"/>
                  <a:gd name="T43" fmla="*/ 726 h 910"/>
                  <a:gd name="T44" fmla="*/ 154 w 1046"/>
                  <a:gd name="T45" fmla="*/ 645 h 910"/>
                  <a:gd name="T46" fmla="*/ 96 w 1046"/>
                  <a:gd name="T47" fmla="*/ 561 h 910"/>
                  <a:gd name="T48" fmla="*/ 49 w 1046"/>
                  <a:gd name="T49" fmla="*/ 479 h 910"/>
                  <a:gd name="T50" fmla="*/ 16 w 1046"/>
                  <a:gd name="T51" fmla="*/ 407 h 910"/>
                  <a:gd name="T52" fmla="*/ 0 w 1046"/>
                  <a:gd name="T53" fmla="*/ 327 h 910"/>
                  <a:gd name="T54" fmla="*/ 18 w 1046"/>
                  <a:gd name="T55" fmla="*/ 264 h 910"/>
                  <a:gd name="T56" fmla="*/ 63 w 1046"/>
                  <a:gd name="T57" fmla="*/ 213 h 910"/>
                  <a:gd name="T58" fmla="*/ 140 w 1046"/>
                  <a:gd name="T59" fmla="*/ 175 h 910"/>
                  <a:gd name="T60" fmla="*/ 243 w 1046"/>
                  <a:gd name="T61" fmla="*/ 141 h 910"/>
                  <a:gd name="T62" fmla="*/ 371 w 1046"/>
                  <a:gd name="T63" fmla="*/ 113 h 910"/>
                  <a:gd name="T64" fmla="*/ 525 w 1046"/>
                  <a:gd name="T65" fmla="*/ 84 h 910"/>
                  <a:gd name="T66" fmla="*/ 677 w 1046"/>
                  <a:gd name="T67" fmla="*/ 57 h 910"/>
                  <a:gd name="T68" fmla="*/ 815 w 1046"/>
                  <a:gd name="T69" fmla="*/ 35 h 910"/>
                  <a:gd name="T70" fmla="*/ 932 w 1046"/>
                  <a:gd name="T71" fmla="*/ 17 h 910"/>
                  <a:gd name="T72" fmla="*/ 1018 w 1046"/>
                  <a:gd name="T73" fmla="*/ 5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046" h="910">
                    <a:moveTo>
                      <a:pt x="1046" y="0"/>
                    </a:moveTo>
                    <a:lnTo>
                      <a:pt x="1019" y="5"/>
                    </a:lnTo>
                    <a:lnTo>
                      <a:pt x="985" y="10"/>
                    </a:lnTo>
                    <a:lnTo>
                      <a:pt x="941" y="17"/>
                    </a:lnTo>
                    <a:lnTo>
                      <a:pt x="888" y="26"/>
                    </a:lnTo>
                    <a:lnTo>
                      <a:pt x="827" y="36"/>
                    </a:lnTo>
                    <a:lnTo>
                      <a:pt x="761" y="49"/>
                    </a:lnTo>
                    <a:lnTo>
                      <a:pt x="687" y="64"/>
                    </a:lnTo>
                    <a:lnTo>
                      <a:pt x="607" y="82"/>
                    </a:lnTo>
                    <a:lnTo>
                      <a:pt x="523" y="103"/>
                    </a:lnTo>
                    <a:lnTo>
                      <a:pt x="474" y="115"/>
                    </a:lnTo>
                    <a:lnTo>
                      <a:pt x="425" y="131"/>
                    </a:lnTo>
                    <a:lnTo>
                      <a:pt x="380" y="147"/>
                    </a:lnTo>
                    <a:lnTo>
                      <a:pt x="336" y="166"/>
                    </a:lnTo>
                    <a:lnTo>
                      <a:pt x="294" y="187"/>
                    </a:lnTo>
                    <a:lnTo>
                      <a:pt x="255" y="210"/>
                    </a:lnTo>
                    <a:lnTo>
                      <a:pt x="222" y="236"/>
                    </a:lnTo>
                    <a:lnTo>
                      <a:pt x="192" y="264"/>
                    </a:lnTo>
                    <a:lnTo>
                      <a:pt x="166" y="295"/>
                    </a:lnTo>
                    <a:lnTo>
                      <a:pt x="147" y="330"/>
                    </a:lnTo>
                    <a:lnTo>
                      <a:pt x="133" y="367"/>
                    </a:lnTo>
                    <a:lnTo>
                      <a:pt x="126" y="409"/>
                    </a:lnTo>
                    <a:lnTo>
                      <a:pt x="124" y="453"/>
                    </a:lnTo>
                    <a:lnTo>
                      <a:pt x="131" y="502"/>
                    </a:lnTo>
                    <a:lnTo>
                      <a:pt x="147" y="554"/>
                    </a:lnTo>
                    <a:lnTo>
                      <a:pt x="170" y="612"/>
                    </a:lnTo>
                    <a:lnTo>
                      <a:pt x="184" y="640"/>
                    </a:lnTo>
                    <a:lnTo>
                      <a:pt x="201" y="672"/>
                    </a:lnTo>
                    <a:lnTo>
                      <a:pt x="219" y="705"/>
                    </a:lnTo>
                    <a:lnTo>
                      <a:pt x="240" y="738"/>
                    </a:lnTo>
                    <a:lnTo>
                      <a:pt x="262" y="771"/>
                    </a:lnTo>
                    <a:lnTo>
                      <a:pt x="283" y="803"/>
                    </a:lnTo>
                    <a:lnTo>
                      <a:pt x="303" y="833"/>
                    </a:lnTo>
                    <a:lnTo>
                      <a:pt x="322" y="859"/>
                    </a:lnTo>
                    <a:lnTo>
                      <a:pt x="338" y="880"/>
                    </a:lnTo>
                    <a:lnTo>
                      <a:pt x="352" y="898"/>
                    </a:lnTo>
                    <a:lnTo>
                      <a:pt x="360" y="910"/>
                    </a:lnTo>
                    <a:lnTo>
                      <a:pt x="350" y="898"/>
                    </a:lnTo>
                    <a:lnTo>
                      <a:pt x="336" y="882"/>
                    </a:lnTo>
                    <a:lnTo>
                      <a:pt x="317" y="859"/>
                    </a:lnTo>
                    <a:lnTo>
                      <a:pt x="294" y="831"/>
                    </a:lnTo>
                    <a:lnTo>
                      <a:pt x="269" y="799"/>
                    </a:lnTo>
                    <a:lnTo>
                      <a:pt x="241" y="764"/>
                    </a:lnTo>
                    <a:lnTo>
                      <a:pt x="212" y="726"/>
                    </a:lnTo>
                    <a:lnTo>
                      <a:pt x="184" y="686"/>
                    </a:lnTo>
                    <a:lnTo>
                      <a:pt x="154" y="645"/>
                    </a:lnTo>
                    <a:lnTo>
                      <a:pt x="124" y="603"/>
                    </a:lnTo>
                    <a:lnTo>
                      <a:pt x="96" y="561"/>
                    </a:lnTo>
                    <a:lnTo>
                      <a:pt x="72" y="519"/>
                    </a:lnTo>
                    <a:lnTo>
                      <a:pt x="49" y="479"/>
                    </a:lnTo>
                    <a:lnTo>
                      <a:pt x="30" y="442"/>
                    </a:lnTo>
                    <a:lnTo>
                      <a:pt x="16" y="407"/>
                    </a:lnTo>
                    <a:lnTo>
                      <a:pt x="4" y="364"/>
                    </a:lnTo>
                    <a:lnTo>
                      <a:pt x="0" y="327"/>
                    </a:lnTo>
                    <a:lnTo>
                      <a:pt x="5" y="294"/>
                    </a:lnTo>
                    <a:lnTo>
                      <a:pt x="18" y="264"/>
                    </a:lnTo>
                    <a:lnTo>
                      <a:pt x="37" y="238"/>
                    </a:lnTo>
                    <a:lnTo>
                      <a:pt x="63" y="213"/>
                    </a:lnTo>
                    <a:lnTo>
                      <a:pt x="98" y="192"/>
                    </a:lnTo>
                    <a:lnTo>
                      <a:pt x="140" y="175"/>
                    </a:lnTo>
                    <a:lnTo>
                      <a:pt x="187" y="157"/>
                    </a:lnTo>
                    <a:lnTo>
                      <a:pt x="243" y="141"/>
                    </a:lnTo>
                    <a:lnTo>
                      <a:pt x="304" y="127"/>
                    </a:lnTo>
                    <a:lnTo>
                      <a:pt x="371" y="113"/>
                    </a:lnTo>
                    <a:lnTo>
                      <a:pt x="448" y="98"/>
                    </a:lnTo>
                    <a:lnTo>
                      <a:pt x="525" y="84"/>
                    </a:lnTo>
                    <a:lnTo>
                      <a:pt x="602" y="70"/>
                    </a:lnTo>
                    <a:lnTo>
                      <a:pt x="677" y="57"/>
                    </a:lnTo>
                    <a:lnTo>
                      <a:pt x="748" y="45"/>
                    </a:lnTo>
                    <a:lnTo>
                      <a:pt x="815" y="35"/>
                    </a:lnTo>
                    <a:lnTo>
                      <a:pt x="878" y="24"/>
                    </a:lnTo>
                    <a:lnTo>
                      <a:pt x="932" y="17"/>
                    </a:lnTo>
                    <a:lnTo>
                      <a:pt x="979" y="10"/>
                    </a:lnTo>
                    <a:lnTo>
                      <a:pt x="1018" y="5"/>
                    </a:lnTo>
                    <a:lnTo>
                      <a:pt x="1046" y="0"/>
                    </a:lnTo>
                    <a:close/>
                  </a:path>
                </a:pathLst>
              </a:custGeom>
              <a:solidFill>
                <a:srgbClr val="86C2E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Freeform 32"/>
              <p:cNvSpPr>
                <a:spLocks/>
              </p:cNvSpPr>
              <p:nvPr userDrawn="1"/>
            </p:nvSpPr>
            <p:spPr bwMode="auto">
              <a:xfrm>
                <a:off x="2424278" y="1280702"/>
                <a:ext cx="957206" cy="940719"/>
              </a:xfrm>
              <a:custGeom>
                <a:avLst/>
                <a:gdLst>
                  <a:gd name="T0" fmla="*/ 927 w 929"/>
                  <a:gd name="T1" fmla="*/ 29 h 913"/>
                  <a:gd name="T2" fmla="*/ 929 w 929"/>
                  <a:gd name="T3" fmla="*/ 84 h 913"/>
                  <a:gd name="T4" fmla="*/ 923 w 929"/>
                  <a:gd name="T5" fmla="*/ 124 h 913"/>
                  <a:gd name="T6" fmla="*/ 922 w 929"/>
                  <a:gd name="T7" fmla="*/ 138 h 913"/>
                  <a:gd name="T8" fmla="*/ 840 w 929"/>
                  <a:gd name="T9" fmla="*/ 152 h 913"/>
                  <a:gd name="T10" fmla="*/ 735 w 929"/>
                  <a:gd name="T11" fmla="*/ 173 h 913"/>
                  <a:gd name="T12" fmla="*/ 616 w 929"/>
                  <a:gd name="T13" fmla="*/ 199 h 913"/>
                  <a:gd name="T14" fmla="*/ 493 w 929"/>
                  <a:gd name="T15" fmla="*/ 231 h 913"/>
                  <a:gd name="T16" fmla="*/ 380 w 929"/>
                  <a:gd name="T17" fmla="*/ 267 h 913"/>
                  <a:gd name="T18" fmla="*/ 282 w 929"/>
                  <a:gd name="T19" fmla="*/ 309 h 913"/>
                  <a:gd name="T20" fmla="*/ 214 w 929"/>
                  <a:gd name="T21" fmla="*/ 353 h 913"/>
                  <a:gd name="T22" fmla="*/ 182 w 929"/>
                  <a:gd name="T23" fmla="*/ 402 h 913"/>
                  <a:gd name="T24" fmla="*/ 186 w 929"/>
                  <a:gd name="T25" fmla="*/ 456 h 913"/>
                  <a:gd name="T26" fmla="*/ 207 w 929"/>
                  <a:gd name="T27" fmla="*/ 523 h 913"/>
                  <a:gd name="T28" fmla="*/ 238 w 929"/>
                  <a:gd name="T29" fmla="*/ 593 h 913"/>
                  <a:gd name="T30" fmla="*/ 277 w 929"/>
                  <a:gd name="T31" fmla="*/ 659 h 913"/>
                  <a:gd name="T32" fmla="*/ 313 w 929"/>
                  <a:gd name="T33" fmla="*/ 719 h 913"/>
                  <a:gd name="T34" fmla="*/ 345 w 929"/>
                  <a:gd name="T35" fmla="*/ 763 h 913"/>
                  <a:gd name="T36" fmla="*/ 360 w 929"/>
                  <a:gd name="T37" fmla="*/ 787 h 913"/>
                  <a:gd name="T38" fmla="*/ 360 w 929"/>
                  <a:gd name="T39" fmla="*/ 794 h 913"/>
                  <a:gd name="T40" fmla="*/ 322 w 929"/>
                  <a:gd name="T41" fmla="*/ 843 h 913"/>
                  <a:gd name="T42" fmla="*/ 284 w 929"/>
                  <a:gd name="T43" fmla="*/ 882 h 913"/>
                  <a:gd name="T44" fmla="*/ 252 w 929"/>
                  <a:gd name="T45" fmla="*/ 906 h 913"/>
                  <a:gd name="T46" fmla="*/ 240 w 929"/>
                  <a:gd name="T47" fmla="*/ 913 h 913"/>
                  <a:gd name="T48" fmla="*/ 238 w 929"/>
                  <a:gd name="T49" fmla="*/ 912 h 913"/>
                  <a:gd name="T50" fmla="*/ 228 w 929"/>
                  <a:gd name="T51" fmla="*/ 898 h 913"/>
                  <a:gd name="T52" fmla="*/ 198 w 929"/>
                  <a:gd name="T53" fmla="*/ 859 h 913"/>
                  <a:gd name="T54" fmla="*/ 159 w 929"/>
                  <a:gd name="T55" fmla="*/ 803 h 913"/>
                  <a:gd name="T56" fmla="*/ 116 w 929"/>
                  <a:gd name="T57" fmla="*/ 738 h 913"/>
                  <a:gd name="T58" fmla="*/ 77 w 929"/>
                  <a:gd name="T59" fmla="*/ 672 h 913"/>
                  <a:gd name="T60" fmla="*/ 46 w 929"/>
                  <a:gd name="T61" fmla="*/ 612 h 913"/>
                  <a:gd name="T62" fmla="*/ 7 w 929"/>
                  <a:gd name="T63" fmla="*/ 502 h 913"/>
                  <a:gd name="T64" fmla="*/ 2 w 929"/>
                  <a:gd name="T65" fmla="*/ 409 h 913"/>
                  <a:gd name="T66" fmla="*/ 23 w 929"/>
                  <a:gd name="T67" fmla="*/ 330 h 913"/>
                  <a:gd name="T68" fmla="*/ 68 w 929"/>
                  <a:gd name="T69" fmla="*/ 264 h 913"/>
                  <a:gd name="T70" fmla="*/ 131 w 929"/>
                  <a:gd name="T71" fmla="*/ 210 h 913"/>
                  <a:gd name="T72" fmla="*/ 212 w 929"/>
                  <a:gd name="T73" fmla="*/ 166 h 913"/>
                  <a:gd name="T74" fmla="*/ 301 w 929"/>
                  <a:gd name="T75" fmla="*/ 131 h 913"/>
                  <a:gd name="T76" fmla="*/ 399 w 929"/>
                  <a:gd name="T77" fmla="*/ 103 h 913"/>
                  <a:gd name="T78" fmla="*/ 563 w 929"/>
                  <a:gd name="T79" fmla="*/ 64 h 913"/>
                  <a:gd name="T80" fmla="*/ 703 w 929"/>
                  <a:gd name="T81" fmla="*/ 36 h 913"/>
                  <a:gd name="T82" fmla="*/ 817 w 929"/>
                  <a:gd name="T83" fmla="*/ 17 h 913"/>
                  <a:gd name="T84" fmla="*/ 895 w 929"/>
                  <a:gd name="T85" fmla="*/ 5 h 913"/>
                  <a:gd name="T86" fmla="*/ 922 w 929"/>
                  <a:gd name="T87" fmla="*/ 0 h 9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29" h="913">
                    <a:moveTo>
                      <a:pt x="922" y="0"/>
                    </a:moveTo>
                    <a:lnTo>
                      <a:pt x="927" y="29"/>
                    </a:lnTo>
                    <a:lnTo>
                      <a:pt x="929" y="57"/>
                    </a:lnTo>
                    <a:lnTo>
                      <a:pt x="929" y="84"/>
                    </a:lnTo>
                    <a:lnTo>
                      <a:pt x="927" y="106"/>
                    </a:lnTo>
                    <a:lnTo>
                      <a:pt x="923" y="124"/>
                    </a:lnTo>
                    <a:lnTo>
                      <a:pt x="922" y="134"/>
                    </a:lnTo>
                    <a:lnTo>
                      <a:pt x="922" y="138"/>
                    </a:lnTo>
                    <a:lnTo>
                      <a:pt x="885" y="145"/>
                    </a:lnTo>
                    <a:lnTo>
                      <a:pt x="840" y="152"/>
                    </a:lnTo>
                    <a:lnTo>
                      <a:pt x="789" y="162"/>
                    </a:lnTo>
                    <a:lnTo>
                      <a:pt x="735" y="173"/>
                    </a:lnTo>
                    <a:lnTo>
                      <a:pt x="677" y="185"/>
                    </a:lnTo>
                    <a:lnTo>
                      <a:pt x="616" y="199"/>
                    </a:lnTo>
                    <a:lnTo>
                      <a:pt x="555" y="215"/>
                    </a:lnTo>
                    <a:lnTo>
                      <a:pt x="493" y="231"/>
                    </a:lnTo>
                    <a:lnTo>
                      <a:pt x="436" y="248"/>
                    </a:lnTo>
                    <a:lnTo>
                      <a:pt x="380" y="267"/>
                    </a:lnTo>
                    <a:lnTo>
                      <a:pt x="327" y="288"/>
                    </a:lnTo>
                    <a:lnTo>
                      <a:pt x="282" y="309"/>
                    </a:lnTo>
                    <a:lnTo>
                      <a:pt x="243" y="330"/>
                    </a:lnTo>
                    <a:lnTo>
                      <a:pt x="214" y="353"/>
                    </a:lnTo>
                    <a:lnTo>
                      <a:pt x="193" y="378"/>
                    </a:lnTo>
                    <a:lnTo>
                      <a:pt x="182" y="402"/>
                    </a:lnTo>
                    <a:lnTo>
                      <a:pt x="180" y="428"/>
                    </a:lnTo>
                    <a:lnTo>
                      <a:pt x="186" y="456"/>
                    </a:lnTo>
                    <a:lnTo>
                      <a:pt x="193" y="490"/>
                    </a:lnTo>
                    <a:lnTo>
                      <a:pt x="207" y="523"/>
                    </a:lnTo>
                    <a:lnTo>
                      <a:pt x="221" y="558"/>
                    </a:lnTo>
                    <a:lnTo>
                      <a:pt x="238" y="593"/>
                    </a:lnTo>
                    <a:lnTo>
                      <a:pt x="257" y="626"/>
                    </a:lnTo>
                    <a:lnTo>
                      <a:pt x="277" y="659"/>
                    </a:lnTo>
                    <a:lnTo>
                      <a:pt x="296" y="691"/>
                    </a:lnTo>
                    <a:lnTo>
                      <a:pt x="313" y="719"/>
                    </a:lnTo>
                    <a:lnTo>
                      <a:pt x="331" y="743"/>
                    </a:lnTo>
                    <a:lnTo>
                      <a:pt x="345" y="763"/>
                    </a:lnTo>
                    <a:lnTo>
                      <a:pt x="355" y="778"/>
                    </a:lnTo>
                    <a:lnTo>
                      <a:pt x="360" y="787"/>
                    </a:lnTo>
                    <a:lnTo>
                      <a:pt x="362" y="789"/>
                    </a:lnTo>
                    <a:lnTo>
                      <a:pt x="360" y="794"/>
                    </a:lnTo>
                    <a:lnTo>
                      <a:pt x="341" y="821"/>
                    </a:lnTo>
                    <a:lnTo>
                      <a:pt x="322" y="843"/>
                    </a:lnTo>
                    <a:lnTo>
                      <a:pt x="303" y="864"/>
                    </a:lnTo>
                    <a:lnTo>
                      <a:pt x="284" y="882"/>
                    </a:lnTo>
                    <a:lnTo>
                      <a:pt x="266" y="896"/>
                    </a:lnTo>
                    <a:lnTo>
                      <a:pt x="252" y="906"/>
                    </a:lnTo>
                    <a:lnTo>
                      <a:pt x="243" y="912"/>
                    </a:lnTo>
                    <a:lnTo>
                      <a:pt x="240" y="913"/>
                    </a:lnTo>
                    <a:lnTo>
                      <a:pt x="238" y="913"/>
                    </a:lnTo>
                    <a:lnTo>
                      <a:pt x="238" y="912"/>
                    </a:lnTo>
                    <a:lnTo>
                      <a:pt x="236" y="910"/>
                    </a:lnTo>
                    <a:lnTo>
                      <a:pt x="228" y="898"/>
                    </a:lnTo>
                    <a:lnTo>
                      <a:pt x="214" y="880"/>
                    </a:lnTo>
                    <a:lnTo>
                      <a:pt x="198" y="859"/>
                    </a:lnTo>
                    <a:lnTo>
                      <a:pt x="179" y="833"/>
                    </a:lnTo>
                    <a:lnTo>
                      <a:pt x="159" y="803"/>
                    </a:lnTo>
                    <a:lnTo>
                      <a:pt x="138" y="771"/>
                    </a:lnTo>
                    <a:lnTo>
                      <a:pt x="116" y="738"/>
                    </a:lnTo>
                    <a:lnTo>
                      <a:pt x="95" y="705"/>
                    </a:lnTo>
                    <a:lnTo>
                      <a:pt x="77" y="672"/>
                    </a:lnTo>
                    <a:lnTo>
                      <a:pt x="60" y="640"/>
                    </a:lnTo>
                    <a:lnTo>
                      <a:pt x="46" y="612"/>
                    </a:lnTo>
                    <a:lnTo>
                      <a:pt x="23" y="554"/>
                    </a:lnTo>
                    <a:lnTo>
                      <a:pt x="7" y="502"/>
                    </a:lnTo>
                    <a:lnTo>
                      <a:pt x="0" y="453"/>
                    </a:lnTo>
                    <a:lnTo>
                      <a:pt x="2" y="409"/>
                    </a:lnTo>
                    <a:lnTo>
                      <a:pt x="9" y="367"/>
                    </a:lnTo>
                    <a:lnTo>
                      <a:pt x="23" y="330"/>
                    </a:lnTo>
                    <a:lnTo>
                      <a:pt x="42" y="295"/>
                    </a:lnTo>
                    <a:lnTo>
                      <a:pt x="68" y="264"/>
                    </a:lnTo>
                    <a:lnTo>
                      <a:pt x="98" y="236"/>
                    </a:lnTo>
                    <a:lnTo>
                      <a:pt x="131" y="210"/>
                    </a:lnTo>
                    <a:lnTo>
                      <a:pt x="170" y="187"/>
                    </a:lnTo>
                    <a:lnTo>
                      <a:pt x="212" y="166"/>
                    </a:lnTo>
                    <a:lnTo>
                      <a:pt x="256" y="147"/>
                    </a:lnTo>
                    <a:lnTo>
                      <a:pt x="301" y="131"/>
                    </a:lnTo>
                    <a:lnTo>
                      <a:pt x="350" y="115"/>
                    </a:lnTo>
                    <a:lnTo>
                      <a:pt x="399" y="103"/>
                    </a:lnTo>
                    <a:lnTo>
                      <a:pt x="483" y="82"/>
                    </a:lnTo>
                    <a:lnTo>
                      <a:pt x="563" y="64"/>
                    </a:lnTo>
                    <a:lnTo>
                      <a:pt x="637" y="49"/>
                    </a:lnTo>
                    <a:lnTo>
                      <a:pt x="703" y="36"/>
                    </a:lnTo>
                    <a:lnTo>
                      <a:pt x="764" y="26"/>
                    </a:lnTo>
                    <a:lnTo>
                      <a:pt x="817" y="17"/>
                    </a:lnTo>
                    <a:lnTo>
                      <a:pt x="861" y="10"/>
                    </a:lnTo>
                    <a:lnTo>
                      <a:pt x="895" y="5"/>
                    </a:lnTo>
                    <a:lnTo>
                      <a:pt x="922" y="0"/>
                    </a:lnTo>
                    <a:lnTo>
                      <a:pt x="922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2" name="Groep 141"/>
            <p:cNvGrpSpPr/>
            <p:nvPr userDrawn="1"/>
          </p:nvGrpSpPr>
          <p:grpSpPr>
            <a:xfrm>
              <a:off x="1729882" y="546049"/>
              <a:ext cx="1149265" cy="733307"/>
              <a:chOff x="1316640" y="542964"/>
              <a:chExt cx="1044786" cy="666643"/>
            </a:xfrm>
          </p:grpSpPr>
          <p:sp>
            <p:nvSpPr>
              <p:cNvPr id="173" name="Freeform 33"/>
              <p:cNvSpPr>
                <a:spLocks/>
              </p:cNvSpPr>
              <p:nvPr userDrawn="1"/>
            </p:nvSpPr>
            <p:spPr bwMode="auto">
              <a:xfrm>
                <a:off x="1348581" y="576966"/>
                <a:ext cx="1003572" cy="632641"/>
              </a:xfrm>
              <a:custGeom>
                <a:avLst/>
                <a:gdLst>
                  <a:gd name="T0" fmla="*/ 974 w 974"/>
                  <a:gd name="T1" fmla="*/ 0 h 614"/>
                  <a:gd name="T2" fmla="*/ 948 w 974"/>
                  <a:gd name="T3" fmla="*/ 79 h 614"/>
                  <a:gd name="T4" fmla="*/ 920 w 974"/>
                  <a:gd name="T5" fmla="*/ 159 h 614"/>
                  <a:gd name="T6" fmla="*/ 894 w 974"/>
                  <a:gd name="T7" fmla="*/ 231 h 614"/>
                  <a:gd name="T8" fmla="*/ 866 w 974"/>
                  <a:gd name="T9" fmla="*/ 301 h 614"/>
                  <a:gd name="T10" fmla="*/ 838 w 974"/>
                  <a:gd name="T11" fmla="*/ 368 h 614"/>
                  <a:gd name="T12" fmla="*/ 806 w 974"/>
                  <a:gd name="T13" fmla="*/ 431 h 614"/>
                  <a:gd name="T14" fmla="*/ 785 w 974"/>
                  <a:gd name="T15" fmla="*/ 469 h 614"/>
                  <a:gd name="T16" fmla="*/ 761 w 974"/>
                  <a:gd name="T17" fmla="*/ 506 h 614"/>
                  <a:gd name="T18" fmla="*/ 733 w 974"/>
                  <a:gd name="T19" fmla="*/ 539 h 614"/>
                  <a:gd name="T20" fmla="*/ 703 w 974"/>
                  <a:gd name="T21" fmla="*/ 569 h 614"/>
                  <a:gd name="T22" fmla="*/ 668 w 974"/>
                  <a:gd name="T23" fmla="*/ 593 h 614"/>
                  <a:gd name="T24" fmla="*/ 633 w 974"/>
                  <a:gd name="T25" fmla="*/ 607 h 614"/>
                  <a:gd name="T26" fmla="*/ 598 w 974"/>
                  <a:gd name="T27" fmla="*/ 614 h 614"/>
                  <a:gd name="T28" fmla="*/ 562 w 974"/>
                  <a:gd name="T29" fmla="*/ 613 h 614"/>
                  <a:gd name="T30" fmla="*/ 527 w 974"/>
                  <a:gd name="T31" fmla="*/ 604 h 614"/>
                  <a:gd name="T32" fmla="*/ 490 w 974"/>
                  <a:gd name="T33" fmla="*/ 588 h 614"/>
                  <a:gd name="T34" fmla="*/ 445 w 974"/>
                  <a:gd name="T35" fmla="*/ 560 h 614"/>
                  <a:gd name="T36" fmla="*/ 403 w 974"/>
                  <a:gd name="T37" fmla="*/ 529 h 614"/>
                  <a:gd name="T38" fmla="*/ 345 w 974"/>
                  <a:gd name="T39" fmla="*/ 478 h 614"/>
                  <a:gd name="T40" fmla="*/ 285 w 974"/>
                  <a:gd name="T41" fmla="*/ 418 h 614"/>
                  <a:gd name="T42" fmla="*/ 226 w 974"/>
                  <a:gd name="T43" fmla="*/ 354 h 614"/>
                  <a:gd name="T44" fmla="*/ 177 w 974"/>
                  <a:gd name="T45" fmla="*/ 299 h 614"/>
                  <a:gd name="T46" fmla="*/ 133 w 974"/>
                  <a:gd name="T47" fmla="*/ 249 h 614"/>
                  <a:gd name="T48" fmla="*/ 95 w 974"/>
                  <a:gd name="T49" fmla="*/ 201 h 614"/>
                  <a:gd name="T50" fmla="*/ 60 w 974"/>
                  <a:gd name="T51" fmla="*/ 159 h 614"/>
                  <a:gd name="T52" fmla="*/ 28 w 974"/>
                  <a:gd name="T53" fmla="*/ 123 h 614"/>
                  <a:gd name="T54" fmla="*/ 4 w 974"/>
                  <a:gd name="T55" fmla="*/ 91 h 614"/>
                  <a:gd name="T56" fmla="*/ 2 w 974"/>
                  <a:gd name="T57" fmla="*/ 89 h 614"/>
                  <a:gd name="T58" fmla="*/ 0 w 974"/>
                  <a:gd name="T59" fmla="*/ 88 h 614"/>
                  <a:gd name="T60" fmla="*/ 0 w 974"/>
                  <a:gd name="T61" fmla="*/ 86 h 614"/>
                  <a:gd name="T62" fmla="*/ 2 w 974"/>
                  <a:gd name="T63" fmla="*/ 88 h 614"/>
                  <a:gd name="T64" fmla="*/ 4 w 974"/>
                  <a:gd name="T65" fmla="*/ 91 h 614"/>
                  <a:gd name="T66" fmla="*/ 63 w 974"/>
                  <a:gd name="T67" fmla="*/ 161 h 614"/>
                  <a:gd name="T68" fmla="*/ 126 w 974"/>
                  <a:gd name="T69" fmla="*/ 231 h 614"/>
                  <a:gd name="T70" fmla="*/ 188 w 974"/>
                  <a:gd name="T71" fmla="*/ 296 h 614"/>
                  <a:gd name="T72" fmla="*/ 242 w 974"/>
                  <a:gd name="T73" fmla="*/ 347 h 614"/>
                  <a:gd name="T74" fmla="*/ 296 w 974"/>
                  <a:gd name="T75" fmla="*/ 394 h 614"/>
                  <a:gd name="T76" fmla="*/ 350 w 974"/>
                  <a:gd name="T77" fmla="*/ 434 h 614"/>
                  <a:gd name="T78" fmla="*/ 394 w 974"/>
                  <a:gd name="T79" fmla="*/ 459 h 614"/>
                  <a:gd name="T80" fmla="*/ 436 w 974"/>
                  <a:gd name="T81" fmla="*/ 480 h 614"/>
                  <a:gd name="T82" fmla="*/ 481 w 974"/>
                  <a:gd name="T83" fmla="*/ 494 h 614"/>
                  <a:gd name="T84" fmla="*/ 530 w 974"/>
                  <a:gd name="T85" fmla="*/ 499 h 614"/>
                  <a:gd name="T86" fmla="*/ 549 w 974"/>
                  <a:gd name="T87" fmla="*/ 497 h 614"/>
                  <a:gd name="T88" fmla="*/ 602 w 974"/>
                  <a:gd name="T89" fmla="*/ 488 h 614"/>
                  <a:gd name="T90" fmla="*/ 651 w 974"/>
                  <a:gd name="T91" fmla="*/ 469 h 614"/>
                  <a:gd name="T92" fmla="*/ 695 w 974"/>
                  <a:gd name="T93" fmla="*/ 445 h 614"/>
                  <a:gd name="T94" fmla="*/ 733 w 974"/>
                  <a:gd name="T95" fmla="*/ 415 h 614"/>
                  <a:gd name="T96" fmla="*/ 775 w 974"/>
                  <a:gd name="T97" fmla="*/ 375 h 614"/>
                  <a:gd name="T98" fmla="*/ 812 w 974"/>
                  <a:gd name="T99" fmla="*/ 329 h 614"/>
                  <a:gd name="T100" fmla="*/ 843 w 974"/>
                  <a:gd name="T101" fmla="*/ 280 h 614"/>
                  <a:gd name="T102" fmla="*/ 873 w 974"/>
                  <a:gd name="T103" fmla="*/ 229 h 614"/>
                  <a:gd name="T104" fmla="*/ 899 w 974"/>
                  <a:gd name="T105" fmla="*/ 177 h 614"/>
                  <a:gd name="T106" fmla="*/ 939 w 974"/>
                  <a:gd name="T107" fmla="*/ 88 h 614"/>
                  <a:gd name="T108" fmla="*/ 974 w 974"/>
                  <a:gd name="T109" fmla="*/ 0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74" h="614">
                    <a:moveTo>
                      <a:pt x="974" y="0"/>
                    </a:moveTo>
                    <a:lnTo>
                      <a:pt x="948" y="79"/>
                    </a:lnTo>
                    <a:lnTo>
                      <a:pt x="920" y="159"/>
                    </a:lnTo>
                    <a:lnTo>
                      <a:pt x="894" y="231"/>
                    </a:lnTo>
                    <a:lnTo>
                      <a:pt x="866" y="301"/>
                    </a:lnTo>
                    <a:lnTo>
                      <a:pt x="838" y="368"/>
                    </a:lnTo>
                    <a:lnTo>
                      <a:pt x="806" y="431"/>
                    </a:lnTo>
                    <a:lnTo>
                      <a:pt x="785" y="469"/>
                    </a:lnTo>
                    <a:lnTo>
                      <a:pt x="761" y="506"/>
                    </a:lnTo>
                    <a:lnTo>
                      <a:pt x="733" y="539"/>
                    </a:lnTo>
                    <a:lnTo>
                      <a:pt x="703" y="569"/>
                    </a:lnTo>
                    <a:lnTo>
                      <a:pt x="668" y="593"/>
                    </a:lnTo>
                    <a:lnTo>
                      <a:pt x="633" y="607"/>
                    </a:lnTo>
                    <a:lnTo>
                      <a:pt x="598" y="614"/>
                    </a:lnTo>
                    <a:lnTo>
                      <a:pt x="562" y="613"/>
                    </a:lnTo>
                    <a:lnTo>
                      <a:pt x="527" y="604"/>
                    </a:lnTo>
                    <a:lnTo>
                      <a:pt x="490" y="588"/>
                    </a:lnTo>
                    <a:lnTo>
                      <a:pt x="445" y="560"/>
                    </a:lnTo>
                    <a:lnTo>
                      <a:pt x="403" y="529"/>
                    </a:lnTo>
                    <a:lnTo>
                      <a:pt x="345" y="478"/>
                    </a:lnTo>
                    <a:lnTo>
                      <a:pt x="285" y="418"/>
                    </a:lnTo>
                    <a:lnTo>
                      <a:pt x="226" y="354"/>
                    </a:lnTo>
                    <a:lnTo>
                      <a:pt x="177" y="299"/>
                    </a:lnTo>
                    <a:lnTo>
                      <a:pt x="133" y="249"/>
                    </a:lnTo>
                    <a:lnTo>
                      <a:pt x="95" y="201"/>
                    </a:lnTo>
                    <a:lnTo>
                      <a:pt x="60" y="159"/>
                    </a:lnTo>
                    <a:lnTo>
                      <a:pt x="28" y="123"/>
                    </a:lnTo>
                    <a:lnTo>
                      <a:pt x="4" y="91"/>
                    </a:lnTo>
                    <a:lnTo>
                      <a:pt x="2" y="89"/>
                    </a:lnTo>
                    <a:lnTo>
                      <a:pt x="0" y="88"/>
                    </a:lnTo>
                    <a:lnTo>
                      <a:pt x="0" y="86"/>
                    </a:lnTo>
                    <a:lnTo>
                      <a:pt x="2" y="88"/>
                    </a:lnTo>
                    <a:lnTo>
                      <a:pt x="4" y="91"/>
                    </a:lnTo>
                    <a:lnTo>
                      <a:pt x="63" y="161"/>
                    </a:lnTo>
                    <a:lnTo>
                      <a:pt x="126" y="231"/>
                    </a:lnTo>
                    <a:lnTo>
                      <a:pt x="188" y="296"/>
                    </a:lnTo>
                    <a:lnTo>
                      <a:pt x="242" y="347"/>
                    </a:lnTo>
                    <a:lnTo>
                      <a:pt x="296" y="394"/>
                    </a:lnTo>
                    <a:lnTo>
                      <a:pt x="350" y="434"/>
                    </a:lnTo>
                    <a:lnTo>
                      <a:pt x="394" y="459"/>
                    </a:lnTo>
                    <a:lnTo>
                      <a:pt x="436" y="480"/>
                    </a:lnTo>
                    <a:lnTo>
                      <a:pt x="481" y="494"/>
                    </a:lnTo>
                    <a:lnTo>
                      <a:pt x="530" y="499"/>
                    </a:lnTo>
                    <a:lnTo>
                      <a:pt x="549" y="497"/>
                    </a:lnTo>
                    <a:lnTo>
                      <a:pt x="602" y="488"/>
                    </a:lnTo>
                    <a:lnTo>
                      <a:pt x="651" y="469"/>
                    </a:lnTo>
                    <a:lnTo>
                      <a:pt x="695" y="445"/>
                    </a:lnTo>
                    <a:lnTo>
                      <a:pt x="733" y="415"/>
                    </a:lnTo>
                    <a:lnTo>
                      <a:pt x="775" y="375"/>
                    </a:lnTo>
                    <a:lnTo>
                      <a:pt x="812" y="329"/>
                    </a:lnTo>
                    <a:lnTo>
                      <a:pt x="843" y="280"/>
                    </a:lnTo>
                    <a:lnTo>
                      <a:pt x="873" y="229"/>
                    </a:lnTo>
                    <a:lnTo>
                      <a:pt x="899" y="177"/>
                    </a:lnTo>
                    <a:lnTo>
                      <a:pt x="939" y="88"/>
                    </a:lnTo>
                    <a:lnTo>
                      <a:pt x="974" y="0"/>
                    </a:lnTo>
                    <a:close/>
                  </a:path>
                </a:pathLst>
              </a:custGeom>
              <a:solidFill>
                <a:srgbClr val="EEED9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Freeform 34"/>
              <p:cNvSpPr>
                <a:spLocks/>
              </p:cNvSpPr>
              <p:nvPr userDrawn="1"/>
            </p:nvSpPr>
            <p:spPr bwMode="auto">
              <a:xfrm>
                <a:off x="1316640" y="542964"/>
                <a:ext cx="1044786" cy="548152"/>
              </a:xfrm>
              <a:custGeom>
                <a:avLst/>
                <a:gdLst>
                  <a:gd name="T0" fmla="*/ 885 w 1014"/>
                  <a:gd name="T1" fmla="*/ 0 h 532"/>
                  <a:gd name="T2" fmla="*/ 941 w 1014"/>
                  <a:gd name="T3" fmla="*/ 0 h 532"/>
                  <a:gd name="T4" fmla="*/ 1002 w 1014"/>
                  <a:gd name="T5" fmla="*/ 9 h 532"/>
                  <a:gd name="T6" fmla="*/ 1014 w 1014"/>
                  <a:gd name="T7" fmla="*/ 10 h 532"/>
                  <a:gd name="T8" fmla="*/ 1012 w 1014"/>
                  <a:gd name="T9" fmla="*/ 16 h 532"/>
                  <a:gd name="T10" fmla="*/ 1011 w 1014"/>
                  <a:gd name="T11" fmla="*/ 21 h 532"/>
                  <a:gd name="T12" fmla="*/ 1009 w 1014"/>
                  <a:gd name="T13" fmla="*/ 24 h 532"/>
                  <a:gd name="T14" fmla="*/ 1007 w 1014"/>
                  <a:gd name="T15" fmla="*/ 28 h 532"/>
                  <a:gd name="T16" fmla="*/ 1005 w 1014"/>
                  <a:gd name="T17" fmla="*/ 33 h 532"/>
                  <a:gd name="T18" fmla="*/ 970 w 1014"/>
                  <a:gd name="T19" fmla="*/ 121 h 532"/>
                  <a:gd name="T20" fmla="*/ 930 w 1014"/>
                  <a:gd name="T21" fmla="*/ 210 h 532"/>
                  <a:gd name="T22" fmla="*/ 904 w 1014"/>
                  <a:gd name="T23" fmla="*/ 262 h 532"/>
                  <a:gd name="T24" fmla="*/ 874 w 1014"/>
                  <a:gd name="T25" fmla="*/ 313 h 532"/>
                  <a:gd name="T26" fmla="*/ 843 w 1014"/>
                  <a:gd name="T27" fmla="*/ 362 h 532"/>
                  <a:gd name="T28" fmla="*/ 806 w 1014"/>
                  <a:gd name="T29" fmla="*/ 408 h 532"/>
                  <a:gd name="T30" fmla="*/ 764 w 1014"/>
                  <a:gd name="T31" fmla="*/ 448 h 532"/>
                  <a:gd name="T32" fmla="*/ 726 w 1014"/>
                  <a:gd name="T33" fmla="*/ 478 h 532"/>
                  <a:gd name="T34" fmla="*/ 682 w 1014"/>
                  <a:gd name="T35" fmla="*/ 502 h 532"/>
                  <a:gd name="T36" fmla="*/ 633 w 1014"/>
                  <a:gd name="T37" fmla="*/ 521 h 532"/>
                  <a:gd name="T38" fmla="*/ 580 w 1014"/>
                  <a:gd name="T39" fmla="*/ 530 h 532"/>
                  <a:gd name="T40" fmla="*/ 561 w 1014"/>
                  <a:gd name="T41" fmla="*/ 532 h 532"/>
                  <a:gd name="T42" fmla="*/ 512 w 1014"/>
                  <a:gd name="T43" fmla="*/ 527 h 532"/>
                  <a:gd name="T44" fmla="*/ 467 w 1014"/>
                  <a:gd name="T45" fmla="*/ 513 h 532"/>
                  <a:gd name="T46" fmla="*/ 425 w 1014"/>
                  <a:gd name="T47" fmla="*/ 492 h 532"/>
                  <a:gd name="T48" fmla="*/ 381 w 1014"/>
                  <a:gd name="T49" fmla="*/ 467 h 532"/>
                  <a:gd name="T50" fmla="*/ 327 w 1014"/>
                  <a:gd name="T51" fmla="*/ 427 h 532"/>
                  <a:gd name="T52" fmla="*/ 273 w 1014"/>
                  <a:gd name="T53" fmla="*/ 380 h 532"/>
                  <a:gd name="T54" fmla="*/ 219 w 1014"/>
                  <a:gd name="T55" fmla="*/ 329 h 532"/>
                  <a:gd name="T56" fmla="*/ 145 w 1014"/>
                  <a:gd name="T57" fmla="*/ 252 h 532"/>
                  <a:gd name="T58" fmla="*/ 73 w 1014"/>
                  <a:gd name="T59" fmla="*/ 170 h 532"/>
                  <a:gd name="T60" fmla="*/ 3 w 1014"/>
                  <a:gd name="T61" fmla="*/ 86 h 532"/>
                  <a:gd name="T62" fmla="*/ 2 w 1014"/>
                  <a:gd name="T63" fmla="*/ 84 h 532"/>
                  <a:gd name="T64" fmla="*/ 2 w 1014"/>
                  <a:gd name="T65" fmla="*/ 82 h 532"/>
                  <a:gd name="T66" fmla="*/ 0 w 1014"/>
                  <a:gd name="T67" fmla="*/ 82 h 532"/>
                  <a:gd name="T68" fmla="*/ 0 w 1014"/>
                  <a:gd name="T69" fmla="*/ 80 h 532"/>
                  <a:gd name="T70" fmla="*/ 28 w 1014"/>
                  <a:gd name="T71" fmla="*/ 63 h 532"/>
                  <a:gd name="T72" fmla="*/ 59 w 1014"/>
                  <a:gd name="T73" fmla="*/ 47 h 532"/>
                  <a:gd name="T74" fmla="*/ 94 w 1014"/>
                  <a:gd name="T75" fmla="*/ 33 h 532"/>
                  <a:gd name="T76" fmla="*/ 126 w 1014"/>
                  <a:gd name="T77" fmla="*/ 23 h 532"/>
                  <a:gd name="T78" fmla="*/ 170 w 1014"/>
                  <a:gd name="T79" fmla="*/ 75 h 532"/>
                  <a:gd name="T80" fmla="*/ 212 w 1014"/>
                  <a:gd name="T81" fmla="*/ 124 h 532"/>
                  <a:gd name="T82" fmla="*/ 253 w 1014"/>
                  <a:gd name="T83" fmla="*/ 171 h 532"/>
                  <a:gd name="T84" fmla="*/ 295 w 1014"/>
                  <a:gd name="T85" fmla="*/ 217 h 532"/>
                  <a:gd name="T86" fmla="*/ 337 w 1014"/>
                  <a:gd name="T87" fmla="*/ 259 h 532"/>
                  <a:gd name="T88" fmla="*/ 378 w 1014"/>
                  <a:gd name="T89" fmla="*/ 296 h 532"/>
                  <a:gd name="T90" fmla="*/ 418 w 1014"/>
                  <a:gd name="T91" fmla="*/ 327 h 532"/>
                  <a:gd name="T92" fmla="*/ 455 w 1014"/>
                  <a:gd name="T93" fmla="*/ 352 h 532"/>
                  <a:gd name="T94" fmla="*/ 493 w 1014"/>
                  <a:gd name="T95" fmla="*/ 369 h 532"/>
                  <a:gd name="T96" fmla="*/ 528 w 1014"/>
                  <a:gd name="T97" fmla="*/ 378 h 532"/>
                  <a:gd name="T98" fmla="*/ 561 w 1014"/>
                  <a:gd name="T99" fmla="*/ 378 h 532"/>
                  <a:gd name="T100" fmla="*/ 594 w 1014"/>
                  <a:gd name="T101" fmla="*/ 367 h 532"/>
                  <a:gd name="T102" fmla="*/ 628 w 1014"/>
                  <a:gd name="T103" fmla="*/ 348 h 532"/>
                  <a:gd name="T104" fmla="*/ 657 w 1014"/>
                  <a:gd name="T105" fmla="*/ 322 h 532"/>
                  <a:gd name="T106" fmla="*/ 687 w 1014"/>
                  <a:gd name="T107" fmla="*/ 290 h 532"/>
                  <a:gd name="T108" fmla="*/ 713 w 1014"/>
                  <a:gd name="T109" fmla="*/ 254 h 532"/>
                  <a:gd name="T110" fmla="*/ 738 w 1014"/>
                  <a:gd name="T111" fmla="*/ 213 h 532"/>
                  <a:gd name="T112" fmla="*/ 761 w 1014"/>
                  <a:gd name="T113" fmla="*/ 173 h 532"/>
                  <a:gd name="T114" fmla="*/ 780 w 1014"/>
                  <a:gd name="T115" fmla="*/ 133 h 532"/>
                  <a:gd name="T116" fmla="*/ 797 w 1014"/>
                  <a:gd name="T117" fmla="*/ 94 h 532"/>
                  <a:gd name="T118" fmla="*/ 811 w 1014"/>
                  <a:gd name="T119" fmla="*/ 59 h 532"/>
                  <a:gd name="T120" fmla="*/ 823 w 1014"/>
                  <a:gd name="T121" fmla="*/ 30 h 532"/>
                  <a:gd name="T122" fmla="*/ 832 w 1014"/>
                  <a:gd name="T123" fmla="*/ 7 h 532"/>
                  <a:gd name="T124" fmla="*/ 885 w 1014"/>
                  <a:gd name="T125" fmla="*/ 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14" h="532">
                    <a:moveTo>
                      <a:pt x="885" y="0"/>
                    </a:moveTo>
                    <a:lnTo>
                      <a:pt x="941" y="0"/>
                    </a:lnTo>
                    <a:lnTo>
                      <a:pt x="1002" y="9"/>
                    </a:lnTo>
                    <a:lnTo>
                      <a:pt x="1014" y="10"/>
                    </a:lnTo>
                    <a:lnTo>
                      <a:pt x="1012" y="16"/>
                    </a:lnTo>
                    <a:lnTo>
                      <a:pt x="1011" y="21"/>
                    </a:lnTo>
                    <a:lnTo>
                      <a:pt x="1009" y="24"/>
                    </a:lnTo>
                    <a:lnTo>
                      <a:pt x="1007" y="28"/>
                    </a:lnTo>
                    <a:lnTo>
                      <a:pt x="1005" y="33"/>
                    </a:lnTo>
                    <a:lnTo>
                      <a:pt x="970" y="121"/>
                    </a:lnTo>
                    <a:lnTo>
                      <a:pt x="930" y="210"/>
                    </a:lnTo>
                    <a:lnTo>
                      <a:pt x="904" y="262"/>
                    </a:lnTo>
                    <a:lnTo>
                      <a:pt x="874" y="313"/>
                    </a:lnTo>
                    <a:lnTo>
                      <a:pt x="843" y="362"/>
                    </a:lnTo>
                    <a:lnTo>
                      <a:pt x="806" y="408"/>
                    </a:lnTo>
                    <a:lnTo>
                      <a:pt x="764" y="448"/>
                    </a:lnTo>
                    <a:lnTo>
                      <a:pt x="726" y="478"/>
                    </a:lnTo>
                    <a:lnTo>
                      <a:pt x="682" y="502"/>
                    </a:lnTo>
                    <a:lnTo>
                      <a:pt x="633" y="521"/>
                    </a:lnTo>
                    <a:lnTo>
                      <a:pt x="580" y="530"/>
                    </a:lnTo>
                    <a:lnTo>
                      <a:pt x="561" y="532"/>
                    </a:lnTo>
                    <a:lnTo>
                      <a:pt x="512" y="527"/>
                    </a:lnTo>
                    <a:lnTo>
                      <a:pt x="467" y="513"/>
                    </a:lnTo>
                    <a:lnTo>
                      <a:pt x="425" y="492"/>
                    </a:lnTo>
                    <a:lnTo>
                      <a:pt x="381" y="467"/>
                    </a:lnTo>
                    <a:lnTo>
                      <a:pt x="327" y="427"/>
                    </a:lnTo>
                    <a:lnTo>
                      <a:pt x="273" y="380"/>
                    </a:lnTo>
                    <a:lnTo>
                      <a:pt x="219" y="329"/>
                    </a:lnTo>
                    <a:lnTo>
                      <a:pt x="145" y="252"/>
                    </a:lnTo>
                    <a:lnTo>
                      <a:pt x="73" y="170"/>
                    </a:lnTo>
                    <a:lnTo>
                      <a:pt x="3" y="86"/>
                    </a:lnTo>
                    <a:lnTo>
                      <a:pt x="2" y="84"/>
                    </a:lnTo>
                    <a:lnTo>
                      <a:pt x="2" y="82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28" y="63"/>
                    </a:lnTo>
                    <a:lnTo>
                      <a:pt x="59" y="47"/>
                    </a:lnTo>
                    <a:lnTo>
                      <a:pt x="94" y="33"/>
                    </a:lnTo>
                    <a:lnTo>
                      <a:pt x="126" y="23"/>
                    </a:lnTo>
                    <a:lnTo>
                      <a:pt x="170" y="75"/>
                    </a:lnTo>
                    <a:lnTo>
                      <a:pt x="212" y="124"/>
                    </a:lnTo>
                    <a:lnTo>
                      <a:pt x="253" y="171"/>
                    </a:lnTo>
                    <a:lnTo>
                      <a:pt x="295" y="217"/>
                    </a:lnTo>
                    <a:lnTo>
                      <a:pt x="337" y="259"/>
                    </a:lnTo>
                    <a:lnTo>
                      <a:pt x="378" y="296"/>
                    </a:lnTo>
                    <a:lnTo>
                      <a:pt x="418" y="327"/>
                    </a:lnTo>
                    <a:lnTo>
                      <a:pt x="455" y="352"/>
                    </a:lnTo>
                    <a:lnTo>
                      <a:pt x="493" y="369"/>
                    </a:lnTo>
                    <a:lnTo>
                      <a:pt x="528" y="378"/>
                    </a:lnTo>
                    <a:lnTo>
                      <a:pt x="561" y="378"/>
                    </a:lnTo>
                    <a:lnTo>
                      <a:pt x="594" y="367"/>
                    </a:lnTo>
                    <a:lnTo>
                      <a:pt x="628" y="348"/>
                    </a:lnTo>
                    <a:lnTo>
                      <a:pt x="657" y="322"/>
                    </a:lnTo>
                    <a:lnTo>
                      <a:pt x="687" y="290"/>
                    </a:lnTo>
                    <a:lnTo>
                      <a:pt x="713" y="254"/>
                    </a:lnTo>
                    <a:lnTo>
                      <a:pt x="738" y="213"/>
                    </a:lnTo>
                    <a:lnTo>
                      <a:pt x="761" y="173"/>
                    </a:lnTo>
                    <a:lnTo>
                      <a:pt x="780" y="133"/>
                    </a:lnTo>
                    <a:lnTo>
                      <a:pt x="797" y="94"/>
                    </a:lnTo>
                    <a:lnTo>
                      <a:pt x="811" y="59"/>
                    </a:lnTo>
                    <a:lnTo>
                      <a:pt x="823" y="30"/>
                    </a:lnTo>
                    <a:lnTo>
                      <a:pt x="832" y="7"/>
                    </a:lnTo>
                    <a:lnTo>
                      <a:pt x="885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3" name="Groep 142"/>
            <p:cNvGrpSpPr/>
            <p:nvPr userDrawn="1"/>
          </p:nvGrpSpPr>
          <p:grpSpPr>
            <a:xfrm>
              <a:off x="1327526" y="662789"/>
              <a:ext cx="884050" cy="1037058"/>
              <a:chOff x="950862" y="649091"/>
              <a:chExt cx="803682" cy="942780"/>
            </a:xfrm>
          </p:grpSpPr>
          <p:sp>
            <p:nvSpPr>
              <p:cNvPr id="171" name="Freeform 35"/>
              <p:cNvSpPr>
                <a:spLocks/>
              </p:cNvSpPr>
              <p:nvPr userDrawn="1"/>
            </p:nvSpPr>
            <p:spPr bwMode="auto">
              <a:xfrm>
                <a:off x="953953" y="651152"/>
                <a:ext cx="800591" cy="940719"/>
              </a:xfrm>
              <a:custGeom>
                <a:avLst/>
                <a:gdLst>
                  <a:gd name="T0" fmla="*/ 320 w 777"/>
                  <a:gd name="T1" fmla="*/ 0 h 913"/>
                  <a:gd name="T2" fmla="*/ 320 w 777"/>
                  <a:gd name="T3" fmla="*/ 0 h 913"/>
                  <a:gd name="T4" fmla="*/ 373 w 777"/>
                  <a:gd name="T5" fmla="*/ 58 h 913"/>
                  <a:gd name="T6" fmla="*/ 481 w 777"/>
                  <a:gd name="T7" fmla="*/ 182 h 913"/>
                  <a:gd name="T8" fmla="*/ 584 w 777"/>
                  <a:gd name="T9" fmla="*/ 311 h 913"/>
                  <a:gd name="T10" fmla="*/ 632 w 777"/>
                  <a:gd name="T11" fmla="*/ 373 h 913"/>
                  <a:gd name="T12" fmla="*/ 675 w 777"/>
                  <a:gd name="T13" fmla="*/ 436 h 913"/>
                  <a:gd name="T14" fmla="*/ 705 w 777"/>
                  <a:gd name="T15" fmla="*/ 483 h 913"/>
                  <a:gd name="T16" fmla="*/ 733 w 777"/>
                  <a:gd name="T17" fmla="*/ 530 h 913"/>
                  <a:gd name="T18" fmla="*/ 758 w 777"/>
                  <a:gd name="T19" fmla="*/ 579 h 913"/>
                  <a:gd name="T20" fmla="*/ 768 w 777"/>
                  <a:gd name="T21" fmla="*/ 609 h 913"/>
                  <a:gd name="T22" fmla="*/ 775 w 777"/>
                  <a:gd name="T23" fmla="*/ 640 h 913"/>
                  <a:gd name="T24" fmla="*/ 777 w 777"/>
                  <a:gd name="T25" fmla="*/ 674 h 913"/>
                  <a:gd name="T26" fmla="*/ 768 w 777"/>
                  <a:gd name="T27" fmla="*/ 707 h 913"/>
                  <a:gd name="T28" fmla="*/ 751 w 777"/>
                  <a:gd name="T29" fmla="*/ 735 h 913"/>
                  <a:gd name="T30" fmla="*/ 726 w 777"/>
                  <a:gd name="T31" fmla="*/ 759 h 913"/>
                  <a:gd name="T32" fmla="*/ 695 w 777"/>
                  <a:gd name="T33" fmla="*/ 782 h 913"/>
                  <a:gd name="T34" fmla="*/ 660 w 777"/>
                  <a:gd name="T35" fmla="*/ 800 h 913"/>
                  <a:gd name="T36" fmla="*/ 621 w 777"/>
                  <a:gd name="T37" fmla="*/ 812 h 913"/>
                  <a:gd name="T38" fmla="*/ 583 w 777"/>
                  <a:gd name="T39" fmla="*/ 822 h 913"/>
                  <a:gd name="T40" fmla="*/ 544 w 777"/>
                  <a:gd name="T41" fmla="*/ 833 h 913"/>
                  <a:gd name="T42" fmla="*/ 432 w 777"/>
                  <a:gd name="T43" fmla="*/ 856 h 913"/>
                  <a:gd name="T44" fmla="*/ 319 w 777"/>
                  <a:gd name="T45" fmla="*/ 873 h 913"/>
                  <a:gd name="T46" fmla="*/ 160 w 777"/>
                  <a:gd name="T47" fmla="*/ 894 h 913"/>
                  <a:gd name="T48" fmla="*/ 0 w 777"/>
                  <a:gd name="T49" fmla="*/ 913 h 913"/>
                  <a:gd name="T50" fmla="*/ 69 w 777"/>
                  <a:gd name="T51" fmla="*/ 903 h 913"/>
                  <a:gd name="T52" fmla="*/ 137 w 777"/>
                  <a:gd name="T53" fmla="*/ 892 h 913"/>
                  <a:gd name="T54" fmla="*/ 203 w 777"/>
                  <a:gd name="T55" fmla="*/ 880 h 913"/>
                  <a:gd name="T56" fmla="*/ 270 w 777"/>
                  <a:gd name="T57" fmla="*/ 868 h 913"/>
                  <a:gd name="T58" fmla="*/ 333 w 777"/>
                  <a:gd name="T59" fmla="*/ 854 h 913"/>
                  <a:gd name="T60" fmla="*/ 394 w 777"/>
                  <a:gd name="T61" fmla="*/ 836 h 913"/>
                  <a:gd name="T62" fmla="*/ 450 w 777"/>
                  <a:gd name="T63" fmla="*/ 817 h 913"/>
                  <a:gd name="T64" fmla="*/ 501 w 777"/>
                  <a:gd name="T65" fmla="*/ 794 h 913"/>
                  <a:gd name="T66" fmla="*/ 548 w 777"/>
                  <a:gd name="T67" fmla="*/ 768 h 913"/>
                  <a:gd name="T68" fmla="*/ 586 w 777"/>
                  <a:gd name="T69" fmla="*/ 738 h 913"/>
                  <a:gd name="T70" fmla="*/ 614 w 777"/>
                  <a:gd name="T71" fmla="*/ 709 h 913"/>
                  <a:gd name="T72" fmla="*/ 633 w 777"/>
                  <a:gd name="T73" fmla="*/ 677 h 913"/>
                  <a:gd name="T74" fmla="*/ 646 w 777"/>
                  <a:gd name="T75" fmla="*/ 646 h 913"/>
                  <a:gd name="T76" fmla="*/ 653 w 777"/>
                  <a:gd name="T77" fmla="*/ 612 h 913"/>
                  <a:gd name="T78" fmla="*/ 654 w 777"/>
                  <a:gd name="T79" fmla="*/ 579 h 913"/>
                  <a:gd name="T80" fmla="*/ 651 w 777"/>
                  <a:gd name="T81" fmla="*/ 546 h 913"/>
                  <a:gd name="T82" fmla="*/ 646 w 777"/>
                  <a:gd name="T83" fmla="*/ 516 h 913"/>
                  <a:gd name="T84" fmla="*/ 637 w 777"/>
                  <a:gd name="T85" fmla="*/ 486 h 913"/>
                  <a:gd name="T86" fmla="*/ 628 w 777"/>
                  <a:gd name="T87" fmla="*/ 462 h 913"/>
                  <a:gd name="T88" fmla="*/ 619 w 777"/>
                  <a:gd name="T89" fmla="*/ 439 h 913"/>
                  <a:gd name="T90" fmla="*/ 612 w 777"/>
                  <a:gd name="T91" fmla="*/ 422 h 913"/>
                  <a:gd name="T92" fmla="*/ 571 w 777"/>
                  <a:gd name="T93" fmla="*/ 341 h 913"/>
                  <a:gd name="T94" fmla="*/ 529 w 777"/>
                  <a:gd name="T95" fmla="*/ 268 h 913"/>
                  <a:gd name="T96" fmla="*/ 483 w 777"/>
                  <a:gd name="T97" fmla="*/ 201 h 913"/>
                  <a:gd name="T98" fmla="*/ 438 w 777"/>
                  <a:gd name="T99" fmla="*/ 140 h 913"/>
                  <a:gd name="T100" fmla="*/ 396 w 777"/>
                  <a:gd name="T101" fmla="*/ 86 h 913"/>
                  <a:gd name="T102" fmla="*/ 355 w 777"/>
                  <a:gd name="T103" fmla="*/ 38 h 913"/>
                  <a:gd name="T104" fmla="*/ 320 w 777"/>
                  <a:gd name="T105" fmla="*/ 0 h 9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77" h="913">
                    <a:moveTo>
                      <a:pt x="320" y="0"/>
                    </a:moveTo>
                    <a:lnTo>
                      <a:pt x="320" y="0"/>
                    </a:lnTo>
                    <a:lnTo>
                      <a:pt x="373" y="58"/>
                    </a:lnTo>
                    <a:lnTo>
                      <a:pt x="481" y="182"/>
                    </a:lnTo>
                    <a:lnTo>
                      <a:pt x="584" y="311"/>
                    </a:lnTo>
                    <a:lnTo>
                      <a:pt x="632" y="373"/>
                    </a:lnTo>
                    <a:lnTo>
                      <a:pt x="675" y="436"/>
                    </a:lnTo>
                    <a:lnTo>
                      <a:pt x="705" y="483"/>
                    </a:lnTo>
                    <a:lnTo>
                      <a:pt x="733" y="530"/>
                    </a:lnTo>
                    <a:lnTo>
                      <a:pt x="758" y="579"/>
                    </a:lnTo>
                    <a:lnTo>
                      <a:pt x="768" y="609"/>
                    </a:lnTo>
                    <a:lnTo>
                      <a:pt x="775" y="640"/>
                    </a:lnTo>
                    <a:lnTo>
                      <a:pt x="777" y="674"/>
                    </a:lnTo>
                    <a:lnTo>
                      <a:pt x="768" y="707"/>
                    </a:lnTo>
                    <a:lnTo>
                      <a:pt x="751" y="735"/>
                    </a:lnTo>
                    <a:lnTo>
                      <a:pt x="726" y="759"/>
                    </a:lnTo>
                    <a:lnTo>
                      <a:pt x="695" y="782"/>
                    </a:lnTo>
                    <a:lnTo>
                      <a:pt x="660" y="800"/>
                    </a:lnTo>
                    <a:lnTo>
                      <a:pt x="621" y="812"/>
                    </a:lnTo>
                    <a:lnTo>
                      <a:pt x="583" y="822"/>
                    </a:lnTo>
                    <a:lnTo>
                      <a:pt x="544" y="833"/>
                    </a:lnTo>
                    <a:lnTo>
                      <a:pt x="432" y="856"/>
                    </a:lnTo>
                    <a:lnTo>
                      <a:pt x="319" y="873"/>
                    </a:lnTo>
                    <a:lnTo>
                      <a:pt x="160" y="894"/>
                    </a:lnTo>
                    <a:lnTo>
                      <a:pt x="0" y="913"/>
                    </a:lnTo>
                    <a:lnTo>
                      <a:pt x="69" y="903"/>
                    </a:lnTo>
                    <a:lnTo>
                      <a:pt x="137" y="892"/>
                    </a:lnTo>
                    <a:lnTo>
                      <a:pt x="203" y="880"/>
                    </a:lnTo>
                    <a:lnTo>
                      <a:pt x="270" y="868"/>
                    </a:lnTo>
                    <a:lnTo>
                      <a:pt x="333" y="854"/>
                    </a:lnTo>
                    <a:lnTo>
                      <a:pt x="394" y="836"/>
                    </a:lnTo>
                    <a:lnTo>
                      <a:pt x="450" y="817"/>
                    </a:lnTo>
                    <a:lnTo>
                      <a:pt x="501" y="794"/>
                    </a:lnTo>
                    <a:lnTo>
                      <a:pt x="548" y="768"/>
                    </a:lnTo>
                    <a:lnTo>
                      <a:pt x="586" y="738"/>
                    </a:lnTo>
                    <a:lnTo>
                      <a:pt x="614" y="709"/>
                    </a:lnTo>
                    <a:lnTo>
                      <a:pt x="633" y="677"/>
                    </a:lnTo>
                    <a:lnTo>
                      <a:pt x="646" y="646"/>
                    </a:lnTo>
                    <a:lnTo>
                      <a:pt x="653" y="612"/>
                    </a:lnTo>
                    <a:lnTo>
                      <a:pt x="654" y="579"/>
                    </a:lnTo>
                    <a:lnTo>
                      <a:pt x="651" y="546"/>
                    </a:lnTo>
                    <a:lnTo>
                      <a:pt x="646" y="516"/>
                    </a:lnTo>
                    <a:lnTo>
                      <a:pt x="637" y="486"/>
                    </a:lnTo>
                    <a:lnTo>
                      <a:pt x="628" y="462"/>
                    </a:lnTo>
                    <a:lnTo>
                      <a:pt x="619" y="439"/>
                    </a:lnTo>
                    <a:lnTo>
                      <a:pt x="612" y="422"/>
                    </a:lnTo>
                    <a:lnTo>
                      <a:pt x="571" y="341"/>
                    </a:lnTo>
                    <a:lnTo>
                      <a:pt x="529" y="268"/>
                    </a:lnTo>
                    <a:lnTo>
                      <a:pt x="483" y="201"/>
                    </a:lnTo>
                    <a:lnTo>
                      <a:pt x="438" y="140"/>
                    </a:lnTo>
                    <a:lnTo>
                      <a:pt x="396" y="86"/>
                    </a:lnTo>
                    <a:lnTo>
                      <a:pt x="355" y="38"/>
                    </a:lnTo>
                    <a:lnTo>
                      <a:pt x="320" y="0"/>
                    </a:lnTo>
                    <a:close/>
                  </a:path>
                </a:pathLst>
              </a:custGeom>
              <a:solidFill>
                <a:srgbClr val="FCCC8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Freeform 36"/>
              <p:cNvSpPr>
                <a:spLocks/>
              </p:cNvSpPr>
              <p:nvPr userDrawn="1"/>
            </p:nvSpPr>
            <p:spPr bwMode="auto">
              <a:xfrm>
                <a:off x="950862" y="649091"/>
                <a:ext cx="676947" cy="942780"/>
              </a:xfrm>
              <a:custGeom>
                <a:avLst/>
                <a:gdLst>
                  <a:gd name="T0" fmla="*/ 322 w 657"/>
                  <a:gd name="T1" fmla="*/ 0 h 915"/>
                  <a:gd name="T2" fmla="*/ 358 w 657"/>
                  <a:gd name="T3" fmla="*/ 40 h 915"/>
                  <a:gd name="T4" fmla="*/ 441 w 657"/>
                  <a:gd name="T5" fmla="*/ 142 h 915"/>
                  <a:gd name="T6" fmla="*/ 532 w 657"/>
                  <a:gd name="T7" fmla="*/ 270 h 915"/>
                  <a:gd name="T8" fmla="*/ 615 w 657"/>
                  <a:gd name="T9" fmla="*/ 424 h 915"/>
                  <a:gd name="T10" fmla="*/ 631 w 657"/>
                  <a:gd name="T11" fmla="*/ 464 h 915"/>
                  <a:gd name="T12" fmla="*/ 649 w 657"/>
                  <a:gd name="T13" fmla="*/ 518 h 915"/>
                  <a:gd name="T14" fmla="*/ 657 w 657"/>
                  <a:gd name="T15" fmla="*/ 581 h 915"/>
                  <a:gd name="T16" fmla="*/ 649 w 657"/>
                  <a:gd name="T17" fmla="*/ 648 h 915"/>
                  <a:gd name="T18" fmla="*/ 617 w 657"/>
                  <a:gd name="T19" fmla="*/ 711 h 915"/>
                  <a:gd name="T20" fmla="*/ 551 w 657"/>
                  <a:gd name="T21" fmla="*/ 770 h 915"/>
                  <a:gd name="T22" fmla="*/ 453 w 657"/>
                  <a:gd name="T23" fmla="*/ 819 h 915"/>
                  <a:gd name="T24" fmla="*/ 336 w 657"/>
                  <a:gd name="T25" fmla="*/ 856 h 915"/>
                  <a:gd name="T26" fmla="*/ 206 w 657"/>
                  <a:gd name="T27" fmla="*/ 882 h 915"/>
                  <a:gd name="T28" fmla="*/ 72 w 657"/>
                  <a:gd name="T29" fmla="*/ 905 h 915"/>
                  <a:gd name="T30" fmla="*/ 3 w 657"/>
                  <a:gd name="T31" fmla="*/ 915 h 915"/>
                  <a:gd name="T32" fmla="*/ 3 w 657"/>
                  <a:gd name="T33" fmla="*/ 816 h 915"/>
                  <a:gd name="T34" fmla="*/ 16 w 657"/>
                  <a:gd name="T35" fmla="*/ 774 h 915"/>
                  <a:gd name="T36" fmla="*/ 37 w 657"/>
                  <a:gd name="T37" fmla="*/ 770 h 915"/>
                  <a:gd name="T38" fmla="*/ 89 w 657"/>
                  <a:gd name="T39" fmla="*/ 760 h 915"/>
                  <a:gd name="T40" fmla="*/ 164 w 657"/>
                  <a:gd name="T41" fmla="*/ 746 h 915"/>
                  <a:gd name="T42" fmla="*/ 243 w 657"/>
                  <a:gd name="T43" fmla="*/ 730 h 915"/>
                  <a:gd name="T44" fmla="*/ 316 w 657"/>
                  <a:gd name="T45" fmla="*/ 712 h 915"/>
                  <a:gd name="T46" fmla="*/ 371 w 657"/>
                  <a:gd name="T47" fmla="*/ 697 h 915"/>
                  <a:gd name="T48" fmla="*/ 418 w 657"/>
                  <a:gd name="T49" fmla="*/ 676 h 915"/>
                  <a:gd name="T50" fmla="*/ 456 w 657"/>
                  <a:gd name="T51" fmla="*/ 651 h 915"/>
                  <a:gd name="T52" fmla="*/ 483 w 657"/>
                  <a:gd name="T53" fmla="*/ 620 h 915"/>
                  <a:gd name="T54" fmla="*/ 493 w 657"/>
                  <a:gd name="T55" fmla="*/ 578 h 915"/>
                  <a:gd name="T56" fmla="*/ 483 w 657"/>
                  <a:gd name="T57" fmla="*/ 522 h 915"/>
                  <a:gd name="T58" fmla="*/ 441 w 657"/>
                  <a:gd name="T59" fmla="*/ 434 h 915"/>
                  <a:gd name="T60" fmla="*/ 390 w 657"/>
                  <a:gd name="T61" fmla="*/ 350 h 915"/>
                  <a:gd name="T62" fmla="*/ 341 w 657"/>
                  <a:gd name="T63" fmla="*/ 282 h 915"/>
                  <a:gd name="T64" fmla="*/ 285 w 657"/>
                  <a:gd name="T65" fmla="*/ 215 h 915"/>
                  <a:gd name="T66" fmla="*/ 217 w 657"/>
                  <a:gd name="T67" fmla="*/ 137 h 915"/>
                  <a:gd name="T68" fmla="*/ 220 w 657"/>
                  <a:gd name="T69" fmla="*/ 126 h 915"/>
                  <a:gd name="T70" fmla="*/ 241 w 657"/>
                  <a:gd name="T71" fmla="*/ 91 h 915"/>
                  <a:gd name="T72" fmla="*/ 282 w 657"/>
                  <a:gd name="T73" fmla="*/ 40 h 915"/>
                  <a:gd name="T74" fmla="*/ 322 w 657"/>
                  <a:gd name="T75" fmla="*/ 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57" h="915">
                    <a:moveTo>
                      <a:pt x="322" y="0"/>
                    </a:moveTo>
                    <a:lnTo>
                      <a:pt x="322" y="0"/>
                    </a:lnTo>
                    <a:lnTo>
                      <a:pt x="323" y="2"/>
                    </a:lnTo>
                    <a:lnTo>
                      <a:pt x="358" y="40"/>
                    </a:lnTo>
                    <a:lnTo>
                      <a:pt x="399" y="88"/>
                    </a:lnTo>
                    <a:lnTo>
                      <a:pt x="441" y="142"/>
                    </a:lnTo>
                    <a:lnTo>
                      <a:pt x="486" y="203"/>
                    </a:lnTo>
                    <a:lnTo>
                      <a:pt x="532" y="270"/>
                    </a:lnTo>
                    <a:lnTo>
                      <a:pt x="574" y="343"/>
                    </a:lnTo>
                    <a:lnTo>
                      <a:pt x="615" y="424"/>
                    </a:lnTo>
                    <a:lnTo>
                      <a:pt x="622" y="441"/>
                    </a:lnTo>
                    <a:lnTo>
                      <a:pt x="631" y="464"/>
                    </a:lnTo>
                    <a:lnTo>
                      <a:pt x="640" y="488"/>
                    </a:lnTo>
                    <a:lnTo>
                      <a:pt x="649" y="518"/>
                    </a:lnTo>
                    <a:lnTo>
                      <a:pt x="654" y="548"/>
                    </a:lnTo>
                    <a:lnTo>
                      <a:pt x="657" y="581"/>
                    </a:lnTo>
                    <a:lnTo>
                      <a:pt x="656" y="614"/>
                    </a:lnTo>
                    <a:lnTo>
                      <a:pt x="649" y="648"/>
                    </a:lnTo>
                    <a:lnTo>
                      <a:pt x="636" y="679"/>
                    </a:lnTo>
                    <a:lnTo>
                      <a:pt x="617" y="711"/>
                    </a:lnTo>
                    <a:lnTo>
                      <a:pt x="589" y="740"/>
                    </a:lnTo>
                    <a:lnTo>
                      <a:pt x="551" y="770"/>
                    </a:lnTo>
                    <a:lnTo>
                      <a:pt x="504" y="796"/>
                    </a:lnTo>
                    <a:lnTo>
                      <a:pt x="453" y="819"/>
                    </a:lnTo>
                    <a:lnTo>
                      <a:pt x="397" y="838"/>
                    </a:lnTo>
                    <a:lnTo>
                      <a:pt x="336" y="856"/>
                    </a:lnTo>
                    <a:lnTo>
                      <a:pt x="273" y="870"/>
                    </a:lnTo>
                    <a:lnTo>
                      <a:pt x="206" y="882"/>
                    </a:lnTo>
                    <a:lnTo>
                      <a:pt x="140" y="894"/>
                    </a:lnTo>
                    <a:lnTo>
                      <a:pt x="72" y="905"/>
                    </a:lnTo>
                    <a:lnTo>
                      <a:pt x="3" y="915"/>
                    </a:lnTo>
                    <a:lnTo>
                      <a:pt x="3" y="915"/>
                    </a:lnTo>
                    <a:lnTo>
                      <a:pt x="0" y="863"/>
                    </a:lnTo>
                    <a:lnTo>
                      <a:pt x="3" y="816"/>
                    </a:lnTo>
                    <a:lnTo>
                      <a:pt x="14" y="774"/>
                    </a:lnTo>
                    <a:lnTo>
                      <a:pt x="16" y="774"/>
                    </a:lnTo>
                    <a:lnTo>
                      <a:pt x="21" y="772"/>
                    </a:lnTo>
                    <a:lnTo>
                      <a:pt x="37" y="770"/>
                    </a:lnTo>
                    <a:lnTo>
                      <a:pt x="59" y="765"/>
                    </a:lnTo>
                    <a:lnTo>
                      <a:pt x="89" y="760"/>
                    </a:lnTo>
                    <a:lnTo>
                      <a:pt x="126" y="754"/>
                    </a:lnTo>
                    <a:lnTo>
                      <a:pt x="164" y="746"/>
                    </a:lnTo>
                    <a:lnTo>
                      <a:pt x="205" y="739"/>
                    </a:lnTo>
                    <a:lnTo>
                      <a:pt x="243" y="730"/>
                    </a:lnTo>
                    <a:lnTo>
                      <a:pt x="282" y="721"/>
                    </a:lnTo>
                    <a:lnTo>
                      <a:pt x="316" y="712"/>
                    </a:lnTo>
                    <a:lnTo>
                      <a:pt x="346" y="705"/>
                    </a:lnTo>
                    <a:lnTo>
                      <a:pt x="371" y="697"/>
                    </a:lnTo>
                    <a:lnTo>
                      <a:pt x="395" y="686"/>
                    </a:lnTo>
                    <a:lnTo>
                      <a:pt x="418" y="676"/>
                    </a:lnTo>
                    <a:lnTo>
                      <a:pt x="437" y="665"/>
                    </a:lnTo>
                    <a:lnTo>
                      <a:pt x="456" y="651"/>
                    </a:lnTo>
                    <a:lnTo>
                      <a:pt x="472" y="637"/>
                    </a:lnTo>
                    <a:lnTo>
                      <a:pt x="483" y="620"/>
                    </a:lnTo>
                    <a:lnTo>
                      <a:pt x="491" y="600"/>
                    </a:lnTo>
                    <a:lnTo>
                      <a:pt x="493" y="578"/>
                    </a:lnTo>
                    <a:lnTo>
                      <a:pt x="491" y="551"/>
                    </a:lnTo>
                    <a:lnTo>
                      <a:pt x="483" y="522"/>
                    </a:lnTo>
                    <a:lnTo>
                      <a:pt x="467" y="487"/>
                    </a:lnTo>
                    <a:lnTo>
                      <a:pt x="441" y="434"/>
                    </a:lnTo>
                    <a:lnTo>
                      <a:pt x="414" y="389"/>
                    </a:lnTo>
                    <a:lnTo>
                      <a:pt x="390" y="350"/>
                    </a:lnTo>
                    <a:lnTo>
                      <a:pt x="365" y="313"/>
                    </a:lnTo>
                    <a:lnTo>
                      <a:pt x="341" y="282"/>
                    </a:lnTo>
                    <a:lnTo>
                      <a:pt x="315" y="249"/>
                    </a:lnTo>
                    <a:lnTo>
                      <a:pt x="285" y="215"/>
                    </a:lnTo>
                    <a:lnTo>
                      <a:pt x="254" y="179"/>
                    </a:lnTo>
                    <a:lnTo>
                      <a:pt x="217" y="137"/>
                    </a:lnTo>
                    <a:lnTo>
                      <a:pt x="217" y="137"/>
                    </a:lnTo>
                    <a:lnTo>
                      <a:pt x="220" y="126"/>
                    </a:lnTo>
                    <a:lnTo>
                      <a:pt x="229" y="110"/>
                    </a:lnTo>
                    <a:lnTo>
                      <a:pt x="241" y="91"/>
                    </a:lnTo>
                    <a:lnTo>
                      <a:pt x="257" y="68"/>
                    </a:lnTo>
                    <a:lnTo>
                      <a:pt x="282" y="40"/>
                    </a:lnTo>
                    <a:lnTo>
                      <a:pt x="302" y="18"/>
                    </a:lnTo>
                    <a:lnTo>
                      <a:pt x="322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4" name="Groep 143"/>
            <p:cNvGrpSpPr/>
            <p:nvPr userDrawn="1"/>
          </p:nvGrpSpPr>
          <p:grpSpPr>
            <a:xfrm>
              <a:off x="1337727" y="1686246"/>
              <a:ext cx="889717" cy="1136797"/>
              <a:chOff x="960136" y="1579507"/>
              <a:chExt cx="808834" cy="1033452"/>
            </a:xfrm>
          </p:grpSpPr>
          <p:sp>
            <p:nvSpPr>
              <p:cNvPr id="169" name="Freeform 37"/>
              <p:cNvSpPr>
                <a:spLocks/>
              </p:cNvSpPr>
              <p:nvPr userDrawn="1"/>
            </p:nvSpPr>
            <p:spPr bwMode="auto">
              <a:xfrm>
                <a:off x="960136" y="1579507"/>
                <a:ext cx="808834" cy="1033452"/>
              </a:xfrm>
              <a:custGeom>
                <a:avLst/>
                <a:gdLst>
                  <a:gd name="T0" fmla="*/ 482 w 785"/>
                  <a:gd name="T1" fmla="*/ 0 h 1003"/>
                  <a:gd name="T2" fmla="*/ 551 w 785"/>
                  <a:gd name="T3" fmla="*/ 2 h 1003"/>
                  <a:gd name="T4" fmla="*/ 619 w 785"/>
                  <a:gd name="T5" fmla="*/ 7 h 1003"/>
                  <a:gd name="T6" fmla="*/ 654 w 785"/>
                  <a:gd name="T7" fmla="*/ 16 h 1003"/>
                  <a:gd name="T8" fmla="*/ 687 w 785"/>
                  <a:gd name="T9" fmla="*/ 26 h 1003"/>
                  <a:gd name="T10" fmla="*/ 718 w 785"/>
                  <a:gd name="T11" fmla="*/ 42 h 1003"/>
                  <a:gd name="T12" fmla="*/ 746 w 785"/>
                  <a:gd name="T13" fmla="*/ 65 h 1003"/>
                  <a:gd name="T14" fmla="*/ 766 w 785"/>
                  <a:gd name="T15" fmla="*/ 91 h 1003"/>
                  <a:gd name="T16" fmla="*/ 776 w 785"/>
                  <a:gd name="T17" fmla="*/ 119 h 1003"/>
                  <a:gd name="T18" fmla="*/ 783 w 785"/>
                  <a:gd name="T19" fmla="*/ 151 h 1003"/>
                  <a:gd name="T20" fmla="*/ 785 w 785"/>
                  <a:gd name="T21" fmla="*/ 182 h 1003"/>
                  <a:gd name="T22" fmla="*/ 780 w 785"/>
                  <a:gd name="T23" fmla="*/ 235 h 1003"/>
                  <a:gd name="T24" fmla="*/ 773 w 785"/>
                  <a:gd name="T25" fmla="*/ 287 h 1003"/>
                  <a:gd name="T26" fmla="*/ 760 w 785"/>
                  <a:gd name="T27" fmla="*/ 338 h 1003"/>
                  <a:gd name="T28" fmla="*/ 729 w 785"/>
                  <a:gd name="T29" fmla="*/ 455 h 1003"/>
                  <a:gd name="T30" fmla="*/ 692 w 785"/>
                  <a:gd name="T31" fmla="*/ 571 h 1003"/>
                  <a:gd name="T32" fmla="*/ 652 w 785"/>
                  <a:gd name="T33" fmla="*/ 685 h 1003"/>
                  <a:gd name="T34" fmla="*/ 592 w 785"/>
                  <a:gd name="T35" fmla="*/ 844 h 1003"/>
                  <a:gd name="T36" fmla="*/ 530 w 785"/>
                  <a:gd name="T37" fmla="*/ 1003 h 1003"/>
                  <a:gd name="T38" fmla="*/ 561 w 785"/>
                  <a:gd name="T39" fmla="*/ 912 h 1003"/>
                  <a:gd name="T40" fmla="*/ 592 w 785"/>
                  <a:gd name="T41" fmla="*/ 812 h 1003"/>
                  <a:gd name="T42" fmla="*/ 622 w 785"/>
                  <a:gd name="T43" fmla="*/ 709 h 1003"/>
                  <a:gd name="T44" fmla="*/ 643 w 785"/>
                  <a:gd name="T45" fmla="*/ 623 h 1003"/>
                  <a:gd name="T46" fmla="*/ 662 w 785"/>
                  <a:gd name="T47" fmla="*/ 539 h 1003"/>
                  <a:gd name="T48" fmla="*/ 676 w 785"/>
                  <a:gd name="T49" fmla="*/ 459 h 1003"/>
                  <a:gd name="T50" fmla="*/ 687 w 785"/>
                  <a:gd name="T51" fmla="*/ 382 h 1003"/>
                  <a:gd name="T52" fmla="*/ 690 w 785"/>
                  <a:gd name="T53" fmla="*/ 312 h 1003"/>
                  <a:gd name="T54" fmla="*/ 689 w 785"/>
                  <a:gd name="T55" fmla="*/ 268 h 1003"/>
                  <a:gd name="T56" fmla="*/ 682 w 785"/>
                  <a:gd name="T57" fmla="*/ 228 h 1003"/>
                  <a:gd name="T58" fmla="*/ 673 w 785"/>
                  <a:gd name="T59" fmla="*/ 191 h 1003"/>
                  <a:gd name="T60" fmla="*/ 657 w 785"/>
                  <a:gd name="T61" fmla="*/ 156 h 1003"/>
                  <a:gd name="T62" fmla="*/ 638 w 785"/>
                  <a:gd name="T63" fmla="*/ 124 h 1003"/>
                  <a:gd name="T64" fmla="*/ 612 w 785"/>
                  <a:gd name="T65" fmla="*/ 96 h 1003"/>
                  <a:gd name="T66" fmla="*/ 578 w 785"/>
                  <a:gd name="T67" fmla="*/ 72 h 1003"/>
                  <a:gd name="T68" fmla="*/ 538 w 785"/>
                  <a:gd name="T69" fmla="*/ 53 h 1003"/>
                  <a:gd name="T70" fmla="*/ 535 w 785"/>
                  <a:gd name="T71" fmla="*/ 53 h 1003"/>
                  <a:gd name="T72" fmla="*/ 530 w 785"/>
                  <a:gd name="T73" fmla="*/ 49 h 1003"/>
                  <a:gd name="T74" fmla="*/ 519 w 785"/>
                  <a:gd name="T75" fmla="*/ 46 h 1003"/>
                  <a:gd name="T76" fmla="*/ 481 w 785"/>
                  <a:gd name="T77" fmla="*/ 35 h 1003"/>
                  <a:gd name="T78" fmla="*/ 435 w 785"/>
                  <a:gd name="T79" fmla="*/ 28 h 1003"/>
                  <a:gd name="T80" fmla="*/ 383 w 785"/>
                  <a:gd name="T81" fmla="*/ 23 h 1003"/>
                  <a:gd name="T82" fmla="*/ 323 w 785"/>
                  <a:gd name="T83" fmla="*/ 21 h 1003"/>
                  <a:gd name="T84" fmla="*/ 271 w 785"/>
                  <a:gd name="T85" fmla="*/ 23 h 1003"/>
                  <a:gd name="T86" fmla="*/ 213 w 785"/>
                  <a:gd name="T87" fmla="*/ 25 h 1003"/>
                  <a:gd name="T88" fmla="*/ 150 w 785"/>
                  <a:gd name="T89" fmla="*/ 30 h 1003"/>
                  <a:gd name="T90" fmla="*/ 78 w 785"/>
                  <a:gd name="T91" fmla="*/ 37 h 1003"/>
                  <a:gd name="T92" fmla="*/ 0 w 785"/>
                  <a:gd name="T93" fmla="*/ 46 h 1003"/>
                  <a:gd name="T94" fmla="*/ 0 w 785"/>
                  <a:gd name="T95" fmla="*/ 46 h 1003"/>
                  <a:gd name="T96" fmla="*/ 161 w 785"/>
                  <a:gd name="T97" fmla="*/ 25 h 1003"/>
                  <a:gd name="T98" fmla="*/ 321 w 785"/>
                  <a:gd name="T99" fmla="*/ 9 h 1003"/>
                  <a:gd name="T100" fmla="*/ 482 w 785"/>
                  <a:gd name="T101" fmla="*/ 0 h 10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85" h="1003">
                    <a:moveTo>
                      <a:pt x="482" y="0"/>
                    </a:moveTo>
                    <a:lnTo>
                      <a:pt x="551" y="2"/>
                    </a:lnTo>
                    <a:lnTo>
                      <a:pt x="619" y="7"/>
                    </a:lnTo>
                    <a:lnTo>
                      <a:pt x="654" y="16"/>
                    </a:lnTo>
                    <a:lnTo>
                      <a:pt x="687" y="26"/>
                    </a:lnTo>
                    <a:lnTo>
                      <a:pt x="718" y="42"/>
                    </a:lnTo>
                    <a:lnTo>
                      <a:pt x="746" y="65"/>
                    </a:lnTo>
                    <a:lnTo>
                      <a:pt x="766" y="91"/>
                    </a:lnTo>
                    <a:lnTo>
                      <a:pt x="776" y="119"/>
                    </a:lnTo>
                    <a:lnTo>
                      <a:pt x="783" y="151"/>
                    </a:lnTo>
                    <a:lnTo>
                      <a:pt x="785" y="182"/>
                    </a:lnTo>
                    <a:lnTo>
                      <a:pt x="780" y="235"/>
                    </a:lnTo>
                    <a:lnTo>
                      <a:pt x="773" y="287"/>
                    </a:lnTo>
                    <a:lnTo>
                      <a:pt x="760" y="338"/>
                    </a:lnTo>
                    <a:lnTo>
                      <a:pt x="729" y="455"/>
                    </a:lnTo>
                    <a:lnTo>
                      <a:pt x="692" y="571"/>
                    </a:lnTo>
                    <a:lnTo>
                      <a:pt x="652" y="685"/>
                    </a:lnTo>
                    <a:lnTo>
                      <a:pt x="592" y="844"/>
                    </a:lnTo>
                    <a:lnTo>
                      <a:pt x="530" y="1003"/>
                    </a:lnTo>
                    <a:lnTo>
                      <a:pt x="561" y="912"/>
                    </a:lnTo>
                    <a:lnTo>
                      <a:pt x="592" y="812"/>
                    </a:lnTo>
                    <a:lnTo>
                      <a:pt x="622" y="709"/>
                    </a:lnTo>
                    <a:lnTo>
                      <a:pt x="643" y="623"/>
                    </a:lnTo>
                    <a:lnTo>
                      <a:pt x="662" y="539"/>
                    </a:lnTo>
                    <a:lnTo>
                      <a:pt x="676" y="459"/>
                    </a:lnTo>
                    <a:lnTo>
                      <a:pt x="687" y="382"/>
                    </a:lnTo>
                    <a:lnTo>
                      <a:pt x="690" y="312"/>
                    </a:lnTo>
                    <a:lnTo>
                      <a:pt x="689" y="268"/>
                    </a:lnTo>
                    <a:lnTo>
                      <a:pt x="682" y="228"/>
                    </a:lnTo>
                    <a:lnTo>
                      <a:pt x="673" y="191"/>
                    </a:lnTo>
                    <a:lnTo>
                      <a:pt x="657" y="156"/>
                    </a:lnTo>
                    <a:lnTo>
                      <a:pt x="638" y="124"/>
                    </a:lnTo>
                    <a:lnTo>
                      <a:pt x="612" y="96"/>
                    </a:lnTo>
                    <a:lnTo>
                      <a:pt x="578" y="72"/>
                    </a:lnTo>
                    <a:lnTo>
                      <a:pt x="538" y="53"/>
                    </a:lnTo>
                    <a:lnTo>
                      <a:pt x="535" y="53"/>
                    </a:lnTo>
                    <a:lnTo>
                      <a:pt x="530" y="49"/>
                    </a:lnTo>
                    <a:lnTo>
                      <a:pt x="519" y="46"/>
                    </a:lnTo>
                    <a:lnTo>
                      <a:pt x="481" y="35"/>
                    </a:lnTo>
                    <a:lnTo>
                      <a:pt x="435" y="28"/>
                    </a:lnTo>
                    <a:lnTo>
                      <a:pt x="383" y="23"/>
                    </a:lnTo>
                    <a:lnTo>
                      <a:pt x="323" y="21"/>
                    </a:lnTo>
                    <a:lnTo>
                      <a:pt x="271" y="23"/>
                    </a:lnTo>
                    <a:lnTo>
                      <a:pt x="213" y="25"/>
                    </a:lnTo>
                    <a:lnTo>
                      <a:pt x="150" y="30"/>
                    </a:lnTo>
                    <a:lnTo>
                      <a:pt x="78" y="37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161" y="25"/>
                    </a:lnTo>
                    <a:lnTo>
                      <a:pt x="321" y="9"/>
                    </a:lnTo>
                    <a:lnTo>
                      <a:pt x="482" y="0"/>
                    </a:lnTo>
                    <a:close/>
                  </a:path>
                </a:pathLst>
              </a:custGeom>
              <a:solidFill>
                <a:srgbClr val="F3997B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Freeform 38"/>
              <p:cNvSpPr>
                <a:spLocks/>
              </p:cNvSpPr>
              <p:nvPr userDrawn="1"/>
            </p:nvSpPr>
            <p:spPr bwMode="auto">
              <a:xfrm>
                <a:off x="960136" y="1601145"/>
                <a:ext cx="710949" cy="1011814"/>
              </a:xfrm>
              <a:custGeom>
                <a:avLst/>
                <a:gdLst>
                  <a:gd name="T0" fmla="*/ 383 w 690"/>
                  <a:gd name="T1" fmla="*/ 2 h 982"/>
                  <a:gd name="T2" fmla="*/ 481 w 690"/>
                  <a:gd name="T3" fmla="*/ 14 h 982"/>
                  <a:gd name="T4" fmla="*/ 530 w 690"/>
                  <a:gd name="T5" fmla="*/ 28 h 982"/>
                  <a:gd name="T6" fmla="*/ 538 w 690"/>
                  <a:gd name="T7" fmla="*/ 32 h 982"/>
                  <a:gd name="T8" fmla="*/ 612 w 690"/>
                  <a:gd name="T9" fmla="*/ 75 h 982"/>
                  <a:gd name="T10" fmla="*/ 657 w 690"/>
                  <a:gd name="T11" fmla="*/ 135 h 982"/>
                  <a:gd name="T12" fmla="*/ 682 w 690"/>
                  <a:gd name="T13" fmla="*/ 207 h 982"/>
                  <a:gd name="T14" fmla="*/ 690 w 690"/>
                  <a:gd name="T15" fmla="*/ 291 h 982"/>
                  <a:gd name="T16" fmla="*/ 676 w 690"/>
                  <a:gd name="T17" fmla="*/ 438 h 982"/>
                  <a:gd name="T18" fmla="*/ 643 w 690"/>
                  <a:gd name="T19" fmla="*/ 602 h 982"/>
                  <a:gd name="T20" fmla="*/ 592 w 690"/>
                  <a:gd name="T21" fmla="*/ 791 h 982"/>
                  <a:gd name="T22" fmla="*/ 530 w 690"/>
                  <a:gd name="T23" fmla="*/ 982 h 982"/>
                  <a:gd name="T24" fmla="*/ 524 w 690"/>
                  <a:gd name="T25" fmla="*/ 980 h 982"/>
                  <a:gd name="T26" fmla="*/ 496 w 690"/>
                  <a:gd name="T27" fmla="*/ 968 h 982"/>
                  <a:gd name="T28" fmla="*/ 458 w 690"/>
                  <a:gd name="T29" fmla="*/ 947 h 982"/>
                  <a:gd name="T30" fmla="*/ 432 w 690"/>
                  <a:gd name="T31" fmla="*/ 928 h 982"/>
                  <a:gd name="T32" fmla="*/ 414 w 690"/>
                  <a:gd name="T33" fmla="*/ 914 h 982"/>
                  <a:gd name="T34" fmla="*/ 421 w 690"/>
                  <a:gd name="T35" fmla="*/ 893 h 982"/>
                  <a:gd name="T36" fmla="*/ 444 w 690"/>
                  <a:gd name="T37" fmla="*/ 833 h 982"/>
                  <a:gd name="T38" fmla="*/ 475 w 690"/>
                  <a:gd name="T39" fmla="*/ 751 h 982"/>
                  <a:gd name="T40" fmla="*/ 505 w 690"/>
                  <a:gd name="T41" fmla="*/ 657 h 982"/>
                  <a:gd name="T42" fmla="*/ 533 w 690"/>
                  <a:gd name="T43" fmla="*/ 559 h 982"/>
                  <a:gd name="T44" fmla="*/ 551 w 690"/>
                  <a:gd name="T45" fmla="*/ 467 h 982"/>
                  <a:gd name="T46" fmla="*/ 558 w 690"/>
                  <a:gd name="T47" fmla="*/ 382 h 982"/>
                  <a:gd name="T48" fmla="*/ 558 w 690"/>
                  <a:gd name="T49" fmla="*/ 306 h 982"/>
                  <a:gd name="T50" fmla="*/ 545 w 690"/>
                  <a:gd name="T51" fmla="*/ 249 h 982"/>
                  <a:gd name="T52" fmla="*/ 516 w 690"/>
                  <a:gd name="T53" fmla="*/ 208 h 982"/>
                  <a:gd name="T54" fmla="*/ 461 w 690"/>
                  <a:gd name="T55" fmla="*/ 182 h 982"/>
                  <a:gd name="T56" fmla="*/ 377 w 690"/>
                  <a:gd name="T57" fmla="*/ 172 h 982"/>
                  <a:gd name="T58" fmla="*/ 271 w 690"/>
                  <a:gd name="T59" fmla="*/ 172 h 982"/>
                  <a:gd name="T60" fmla="*/ 143 w 690"/>
                  <a:gd name="T61" fmla="*/ 179 h 982"/>
                  <a:gd name="T62" fmla="*/ 52 w 690"/>
                  <a:gd name="T63" fmla="*/ 172 h 982"/>
                  <a:gd name="T64" fmla="*/ 24 w 690"/>
                  <a:gd name="T65" fmla="*/ 114 h 982"/>
                  <a:gd name="T66" fmla="*/ 0 w 690"/>
                  <a:gd name="T67" fmla="*/ 25 h 982"/>
                  <a:gd name="T68" fmla="*/ 150 w 690"/>
                  <a:gd name="T69" fmla="*/ 9 h 982"/>
                  <a:gd name="T70" fmla="*/ 271 w 690"/>
                  <a:gd name="T71" fmla="*/ 2 h 9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90" h="982">
                    <a:moveTo>
                      <a:pt x="323" y="0"/>
                    </a:moveTo>
                    <a:lnTo>
                      <a:pt x="383" y="2"/>
                    </a:lnTo>
                    <a:lnTo>
                      <a:pt x="435" y="7"/>
                    </a:lnTo>
                    <a:lnTo>
                      <a:pt x="481" y="14"/>
                    </a:lnTo>
                    <a:lnTo>
                      <a:pt x="519" y="25"/>
                    </a:lnTo>
                    <a:lnTo>
                      <a:pt x="530" y="28"/>
                    </a:lnTo>
                    <a:lnTo>
                      <a:pt x="535" y="32"/>
                    </a:lnTo>
                    <a:lnTo>
                      <a:pt x="538" y="32"/>
                    </a:lnTo>
                    <a:lnTo>
                      <a:pt x="578" y="51"/>
                    </a:lnTo>
                    <a:lnTo>
                      <a:pt x="612" y="75"/>
                    </a:lnTo>
                    <a:lnTo>
                      <a:pt x="638" y="103"/>
                    </a:lnTo>
                    <a:lnTo>
                      <a:pt x="657" y="135"/>
                    </a:lnTo>
                    <a:lnTo>
                      <a:pt x="673" y="170"/>
                    </a:lnTo>
                    <a:lnTo>
                      <a:pt x="682" y="207"/>
                    </a:lnTo>
                    <a:lnTo>
                      <a:pt x="689" y="247"/>
                    </a:lnTo>
                    <a:lnTo>
                      <a:pt x="690" y="291"/>
                    </a:lnTo>
                    <a:lnTo>
                      <a:pt x="687" y="361"/>
                    </a:lnTo>
                    <a:lnTo>
                      <a:pt x="676" y="438"/>
                    </a:lnTo>
                    <a:lnTo>
                      <a:pt x="662" y="518"/>
                    </a:lnTo>
                    <a:lnTo>
                      <a:pt x="643" y="602"/>
                    </a:lnTo>
                    <a:lnTo>
                      <a:pt x="622" y="688"/>
                    </a:lnTo>
                    <a:lnTo>
                      <a:pt x="592" y="791"/>
                    </a:lnTo>
                    <a:lnTo>
                      <a:pt x="561" y="891"/>
                    </a:lnTo>
                    <a:lnTo>
                      <a:pt x="530" y="982"/>
                    </a:lnTo>
                    <a:lnTo>
                      <a:pt x="530" y="982"/>
                    </a:lnTo>
                    <a:lnTo>
                      <a:pt x="524" y="980"/>
                    </a:lnTo>
                    <a:lnTo>
                      <a:pt x="512" y="975"/>
                    </a:lnTo>
                    <a:lnTo>
                      <a:pt x="496" y="968"/>
                    </a:lnTo>
                    <a:lnTo>
                      <a:pt x="477" y="958"/>
                    </a:lnTo>
                    <a:lnTo>
                      <a:pt x="458" y="947"/>
                    </a:lnTo>
                    <a:lnTo>
                      <a:pt x="444" y="937"/>
                    </a:lnTo>
                    <a:lnTo>
                      <a:pt x="432" y="928"/>
                    </a:lnTo>
                    <a:lnTo>
                      <a:pt x="421" y="919"/>
                    </a:lnTo>
                    <a:lnTo>
                      <a:pt x="414" y="914"/>
                    </a:lnTo>
                    <a:lnTo>
                      <a:pt x="412" y="912"/>
                    </a:lnTo>
                    <a:lnTo>
                      <a:pt x="421" y="893"/>
                    </a:lnTo>
                    <a:lnTo>
                      <a:pt x="432" y="867"/>
                    </a:lnTo>
                    <a:lnTo>
                      <a:pt x="444" y="833"/>
                    </a:lnTo>
                    <a:lnTo>
                      <a:pt x="460" y="795"/>
                    </a:lnTo>
                    <a:lnTo>
                      <a:pt x="475" y="751"/>
                    </a:lnTo>
                    <a:lnTo>
                      <a:pt x="489" y="706"/>
                    </a:lnTo>
                    <a:lnTo>
                      <a:pt x="505" y="657"/>
                    </a:lnTo>
                    <a:lnTo>
                      <a:pt x="519" y="608"/>
                    </a:lnTo>
                    <a:lnTo>
                      <a:pt x="533" y="559"/>
                    </a:lnTo>
                    <a:lnTo>
                      <a:pt x="544" y="511"/>
                    </a:lnTo>
                    <a:lnTo>
                      <a:pt x="551" y="467"/>
                    </a:lnTo>
                    <a:lnTo>
                      <a:pt x="556" y="425"/>
                    </a:lnTo>
                    <a:lnTo>
                      <a:pt x="558" y="382"/>
                    </a:lnTo>
                    <a:lnTo>
                      <a:pt x="559" y="341"/>
                    </a:lnTo>
                    <a:lnTo>
                      <a:pt x="558" y="306"/>
                    </a:lnTo>
                    <a:lnTo>
                      <a:pt x="554" y="275"/>
                    </a:lnTo>
                    <a:lnTo>
                      <a:pt x="545" y="249"/>
                    </a:lnTo>
                    <a:lnTo>
                      <a:pt x="533" y="228"/>
                    </a:lnTo>
                    <a:lnTo>
                      <a:pt x="516" y="208"/>
                    </a:lnTo>
                    <a:lnTo>
                      <a:pt x="493" y="194"/>
                    </a:lnTo>
                    <a:lnTo>
                      <a:pt x="461" y="182"/>
                    </a:lnTo>
                    <a:lnTo>
                      <a:pt x="425" y="175"/>
                    </a:lnTo>
                    <a:lnTo>
                      <a:pt x="377" y="172"/>
                    </a:lnTo>
                    <a:lnTo>
                      <a:pt x="323" y="170"/>
                    </a:lnTo>
                    <a:lnTo>
                      <a:pt x="271" y="172"/>
                    </a:lnTo>
                    <a:lnTo>
                      <a:pt x="211" y="173"/>
                    </a:lnTo>
                    <a:lnTo>
                      <a:pt x="143" y="179"/>
                    </a:lnTo>
                    <a:lnTo>
                      <a:pt x="64" y="187"/>
                    </a:lnTo>
                    <a:lnTo>
                      <a:pt x="52" y="172"/>
                    </a:lnTo>
                    <a:lnTo>
                      <a:pt x="38" y="147"/>
                    </a:lnTo>
                    <a:lnTo>
                      <a:pt x="24" y="114"/>
                    </a:lnTo>
                    <a:lnTo>
                      <a:pt x="10" y="74"/>
                    </a:lnTo>
                    <a:lnTo>
                      <a:pt x="0" y="25"/>
                    </a:lnTo>
                    <a:lnTo>
                      <a:pt x="78" y="16"/>
                    </a:lnTo>
                    <a:lnTo>
                      <a:pt x="150" y="9"/>
                    </a:lnTo>
                    <a:lnTo>
                      <a:pt x="213" y="4"/>
                    </a:lnTo>
                    <a:lnTo>
                      <a:pt x="271" y="2"/>
                    </a:lnTo>
                    <a:lnTo>
                      <a:pt x="323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5" name="Freeform 39"/>
            <p:cNvSpPr>
              <a:spLocks/>
            </p:cNvSpPr>
            <p:nvPr userDrawn="1"/>
          </p:nvSpPr>
          <p:spPr bwMode="auto">
            <a:xfrm>
              <a:off x="3906005" y="3574484"/>
              <a:ext cx="207412" cy="232346"/>
            </a:xfrm>
            <a:custGeom>
              <a:avLst/>
              <a:gdLst>
                <a:gd name="T0" fmla="*/ 148 w 183"/>
                <a:gd name="T1" fmla="*/ 6 h 205"/>
                <a:gd name="T2" fmla="*/ 162 w 183"/>
                <a:gd name="T3" fmla="*/ 35 h 205"/>
                <a:gd name="T4" fmla="*/ 164 w 183"/>
                <a:gd name="T5" fmla="*/ 70 h 205"/>
                <a:gd name="T6" fmla="*/ 168 w 183"/>
                <a:gd name="T7" fmla="*/ 121 h 205"/>
                <a:gd name="T8" fmla="*/ 169 w 183"/>
                <a:gd name="T9" fmla="*/ 158 h 205"/>
                <a:gd name="T10" fmla="*/ 173 w 183"/>
                <a:gd name="T11" fmla="*/ 174 h 205"/>
                <a:gd name="T12" fmla="*/ 180 w 183"/>
                <a:gd name="T13" fmla="*/ 186 h 205"/>
                <a:gd name="T14" fmla="*/ 183 w 183"/>
                <a:gd name="T15" fmla="*/ 191 h 205"/>
                <a:gd name="T16" fmla="*/ 182 w 183"/>
                <a:gd name="T17" fmla="*/ 200 h 205"/>
                <a:gd name="T18" fmla="*/ 173 w 183"/>
                <a:gd name="T19" fmla="*/ 205 h 205"/>
                <a:gd name="T20" fmla="*/ 164 w 183"/>
                <a:gd name="T21" fmla="*/ 203 h 205"/>
                <a:gd name="T22" fmla="*/ 155 w 183"/>
                <a:gd name="T23" fmla="*/ 198 h 205"/>
                <a:gd name="T24" fmla="*/ 147 w 183"/>
                <a:gd name="T25" fmla="*/ 179 h 205"/>
                <a:gd name="T26" fmla="*/ 143 w 183"/>
                <a:gd name="T27" fmla="*/ 139 h 205"/>
                <a:gd name="T28" fmla="*/ 138 w 183"/>
                <a:gd name="T29" fmla="*/ 81 h 205"/>
                <a:gd name="T30" fmla="*/ 131 w 183"/>
                <a:gd name="T31" fmla="*/ 49 h 205"/>
                <a:gd name="T32" fmla="*/ 126 w 183"/>
                <a:gd name="T33" fmla="*/ 42 h 205"/>
                <a:gd name="T34" fmla="*/ 120 w 183"/>
                <a:gd name="T35" fmla="*/ 42 h 205"/>
                <a:gd name="T36" fmla="*/ 115 w 183"/>
                <a:gd name="T37" fmla="*/ 49 h 205"/>
                <a:gd name="T38" fmla="*/ 103 w 183"/>
                <a:gd name="T39" fmla="*/ 70 h 205"/>
                <a:gd name="T40" fmla="*/ 82 w 183"/>
                <a:gd name="T41" fmla="*/ 109 h 205"/>
                <a:gd name="T42" fmla="*/ 68 w 183"/>
                <a:gd name="T43" fmla="*/ 140 h 205"/>
                <a:gd name="T44" fmla="*/ 63 w 183"/>
                <a:gd name="T45" fmla="*/ 151 h 205"/>
                <a:gd name="T46" fmla="*/ 57 w 183"/>
                <a:gd name="T47" fmla="*/ 160 h 205"/>
                <a:gd name="T48" fmla="*/ 49 w 183"/>
                <a:gd name="T49" fmla="*/ 165 h 205"/>
                <a:gd name="T50" fmla="*/ 30 w 183"/>
                <a:gd name="T51" fmla="*/ 163 h 205"/>
                <a:gd name="T52" fmla="*/ 14 w 183"/>
                <a:gd name="T53" fmla="*/ 137 h 205"/>
                <a:gd name="T54" fmla="*/ 0 w 183"/>
                <a:gd name="T55" fmla="*/ 62 h 205"/>
                <a:gd name="T56" fmla="*/ 5 w 183"/>
                <a:gd name="T57" fmla="*/ 13 h 205"/>
                <a:gd name="T58" fmla="*/ 10 w 183"/>
                <a:gd name="T59" fmla="*/ 7 h 205"/>
                <a:gd name="T60" fmla="*/ 19 w 183"/>
                <a:gd name="T61" fmla="*/ 4 h 205"/>
                <a:gd name="T62" fmla="*/ 28 w 183"/>
                <a:gd name="T63" fmla="*/ 6 h 205"/>
                <a:gd name="T64" fmla="*/ 35 w 183"/>
                <a:gd name="T65" fmla="*/ 13 h 205"/>
                <a:gd name="T66" fmla="*/ 35 w 183"/>
                <a:gd name="T67" fmla="*/ 25 h 205"/>
                <a:gd name="T68" fmla="*/ 33 w 183"/>
                <a:gd name="T69" fmla="*/ 56 h 205"/>
                <a:gd name="T70" fmla="*/ 38 w 183"/>
                <a:gd name="T71" fmla="*/ 104 h 205"/>
                <a:gd name="T72" fmla="*/ 59 w 183"/>
                <a:gd name="T73" fmla="*/ 95 h 205"/>
                <a:gd name="T74" fmla="*/ 85 w 183"/>
                <a:gd name="T75" fmla="*/ 42 h 205"/>
                <a:gd name="T76" fmla="*/ 103 w 183"/>
                <a:gd name="T77" fmla="*/ 16 h 205"/>
                <a:gd name="T78" fmla="*/ 124 w 183"/>
                <a:gd name="T79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3" h="205">
                  <a:moveTo>
                    <a:pt x="134" y="0"/>
                  </a:moveTo>
                  <a:lnTo>
                    <a:pt x="148" y="6"/>
                  </a:lnTo>
                  <a:lnTo>
                    <a:pt x="157" y="18"/>
                  </a:lnTo>
                  <a:lnTo>
                    <a:pt x="162" y="35"/>
                  </a:lnTo>
                  <a:lnTo>
                    <a:pt x="162" y="48"/>
                  </a:lnTo>
                  <a:lnTo>
                    <a:pt x="164" y="70"/>
                  </a:lnTo>
                  <a:lnTo>
                    <a:pt x="166" y="95"/>
                  </a:lnTo>
                  <a:lnTo>
                    <a:pt x="168" y="121"/>
                  </a:lnTo>
                  <a:lnTo>
                    <a:pt x="169" y="144"/>
                  </a:lnTo>
                  <a:lnTo>
                    <a:pt x="169" y="158"/>
                  </a:lnTo>
                  <a:lnTo>
                    <a:pt x="171" y="167"/>
                  </a:lnTo>
                  <a:lnTo>
                    <a:pt x="173" y="174"/>
                  </a:lnTo>
                  <a:lnTo>
                    <a:pt x="176" y="181"/>
                  </a:lnTo>
                  <a:lnTo>
                    <a:pt x="180" y="186"/>
                  </a:lnTo>
                  <a:lnTo>
                    <a:pt x="182" y="188"/>
                  </a:lnTo>
                  <a:lnTo>
                    <a:pt x="183" y="191"/>
                  </a:lnTo>
                  <a:lnTo>
                    <a:pt x="183" y="196"/>
                  </a:lnTo>
                  <a:lnTo>
                    <a:pt x="182" y="200"/>
                  </a:lnTo>
                  <a:lnTo>
                    <a:pt x="178" y="203"/>
                  </a:lnTo>
                  <a:lnTo>
                    <a:pt x="173" y="205"/>
                  </a:lnTo>
                  <a:lnTo>
                    <a:pt x="169" y="205"/>
                  </a:lnTo>
                  <a:lnTo>
                    <a:pt x="164" y="203"/>
                  </a:lnTo>
                  <a:lnTo>
                    <a:pt x="159" y="202"/>
                  </a:lnTo>
                  <a:lnTo>
                    <a:pt x="155" y="198"/>
                  </a:lnTo>
                  <a:lnTo>
                    <a:pt x="152" y="195"/>
                  </a:lnTo>
                  <a:lnTo>
                    <a:pt x="147" y="179"/>
                  </a:lnTo>
                  <a:lnTo>
                    <a:pt x="143" y="161"/>
                  </a:lnTo>
                  <a:lnTo>
                    <a:pt x="143" y="139"/>
                  </a:lnTo>
                  <a:lnTo>
                    <a:pt x="141" y="111"/>
                  </a:lnTo>
                  <a:lnTo>
                    <a:pt x="138" y="81"/>
                  </a:lnTo>
                  <a:lnTo>
                    <a:pt x="133" y="55"/>
                  </a:lnTo>
                  <a:lnTo>
                    <a:pt x="131" y="49"/>
                  </a:lnTo>
                  <a:lnTo>
                    <a:pt x="129" y="46"/>
                  </a:lnTo>
                  <a:lnTo>
                    <a:pt x="126" y="42"/>
                  </a:lnTo>
                  <a:lnTo>
                    <a:pt x="124" y="42"/>
                  </a:lnTo>
                  <a:lnTo>
                    <a:pt x="120" y="42"/>
                  </a:lnTo>
                  <a:lnTo>
                    <a:pt x="119" y="46"/>
                  </a:lnTo>
                  <a:lnTo>
                    <a:pt x="115" y="49"/>
                  </a:lnTo>
                  <a:lnTo>
                    <a:pt x="112" y="55"/>
                  </a:lnTo>
                  <a:lnTo>
                    <a:pt x="103" y="70"/>
                  </a:lnTo>
                  <a:lnTo>
                    <a:pt x="92" y="88"/>
                  </a:lnTo>
                  <a:lnTo>
                    <a:pt x="82" y="109"/>
                  </a:lnTo>
                  <a:lnTo>
                    <a:pt x="75" y="126"/>
                  </a:lnTo>
                  <a:lnTo>
                    <a:pt x="68" y="140"/>
                  </a:lnTo>
                  <a:lnTo>
                    <a:pt x="66" y="146"/>
                  </a:lnTo>
                  <a:lnTo>
                    <a:pt x="63" y="151"/>
                  </a:lnTo>
                  <a:lnTo>
                    <a:pt x="61" y="156"/>
                  </a:lnTo>
                  <a:lnTo>
                    <a:pt x="57" y="160"/>
                  </a:lnTo>
                  <a:lnTo>
                    <a:pt x="52" y="163"/>
                  </a:lnTo>
                  <a:lnTo>
                    <a:pt x="49" y="165"/>
                  </a:lnTo>
                  <a:lnTo>
                    <a:pt x="42" y="167"/>
                  </a:lnTo>
                  <a:lnTo>
                    <a:pt x="30" y="163"/>
                  </a:lnTo>
                  <a:lnTo>
                    <a:pt x="21" y="153"/>
                  </a:lnTo>
                  <a:lnTo>
                    <a:pt x="14" y="137"/>
                  </a:lnTo>
                  <a:lnTo>
                    <a:pt x="5" y="100"/>
                  </a:lnTo>
                  <a:lnTo>
                    <a:pt x="0" y="62"/>
                  </a:lnTo>
                  <a:lnTo>
                    <a:pt x="3" y="20"/>
                  </a:lnTo>
                  <a:lnTo>
                    <a:pt x="5" y="13"/>
                  </a:lnTo>
                  <a:lnTo>
                    <a:pt x="7" y="9"/>
                  </a:lnTo>
                  <a:lnTo>
                    <a:pt x="10" y="7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23" y="4"/>
                  </a:lnTo>
                  <a:lnTo>
                    <a:pt x="28" y="6"/>
                  </a:lnTo>
                  <a:lnTo>
                    <a:pt x="33" y="9"/>
                  </a:lnTo>
                  <a:lnTo>
                    <a:pt x="35" y="13"/>
                  </a:lnTo>
                  <a:lnTo>
                    <a:pt x="36" y="18"/>
                  </a:lnTo>
                  <a:lnTo>
                    <a:pt x="35" y="25"/>
                  </a:lnTo>
                  <a:lnTo>
                    <a:pt x="35" y="37"/>
                  </a:lnTo>
                  <a:lnTo>
                    <a:pt x="33" y="56"/>
                  </a:lnTo>
                  <a:lnTo>
                    <a:pt x="35" y="79"/>
                  </a:lnTo>
                  <a:lnTo>
                    <a:pt x="38" y="104"/>
                  </a:lnTo>
                  <a:lnTo>
                    <a:pt x="43" y="126"/>
                  </a:lnTo>
                  <a:lnTo>
                    <a:pt x="59" y="95"/>
                  </a:lnTo>
                  <a:lnTo>
                    <a:pt x="73" y="65"/>
                  </a:lnTo>
                  <a:lnTo>
                    <a:pt x="85" y="42"/>
                  </a:lnTo>
                  <a:lnTo>
                    <a:pt x="96" y="27"/>
                  </a:lnTo>
                  <a:lnTo>
                    <a:pt x="103" y="16"/>
                  </a:lnTo>
                  <a:lnTo>
                    <a:pt x="113" y="6"/>
                  </a:lnTo>
                  <a:lnTo>
                    <a:pt x="124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40"/>
            <p:cNvSpPr>
              <a:spLocks/>
            </p:cNvSpPr>
            <p:nvPr userDrawn="1"/>
          </p:nvSpPr>
          <p:spPr bwMode="auto">
            <a:xfrm>
              <a:off x="4129283" y="3565417"/>
              <a:ext cx="174544" cy="219879"/>
            </a:xfrm>
            <a:custGeom>
              <a:avLst/>
              <a:gdLst>
                <a:gd name="T0" fmla="*/ 77 w 154"/>
                <a:gd name="T1" fmla="*/ 0 h 194"/>
                <a:gd name="T2" fmla="*/ 90 w 154"/>
                <a:gd name="T3" fmla="*/ 0 h 194"/>
                <a:gd name="T4" fmla="*/ 95 w 154"/>
                <a:gd name="T5" fmla="*/ 1 h 194"/>
                <a:gd name="T6" fmla="*/ 97 w 154"/>
                <a:gd name="T7" fmla="*/ 3 h 194"/>
                <a:gd name="T8" fmla="*/ 98 w 154"/>
                <a:gd name="T9" fmla="*/ 7 h 194"/>
                <a:gd name="T10" fmla="*/ 98 w 154"/>
                <a:gd name="T11" fmla="*/ 10 h 194"/>
                <a:gd name="T12" fmla="*/ 97 w 154"/>
                <a:gd name="T13" fmla="*/ 15 h 194"/>
                <a:gd name="T14" fmla="*/ 93 w 154"/>
                <a:gd name="T15" fmla="*/ 19 h 194"/>
                <a:gd name="T16" fmla="*/ 90 w 154"/>
                <a:gd name="T17" fmla="*/ 22 h 194"/>
                <a:gd name="T18" fmla="*/ 84 w 154"/>
                <a:gd name="T19" fmla="*/ 24 h 194"/>
                <a:gd name="T20" fmla="*/ 72 w 154"/>
                <a:gd name="T21" fmla="*/ 31 h 194"/>
                <a:gd name="T22" fmla="*/ 60 w 154"/>
                <a:gd name="T23" fmla="*/ 43 h 194"/>
                <a:gd name="T24" fmla="*/ 49 w 154"/>
                <a:gd name="T25" fmla="*/ 63 h 194"/>
                <a:gd name="T26" fmla="*/ 39 w 154"/>
                <a:gd name="T27" fmla="*/ 91 h 194"/>
                <a:gd name="T28" fmla="*/ 34 w 154"/>
                <a:gd name="T29" fmla="*/ 112 h 194"/>
                <a:gd name="T30" fmla="*/ 34 w 154"/>
                <a:gd name="T31" fmla="*/ 131 h 194"/>
                <a:gd name="T32" fmla="*/ 37 w 154"/>
                <a:gd name="T33" fmla="*/ 147 h 194"/>
                <a:gd name="T34" fmla="*/ 42 w 154"/>
                <a:gd name="T35" fmla="*/ 161 h 194"/>
                <a:gd name="T36" fmla="*/ 53 w 154"/>
                <a:gd name="T37" fmla="*/ 168 h 194"/>
                <a:gd name="T38" fmla="*/ 67 w 154"/>
                <a:gd name="T39" fmla="*/ 169 h 194"/>
                <a:gd name="T40" fmla="*/ 81 w 154"/>
                <a:gd name="T41" fmla="*/ 166 h 194"/>
                <a:gd name="T42" fmla="*/ 97 w 154"/>
                <a:gd name="T43" fmla="*/ 157 h 194"/>
                <a:gd name="T44" fmla="*/ 109 w 154"/>
                <a:gd name="T45" fmla="*/ 140 h 194"/>
                <a:gd name="T46" fmla="*/ 119 w 154"/>
                <a:gd name="T47" fmla="*/ 117 h 194"/>
                <a:gd name="T48" fmla="*/ 126 w 154"/>
                <a:gd name="T49" fmla="*/ 94 h 194"/>
                <a:gd name="T50" fmla="*/ 125 w 154"/>
                <a:gd name="T51" fmla="*/ 75 h 194"/>
                <a:gd name="T52" fmla="*/ 121 w 154"/>
                <a:gd name="T53" fmla="*/ 59 h 194"/>
                <a:gd name="T54" fmla="*/ 112 w 154"/>
                <a:gd name="T55" fmla="*/ 49 h 194"/>
                <a:gd name="T56" fmla="*/ 104 w 154"/>
                <a:gd name="T57" fmla="*/ 43 h 194"/>
                <a:gd name="T58" fmla="*/ 98 w 154"/>
                <a:gd name="T59" fmla="*/ 42 h 194"/>
                <a:gd name="T60" fmla="*/ 95 w 154"/>
                <a:gd name="T61" fmla="*/ 38 h 194"/>
                <a:gd name="T62" fmla="*/ 93 w 154"/>
                <a:gd name="T63" fmla="*/ 35 h 194"/>
                <a:gd name="T64" fmla="*/ 93 w 154"/>
                <a:gd name="T65" fmla="*/ 31 h 194"/>
                <a:gd name="T66" fmla="*/ 93 w 154"/>
                <a:gd name="T67" fmla="*/ 29 h 194"/>
                <a:gd name="T68" fmla="*/ 95 w 154"/>
                <a:gd name="T69" fmla="*/ 26 h 194"/>
                <a:gd name="T70" fmla="*/ 97 w 154"/>
                <a:gd name="T71" fmla="*/ 24 h 194"/>
                <a:gd name="T72" fmla="*/ 100 w 154"/>
                <a:gd name="T73" fmla="*/ 22 h 194"/>
                <a:gd name="T74" fmla="*/ 104 w 154"/>
                <a:gd name="T75" fmla="*/ 21 h 194"/>
                <a:gd name="T76" fmla="*/ 109 w 154"/>
                <a:gd name="T77" fmla="*/ 22 h 194"/>
                <a:gd name="T78" fmla="*/ 128 w 154"/>
                <a:gd name="T79" fmla="*/ 31 h 194"/>
                <a:gd name="T80" fmla="*/ 144 w 154"/>
                <a:gd name="T81" fmla="*/ 47 h 194"/>
                <a:gd name="T82" fmla="*/ 152 w 154"/>
                <a:gd name="T83" fmla="*/ 70 h 194"/>
                <a:gd name="T84" fmla="*/ 154 w 154"/>
                <a:gd name="T85" fmla="*/ 98 h 194"/>
                <a:gd name="T86" fmla="*/ 147 w 154"/>
                <a:gd name="T87" fmla="*/ 129 h 194"/>
                <a:gd name="T88" fmla="*/ 133 w 154"/>
                <a:gd name="T89" fmla="*/ 154 h 194"/>
                <a:gd name="T90" fmla="*/ 116 w 154"/>
                <a:gd name="T91" fmla="*/ 175 h 194"/>
                <a:gd name="T92" fmla="*/ 95 w 154"/>
                <a:gd name="T93" fmla="*/ 189 h 194"/>
                <a:gd name="T94" fmla="*/ 69 w 154"/>
                <a:gd name="T95" fmla="*/ 194 h 194"/>
                <a:gd name="T96" fmla="*/ 41 w 154"/>
                <a:gd name="T97" fmla="*/ 190 h 194"/>
                <a:gd name="T98" fmla="*/ 23 w 154"/>
                <a:gd name="T99" fmla="*/ 180 h 194"/>
                <a:gd name="T100" fmla="*/ 11 w 154"/>
                <a:gd name="T101" fmla="*/ 164 h 194"/>
                <a:gd name="T102" fmla="*/ 2 w 154"/>
                <a:gd name="T103" fmla="*/ 145 h 194"/>
                <a:gd name="T104" fmla="*/ 0 w 154"/>
                <a:gd name="T105" fmla="*/ 124 h 194"/>
                <a:gd name="T106" fmla="*/ 2 w 154"/>
                <a:gd name="T107" fmla="*/ 101 h 194"/>
                <a:gd name="T108" fmla="*/ 7 w 154"/>
                <a:gd name="T109" fmla="*/ 77 h 194"/>
                <a:gd name="T110" fmla="*/ 20 w 154"/>
                <a:gd name="T111" fmla="*/ 50 h 194"/>
                <a:gd name="T112" fmla="*/ 32 w 154"/>
                <a:gd name="T113" fmla="*/ 31 h 194"/>
                <a:gd name="T114" fmla="*/ 46 w 154"/>
                <a:gd name="T115" fmla="*/ 15 h 194"/>
                <a:gd name="T116" fmla="*/ 62 w 154"/>
                <a:gd name="T117" fmla="*/ 5 h 194"/>
                <a:gd name="T118" fmla="*/ 77 w 154"/>
                <a:gd name="T1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94">
                  <a:moveTo>
                    <a:pt x="77" y="0"/>
                  </a:moveTo>
                  <a:lnTo>
                    <a:pt x="90" y="0"/>
                  </a:lnTo>
                  <a:lnTo>
                    <a:pt x="95" y="1"/>
                  </a:lnTo>
                  <a:lnTo>
                    <a:pt x="97" y="3"/>
                  </a:lnTo>
                  <a:lnTo>
                    <a:pt x="98" y="7"/>
                  </a:lnTo>
                  <a:lnTo>
                    <a:pt x="98" y="10"/>
                  </a:lnTo>
                  <a:lnTo>
                    <a:pt x="97" y="15"/>
                  </a:lnTo>
                  <a:lnTo>
                    <a:pt x="93" y="19"/>
                  </a:lnTo>
                  <a:lnTo>
                    <a:pt x="90" y="22"/>
                  </a:lnTo>
                  <a:lnTo>
                    <a:pt x="84" y="24"/>
                  </a:lnTo>
                  <a:lnTo>
                    <a:pt x="72" y="31"/>
                  </a:lnTo>
                  <a:lnTo>
                    <a:pt x="60" y="43"/>
                  </a:lnTo>
                  <a:lnTo>
                    <a:pt x="49" y="63"/>
                  </a:lnTo>
                  <a:lnTo>
                    <a:pt x="39" y="91"/>
                  </a:lnTo>
                  <a:lnTo>
                    <a:pt x="34" y="112"/>
                  </a:lnTo>
                  <a:lnTo>
                    <a:pt x="34" y="131"/>
                  </a:lnTo>
                  <a:lnTo>
                    <a:pt x="37" y="147"/>
                  </a:lnTo>
                  <a:lnTo>
                    <a:pt x="42" y="161"/>
                  </a:lnTo>
                  <a:lnTo>
                    <a:pt x="53" y="168"/>
                  </a:lnTo>
                  <a:lnTo>
                    <a:pt x="67" y="169"/>
                  </a:lnTo>
                  <a:lnTo>
                    <a:pt x="81" y="166"/>
                  </a:lnTo>
                  <a:lnTo>
                    <a:pt x="97" y="157"/>
                  </a:lnTo>
                  <a:lnTo>
                    <a:pt x="109" y="140"/>
                  </a:lnTo>
                  <a:lnTo>
                    <a:pt x="119" y="117"/>
                  </a:lnTo>
                  <a:lnTo>
                    <a:pt x="126" y="94"/>
                  </a:lnTo>
                  <a:lnTo>
                    <a:pt x="125" y="75"/>
                  </a:lnTo>
                  <a:lnTo>
                    <a:pt x="121" y="59"/>
                  </a:lnTo>
                  <a:lnTo>
                    <a:pt x="112" y="49"/>
                  </a:lnTo>
                  <a:lnTo>
                    <a:pt x="104" y="43"/>
                  </a:lnTo>
                  <a:lnTo>
                    <a:pt x="98" y="42"/>
                  </a:lnTo>
                  <a:lnTo>
                    <a:pt x="95" y="38"/>
                  </a:lnTo>
                  <a:lnTo>
                    <a:pt x="93" y="35"/>
                  </a:lnTo>
                  <a:lnTo>
                    <a:pt x="93" y="31"/>
                  </a:lnTo>
                  <a:lnTo>
                    <a:pt x="93" y="29"/>
                  </a:lnTo>
                  <a:lnTo>
                    <a:pt x="95" y="26"/>
                  </a:lnTo>
                  <a:lnTo>
                    <a:pt x="97" y="24"/>
                  </a:lnTo>
                  <a:lnTo>
                    <a:pt x="100" y="22"/>
                  </a:lnTo>
                  <a:lnTo>
                    <a:pt x="104" y="21"/>
                  </a:lnTo>
                  <a:lnTo>
                    <a:pt x="109" y="22"/>
                  </a:lnTo>
                  <a:lnTo>
                    <a:pt x="128" y="31"/>
                  </a:lnTo>
                  <a:lnTo>
                    <a:pt x="144" y="47"/>
                  </a:lnTo>
                  <a:lnTo>
                    <a:pt x="152" y="70"/>
                  </a:lnTo>
                  <a:lnTo>
                    <a:pt x="154" y="98"/>
                  </a:lnTo>
                  <a:lnTo>
                    <a:pt x="147" y="129"/>
                  </a:lnTo>
                  <a:lnTo>
                    <a:pt x="133" y="154"/>
                  </a:lnTo>
                  <a:lnTo>
                    <a:pt x="116" y="175"/>
                  </a:lnTo>
                  <a:lnTo>
                    <a:pt x="95" y="189"/>
                  </a:lnTo>
                  <a:lnTo>
                    <a:pt x="69" y="194"/>
                  </a:lnTo>
                  <a:lnTo>
                    <a:pt x="41" y="190"/>
                  </a:lnTo>
                  <a:lnTo>
                    <a:pt x="23" y="180"/>
                  </a:lnTo>
                  <a:lnTo>
                    <a:pt x="11" y="164"/>
                  </a:lnTo>
                  <a:lnTo>
                    <a:pt x="2" y="145"/>
                  </a:lnTo>
                  <a:lnTo>
                    <a:pt x="0" y="124"/>
                  </a:lnTo>
                  <a:lnTo>
                    <a:pt x="2" y="101"/>
                  </a:lnTo>
                  <a:lnTo>
                    <a:pt x="7" y="77"/>
                  </a:lnTo>
                  <a:lnTo>
                    <a:pt x="20" y="50"/>
                  </a:lnTo>
                  <a:lnTo>
                    <a:pt x="32" y="31"/>
                  </a:lnTo>
                  <a:lnTo>
                    <a:pt x="46" y="15"/>
                  </a:lnTo>
                  <a:lnTo>
                    <a:pt x="62" y="5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41"/>
            <p:cNvSpPr>
              <a:spLocks/>
            </p:cNvSpPr>
            <p:nvPr userDrawn="1"/>
          </p:nvSpPr>
          <p:spPr bwMode="auto">
            <a:xfrm>
              <a:off x="4317427" y="3568818"/>
              <a:ext cx="198344" cy="208544"/>
            </a:xfrm>
            <a:custGeom>
              <a:avLst/>
              <a:gdLst>
                <a:gd name="T0" fmla="*/ 21 w 175"/>
                <a:gd name="T1" fmla="*/ 0 h 184"/>
                <a:gd name="T2" fmla="*/ 30 w 175"/>
                <a:gd name="T3" fmla="*/ 5 h 184"/>
                <a:gd name="T4" fmla="*/ 35 w 175"/>
                <a:gd name="T5" fmla="*/ 16 h 184"/>
                <a:gd name="T6" fmla="*/ 39 w 175"/>
                <a:gd name="T7" fmla="*/ 44 h 184"/>
                <a:gd name="T8" fmla="*/ 51 w 175"/>
                <a:gd name="T9" fmla="*/ 86 h 184"/>
                <a:gd name="T10" fmla="*/ 63 w 175"/>
                <a:gd name="T11" fmla="*/ 116 h 184"/>
                <a:gd name="T12" fmla="*/ 69 w 175"/>
                <a:gd name="T13" fmla="*/ 126 h 184"/>
                <a:gd name="T14" fmla="*/ 74 w 175"/>
                <a:gd name="T15" fmla="*/ 130 h 184"/>
                <a:gd name="T16" fmla="*/ 79 w 175"/>
                <a:gd name="T17" fmla="*/ 128 h 184"/>
                <a:gd name="T18" fmla="*/ 88 w 175"/>
                <a:gd name="T19" fmla="*/ 117 h 184"/>
                <a:gd name="T20" fmla="*/ 105 w 175"/>
                <a:gd name="T21" fmla="*/ 91 h 184"/>
                <a:gd name="T22" fmla="*/ 126 w 175"/>
                <a:gd name="T23" fmla="*/ 49 h 184"/>
                <a:gd name="T24" fmla="*/ 137 w 175"/>
                <a:gd name="T25" fmla="*/ 21 h 184"/>
                <a:gd name="T26" fmla="*/ 140 w 175"/>
                <a:gd name="T27" fmla="*/ 11 h 184"/>
                <a:gd name="T28" fmla="*/ 147 w 175"/>
                <a:gd name="T29" fmla="*/ 4 h 184"/>
                <a:gd name="T30" fmla="*/ 156 w 175"/>
                <a:gd name="T31" fmla="*/ 2 h 184"/>
                <a:gd name="T32" fmla="*/ 165 w 175"/>
                <a:gd name="T33" fmla="*/ 5 h 184"/>
                <a:gd name="T34" fmla="*/ 168 w 175"/>
                <a:gd name="T35" fmla="*/ 16 h 184"/>
                <a:gd name="T36" fmla="*/ 168 w 175"/>
                <a:gd name="T37" fmla="*/ 28 h 184"/>
                <a:gd name="T38" fmla="*/ 167 w 175"/>
                <a:gd name="T39" fmla="*/ 72 h 184"/>
                <a:gd name="T40" fmla="*/ 168 w 175"/>
                <a:gd name="T41" fmla="*/ 116 h 184"/>
                <a:gd name="T42" fmla="*/ 175 w 175"/>
                <a:gd name="T43" fmla="*/ 168 h 184"/>
                <a:gd name="T44" fmla="*/ 175 w 175"/>
                <a:gd name="T45" fmla="*/ 179 h 184"/>
                <a:gd name="T46" fmla="*/ 170 w 175"/>
                <a:gd name="T47" fmla="*/ 184 h 184"/>
                <a:gd name="T48" fmla="*/ 163 w 175"/>
                <a:gd name="T49" fmla="*/ 184 h 184"/>
                <a:gd name="T50" fmla="*/ 158 w 175"/>
                <a:gd name="T51" fmla="*/ 182 h 184"/>
                <a:gd name="T52" fmla="*/ 151 w 175"/>
                <a:gd name="T53" fmla="*/ 177 h 184"/>
                <a:gd name="T54" fmla="*/ 147 w 175"/>
                <a:gd name="T55" fmla="*/ 166 h 184"/>
                <a:gd name="T56" fmla="*/ 140 w 175"/>
                <a:gd name="T57" fmla="*/ 110 h 184"/>
                <a:gd name="T58" fmla="*/ 130 w 175"/>
                <a:gd name="T59" fmla="*/ 96 h 184"/>
                <a:gd name="T60" fmla="*/ 112 w 175"/>
                <a:gd name="T61" fmla="*/ 135 h 184"/>
                <a:gd name="T62" fmla="*/ 90 w 175"/>
                <a:gd name="T63" fmla="*/ 159 h 184"/>
                <a:gd name="T64" fmla="*/ 60 w 175"/>
                <a:gd name="T65" fmla="*/ 154 h 184"/>
                <a:gd name="T66" fmla="*/ 34 w 175"/>
                <a:gd name="T67" fmla="*/ 123 h 184"/>
                <a:gd name="T68" fmla="*/ 14 w 175"/>
                <a:gd name="T69" fmla="*/ 75 h 184"/>
                <a:gd name="T70" fmla="*/ 2 w 175"/>
                <a:gd name="T71" fmla="*/ 30 h 184"/>
                <a:gd name="T72" fmla="*/ 0 w 175"/>
                <a:gd name="T73" fmla="*/ 11 h 184"/>
                <a:gd name="T74" fmla="*/ 14 w 175"/>
                <a:gd name="T7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5" h="184">
                  <a:moveTo>
                    <a:pt x="18" y="0"/>
                  </a:moveTo>
                  <a:lnTo>
                    <a:pt x="21" y="0"/>
                  </a:lnTo>
                  <a:lnTo>
                    <a:pt x="27" y="2"/>
                  </a:lnTo>
                  <a:lnTo>
                    <a:pt x="30" y="5"/>
                  </a:lnTo>
                  <a:lnTo>
                    <a:pt x="32" y="9"/>
                  </a:lnTo>
                  <a:lnTo>
                    <a:pt x="35" y="16"/>
                  </a:lnTo>
                  <a:lnTo>
                    <a:pt x="35" y="23"/>
                  </a:lnTo>
                  <a:lnTo>
                    <a:pt x="39" y="44"/>
                  </a:lnTo>
                  <a:lnTo>
                    <a:pt x="44" y="65"/>
                  </a:lnTo>
                  <a:lnTo>
                    <a:pt x="51" y="86"/>
                  </a:lnTo>
                  <a:lnTo>
                    <a:pt x="58" y="103"/>
                  </a:lnTo>
                  <a:lnTo>
                    <a:pt x="63" y="116"/>
                  </a:lnTo>
                  <a:lnTo>
                    <a:pt x="65" y="121"/>
                  </a:lnTo>
                  <a:lnTo>
                    <a:pt x="69" y="126"/>
                  </a:lnTo>
                  <a:lnTo>
                    <a:pt x="70" y="130"/>
                  </a:lnTo>
                  <a:lnTo>
                    <a:pt x="74" y="130"/>
                  </a:lnTo>
                  <a:lnTo>
                    <a:pt x="76" y="130"/>
                  </a:lnTo>
                  <a:lnTo>
                    <a:pt x="79" y="128"/>
                  </a:lnTo>
                  <a:lnTo>
                    <a:pt x="83" y="124"/>
                  </a:lnTo>
                  <a:lnTo>
                    <a:pt x="88" y="117"/>
                  </a:lnTo>
                  <a:lnTo>
                    <a:pt x="95" y="107"/>
                  </a:lnTo>
                  <a:lnTo>
                    <a:pt x="105" y="91"/>
                  </a:lnTo>
                  <a:lnTo>
                    <a:pt x="116" y="72"/>
                  </a:lnTo>
                  <a:lnTo>
                    <a:pt x="126" y="49"/>
                  </a:lnTo>
                  <a:lnTo>
                    <a:pt x="135" y="26"/>
                  </a:lnTo>
                  <a:lnTo>
                    <a:pt x="137" y="21"/>
                  </a:lnTo>
                  <a:lnTo>
                    <a:pt x="139" y="16"/>
                  </a:lnTo>
                  <a:lnTo>
                    <a:pt x="140" y="11"/>
                  </a:lnTo>
                  <a:lnTo>
                    <a:pt x="142" y="7"/>
                  </a:lnTo>
                  <a:lnTo>
                    <a:pt x="147" y="4"/>
                  </a:lnTo>
                  <a:lnTo>
                    <a:pt x="151" y="2"/>
                  </a:lnTo>
                  <a:lnTo>
                    <a:pt x="156" y="2"/>
                  </a:lnTo>
                  <a:lnTo>
                    <a:pt x="161" y="2"/>
                  </a:lnTo>
                  <a:lnTo>
                    <a:pt x="165" y="5"/>
                  </a:lnTo>
                  <a:lnTo>
                    <a:pt x="167" y="11"/>
                  </a:lnTo>
                  <a:lnTo>
                    <a:pt x="168" y="16"/>
                  </a:lnTo>
                  <a:lnTo>
                    <a:pt x="168" y="21"/>
                  </a:lnTo>
                  <a:lnTo>
                    <a:pt x="168" y="28"/>
                  </a:lnTo>
                  <a:lnTo>
                    <a:pt x="168" y="51"/>
                  </a:lnTo>
                  <a:lnTo>
                    <a:pt x="167" y="72"/>
                  </a:lnTo>
                  <a:lnTo>
                    <a:pt x="167" y="89"/>
                  </a:lnTo>
                  <a:lnTo>
                    <a:pt x="168" y="116"/>
                  </a:lnTo>
                  <a:lnTo>
                    <a:pt x="172" y="145"/>
                  </a:lnTo>
                  <a:lnTo>
                    <a:pt x="175" y="168"/>
                  </a:lnTo>
                  <a:lnTo>
                    <a:pt x="175" y="173"/>
                  </a:lnTo>
                  <a:lnTo>
                    <a:pt x="175" y="179"/>
                  </a:lnTo>
                  <a:lnTo>
                    <a:pt x="174" y="182"/>
                  </a:lnTo>
                  <a:lnTo>
                    <a:pt x="170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60" y="184"/>
                  </a:lnTo>
                  <a:lnTo>
                    <a:pt x="158" y="182"/>
                  </a:lnTo>
                  <a:lnTo>
                    <a:pt x="153" y="180"/>
                  </a:lnTo>
                  <a:lnTo>
                    <a:pt x="151" y="177"/>
                  </a:lnTo>
                  <a:lnTo>
                    <a:pt x="149" y="172"/>
                  </a:lnTo>
                  <a:lnTo>
                    <a:pt x="147" y="166"/>
                  </a:lnTo>
                  <a:lnTo>
                    <a:pt x="144" y="142"/>
                  </a:lnTo>
                  <a:lnTo>
                    <a:pt x="140" y="110"/>
                  </a:lnTo>
                  <a:lnTo>
                    <a:pt x="139" y="79"/>
                  </a:lnTo>
                  <a:lnTo>
                    <a:pt x="130" y="96"/>
                  </a:lnTo>
                  <a:lnTo>
                    <a:pt x="121" y="116"/>
                  </a:lnTo>
                  <a:lnTo>
                    <a:pt x="112" y="135"/>
                  </a:lnTo>
                  <a:lnTo>
                    <a:pt x="100" y="149"/>
                  </a:lnTo>
                  <a:lnTo>
                    <a:pt x="90" y="159"/>
                  </a:lnTo>
                  <a:lnTo>
                    <a:pt x="76" y="161"/>
                  </a:lnTo>
                  <a:lnTo>
                    <a:pt x="60" y="154"/>
                  </a:lnTo>
                  <a:lnTo>
                    <a:pt x="46" y="140"/>
                  </a:lnTo>
                  <a:lnTo>
                    <a:pt x="34" y="123"/>
                  </a:lnTo>
                  <a:lnTo>
                    <a:pt x="23" y="100"/>
                  </a:lnTo>
                  <a:lnTo>
                    <a:pt x="14" y="75"/>
                  </a:lnTo>
                  <a:lnTo>
                    <a:pt x="7" y="51"/>
                  </a:lnTo>
                  <a:lnTo>
                    <a:pt x="2" y="30"/>
                  </a:lnTo>
                  <a:lnTo>
                    <a:pt x="0" y="19"/>
                  </a:lnTo>
                  <a:lnTo>
                    <a:pt x="0" y="11"/>
                  </a:lnTo>
                  <a:lnTo>
                    <a:pt x="4" y="4"/>
                  </a:lnTo>
                  <a:lnTo>
                    <a:pt x="14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42"/>
            <p:cNvSpPr>
              <a:spLocks/>
            </p:cNvSpPr>
            <p:nvPr userDrawn="1"/>
          </p:nvSpPr>
          <p:spPr bwMode="auto">
            <a:xfrm>
              <a:off x="4559974" y="3555217"/>
              <a:ext cx="162076" cy="211946"/>
            </a:xfrm>
            <a:custGeom>
              <a:avLst/>
              <a:gdLst>
                <a:gd name="T0" fmla="*/ 136 w 143"/>
                <a:gd name="T1" fmla="*/ 5 h 187"/>
                <a:gd name="T2" fmla="*/ 143 w 143"/>
                <a:gd name="T3" fmla="*/ 28 h 187"/>
                <a:gd name="T4" fmla="*/ 134 w 143"/>
                <a:gd name="T5" fmla="*/ 51 h 187"/>
                <a:gd name="T6" fmla="*/ 127 w 143"/>
                <a:gd name="T7" fmla="*/ 61 h 187"/>
                <a:gd name="T8" fmla="*/ 119 w 143"/>
                <a:gd name="T9" fmla="*/ 63 h 187"/>
                <a:gd name="T10" fmla="*/ 112 w 143"/>
                <a:gd name="T11" fmla="*/ 61 h 187"/>
                <a:gd name="T12" fmla="*/ 110 w 143"/>
                <a:gd name="T13" fmla="*/ 58 h 187"/>
                <a:gd name="T14" fmla="*/ 112 w 143"/>
                <a:gd name="T15" fmla="*/ 51 h 187"/>
                <a:gd name="T16" fmla="*/ 112 w 143"/>
                <a:gd name="T17" fmla="*/ 44 h 187"/>
                <a:gd name="T18" fmla="*/ 108 w 143"/>
                <a:gd name="T19" fmla="*/ 40 h 187"/>
                <a:gd name="T20" fmla="*/ 94 w 143"/>
                <a:gd name="T21" fmla="*/ 44 h 187"/>
                <a:gd name="T22" fmla="*/ 71 w 143"/>
                <a:gd name="T23" fmla="*/ 87 h 187"/>
                <a:gd name="T24" fmla="*/ 56 w 143"/>
                <a:gd name="T25" fmla="*/ 149 h 187"/>
                <a:gd name="T26" fmla="*/ 52 w 143"/>
                <a:gd name="T27" fmla="*/ 178 h 187"/>
                <a:gd name="T28" fmla="*/ 49 w 143"/>
                <a:gd name="T29" fmla="*/ 185 h 187"/>
                <a:gd name="T30" fmla="*/ 42 w 143"/>
                <a:gd name="T31" fmla="*/ 187 h 187"/>
                <a:gd name="T32" fmla="*/ 31 w 143"/>
                <a:gd name="T33" fmla="*/ 187 h 187"/>
                <a:gd name="T34" fmla="*/ 24 w 143"/>
                <a:gd name="T35" fmla="*/ 182 h 187"/>
                <a:gd name="T36" fmla="*/ 19 w 143"/>
                <a:gd name="T37" fmla="*/ 171 h 187"/>
                <a:gd name="T38" fmla="*/ 14 w 143"/>
                <a:gd name="T39" fmla="*/ 138 h 187"/>
                <a:gd name="T40" fmla="*/ 9 w 143"/>
                <a:gd name="T41" fmla="*/ 100 h 187"/>
                <a:gd name="T42" fmla="*/ 3 w 143"/>
                <a:gd name="T43" fmla="*/ 52 h 187"/>
                <a:gd name="T44" fmla="*/ 0 w 143"/>
                <a:gd name="T45" fmla="*/ 23 h 187"/>
                <a:gd name="T46" fmla="*/ 0 w 143"/>
                <a:gd name="T47" fmla="*/ 12 h 187"/>
                <a:gd name="T48" fmla="*/ 3 w 143"/>
                <a:gd name="T49" fmla="*/ 7 h 187"/>
                <a:gd name="T50" fmla="*/ 12 w 143"/>
                <a:gd name="T51" fmla="*/ 3 h 187"/>
                <a:gd name="T52" fmla="*/ 23 w 143"/>
                <a:gd name="T53" fmla="*/ 7 h 187"/>
                <a:gd name="T54" fmla="*/ 28 w 143"/>
                <a:gd name="T55" fmla="*/ 14 h 187"/>
                <a:gd name="T56" fmla="*/ 33 w 143"/>
                <a:gd name="T57" fmla="*/ 38 h 187"/>
                <a:gd name="T58" fmla="*/ 38 w 143"/>
                <a:gd name="T59" fmla="*/ 91 h 187"/>
                <a:gd name="T60" fmla="*/ 49 w 143"/>
                <a:gd name="T61" fmla="*/ 82 h 187"/>
                <a:gd name="T62" fmla="*/ 75 w 143"/>
                <a:gd name="T63" fmla="*/ 26 h 187"/>
                <a:gd name="T64" fmla="*/ 106 w 143"/>
                <a:gd name="T6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3" h="187">
                  <a:moveTo>
                    <a:pt x="126" y="0"/>
                  </a:moveTo>
                  <a:lnTo>
                    <a:pt x="136" y="5"/>
                  </a:lnTo>
                  <a:lnTo>
                    <a:pt x="141" y="16"/>
                  </a:lnTo>
                  <a:lnTo>
                    <a:pt x="143" y="28"/>
                  </a:lnTo>
                  <a:lnTo>
                    <a:pt x="140" y="42"/>
                  </a:lnTo>
                  <a:lnTo>
                    <a:pt x="134" y="51"/>
                  </a:lnTo>
                  <a:lnTo>
                    <a:pt x="131" y="56"/>
                  </a:lnTo>
                  <a:lnTo>
                    <a:pt x="127" y="61"/>
                  </a:lnTo>
                  <a:lnTo>
                    <a:pt x="122" y="63"/>
                  </a:lnTo>
                  <a:lnTo>
                    <a:pt x="119" y="63"/>
                  </a:lnTo>
                  <a:lnTo>
                    <a:pt x="113" y="63"/>
                  </a:lnTo>
                  <a:lnTo>
                    <a:pt x="112" y="61"/>
                  </a:lnTo>
                  <a:lnTo>
                    <a:pt x="110" y="59"/>
                  </a:lnTo>
                  <a:lnTo>
                    <a:pt x="110" y="58"/>
                  </a:lnTo>
                  <a:lnTo>
                    <a:pt x="112" y="54"/>
                  </a:lnTo>
                  <a:lnTo>
                    <a:pt x="112" y="51"/>
                  </a:lnTo>
                  <a:lnTo>
                    <a:pt x="112" y="47"/>
                  </a:lnTo>
                  <a:lnTo>
                    <a:pt x="112" y="44"/>
                  </a:lnTo>
                  <a:lnTo>
                    <a:pt x="112" y="42"/>
                  </a:lnTo>
                  <a:lnTo>
                    <a:pt x="108" y="40"/>
                  </a:lnTo>
                  <a:lnTo>
                    <a:pt x="105" y="38"/>
                  </a:lnTo>
                  <a:lnTo>
                    <a:pt x="94" y="44"/>
                  </a:lnTo>
                  <a:lnTo>
                    <a:pt x="84" y="59"/>
                  </a:lnTo>
                  <a:lnTo>
                    <a:pt x="71" y="87"/>
                  </a:lnTo>
                  <a:lnTo>
                    <a:pt x="63" y="121"/>
                  </a:lnTo>
                  <a:lnTo>
                    <a:pt x="56" y="149"/>
                  </a:lnTo>
                  <a:lnTo>
                    <a:pt x="54" y="173"/>
                  </a:lnTo>
                  <a:lnTo>
                    <a:pt x="52" y="178"/>
                  </a:lnTo>
                  <a:lnTo>
                    <a:pt x="50" y="184"/>
                  </a:lnTo>
                  <a:lnTo>
                    <a:pt x="49" y="185"/>
                  </a:lnTo>
                  <a:lnTo>
                    <a:pt x="45" y="187"/>
                  </a:lnTo>
                  <a:lnTo>
                    <a:pt x="42" y="187"/>
                  </a:lnTo>
                  <a:lnTo>
                    <a:pt x="38" y="187"/>
                  </a:lnTo>
                  <a:lnTo>
                    <a:pt x="31" y="187"/>
                  </a:lnTo>
                  <a:lnTo>
                    <a:pt x="28" y="184"/>
                  </a:lnTo>
                  <a:lnTo>
                    <a:pt x="24" y="182"/>
                  </a:lnTo>
                  <a:lnTo>
                    <a:pt x="23" y="178"/>
                  </a:lnTo>
                  <a:lnTo>
                    <a:pt x="19" y="171"/>
                  </a:lnTo>
                  <a:lnTo>
                    <a:pt x="16" y="159"/>
                  </a:lnTo>
                  <a:lnTo>
                    <a:pt x="14" y="138"/>
                  </a:lnTo>
                  <a:lnTo>
                    <a:pt x="12" y="121"/>
                  </a:lnTo>
                  <a:lnTo>
                    <a:pt x="9" y="100"/>
                  </a:lnTo>
                  <a:lnTo>
                    <a:pt x="7" y="75"/>
                  </a:lnTo>
                  <a:lnTo>
                    <a:pt x="3" y="52"/>
                  </a:lnTo>
                  <a:lnTo>
                    <a:pt x="2" y="35"/>
                  </a:lnTo>
                  <a:lnTo>
                    <a:pt x="0" y="23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2" y="9"/>
                  </a:lnTo>
                  <a:lnTo>
                    <a:pt x="3" y="7"/>
                  </a:lnTo>
                  <a:lnTo>
                    <a:pt x="7" y="5"/>
                  </a:lnTo>
                  <a:lnTo>
                    <a:pt x="12" y="3"/>
                  </a:lnTo>
                  <a:lnTo>
                    <a:pt x="19" y="5"/>
                  </a:lnTo>
                  <a:lnTo>
                    <a:pt x="23" y="7"/>
                  </a:lnTo>
                  <a:lnTo>
                    <a:pt x="26" y="10"/>
                  </a:lnTo>
                  <a:lnTo>
                    <a:pt x="28" y="14"/>
                  </a:lnTo>
                  <a:lnTo>
                    <a:pt x="30" y="19"/>
                  </a:lnTo>
                  <a:lnTo>
                    <a:pt x="33" y="38"/>
                  </a:lnTo>
                  <a:lnTo>
                    <a:pt x="36" y="63"/>
                  </a:lnTo>
                  <a:lnTo>
                    <a:pt x="38" y="91"/>
                  </a:lnTo>
                  <a:lnTo>
                    <a:pt x="42" y="119"/>
                  </a:lnTo>
                  <a:lnTo>
                    <a:pt x="49" y="82"/>
                  </a:lnTo>
                  <a:lnTo>
                    <a:pt x="61" y="51"/>
                  </a:lnTo>
                  <a:lnTo>
                    <a:pt x="75" y="26"/>
                  </a:lnTo>
                  <a:lnTo>
                    <a:pt x="89" y="9"/>
                  </a:lnTo>
                  <a:lnTo>
                    <a:pt x="106" y="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9" name="Groep 148"/>
            <p:cNvGrpSpPr/>
            <p:nvPr userDrawn="1"/>
          </p:nvGrpSpPr>
          <p:grpSpPr>
            <a:xfrm>
              <a:off x="4763985" y="3483813"/>
              <a:ext cx="61203" cy="277682"/>
              <a:chOff x="4763985" y="3483813"/>
              <a:chExt cx="61203" cy="277682"/>
            </a:xfrm>
          </p:grpSpPr>
          <p:sp>
            <p:nvSpPr>
              <p:cNvPr id="167" name="Freeform 43"/>
              <p:cNvSpPr>
                <a:spLocks/>
              </p:cNvSpPr>
              <p:nvPr userDrawn="1"/>
            </p:nvSpPr>
            <p:spPr bwMode="auto">
              <a:xfrm>
                <a:off x="4763985" y="3574484"/>
                <a:ext cx="61203" cy="187011"/>
              </a:xfrm>
              <a:custGeom>
                <a:avLst/>
                <a:gdLst>
                  <a:gd name="T0" fmla="*/ 21 w 54"/>
                  <a:gd name="T1" fmla="*/ 0 h 165"/>
                  <a:gd name="T2" fmla="*/ 26 w 54"/>
                  <a:gd name="T3" fmla="*/ 2 h 165"/>
                  <a:gd name="T4" fmla="*/ 31 w 54"/>
                  <a:gd name="T5" fmla="*/ 4 h 165"/>
                  <a:gd name="T6" fmla="*/ 33 w 54"/>
                  <a:gd name="T7" fmla="*/ 6 h 165"/>
                  <a:gd name="T8" fmla="*/ 35 w 54"/>
                  <a:gd name="T9" fmla="*/ 11 h 165"/>
                  <a:gd name="T10" fmla="*/ 37 w 54"/>
                  <a:gd name="T11" fmla="*/ 14 h 165"/>
                  <a:gd name="T12" fmla="*/ 37 w 54"/>
                  <a:gd name="T13" fmla="*/ 20 h 165"/>
                  <a:gd name="T14" fmla="*/ 37 w 54"/>
                  <a:gd name="T15" fmla="*/ 35 h 165"/>
                  <a:gd name="T16" fmla="*/ 37 w 54"/>
                  <a:gd name="T17" fmla="*/ 62 h 165"/>
                  <a:gd name="T18" fmla="*/ 38 w 54"/>
                  <a:gd name="T19" fmla="*/ 93 h 165"/>
                  <a:gd name="T20" fmla="*/ 40 w 54"/>
                  <a:gd name="T21" fmla="*/ 119 h 165"/>
                  <a:gd name="T22" fmla="*/ 44 w 54"/>
                  <a:gd name="T23" fmla="*/ 137 h 165"/>
                  <a:gd name="T24" fmla="*/ 51 w 54"/>
                  <a:gd name="T25" fmla="*/ 149 h 165"/>
                  <a:gd name="T26" fmla="*/ 52 w 54"/>
                  <a:gd name="T27" fmla="*/ 151 h 165"/>
                  <a:gd name="T28" fmla="*/ 52 w 54"/>
                  <a:gd name="T29" fmla="*/ 154 h 165"/>
                  <a:gd name="T30" fmla="*/ 54 w 54"/>
                  <a:gd name="T31" fmla="*/ 158 h 165"/>
                  <a:gd name="T32" fmla="*/ 52 w 54"/>
                  <a:gd name="T33" fmla="*/ 160 h 165"/>
                  <a:gd name="T34" fmla="*/ 51 w 54"/>
                  <a:gd name="T35" fmla="*/ 163 h 165"/>
                  <a:gd name="T36" fmla="*/ 47 w 54"/>
                  <a:gd name="T37" fmla="*/ 165 h 165"/>
                  <a:gd name="T38" fmla="*/ 38 w 54"/>
                  <a:gd name="T39" fmla="*/ 165 h 165"/>
                  <a:gd name="T40" fmla="*/ 30 w 54"/>
                  <a:gd name="T41" fmla="*/ 163 h 165"/>
                  <a:gd name="T42" fmla="*/ 21 w 54"/>
                  <a:gd name="T43" fmla="*/ 156 h 165"/>
                  <a:gd name="T44" fmla="*/ 16 w 54"/>
                  <a:gd name="T45" fmla="*/ 144 h 165"/>
                  <a:gd name="T46" fmla="*/ 9 w 54"/>
                  <a:gd name="T47" fmla="*/ 121 h 165"/>
                  <a:gd name="T48" fmla="*/ 5 w 54"/>
                  <a:gd name="T49" fmla="*/ 95 h 165"/>
                  <a:gd name="T50" fmla="*/ 2 w 54"/>
                  <a:gd name="T51" fmla="*/ 67 h 165"/>
                  <a:gd name="T52" fmla="*/ 0 w 54"/>
                  <a:gd name="T53" fmla="*/ 44 h 165"/>
                  <a:gd name="T54" fmla="*/ 0 w 54"/>
                  <a:gd name="T55" fmla="*/ 25 h 165"/>
                  <a:gd name="T56" fmla="*/ 0 w 54"/>
                  <a:gd name="T57" fmla="*/ 18 h 165"/>
                  <a:gd name="T58" fmla="*/ 2 w 54"/>
                  <a:gd name="T59" fmla="*/ 11 h 165"/>
                  <a:gd name="T60" fmla="*/ 5 w 54"/>
                  <a:gd name="T61" fmla="*/ 6 h 165"/>
                  <a:gd name="T62" fmla="*/ 9 w 54"/>
                  <a:gd name="T63" fmla="*/ 2 h 165"/>
                  <a:gd name="T64" fmla="*/ 14 w 54"/>
                  <a:gd name="T65" fmla="*/ 0 h 165"/>
                  <a:gd name="T66" fmla="*/ 21 w 54"/>
                  <a:gd name="T67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4" h="165">
                    <a:moveTo>
                      <a:pt x="21" y="0"/>
                    </a:moveTo>
                    <a:lnTo>
                      <a:pt x="26" y="2"/>
                    </a:lnTo>
                    <a:lnTo>
                      <a:pt x="31" y="4"/>
                    </a:lnTo>
                    <a:lnTo>
                      <a:pt x="33" y="6"/>
                    </a:lnTo>
                    <a:lnTo>
                      <a:pt x="35" y="11"/>
                    </a:lnTo>
                    <a:lnTo>
                      <a:pt x="37" y="14"/>
                    </a:lnTo>
                    <a:lnTo>
                      <a:pt x="37" y="20"/>
                    </a:lnTo>
                    <a:lnTo>
                      <a:pt x="37" y="35"/>
                    </a:lnTo>
                    <a:lnTo>
                      <a:pt x="37" y="62"/>
                    </a:lnTo>
                    <a:lnTo>
                      <a:pt x="38" y="93"/>
                    </a:lnTo>
                    <a:lnTo>
                      <a:pt x="40" y="119"/>
                    </a:lnTo>
                    <a:lnTo>
                      <a:pt x="44" y="137"/>
                    </a:lnTo>
                    <a:lnTo>
                      <a:pt x="51" y="149"/>
                    </a:lnTo>
                    <a:lnTo>
                      <a:pt x="52" y="151"/>
                    </a:lnTo>
                    <a:lnTo>
                      <a:pt x="52" y="154"/>
                    </a:lnTo>
                    <a:lnTo>
                      <a:pt x="54" y="158"/>
                    </a:lnTo>
                    <a:lnTo>
                      <a:pt x="52" y="160"/>
                    </a:lnTo>
                    <a:lnTo>
                      <a:pt x="51" y="163"/>
                    </a:lnTo>
                    <a:lnTo>
                      <a:pt x="47" y="165"/>
                    </a:lnTo>
                    <a:lnTo>
                      <a:pt x="38" y="165"/>
                    </a:lnTo>
                    <a:lnTo>
                      <a:pt x="30" y="163"/>
                    </a:lnTo>
                    <a:lnTo>
                      <a:pt x="21" y="156"/>
                    </a:lnTo>
                    <a:lnTo>
                      <a:pt x="16" y="144"/>
                    </a:lnTo>
                    <a:lnTo>
                      <a:pt x="9" y="121"/>
                    </a:lnTo>
                    <a:lnTo>
                      <a:pt x="5" y="95"/>
                    </a:lnTo>
                    <a:lnTo>
                      <a:pt x="2" y="67"/>
                    </a:lnTo>
                    <a:lnTo>
                      <a:pt x="0" y="44"/>
                    </a:lnTo>
                    <a:lnTo>
                      <a:pt x="0" y="25"/>
                    </a:lnTo>
                    <a:lnTo>
                      <a:pt x="0" y="18"/>
                    </a:lnTo>
                    <a:lnTo>
                      <a:pt x="2" y="11"/>
                    </a:lnTo>
                    <a:lnTo>
                      <a:pt x="5" y="6"/>
                    </a:lnTo>
                    <a:lnTo>
                      <a:pt x="9" y="2"/>
                    </a:lnTo>
                    <a:lnTo>
                      <a:pt x="14" y="0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Freeform 44"/>
              <p:cNvSpPr>
                <a:spLocks/>
              </p:cNvSpPr>
              <p:nvPr userDrawn="1"/>
            </p:nvSpPr>
            <p:spPr bwMode="auto">
              <a:xfrm>
                <a:off x="4767386" y="3483813"/>
                <a:ext cx="44202" cy="27202"/>
              </a:xfrm>
              <a:custGeom>
                <a:avLst/>
                <a:gdLst>
                  <a:gd name="T0" fmla="*/ 20 w 39"/>
                  <a:gd name="T1" fmla="*/ 0 h 24"/>
                  <a:gd name="T2" fmla="*/ 27 w 39"/>
                  <a:gd name="T3" fmla="*/ 0 h 24"/>
                  <a:gd name="T4" fmla="*/ 32 w 39"/>
                  <a:gd name="T5" fmla="*/ 3 h 24"/>
                  <a:gd name="T6" fmla="*/ 35 w 39"/>
                  <a:gd name="T7" fmla="*/ 7 h 24"/>
                  <a:gd name="T8" fmla="*/ 39 w 39"/>
                  <a:gd name="T9" fmla="*/ 10 h 24"/>
                  <a:gd name="T10" fmla="*/ 39 w 39"/>
                  <a:gd name="T11" fmla="*/ 14 h 24"/>
                  <a:gd name="T12" fmla="*/ 37 w 39"/>
                  <a:gd name="T13" fmla="*/ 17 h 24"/>
                  <a:gd name="T14" fmla="*/ 35 w 39"/>
                  <a:gd name="T15" fmla="*/ 19 h 24"/>
                  <a:gd name="T16" fmla="*/ 30 w 39"/>
                  <a:gd name="T17" fmla="*/ 21 h 24"/>
                  <a:gd name="T18" fmla="*/ 27 w 39"/>
                  <a:gd name="T19" fmla="*/ 23 h 24"/>
                  <a:gd name="T20" fmla="*/ 20 w 39"/>
                  <a:gd name="T21" fmla="*/ 24 h 24"/>
                  <a:gd name="T22" fmla="*/ 16 w 39"/>
                  <a:gd name="T23" fmla="*/ 24 h 24"/>
                  <a:gd name="T24" fmla="*/ 13 w 39"/>
                  <a:gd name="T25" fmla="*/ 23 h 24"/>
                  <a:gd name="T26" fmla="*/ 7 w 39"/>
                  <a:gd name="T27" fmla="*/ 23 h 24"/>
                  <a:gd name="T28" fmla="*/ 4 w 39"/>
                  <a:gd name="T29" fmla="*/ 21 h 24"/>
                  <a:gd name="T30" fmla="*/ 2 w 39"/>
                  <a:gd name="T31" fmla="*/ 17 h 24"/>
                  <a:gd name="T32" fmla="*/ 0 w 39"/>
                  <a:gd name="T33" fmla="*/ 14 h 24"/>
                  <a:gd name="T34" fmla="*/ 0 w 39"/>
                  <a:gd name="T35" fmla="*/ 10 h 24"/>
                  <a:gd name="T36" fmla="*/ 2 w 39"/>
                  <a:gd name="T37" fmla="*/ 7 h 24"/>
                  <a:gd name="T38" fmla="*/ 4 w 39"/>
                  <a:gd name="T39" fmla="*/ 3 h 24"/>
                  <a:gd name="T40" fmla="*/ 6 w 39"/>
                  <a:gd name="T41" fmla="*/ 2 h 24"/>
                  <a:gd name="T42" fmla="*/ 9 w 39"/>
                  <a:gd name="T43" fmla="*/ 0 h 24"/>
                  <a:gd name="T44" fmla="*/ 14 w 39"/>
                  <a:gd name="T45" fmla="*/ 0 h 24"/>
                  <a:gd name="T46" fmla="*/ 20 w 39"/>
                  <a:gd name="T4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" h="24">
                    <a:moveTo>
                      <a:pt x="20" y="0"/>
                    </a:moveTo>
                    <a:lnTo>
                      <a:pt x="27" y="0"/>
                    </a:lnTo>
                    <a:lnTo>
                      <a:pt x="32" y="3"/>
                    </a:lnTo>
                    <a:lnTo>
                      <a:pt x="35" y="7"/>
                    </a:lnTo>
                    <a:lnTo>
                      <a:pt x="39" y="10"/>
                    </a:lnTo>
                    <a:lnTo>
                      <a:pt x="39" y="14"/>
                    </a:lnTo>
                    <a:lnTo>
                      <a:pt x="37" y="17"/>
                    </a:lnTo>
                    <a:lnTo>
                      <a:pt x="35" y="19"/>
                    </a:lnTo>
                    <a:lnTo>
                      <a:pt x="30" y="21"/>
                    </a:lnTo>
                    <a:lnTo>
                      <a:pt x="27" y="23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3" y="23"/>
                    </a:lnTo>
                    <a:lnTo>
                      <a:pt x="7" y="23"/>
                    </a:lnTo>
                    <a:lnTo>
                      <a:pt x="4" y="21"/>
                    </a:lnTo>
                    <a:lnTo>
                      <a:pt x="2" y="17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2" y="7"/>
                    </a:lnTo>
                    <a:lnTo>
                      <a:pt x="4" y="3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0" name="Freeform 45"/>
            <p:cNvSpPr>
              <a:spLocks/>
            </p:cNvSpPr>
            <p:nvPr userDrawn="1"/>
          </p:nvSpPr>
          <p:spPr bwMode="auto">
            <a:xfrm>
              <a:off x="4843324" y="3518949"/>
              <a:ext cx="150742" cy="295816"/>
            </a:xfrm>
            <a:custGeom>
              <a:avLst/>
              <a:gdLst>
                <a:gd name="T0" fmla="*/ 72 w 133"/>
                <a:gd name="T1" fmla="*/ 2 h 261"/>
                <a:gd name="T2" fmla="*/ 99 w 133"/>
                <a:gd name="T3" fmla="*/ 14 h 261"/>
                <a:gd name="T4" fmla="*/ 112 w 133"/>
                <a:gd name="T5" fmla="*/ 39 h 261"/>
                <a:gd name="T6" fmla="*/ 99 w 133"/>
                <a:gd name="T7" fmla="*/ 55 h 261"/>
                <a:gd name="T8" fmla="*/ 89 w 133"/>
                <a:gd name="T9" fmla="*/ 55 h 261"/>
                <a:gd name="T10" fmla="*/ 82 w 133"/>
                <a:gd name="T11" fmla="*/ 49 h 261"/>
                <a:gd name="T12" fmla="*/ 73 w 133"/>
                <a:gd name="T13" fmla="*/ 34 h 261"/>
                <a:gd name="T14" fmla="*/ 54 w 133"/>
                <a:gd name="T15" fmla="*/ 27 h 261"/>
                <a:gd name="T16" fmla="*/ 38 w 133"/>
                <a:gd name="T17" fmla="*/ 30 h 261"/>
                <a:gd name="T18" fmla="*/ 33 w 133"/>
                <a:gd name="T19" fmla="*/ 39 h 261"/>
                <a:gd name="T20" fmla="*/ 35 w 133"/>
                <a:gd name="T21" fmla="*/ 49 h 261"/>
                <a:gd name="T22" fmla="*/ 45 w 133"/>
                <a:gd name="T23" fmla="*/ 65 h 261"/>
                <a:gd name="T24" fmla="*/ 72 w 133"/>
                <a:gd name="T25" fmla="*/ 90 h 261"/>
                <a:gd name="T26" fmla="*/ 105 w 133"/>
                <a:gd name="T27" fmla="*/ 123 h 261"/>
                <a:gd name="T28" fmla="*/ 129 w 133"/>
                <a:gd name="T29" fmla="*/ 158 h 261"/>
                <a:gd name="T30" fmla="*/ 127 w 133"/>
                <a:gd name="T31" fmla="*/ 198 h 261"/>
                <a:gd name="T32" fmla="*/ 99 w 133"/>
                <a:gd name="T33" fmla="*/ 235 h 261"/>
                <a:gd name="T34" fmla="*/ 66 w 133"/>
                <a:gd name="T35" fmla="*/ 256 h 261"/>
                <a:gd name="T36" fmla="*/ 35 w 133"/>
                <a:gd name="T37" fmla="*/ 261 h 261"/>
                <a:gd name="T38" fmla="*/ 16 w 133"/>
                <a:gd name="T39" fmla="*/ 251 h 261"/>
                <a:gd name="T40" fmla="*/ 3 w 133"/>
                <a:gd name="T41" fmla="*/ 235 h 261"/>
                <a:gd name="T42" fmla="*/ 2 w 133"/>
                <a:gd name="T43" fmla="*/ 217 h 261"/>
                <a:gd name="T44" fmla="*/ 7 w 133"/>
                <a:gd name="T45" fmla="*/ 214 h 261"/>
                <a:gd name="T46" fmla="*/ 12 w 133"/>
                <a:gd name="T47" fmla="*/ 216 h 261"/>
                <a:gd name="T48" fmla="*/ 21 w 133"/>
                <a:gd name="T49" fmla="*/ 226 h 261"/>
                <a:gd name="T50" fmla="*/ 44 w 133"/>
                <a:gd name="T51" fmla="*/ 237 h 261"/>
                <a:gd name="T52" fmla="*/ 82 w 133"/>
                <a:gd name="T53" fmla="*/ 219 h 261"/>
                <a:gd name="T54" fmla="*/ 101 w 133"/>
                <a:gd name="T55" fmla="*/ 181 h 261"/>
                <a:gd name="T56" fmla="*/ 87 w 133"/>
                <a:gd name="T57" fmla="*/ 146 h 261"/>
                <a:gd name="T58" fmla="*/ 47 w 133"/>
                <a:gd name="T59" fmla="*/ 107 h 261"/>
                <a:gd name="T60" fmla="*/ 12 w 133"/>
                <a:gd name="T61" fmla="*/ 70 h 261"/>
                <a:gd name="T62" fmla="*/ 0 w 133"/>
                <a:gd name="T63" fmla="*/ 39 h 261"/>
                <a:gd name="T64" fmla="*/ 12 w 133"/>
                <a:gd name="T65" fmla="*/ 13 h 261"/>
                <a:gd name="T66" fmla="*/ 51 w 133"/>
                <a:gd name="T6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3" h="261">
                  <a:moveTo>
                    <a:pt x="51" y="0"/>
                  </a:moveTo>
                  <a:lnTo>
                    <a:pt x="72" y="2"/>
                  </a:lnTo>
                  <a:lnTo>
                    <a:pt x="87" y="7"/>
                  </a:lnTo>
                  <a:lnTo>
                    <a:pt x="99" y="14"/>
                  </a:lnTo>
                  <a:lnTo>
                    <a:pt x="108" y="25"/>
                  </a:lnTo>
                  <a:lnTo>
                    <a:pt x="112" y="39"/>
                  </a:lnTo>
                  <a:lnTo>
                    <a:pt x="108" y="49"/>
                  </a:lnTo>
                  <a:lnTo>
                    <a:pt x="99" y="55"/>
                  </a:lnTo>
                  <a:lnTo>
                    <a:pt x="92" y="56"/>
                  </a:lnTo>
                  <a:lnTo>
                    <a:pt x="89" y="55"/>
                  </a:lnTo>
                  <a:lnTo>
                    <a:pt x="85" y="53"/>
                  </a:lnTo>
                  <a:lnTo>
                    <a:pt x="82" y="49"/>
                  </a:lnTo>
                  <a:lnTo>
                    <a:pt x="80" y="44"/>
                  </a:lnTo>
                  <a:lnTo>
                    <a:pt x="73" y="34"/>
                  </a:lnTo>
                  <a:lnTo>
                    <a:pt x="65" y="28"/>
                  </a:lnTo>
                  <a:lnTo>
                    <a:pt x="54" y="27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5" y="34"/>
                  </a:lnTo>
                  <a:lnTo>
                    <a:pt x="33" y="39"/>
                  </a:lnTo>
                  <a:lnTo>
                    <a:pt x="33" y="44"/>
                  </a:lnTo>
                  <a:lnTo>
                    <a:pt x="35" y="49"/>
                  </a:lnTo>
                  <a:lnTo>
                    <a:pt x="38" y="55"/>
                  </a:lnTo>
                  <a:lnTo>
                    <a:pt x="45" y="65"/>
                  </a:lnTo>
                  <a:lnTo>
                    <a:pt x="58" y="77"/>
                  </a:lnTo>
                  <a:lnTo>
                    <a:pt x="72" y="90"/>
                  </a:lnTo>
                  <a:lnTo>
                    <a:pt x="84" y="104"/>
                  </a:lnTo>
                  <a:lnTo>
                    <a:pt x="105" y="123"/>
                  </a:lnTo>
                  <a:lnTo>
                    <a:pt x="120" y="142"/>
                  </a:lnTo>
                  <a:lnTo>
                    <a:pt x="129" y="158"/>
                  </a:lnTo>
                  <a:lnTo>
                    <a:pt x="133" y="175"/>
                  </a:lnTo>
                  <a:lnTo>
                    <a:pt x="127" y="198"/>
                  </a:lnTo>
                  <a:lnTo>
                    <a:pt x="115" y="219"/>
                  </a:lnTo>
                  <a:lnTo>
                    <a:pt x="99" y="235"/>
                  </a:lnTo>
                  <a:lnTo>
                    <a:pt x="82" y="249"/>
                  </a:lnTo>
                  <a:lnTo>
                    <a:pt x="66" y="256"/>
                  </a:lnTo>
                  <a:lnTo>
                    <a:pt x="49" y="261"/>
                  </a:lnTo>
                  <a:lnTo>
                    <a:pt x="35" y="261"/>
                  </a:lnTo>
                  <a:lnTo>
                    <a:pt x="23" y="258"/>
                  </a:lnTo>
                  <a:lnTo>
                    <a:pt x="16" y="251"/>
                  </a:lnTo>
                  <a:lnTo>
                    <a:pt x="9" y="244"/>
                  </a:lnTo>
                  <a:lnTo>
                    <a:pt x="3" y="235"/>
                  </a:lnTo>
                  <a:lnTo>
                    <a:pt x="2" y="223"/>
                  </a:lnTo>
                  <a:lnTo>
                    <a:pt x="2" y="217"/>
                  </a:lnTo>
                  <a:lnTo>
                    <a:pt x="3" y="216"/>
                  </a:lnTo>
                  <a:lnTo>
                    <a:pt x="7" y="214"/>
                  </a:lnTo>
                  <a:lnTo>
                    <a:pt x="10" y="214"/>
                  </a:lnTo>
                  <a:lnTo>
                    <a:pt x="12" y="216"/>
                  </a:lnTo>
                  <a:lnTo>
                    <a:pt x="16" y="217"/>
                  </a:lnTo>
                  <a:lnTo>
                    <a:pt x="21" y="226"/>
                  </a:lnTo>
                  <a:lnTo>
                    <a:pt x="31" y="233"/>
                  </a:lnTo>
                  <a:lnTo>
                    <a:pt x="44" y="237"/>
                  </a:lnTo>
                  <a:lnTo>
                    <a:pt x="65" y="231"/>
                  </a:lnTo>
                  <a:lnTo>
                    <a:pt x="82" y="219"/>
                  </a:lnTo>
                  <a:lnTo>
                    <a:pt x="96" y="200"/>
                  </a:lnTo>
                  <a:lnTo>
                    <a:pt x="101" y="181"/>
                  </a:lnTo>
                  <a:lnTo>
                    <a:pt x="99" y="163"/>
                  </a:lnTo>
                  <a:lnTo>
                    <a:pt x="87" y="146"/>
                  </a:lnTo>
                  <a:lnTo>
                    <a:pt x="70" y="128"/>
                  </a:lnTo>
                  <a:lnTo>
                    <a:pt x="47" y="107"/>
                  </a:lnTo>
                  <a:lnTo>
                    <a:pt x="26" y="88"/>
                  </a:lnTo>
                  <a:lnTo>
                    <a:pt x="12" y="70"/>
                  </a:lnTo>
                  <a:lnTo>
                    <a:pt x="3" y="53"/>
                  </a:lnTo>
                  <a:lnTo>
                    <a:pt x="0" y="39"/>
                  </a:lnTo>
                  <a:lnTo>
                    <a:pt x="3" y="25"/>
                  </a:lnTo>
                  <a:lnTo>
                    <a:pt x="12" y="13"/>
                  </a:lnTo>
                  <a:lnTo>
                    <a:pt x="28" y="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6"/>
            <p:cNvSpPr>
              <a:spLocks/>
            </p:cNvSpPr>
            <p:nvPr userDrawn="1"/>
          </p:nvSpPr>
          <p:spPr bwMode="auto">
            <a:xfrm>
              <a:off x="5023533" y="3452078"/>
              <a:ext cx="166609" cy="360420"/>
            </a:xfrm>
            <a:custGeom>
              <a:avLst/>
              <a:gdLst>
                <a:gd name="T0" fmla="*/ 26 w 147"/>
                <a:gd name="T1" fmla="*/ 2 h 318"/>
                <a:gd name="T2" fmla="*/ 35 w 147"/>
                <a:gd name="T3" fmla="*/ 9 h 318"/>
                <a:gd name="T4" fmla="*/ 38 w 147"/>
                <a:gd name="T5" fmla="*/ 21 h 318"/>
                <a:gd name="T6" fmla="*/ 31 w 147"/>
                <a:gd name="T7" fmla="*/ 66 h 318"/>
                <a:gd name="T8" fmla="*/ 26 w 147"/>
                <a:gd name="T9" fmla="*/ 163 h 318"/>
                <a:gd name="T10" fmla="*/ 47 w 147"/>
                <a:gd name="T11" fmla="*/ 178 h 318"/>
                <a:gd name="T12" fmla="*/ 77 w 147"/>
                <a:gd name="T13" fmla="*/ 131 h 318"/>
                <a:gd name="T14" fmla="*/ 107 w 147"/>
                <a:gd name="T15" fmla="*/ 119 h 318"/>
                <a:gd name="T16" fmla="*/ 129 w 147"/>
                <a:gd name="T17" fmla="*/ 136 h 318"/>
                <a:gd name="T18" fmla="*/ 143 w 147"/>
                <a:gd name="T19" fmla="*/ 182 h 318"/>
                <a:gd name="T20" fmla="*/ 147 w 147"/>
                <a:gd name="T21" fmla="*/ 255 h 318"/>
                <a:gd name="T22" fmla="*/ 142 w 147"/>
                <a:gd name="T23" fmla="*/ 310 h 318"/>
                <a:gd name="T24" fmla="*/ 135 w 147"/>
                <a:gd name="T25" fmla="*/ 318 h 318"/>
                <a:gd name="T26" fmla="*/ 126 w 147"/>
                <a:gd name="T27" fmla="*/ 318 h 318"/>
                <a:gd name="T28" fmla="*/ 121 w 147"/>
                <a:gd name="T29" fmla="*/ 315 h 318"/>
                <a:gd name="T30" fmla="*/ 117 w 147"/>
                <a:gd name="T31" fmla="*/ 308 h 318"/>
                <a:gd name="T32" fmla="*/ 119 w 147"/>
                <a:gd name="T33" fmla="*/ 262 h 318"/>
                <a:gd name="T34" fmla="*/ 115 w 147"/>
                <a:gd name="T35" fmla="*/ 198 h 318"/>
                <a:gd name="T36" fmla="*/ 107 w 147"/>
                <a:gd name="T37" fmla="*/ 163 h 318"/>
                <a:gd name="T38" fmla="*/ 100 w 147"/>
                <a:gd name="T39" fmla="*/ 156 h 318"/>
                <a:gd name="T40" fmla="*/ 93 w 147"/>
                <a:gd name="T41" fmla="*/ 157 h 318"/>
                <a:gd name="T42" fmla="*/ 84 w 147"/>
                <a:gd name="T43" fmla="*/ 164 h 318"/>
                <a:gd name="T44" fmla="*/ 58 w 147"/>
                <a:gd name="T45" fmla="*/ 213 h 318"/>
                <a:gd name="T46" fmla="*/ 38 w 147"/>
                <a:gd name="T47" fmla="*/ 254 h 318"/>
                <a:gd name="T48" fmla="*/ 31 w 147"/>
                <a:gd name="T49" fmla="*/ 259 h 318"/>
                <a:gd name="T50" fmla="*/ 26 w 147"/>
                <a:gd name="T51" fmla="*/ 261 h 318"/>
                <a:gd name="T52" fmla="*/ 19 w 147"/>
                <a:gd name="T53" fmla="*/ 261 h 318"/>
                <a:gd name="T54" fmla="*/ 12 w 147"/>
                <a:gd name="T55" fmla="*/ 257 h 318"/>
                <a:gd name="T56" fmla="*/ 7 w 147"/>
                <a:gd name="T57" fmla="*/ 248 h 318"/>
                <a:gd name="T58" fmla="*/ 5 w 147"/>
                <a:gd name="T59" fmla="*/ 226 h 318"/>
                <a:gd name="T60" fmla="*/ 2 w 147"/>
                <a:gd name="T61" fmla="*/ 170 h 318"/>
                <a:gd name="T62" fmla="*/ 2 w 147"/>
                <a:gd name="T63" fmla="*/ 96 h 318"/>
                <a:gd name="T64" fmla="*/ 7 w 147"/>
                <a:gd name="T65" fmla="*/ 23 h 318"/>
                <a:gd name="T66" fmla="*/ 9 w 147"/>
                <a:gd name="T67" fmla="*/ 10 h 318"/>
                <a:gd name="T68" fmla="*/ 12 w 147"/>
                <a:gd name="T69" fmla="*/ 3 h 318"/>
                <a:gd name="T70" fmla="*/ 19 w 147"/>
                <a:gd name="T7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7" h="318">
                  <a:moveTo>
                    <a:pt x="19" y="0"/>
                  </a:moveTo>
                  <a:lnTo>
                    <a:pt x="26" y="2"/>
                  </a:lnTo>
                  <a:lnTo>
                    <a:pt x="31" y="3"/>
                  </a:lnTo>
                  <a:lnTo>
                    <a:pt x="35" y="9"/>
                  </a:lnTo>
                  <a:lnTo>
                    <a:pt x="38" y="14"/>
                  </a:lnTo>
                  <a:lnTo>
                    <a:pt x="38" y="21"/>
                  </a:lnTo>
                  <a:lnTo>
                    <a:pt x="38" y="28"/>
                  </a:lnTo>
                  <a:lnTo>
                    <a:pt x="31" y="66"/>
                  </a:lnTo>
                  <a:lnTo>
                    <a:pt x="28" y="112"/>
                  </a:lnTo>
                  <a:lnTo>
                    <a:pt x="26" y="163"/>
                  </a:lnTo>
                  <a:lnTo>
                    <a:pt x="30" y="215"/>
                  </a:lnTo>
                  <a:lnTo>
                    <a:pt x="47" y="178"/>
                  </a:lnTo>
                  <a:lnTo>
                    <a:pt x="63" y="150"/>
                  </a:lnTo>
                  <a:lnTo>
                    <a:pt x="77" y="131"/>
                  </a:lnTo>
                  <a:lnTo>
                    <a:pt x="93" y="121"/>
                  </a:lnTo>
                  <a:lnTo>
                    <a:pt x="107" y="119"/>
                  </a:lnTo>
                  <a:lnTo>
                    <a:pt x="119" y="124"/>
                  </a:lnTo>
                  <a:lnTo>
                    <a:pt x="129" y="136"/>
                  </a:lnTo>
                  <a:lnTo>
                    <a:pt x="138" y="156"/>
                  </a:lnTo>
                  <a:lnTo>
                    <a:pt x="143" y="182"/>
                  </a:lnTo>
                  <a:lnTo>
                    <a:pt x="147" y="215"/>
                  </a:lnTo>
                  <a:lnTo>
                    <a:pt x="147" y="255"/>
                  </a:lnTo>
                  <a:lnTo>
                    <a:pt x="143" y="303"/>
                  </a:lnTo>
                  <a:lnTo>
                    <a:pt x="142" y="310"/>
                  </a:lnTo>
                  <a:lnTo>
                    <a:pt x="140" y="315"/>
                  </a:lnTo>
                  <a:lnTo>
                    <a:pt x="135" y="318"/>
                  </a:lnTo>
                  <a:lnTo>
                    <a:pt x="129" y="318"/>
                  </a:lnTo>
                  <a:lnTo>
                    <a:pt x="126" y="318"/>
                  </a:lnTo>
                  <a:lnTo>
                    <a:pt x="124" y="317"/>
                  </a:lnTo>
                  <a:lnTo>
                    <a:pt x="121" y="315"/>
                  </a:lnTo>
                  <a:lnTo>
                    <a:pt x="119" y="311"/>
                  </a:lnTo>
                  <a:lnTo>
                    <a:pt x="117" y="308"/>
                  </a:lnTo>
                  <a:lnTo>
                    <a:pt x="117" y="303"/>
                  </a:lnTo>
                  <a:lnTo>
                    <a:pt x="119" y="262"/>
                  </a:lnTo>
                  <a:lnTo>
                    <a:pt x="117" y="227"/>
                  </a:lnTo>
                  <a:lnTo>
                    <a:pt x="115" y="198"/>
                  </a:lnTo>
                  <a:lnTo>
                    <a:pt x="110" y="170"/>
                  </a:lnTo>
                  <a:lnTo>
                    <a:pt x="107" y="163"/>
                  </a:lnTo>
                  <a:lnTo>
                    <a:pt x="103" y="157"/>
                  </a:lnTo>
                  <a:lnTo>
                    <a:pt x="100" y="156"/>
                  </a:lnTo>
                  <a:lnTo>
                    <a:pt x="96" y="156"/>
                  </a:lnTo>
                  <a:lnTo>
                    <a:pt x="93" y="157"/>
                  </a:lnTo>
                  <a:lnTo>
                    <a:pt x="89" y="161"/>
                  </a:lnTo>
                  <a:lnTo>
                    <a:pt x="84" y="164"/>
                  </a:lnTo>
                  <a:lnTo>
                    <a:pt x="72" y="185"/>
                  </a:lnTo>
                  <a:lnTo>
                    <a:pt x="58" y="213"/>
                  </a:lnTo>
                  <a:lnTo>
                    <a:pt x="42" y="248"/>
                  </a:lnTo>
                  <a:lnTo>
                    <a:pt x="38" y="254"/>
                  </a:lnTo>
                  <a:lnTo>
                    <a:pt x="35" y="257"/>
                  </a:lnTo>
                  <a:lnTo>
                    <a:pt x="31" y="259"/>
                  </a:lnTo>
                  <a:lnTo>
                    <a:pt x="28" y="261"/>
                  </a:lnTo>
                  <a:lnTo>
                    <a:pt x="26" y="261"/>
                  </a:lnTo>
                  <a:lnTo>
                    <a:pt x="23" y="261"/>
                  </a:lnTo>
                  <a:lnTo>
                    <a:pt x="19" y="261"/>
                  </a:lnTo>
                  <a:lnTo>
                    <a:pt x="16" y="259"/>
                  </a:lnTo>
                  <a:lnTo>
                    <a:pt x="12" y="257"/>
                  </a:lnTo>
                  <a:lnTo>
                    <a:pt x="10" y="254"/>
                  </a:lnTo>
                  <a:lnTo>
                    <a:pt x="7" y="248"/>
                  </a:lnTo>
                  <a:lnTo>
                    <a:pt x="7" y="241"/>
                  </a:lnTo>
                  <a:lnTo>
                    <a:pt x="5" y="226"/>
                  </a:lnTo>
                  <a:lnTo>
                    <a:pt x="3" y="201"/>
                  </a:lnTo>
                  <a:lnTo>
                    <a:pt x="2" y="170"/>
                  </a:lnTo>
                  <a:lnTo>
                    <a:pt x="0" y="135"/>
                  </a:lnTo>
                  <a:lnTo>
                    <a:pt x="2" y="96"/>
                  </a:lnTo>
                  <a:lnTo>
                    <a:pt x="3" y="59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9" y="10"/>
                  </a:lnTo>
                  <a:lnTo>
                    <a:pt x="10" y="7"/>
                  </a:lnTo>
                  <a:lnTo>
                    <a:pt x="12" y="3"/>
                  </a:lnTo>
                  <a:lnTo>
                    <a:pt x="1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2" name="Groep 151"/>
            <p:cNvGrpSpPr/>
            <p:nvPr userDrawn="1"/>
          </p:nvGrpSpPr>
          <p:grpSpPr>
            <a:xfrm>
              <a:off x="5227545" y="3495147"/>
              <a:ext cx="69137" cy="303751"/>
              <a:chOff x="5227545" y="3495147"/>
              <a:chExt cx="69137" cy="303751"/>
            </a:xfrm>
          </p:grpSpPr>
          <p:sp>
            <p:nvSpPr>
              <p:cNvPr id="165" name="Freeform 47"/>
              <p:cNvSpPr>
                <a:spLocks/>
              </p:cNvSpPr>
              <p:nvPr userDrawn="1"/>
            </p:nvSpPr>
            <p:spPr bwMode="auto">
              <a:xfrm>
                <a:off x="5227545" y="3582419"/>
                <a:ext cx="51004" cy="216479"/>
              </a:xfrm>
              <a:custGeom>
                <a:avLst/>
                <a:gdLst>
                  <a:gd name="T0" fmla="*/ 14 w 45"/>
                  <a:gd name="T1" fmla="*/ 0 h 191"/>
                  <a:gd name="T2" fmla="*/ 19 w 45"/>
                  <a:gd name="T3" fmla="*/ 0 h 191"/>
                  <a:gd name="T4" fmla="*/ 24 w 45"/>
                  <a:gd name="T5" fmla="*/ 2 h 191"/>
                  <a:gd name="T6" fmla="*/ 28 w 45"/>
                  <a:gd name="T7" fmla="*/ 4 h 191"/>
                  <a:gd name="T8" fmla="*/ 31 w 45"/>
                  <a:gd name="T9" fmla="*/ 6 h 191"/>
                  <a:gd name="T10" fmla="*/ 35 w 45"/>
                  <a:gd name="T11" fmla="*/ 9 h 191"/>
                  <a:gd name="T12" fmla="*/ 37 w 45"/>
                  <a:gd name="T13" fmla="*/ 14 h 191"/>
                  <a:gd name="T14" fmla="*/ 38 w 45"/>
                  <a:gd name="T15" fmla="*/ 20 h 191"/>
                  <a:gd name="T16" fmla="*/ 38 w 45"/>
                  <a:gd name="T17" fmla="*/ 28 h 191"/>
                  <a:gd name="T18" fmla="*/ 37 w 45"/>
                  <a:gd name="T19" fmla="*/ 65 h 191"/>
                  <a:gd name="T20" fmla="*/ 35 w 45"/>
                  <a:gd name="T21" fmla="*/ 102 h 191"/>
                  <a:gd name="T22" fmla="*/ 37 w 45"/>
                  <a:gd name="T23" fmla="*/ 132 h 191"/>
                  <a:gd name="T24" fmla="*/ 38 w 45"/>
                  <a:gd name="T25" fmla="*/ 158 h 191"/>
                  <a:gd name="T26" fmla="*/ 44 w 45"/>
                  <a:gd name="T27" fmla="*/ 177 h 191"/>
                  <a:gd name="T28" fmla="*/ 45 w 45"/>
                  <a:gd name="T29" fmla="*/ 181 h 191"/>
                  <a:gd name="T30" fmla="*/ 45 w 45"/>
                  <a:gd name="T31" fmla="*/ 186 h 191"/>
                  <a:gd name="T32" fmla="*/ 44 w 45"/>
                  <a:gd name="T33" fmla="*/ 188 h 191"/>
                  <a:gd name="T34" fmla="*/ 40 w 45"/>
                  <a:gd name="T35" fmla="*/ 191 h 191"/>
                  <a:gd name="T36" fmla="*/ 37 w 45"/>
                  <a:gd name="T37" fmla="*/ 191 h 191"/>
                  <a:gd name="T38" fmla="*/ 31 w 45"/>
                  <a:gd name="T39" fmla="*/ 191 h 191"/>
                  <a:gd name="T40" fmla="*/ 28 w 45"/>
                  <a:gd name="T41" fmla="*/ 189 h 191"/>
                  <a:gd name="T42" fmla="*/ 23 w 45"/>
                  <a:gd name="T43" fmla="*/ 188 h 191"/>
                  <a:gd name="T44" fmla="*/ 19 w 45"/>
                  <a:gd name="T45" fmla="*/ 184 h 191"/>
                  <a:gd name="T46" fmla="*/ 16 w 45"/>
                  <a:gd name="T47" fmla="*/ 177 h 191"/>
                  <a:gd name="T48" fmla="*/ 12 w 45"/>
                  <a:gd name="T49" fmla="*/ 170 h 191"/>
                  <a:gd name="T50" fmla="*/ 9 w 45"/>
                  <a:gd name="T51" fmla="*/ 149 h 191"/>
                  <a:gd name="T52" fmla="*/ 4 w 45"/>
                  <a:gd name="T53" fmla="*/ 121 h 191"/>
                  <a:gd name="T54" fmla="*/ 2 w 45"/>
                  <a:gd name="T55" fmla="*/ 90 h 191"/>
                  <a:gd name="T56" fmla="*/ 0 w 45"/>
                  <a:gd name="T57" fmla="*/ 55 h 191"/>
                  <a:gd name="T58" fmla="*/ 2 w 45"/>
                  <a:gd name="T59" fmla="*/ 23 h 191"/>
                  <a:gd name="T60" fmla="*/ 2 w 45"/>
                  <a:gd name="T61" fmla="*/ 16 h 191"/>
                  <a:gd name="T62" fmla="*/ 4 w 45"/>
                  <a:gd name="T63" fmla="*/ 9 h 191"/>
                  <a:gd name="T64" fmla="*/ 7 w 45"/>
                  <a:gd name="T65" fmla="*/ 6 h 191"/>
                  <a:gd name="T66" fmla="*/ 11 w 45"/>
                  <a:gd name="T67" fmla="*/ 2 h 191"/>
                  <a:gd name="T68" fmla="*/ 14 w 45"/>
                  <a:gd name="T6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" h="191">
                    <a:moveTo>
                      <a:pt x="14" y="0"/>
                    </a:moveTo>
                    <a:lnTo>
                      <a:pt x="19" y="0"/>
                    </a:lnTo>
                    <a:lnTo>
                      <a:pt x="24" y="2"/>
                    </a:lnTo>
                    <a:lnTo>
                      <a:pt x="28" y="4"/>
                    </a:lnTo>
                    <a:lnTo>
                      <a:pt x="31" y="6"/>
                    </a:lnTo>
                    <a:lnTo>
                      <a:pt x="35" y="9"/>
                    </a:lnTo>
                    <a:lnTo>
                      <a:pt x="37" y="14"/>
                    </a:lnTo>
                    <a:lnTo>
                      <a:pt x="38" y="20"/>
                    </a:lnTo>
                    <a:lnTo>
                      <a:pt x="38" y="28"/>
                    </a:lnTo>
                    <a:lnTo>
                      <a:pt x="37" y="65"/>
                    </a:lnTo>
                    <a:lnTo>
                      <a:pt x="35" y="102"/>
                    </a:lnTo>
                    <a:lnTo>
                      <a:pt x="37" y="132"/>
                    </a:lnTo>
                    <a:lnTo>
                      <a:pt x="38" y="158"/>
                    </a:lnTo>
                    <a:lnTo>
                      <a:pt x="44" y="177"/>
                    </a:lnTo>
                    <a:lnTo>
                      <a:pt x="45" y="181"/>
                    </a:lnTo>
                    <a:lnTo>
                      <a:pt x="45" y="186"/>
                    </a:lnTo>
                    <a:lnTo>
                      <a:pt x="44" y="188"/>
                    </a:lnTo>
                    <a:lnTo>
                      <a:pt x="40" y="191"/>
                    </a:lnTo>
                    <a:lnTo>
                      <a:pt x="37" y="191"/>
                    </a:lnTo>
                    <a:lnTo>
                      <a:pt x="31" y="191"/>
                    </a:lnTo>
                    <a:lnTo>
                      <a:pt x="28" y="189"/>
                    </a:lnTo>
                    <a:lnTo>
                      <a:pt x="23" y="188"/>
                    </a:lnTo>
                    <a:lnTo>
                      <a:pt x="19" y="184"/>
                    </a:lnTo>
                    <a:lnTo>
                      <a:pt x="16" y="177"/>
                    </a:lnTo>
                    <a:lnTo>
                      <a:pt x="12" y="170"/>
                    </a:lnTo>
                    <a:lnTo>
                      <a:pt x="9" y="149"/>
                    </a:lnTo>
                    <a:lnTo>
                      <a:pt x="4" y="121"/>
                    </a:lnTo>
                    <a:lnTo>
                      <a:pt x="2" y="90"/>
                    </a:lnTo>
                    <a:lnTo>
                      <a:pt x="0" y="55"/>
                    </a:lnTo>
                    <a:lnTo>
                      <a:pt x="2" y="23"/>
                    </a:lnTo>
                    <a:lnTo>
                      <a:pt x="2" y="16"/>
                    </a:lnTo>
                    <a:lnTo>
                      <a:pt x="4" y="9"/>
                    </a:lnTo>
                    <a:lnTo>
                      <a:pt x="7" y="6"/>
                    </a:lnTo>
                    <a:lnTo>
                      <a:pt x="11" y="2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48"/>
              <p:cNvSpPr>
                <a:spLocks/>
              </p:cNvSpPr>
              <p:nvPr userDrawn="1"/>
            </p:nvSpPr>
            <p:spPr bwMode="auto">
              <a:xfrm>
                <a:off x="5251347" y="3495147"/>
                <a:ext cx="45335" cy="31735"/>
              </a:xfrm>
              <a:custGeom>
                <a:avLst/>
                <a:gdLst>
                  <a:gd name="T0" fmla="*/ 10 w 40"/>
                  <a:gd name="T1" fmla="*/ 0 h 28"/>
                  <a:gd name="T2" fmla="*/ 17 w 40"/>
                  <a:gd name="T3" fmla="*/ 0 h 28"/>
                  <a:gd name="T4" fmla="*/ 23 w 40"/>
                  <a:gd name="T5" fmla="*/ 2 h 28"/>
                  <a:gd name="T6" fmla="*/ 30 w 40"/>
                  <a:gd name="T7" fmla="*/ 6 h 28"/>
                  <a:gd name="T8" fmla="*/ 35 w 40"/>
                  <a:gd name="T9" fmla="*/ 9 h 28"/>
                  <a:gd name="T10" fmla="*/ 38 w 40"/>
                  <a:gd name="T11" fmla="*/ 13 h 28"/>
                  <a:gd name="T12" fmla="*/ 40 w 40"/>
                  <a:gd name="T13" fmla="*/ 18 h 28"/>
                  <a:gd name="T14" fmla="*/ 38 w 40"/>
                  <a:gd name="T15" fmla="*/ 21 h 28"/>
                  <a:gd name="T16" fmla="*/ 37 w 40"/>
                  <a:gd name="T17" fmla="*/ 25 h 28"/>
                  <a:gd name="T18" fmla="*/ 35 w 40"/>
                  <a:gd name="T19" fmla="*/ 27 h 28"/>
                  <a:gd name="T20" fmla="*/ 30 w 40"/>
                  <a:gd name="T21" fmla="*/ 28 h 28"/>
                  <a:gd name="T22" fmla="*/ 26 w 40"/>
                  <a:gd name="T23" fmla="*/ 28 h 28"/>
                  <a:gd name="T24" fmla="*/ 21 w 40"/>
                  <a:gd name="T25" fmla="*/ 28 h 28"/>
                  <a:gd name="T26" fmla="*/ 16 w 40"/>
                  <a:gd name="T27" fmla="*/ 27 h 28"/>
                  <a:gd name="T28" fmla="*/ 10 w 40"/>
                  <a:gd name="T29" fmla="*/ 25 h 28"/>
                  <a:gd name="T30" fmla="*/ 5 w 40"/>
                  <a:gd name="T31" fmla="*/ 21 h 28"/>
                  <a:gd name="T32" fmla="*/ 2 w 40"/>
                  <a:gd name="T33" fmla="*/ 18 h 28"/>
                  <a:gd name="T34" fmla="*/ 0 w 40"/>
                  <a:gd name="T35" fmla="*/ 14 h 28"/>
                  <a:gd name="T36" fmla="*/ 0 w 40"/>
                  <a:gd name="T37" fmla="*/ 9 h 28"/>
                  <a:gd name="T38" fmla="*/ 2 w 40"/>
                  <a:gd name="T39" fmla="*/ 6 h 28"/>
                  <a:gd name="T40" fmla="*/ 3 w 40"/>
                  <a:gd name="T41" fmla="*/ 4 h 28"/>
                  <a:gd name="T42" fmla="*/ 7 w 40"/>
                  <a:gd name="T43" fmla="*/ 2 h 28"/>
                  <a:gd name="T44" fmla="*/ 10 w 40"/>
                  <a:gd name="T4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0" h="28">
                    <a:moveTo>
                      <a:pt x="10" y="0"/>
                    </a:moveTo>
                    <a:lnTo>
                      <a:pt x="17" y="0"/>
                    </a:lnTo>
                    <a:lnTo>
                      <a:pt x="23" y="2"/>
                    </a:lnTo>
                    <a:lnTo>
                      <a:pt x="30" y="6"/>
                    </a:lnTo>
                    <a:lnTo>
                      <a:pt x="35" y="9"/>
                    </a:lnTo>
                    <a:lnTo>
                      <a:pt x="38" y="13"/>
                    </a:lnTo>
                    <a:lnTo>
                      <a:pt x="40" y="18"/>
                    </a:lnTo>
                    <a:lnTo>
                      <a:pt x="38" y="21"/>
                    </a:lnTo>
                    <a:lnTo>
                      <a:pt x="37" y="25"/>
                    </a:lnTo>
                    <a:lnTo>
                      <a:pt x="35" y="27"/>
                    </a:lnTo>
                    <a:lnTo>
                      <a:pt x="30" y="28"/>
                    </a:lnTo>
                    <a:lnTo>
                      <a:pt x="26" y="28"/>
                    </a:lnTo>
                    <a:lnTo>
                      <a:pt x="21" y="28"/>
                    </a:lnTo>
                    <a:lnTo>
                      <a:pt x="16" y="27"/>
                    </a:lnTo>
                    <a:lnTo>
                      <a:pt x="10" y="25"/>
                    </a:lnTo>
                    <a:lnTo>
                      <a:pt x="5" y="21"/>
                    </a:lnTo>
                    <a:lnTo>
                      <a:pt x="2" y="18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3" y="4"/>
                    </a:lnTo>
                    <a:lnTo>
                      <a:pt x="7" y="2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53" name="Freeform 49"/>
            <p:cNvSpPr>
              <a:spLocks/>
            </p:cNvSpPr>
            <p:nvPr userDrawn="1"/>
          </p:nvSpPr>
          <p:spPr bwMode="auto">
            <a:xfrm>
              <a:off x="5318217" y="3584686"/>
              <a:ext cx="187011" cy="235746"/>
            </a:xfrm>
            <a:custGeom>
              <a:avLst/>
              <a:gdLst>
                <a:gd name="T0" fmla="*/ 156 w 165"/>
                <a:gd name="T1" fmla="*/ 4 h 208"/>
                <a:gd name="T2" fmla="*/ 165 w 165"/>
                <a:gd name="T3" fmla="*/ 28 h 208"/>
                <a:gd name="T4" fmla="*/ 163 w 165"/>
                <a:gd name="T5" fmla="*/ 72 h 208"/>
                <a:gd name="T6" fmla="*/ 158 w 165"/>
                <a:gd name="T7" fmla="*/ 124 h 208"/>
                <a:gd name="T8" fmla="*/ 156 w 165"/>
                <a:gd name="T9" fmla="*/ 163 h 208"/>
                <a:gd name="T10" fmla="*/ 161 w 165"/>
                <a:gd name="T11" fmla="*/ 193 h 208"/>
                <a:gd name="T12" fmla="*/ 163 w 165"/>
                <a:gd name="T13" fmla="*/ 198 h 208"/>
                <a:gd name="T14" fmla="*/ 160 w 165"/>
                <a:gd name="T15" fmla="*/ 203 h 208"/>
                <a:gd name="T16" fmla="*/ 154 w 165"/>
                <a:gd name="T17" fmla="*/ 207 h 208"/>
                <a:gd name="T18" fmla="*/ 147 w 165"/>
                <a:gd name="T19" fmla="*/ 207 h 208"/>
                <a:gd name="T20" fmla="*/ 139 w 165"/>
                <a:gd name="T21" fmla="*/ 203 h 208"/>
                <a:gd name="T22" fmla="*/ 132 w 165"/>
                <a:gd name="T23" fmla="*/ 187 h 208"/>
                <a:gd name="T24" fmla="*/ 133 w 165"/>
                <a:gd name="T25" fmla="*/ 131 h 208"/>
                <a:gd name="T26" fmla="*/ 133 w 165"/>
                <a:gd name="T27" fmla="*/ 49 h 208"/>
                <a:gd name="T28" fmla="*/ 130 w 165"/>
                <a:gd name="T29" fmla="*/ 42 h 208"/>
                <a:gd name="T30" fmla="*/ 125 w 165"/>
                <a:gd name="T31" fmla="*/ 40 h 208"/>
                <a:gd name="T32" fmla="*/ 118 w 165"/>
                <a:gd name="T33" fmla="*/ 47 h 208"/>
                <a:gd name="T34" fmla="*/ 91 w 165"/>
                <a:gd name="T35" fmla="*/ 89 h 208"/>
                <a:gd name="T36" fmla="*/ 70 w 165"/>
                <a:gd name="T37" fmla="*/ 130 h 208"/>
                <a:gd name="T38" fmla="*/ 55 w 165"/>
                <a:gd name="T39" fmla="*/ 152 h 208"/>
                <a:gd name="T40" fmla="*/ 34 w 165"/>
                <a:gd name="T41" fmla="*/ 158 h 208"/>
                <a:gd name="T42" fmla="*/ 16 w 165"/>
                <a:gd name="T43" fmla="*/ 149 h 208"/>
                <a:gd name="T44" fmla="*/ 7 w 165"/>
                <a:gd name="T45" fmla="*/ 138 h 208"/>
                <a:gd name="T46" fmla="*/ 4 w 165"/>
                <a:gd name="T47" fmla="*/ 107 h 208"/>
                <a:gd name="T48" fmla="*/ 0 w 165"/>
                <a:gd name="T49" fmla="*/ 49 h 208"/>
                <a:gd name="T50" fmla="*/ 4 w 165"/>
                <a:gd name="T51" fmla="*/ 18 h 208"/>
                <a:gd name="T52" fmla="*/ 7 w 165"/>
                <a:gd name="T53" fmla="*/ 11 h 208"/>
                <a:gd name="T54" fmla="*/ 16 w 165"/>
                <a:gd name="T55" fmla="*/ 11 h 208"/>
                <a:gd name="T56" fmla="*/ 27 w 165"/>
                <a:gd name="T57" fmla="*/ 12 h 208"/>
                <a:gd name="T58" fmla="*/ 32 w 165"/>
                <a:gd name="T59" fmla="*/ 16 h 208"/>
                <a:gd name="T60" fmla="*/ 35 w 165"/>
                <a:gd name="T61" fmla="*/ 21 h 208"/>
                <a:gd name="T62" fmla="*/ 35 w 165"/>
                <a:gd name="T63" fmla="*/ 30 h 208"/>
                <a:gd name="T64" fmla="*/ 32 w 165"/>
                <a:gd name="T65" fmla="*/ 63 h 208"/>
                <a:gd name="T66" fmla="*/ 34 w 165"/>
                <a:gd name="T67" fmla="*/ 102 h 208"/>
                <a:gd name="T68" fmla="*/ 35 w 165"/>
                <a:gd name="T69" fmla="*/ 119 h 208"/>
                <a:gd name="T70" fmla="*/ 37 w 165"/>
                <a:gd name="T71" fmla="*/ 121 h 208"/>
                <a:gd name="T72" fmla="*/ 41 w 165"/>
                <a:gd name="T73" fmla="*/ 117 h 208"/>
                <a:gd name="T74" fmla="*/ 63 w 165"/>
                <a:gd name="T75" fmla="*/ 88 h 208"/>
                <a:gd name="T76" fmla="*/ 90 w 165"/>
                <a:gd name="T77" fmla="*/ 46 h 208"/>
                <a:gd name="T78" fmla="*/ 116 w 165"/>
                <a:gd name="T79" fmla="*/ 12 h 208"/>
                <a:gd name="T80" fmla="*/ 147 w 165"/>
                <a:gd name="T8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208">
                  <a:moveTo>
                    <a:pt x="147" y="0"/>
                  </a:moveTo>
                  <a:lnTo>
                    <a:pt x="156" y="4"/>
                  </a:lnTo>
                  <a:lnTo>
                    <a:pt x="163" y="14"/>
                  </a:lnTo>
                  <a:lnTo>
                    <a:pt x="165" y="28"/>
                  </a:lnTo>
                  <a:lnTo>
                    <a:pt x="165" y="47"/>
                  </a:lnTo>
                  <a:lnTo>
                    <a:pt x="163" y="72"/>
                  </a:lnTo>
                  <a:lnTo>
                    <a:pt x="161" y="100"/>
                  </a:lnTo>
                  <a:lnTo>
                    <a:pt x="158" y="124"/>
                  </a:lnTo>
                  <a:lnTo>
                    <a:pt x="156" y="144"/>
                  </a:lnTo>
                  <a:lnTo>
                    <a:pt x="156" y="163"/>
                  </a:lnTo>
                  <a:lnTo>
                    <a:pt x="158" y="180"/>
                  </a:lnTo>
                  <a:lnTo>
                    <a:pt x="161" y="193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1" y="200"/>
                  </a:lnTo>
                  <a:lnTo>
                    <a:pt x="160" y="203"/>
                  </a:lnTo>
                  <a:lnTo>
                    <a:pt x="158" y="205"/>
                  </a:lnTo>
                  <a:lnTo>
                    <a:pt x="154" y="207"/>
                  </a:lnTo>
                  <a:lnTo>
                    <a:pt x="151" y="208"/>
                  </a:lnTo>
                  <a:lnTo>
                    <a:pt x="147" y="207"/>
                  </a:lnTo>
                  <a:lnTo>
                    <a:pt x="144" y="205"/>
                  </a:lnTo>
                  <a:lnTo>
                    <a:pt x="139" y="203"/>
                  </a:lnTo>
                  <a:lnTo>
                    <a:pt x="135" y="196"/>
                  </a:lnTo>
                  <a:lnTo>
                    <a:pt x="132" y="187"/>
                  </a:lnTo>
                  <a:lnTo>
                    <a:pt x="130" y="175"/>
                  </a:lnTo>
                  <a:lnTo>
                    <a:pt x="133" y="131"/>
                  </a:lnTo>
                  <a:lnTo>
                    <a:pt x="133" y="89"/>
                  </a:lnTo>
                  <a:lnTo>
                    <a:pt x="133" y="49"/>
                  </a:lnTo>
                  <a:lnTo>
                    <a:pt x="132" y="44"/>
                  </a:lnTo>
                  <a:lnTo>
                    <a:pt x="130" y="42"/>
                  </a:lnTo>
                  <a:lnTo>
                    <a:pt x="128" y="40"/>
                  </a:lnTo>
                  <a:lnTo>
                    <a:pt x="125" y="40"/>
                  </a:lnTo>
                  <a:lnTo>
                    <a:pt x="121" y="44"/>
                  </a:lnTo>
                  <a:lnTo>
                    <a:pt x="118" y="47"/>
                  </a:lnTo>
                  <a:lnTo>
                    <a:pt x="105" y="68"/>
                  </a:lnTo>
                  <a:lnTo>
                    <a:pt x="91" y="89"/>
                  </a:lnTo>
                  <a:lnTo>
                    <a:pt x="81" y="110"/>
                  </a:lnTo>
                  <a:lnTo>
                    <a:pt x="70" y="130"/>
                  </a:lnTo>
                  <a:lnTo>
                    <a:pt x="62" y="144"/>
                  </a:lnTo>
                  <a:lnTo>
                    <a:pt x="55" y="152"/>
                  </a:lnTo>
                  <a:lnTo>
                    <a:pt x="46" y="159"/>
                  </a:lnTo>
                  <a:lnTo>
                    <a:pt x="34" y="158"/>
                  </a:lnTo>
                  <a:lnTo>
                    <a:pt x="23" y="154"/>
                  </a:lnTo>
                  <a:lnTo>
                    <a:pt x="16" y="149"/>
                  </a:lnTo>
                  <a:lnTo>
                    <a:pt x="11" y="144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4" y="107"/>
                  </a:lnTo>
                  <a:lnTo>
                    <a:pt x="2" y="79"/>
                  </a:lnTo>
                  <a:lnTo>
                    <a:pt x="0" y="49"/>
                  </a:lnTo>
                  <a:lnTo>
                    <a:pt x="2" y="23"/>
                  </a:lnTo>
                  <a:lnTo>
                    <a:pt x="4" y="18"/>
                  </a:lnTo>
                  <a:lnTo>
                    <a:pt x="6" y="14"/>
                  </a:lnTo>
                  <a:lnTo>
                    <a:pt x="7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23" y="11"/>
                  </a:lnTo>
                  <a:lnTo>
                    <a:pt x="27" y="12"/>
                  </a:lnTo>
                  <a:lnTo>
                    <a:pt x="30" y="14"/>
                  </a:lnTo>
                  <a:lnTo>
                    <a:pt x="32" y="16"/>
                  </a:lnTo>
                  <a:lnTo>
                    <a:pt x="34" y="18"/>
                  </a:lnTo>
                  <a:lnTo>
                    <a:pt x="35" y="21"/>
                  </a:lnTo>
                  <a:lnTo>
                    <a:pt x="35" y="25"/>
                  </a:lnTo>
                  <a:lnTo>
                    <a:pt x="35" y="30"/>
                  </a:lnTo>
                  <a:lnTo>
                    <a:pt x="34" y="44"/>
                  </a:lnTo>
                  <a:lnTo>
                    <a:pt x="32" y="63"/>
                  </a:lnTo>
                  <a:lnTo>
                    <a:pt x="32" y="84"/>
                  </a:lnTo>
                  <a:lnTo>
                    <a:pt x="34" y="102"/>
                  </a:lnTo>
                  <a:lnTo>
                    <a:pt x="35" y="116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7" y="121"/>
                  </a:lnTo>
                  <a:lnTo>
                    <a:pt x="39" y="119"/>
                  </a:lnTo>
                  <a:lnTo>
                    <a:pt x="41" y="117"/>
                  </a:lnTo>
                  <a:lnTo>
                    <a:pt x="51" y="105"/>
                  </a:lnTo>
                  <a:lnTo>
                    <a:pt x="63" y="88"/>
                  </a:lnTo>
                  <a:lnTo>
                    <a:pt x="76" y="67"/>
                  </a:lnTo>
                  <a:lnTo>
                    <a:pt x="90" y="46"/>
                  </a:lnTo>
                  <a:lnTo>
                    <a:pt x="100" y="30"/>
                  </a:lnTo>
                  <a:lnTo>
                    <a:pt x="116" y="12"/>
                  </a:lnTo>
                  <a:lnTo>
                    <a:pt x="130" y="4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50"/>
            <p:cNvSpPr>
              <a:spLocks/>
            </p:cNvSpPr>
            <p:nvPr userDrawn="1"/>
          </p:nvSpPr>
          <p:spPr bwMode="auto">
            <a:xfrm>
              <a:off x="5540363" y="3581285"/>
              <a:ext cx="202878" cy="426157"/>
            </a:xfrm>
            <a:custGeom>
              <a:avLst/>
              <a:gdLst>
                <a:gd name="T0" fmla="*/ 119 w 179"/>
                <a:gd name="T1" fmla="*/ 1 h 376"/>
                <a:gd name="T2" fmla="*/ 130 w 179"/>
                <a:gd name="T3" fmla="*/ 8 h 376"/>
                <a:gd name="T4" fmla="*/ 128 w 179"/>
                <a:gd name="T5" fmla="*/ 15 h 376"/>
                <a:gd name="T6" fmla="*/ 123 w 179"/>
                <a:gd name="T7" fmla="*/ 17 h 376"/>
                <a:gd name="T8" fmla="*/ 114 w 179"/>
                <a:gd name="T9" fmla="*/ 19 h 376"/>
                <a:gd name="T10" fmla="*/ 88 w 179"/>
                <a:gd name="T11" fmla="*/ 29 h 376"/>
                <a:gd name="T12" fmla="*/ 49 w 179"/>
                <a:gd name="T13" fmla="*/ 59 h 376"/>
                <a:gd name="T14" fmla="*/ 30 w 179"/>
                <a:gd name="T15" fmla="*/ 98 h 376"/>
                <a:gd name="T16" fmla="*/ 44 w 179"/>
                <a:gd name="T17" fmla="*/ 136 h 376"/>
                <a:gd name="T18" fmla="*/ 67 w 179"/>
                <a:gd name="T19" fmla="*/ 145 h 376"/>
                <a:gd name="T20" fmla="*/ 89 w 179"/>
                <a:gd name="T21" fmla="*/ 129 h 376"/>
                <a:gd name="T22" fmla="*/ 109 w 179"/>
                <a:gd name="T23" fmla="*/ 110 h 376"/>
                <a:gd name="T24" fmla="*/ 117 w 179"/>
                <a:gd name="T25" fmla="*/ 99 h 376"/>
                <a:gd name="T26" fmla="*/ 123 w 179"/>
                <a:gd name="T27" fmla="*/ 92 h 376"/>
                <a:gd name="T28" fmla="*/ 126 w 179"/>
                <a:gd name="T29" fmla="*/ 85 h 376"/>
                <a:gd name="T30" fmla="*/ 128 w 179"/>
                <a:gd name="T31" fmla="*/ 75 h 376"/>
                <a:gd name="T32" fmla="*/ 128 w 179"/>
                <a:gd name="T33" fmla="*/ 66 h 376"/>
                <a:gd name="T34" fmla="*/ 131 w 179"/>
                <a:gd name="T35" fmla="*/ 61 h 376"/>
                <a:gd name="T36" fmla="*/ 140 w 179"/>
                <a:gd name="T37" fmla="*/ 57 h 376"/>
                <a:gd name="T38" fmla="*/ 151 w 179"/>
                <a:gd name="T39" fmla="*/ 59 h 376"/>
                <a:gd name="T40" fmla="*/ 158 w 179"/>
                <a:gd name="T41" fmla="*/ 64 h 376"/>
                <a:gd name="T42" fmla="*/ 161 w 179"/>
                <a:gd name="T43" fmla="*/ 75 h 376"/>
                <a:gd name="T44" fmla="*/ 166 w 179"/>
                <a:gd name="T45" fmla="*/ 124 h 376"/>
                <a:gd name="T46" fmla="*/ 172 w 179"/>
                <a:gd name="T47" fmla="*/ 185 h 376"/>
                <a:gd name="T48" fmla="*/ 177 w 179"/>
                <a:gd name="T49" fmla="*/ 232 h 376"/>
                <a:gd name="T50" fmla="*/ 179 w 179"/>
                <a:gd name="T51" fmla="*/ 287 h 376"/>
                <a:gd name="T52" fmla="*/ 170 w 179"/>
                <a:gd name="T53" fmla="*/ 336 h 376"/>
                <a:gd name="T54" fmla="*/ 145 w 179"/>
                <a:gd name="T55" fmla="*/ 369 h 376"/>
                <a:gd name="T56" fmla="*/ 107 w 179"/>
                <a:gd name="T57" fmla="*/ 376 h 376"/>
                <a:gd name="T58" fmla="*/ 95 w 179"/>
                <a:gd name="T59" fmla="*/ 367 h 376"/>
                <a:gd name="T60" fmla="*/ 95 w 179"/>
                <a:gd name="T61" fmla="*/ 360 h 376"/>
                <a:gd name="T62" fmla="*/ 100 w 179"/>
                <a:gd name="T63" fmla="*/ 358 h 376"/>
                <a:gd name="T64" fmla="*/ 117 w 179"/>
                <a:gd name="T65" fmla="*/ 358 h 376"/>
                <a:gd name="T66" fmla="*/ 142 w 179"/>
                <a:gd name="T67" fmla="*/ 334 h 376"/>
                <a:gd name="T68" fmla="*/ 151 w 179"/>
                <a:gd name="T69" fmla="*/ 281 h 376"/>
                <a:gd name="T70" fmla="*/ 147 w 179"/>
                <a:gd name="T71" fmla="*/ 220 h 376"/>
                <a:gd name="T72" fmla="*/ 140 w 179"/>
                <a:gd name="T73" fmla="*/ 164 h 376"/>
                <a:gd name="T74" fmla="*/ 135 w 179"/>
                <a:gd name="T75" fmla="*/ 119 h 376"/>
                <a:gd name="T76" fmla="*/ 103 w 179"/>
                <a:gd name="T77" fmla="*/ 152 h 376"/>
                <a:gd name="T78" fmla="*/ 65 w 179"/>
                <a:gd name="T79" fmla="*/ 164 h 376"/>
                <a:gd name="T80" fmla="*/ 23 w 179"/>
                <a:gd name="T81" fmla="*/ 152 h 376"/>
                <a:gd name="T82" fmla="*/ 2 w 179"/>
                <a:gd name="T83" fmla="*/ 119 h 376"/>
                <a:gd name="T84" fmla="*/ 4 w 179"/>
                <a:gd name="T85" fmla="*/ 82 h 376"/>
                <a:gd name="T86" fmla="*/ 28 w 179"/>
                <a:gd name="T87" fmla="*/ 42 h 376"/>
                <a:gd name="T88" fmla="*/ 65 w 179"/>
                <a:gd name="T89" fmla="*/ 10 h 376"/>
                <a:gd name="T90" fmla="*/ 107 w 179"/>
                <a:gd name="T91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9" h="376">
                  <a:moveTo>
                    <a:pt x="107" y="0"/>
                  </a:moveTo>
                  <a:lnTo>
                    <a:pt x="119" y="1"/>
                  </a:lnTo>
                  <a:lnTo>
                    <a:pt x="128" y="5"/>
                  </a:lnTo>
                  <a:lnTo>
                    <a:pt x="130" y="8"/>
                  </a:lnTo>
                  <a:lnTo>
                    <a:pt x="130" y="12"/>
                  </a:lnTo>
                  <a:lnTo>
                    <a:pt x="128" y="15"/>
                  </a:lnTo>
                  <a:lnTo>
                    <a:pt x="126" y="17"/>
                  </a:lnTo>
                  <a:lnTo>
                    <a:pt x="123" y="17"/>
                  </a:lnTo>
                  <a:lnTo>
                    <a:pt x="119" y="19"/>
                  </a:lnTo>
                  <a:lnTo>
                    <a:pt x="114" y="19"/>
                  </a:lnTo>
                  <a:lnTo>
                    <a:pt x="107" y="21"/>
                  </a:lnTo>
                  <a:lnTo>
                    <a:pt x="88" y="29"/>
                  </a:lnTo>
                  <a:lnTo>
                    <a:pt x="67" y="42"/>
                  </a:lnTo>
                  <a:lnTo>
                    <a:pt x="49" y="59"/>
                  </a:lnTo>
                  <a:lnTo>
                    <a:pt x="35" y="77"/>
                  </a:lnTo>
                  <a:lnTo>
                    <a:pt x="30" y="98"/>
                  </a:lnTo>
                  <a:lnTo>
                    <a:pt x="34" y="120"/>
                  </a:lnTo>
                  <a:lnTo>
                    <a:pt x="44" y="136"/>
                  </a:lnTo>
                  <a:lnTo>
                    <a:pt x="54" y="143"/>
                  </a:lnTo>
                  <a:lnTo>
                    <a:pt x="67" y="145"/>
                  </a:lnTo>
                  <a:lnTo>
                    <a:pt x="77" y="138"/>
                  </a:lnTo>
                  <a:lnTo>
                    <a:pt x="89" y="129"/>
                  </a:lnTo>
                  <a:lnTo>
                    <a:pt x="102" y="117"/>
                  </a:lnTo>
                  <a:lnTo>
                    <a:pt x="109" y="110"/>
                  </a:lnTo>
                  <a:lnTo>
                    <a:pt x="114" y="103"/>
                  </a:lnTo>
                  <a:lnTo>
                    <a:pt x="117" y="99"/>
                  </a:lnTo>
                  <a:lnTo>
                    <a:pt x="121" y="96"/>
                  </a:lnTo>
                  <a:lnTo>
                    <a:pt x="123" y="92"/>
                  </a:lnTo>
                  <a:lnTo>
                    <a:pt x="124" y="91"/>
                  </a:lnTo>
                  <a:lnTo>
                    <a:pt x="126" y="85"/>
                  </a:lnTo>
                  <a:lnTo>
                    <a:pt x="128" y="80"/>
                  </a:lnTo>
                  <a:lnTo>
                    <a:pt x="128" y="75"/>
                  </a:lnTo>
                  <a:lnTo>
                    <a:pt x="128" y="71"/>
                  </a:lnTo>
                  <a:lnTo>
                    <a:pt x="128" y="66"/>
                  </a:lnTo>
                  <a:lnTo>
                    <a:pt x="130" y="63"/>
                  </a:lnTo>
                  <a:lnTo>
                    <a:pt x="131" y="61"/>
                  </a:lnTo>
                  <a:lnTo>
                    <a:pt x="135" y="59"/>
                  </a:lnTo>
                  <a:lnTo>
                    <a:pt x="140" y="57"/>
                  </a:lnTo>
                  <a:lnTo>
                    <a:pt x="145" y="59"/>
                  </a:lnTo>
                  <a:lnTo>
                    <a:pt x="151" y="59"/>
                  </a:lnTo>
                  <a:lnTo>
                    <a:pt x="154" y="61"/>
                  </a:lnTo>
                  <a:lnTo>
                    <a:pt x="158" y="64"/>
                  </a:lnTo>
                  <a:lnTo>
                    <a:pt x="159" y="70"/>
                  </a:lnTo>
                  <a:lnTo>
                    <a:pt x="161" y="75"/>
                  </a:lnTo>
                  <a:lnTo>
                    <a:pt x="163" y="94"/>
                  </a:lnTo>
                  <a:lnTo>
                    <a:pt x="166" y="124"/>
                  </a:lnTo>
                  <a:lnTo>
                    <a:pt x="170" y="166"/>
                  </a:lnTo>
                  <a:lnTo>
                    <a:pt x="172" y="185"/>
                  </a:lnTo>
                  <a:lnTo>
                    <a:pt x="173" y="208"/>
                  </a:lnTo>
                  <a:lnTo>
                    <a:pt x="177" y="232"/>
                  </a:lnTo>
                  <a:lnTo>
                    <a:pt x="179" y="260"/>
                  </a:lnTo>
                  <a:lnTo>
                    <a:pt x="179" y="287"/>
                  </a:lnTo>
                  <a:lnTo>
                    <a:pt x="175" y="313"/>
                  </a:lnTo>
                  <a:lnTo>
                    <a:pt x="170" y="336"/>
                  </a:lnTo>
                  <a:lnTo>
                    <a:pt x="161" y="355"/>
                  </a:lnTo>
                  <a:lnTo>
                    <a:pt x="145" y="369"/>
                  </a:lnTo>
                  <a:lnTo>
                    <a:pt x="124" y="376"/>
                  </a:lnTo>
                  <a:lnTo>
                    <a:pt x="107" y="376"/>
                  </a:lnTo>
                  <a:lnTo>
                    <a:pt x="96" y="371"/>
                  </a:lnTo>
                  <a:lnTo>
                    <a:pt x="95" y="367"/>
                  </a:lnTo>
                  <a:lnTo>
                    <a:pt x="95" y="364"/>
                  </a:lnTo>
                  <a:lnTo>
                    <a:pt x="95" y="360"/>
                  </a:lnTo>
                  <a:lnTo>
                    <a:pt x="96" y="358"/>
                  </a:lnTo>
                  <a:lnTo>
                    <a:pt x="100" y="358"/>
                  </a:lnTo>
                  <a:lnTo>
                    <a:pt x="103" y="358"/>
                  </a:lnTo>
                  <a:lnTo>
                    <a:pt x="117" y="358"/>
                  </a:lnTo>
                  <a:lnTo>
                    <a:pt x="131" y="351"/>
                  </a:lnTo>
                  <a:lnTo>
                    <a:pt x="142" y="334"/>
                  </a:lnTo>
                  <a:lnTo>
                    <a:pt x="149" y="309"/>
                  </a:lnTo>
                  <a:lnTo>
                    <a:pt x="151" y="281"/>
                  </a:lnTo>
                  <a:lnTo>
                    <a:pt x="149" y="246"/>
                  </a:lnTo>
                  <a:lnTo>
                    <a:pt x="147" y="220"/>
                  </a:lnTo>
                  <a:lnTo>
                    <a:pt x="144" y="192"/>
                  </a:lnTo>
                  <a:lnTo>
                    <a:pt x="140" y="164"/>
                  </a:lnTo>
                  <a:lnTo>
                    <a:pt x="138" y="138"/>
                  </a:lnTo>
                  <a:lnTo>
                    <a:pt x="135" y="119"/>
                  </a:lnTo>
                  <a:lnTo>
                    <a:pt x="121" y="138"/>
                  </a:lnTo>
                  <a:lnTo>
                    <a:pt x="103" y="152"/>
                  </a:lnTo>
                  <a:lnTo>
                    <a:pt x="86" y="161"/>
                  </a:lnTo>
                  <a:lnTo>
                    <a:pt x="65" y="164"/>
                  </a:lnTo>
                  <a:lnTo>
                    <a:pt x="42" y="161"/>
                  </a:lnTo>
                  <a:lnTo>
                    <a:pt x="23" y="152"/>
                  </a:lnTo>
                  <a:lnTo>
                    <a:pt x="11" y="136"/>
                  </a:lnTo>
                  <a:lnTo>
                    <a:pt x="2" y="119"/>
                  </a:lnTo>
                  <a:lnTo>
                    <a:pt x="0" y="99"/>
                  </a:lnTo>
                  <a:lnTo>
                    <a:pt x="4" y="82"/>
                  </a:lnTo>
                  <a:lnTo>
                    <a:pt x="13" y="63"/>
                  </a:lnTo>
                  <a:lnTo>
                    <a:pt x="28" y="42"/>
                  </a:lnTo>
                  <a:lnTo>
                    <a:pt x="46" y="24"/>
                  </a:lnTo>
                  <a:lnTo>
                    <a:pt x="65" y="10"/>
                  </a:lnTo>
                  <a:lnTo>
                    <a:pt x="86" y="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51"/>
            <p:cNvSpPr>
              <a:spLocks/>
            </p:cNvSpPr>
            <p:nvPr userDrawn="1"/>
          </p:nvSpPr>
          <p:spPr bwMode="auto">
            <a:xfrm>
              <a:off x="5889449" y="3430544"/>
              <a:ext cx="235746" cy="342286"/>
            </a:xfrm>
            <a:custGeom>
              <a:avLst/>
              <a:gdLst>
                <a:gd name="T0" fmla="*/ 21 w 208"/>
                <a:gd name="T1" fmla="*/ 1 h 302"/>
                <a:gd name="T2" fmla="*/ 30 w 208"/>
                <a:gd name="T3" fmla="*/ 7 h 302"/>
                <a:gd name="T4" fmla="*/ 35 w 208"/>
                <a:gd name="T5" fmla="*/ 19 h 302"/>
                <a:gd name="T6" fmla="*/ 44 w 208"/>
                <a:gd name="T7" fmla="*/ 122 h 302"/>
                <a:gd name="T8" fmla="*/ 58 w 208"/>
                <a:gd name="T9" fmla="*/ 210 h 302"/>
                <a:gd name="T10" fmla="*/ 89 w 208"/>
                <a:gd name="T11" fmla="*/ 168 h 302"/>
                <a:gd name="T12" fmla="*/ 131 w 208"/>
                <a:gd name="T13" fmla="*/ 136 h 302"/>
                <a:gd name="T14" fmla="*/ 170 w 208"/>
                <a:gd name="T15" fmla="*/ 129 h 302"/>
                <a:gd name="T16" fmla="*/ 194 w 208"/>
                <a:gd name="T17" fmla="*/ 138 h 302"/>
                <a:gd name="T18" fmla="*/ 208 w 208"/>
                <a:gd name="T19" fmla="*/ 169 h 302"/>
                <a:gd name="T20" fmla="*/ 205 w 208"/>
                <a:gd name="T21" fmla="*/ 215 h 302"/>
                <a:gd name="T22" fmla="*/ 187 w 208"/>
                <a:gd name="T23" fmla="*/ 260 h 302"/>
                <a:gd name="T24" fmla="*/ 154 w 208"/>
                <a:gd name="T25" fmla="*/ 294 h 302"/>
                <a:gd name="T26" fmla="*/ 126 w 208"/>
                <a:gd name="T27" fmla="*/ 302 h 302"/>
                <a:gd name="T28" fmla="*/ 115 w 208"/>
                <a:gd name="T29" fmla="*/ 301 h 302"/>
                <a:gd name="T30" fmla="*/ 108 w 208"/>
                <a:gd name="T31" fmla="*/ 295 h 302"/>
                <a:gd name="T32" fmla="*/ 105 w 208"/>
                <a:gd name="T33" fmla="*/ 288 h 302"/>
                <a:gd name="T34" fmla="*/ 107 w 208"/>
                <a:gd name="T35" fmla="*/ 281 h 302"/>
                <a:gd name="T36" fmla="*/ 112 w 208"/>
                <a:gd name="T37" fmla="*/ 281 h 302"/>
                <a:gd name="T38" fmla="*/ 133 w 208"/>
                <a:gd name="T39" fmla="*/ 283 h 302"/>
                <a:gd name="T40" fmla="*/ 161 w 208"/>
                <a:gd name="T41" fmla="*/ 257 h 302"/>
                <a:gd name="T42" fmla="*/ 177 w 208"/>
                <a:gd name="T43" fmla="*/ 197 h 302"/>
                <a:gd name="T44" fmla="*/ 171 w 208"/>
                <a:gd name="T45" fmla="*/ 157 h 302"/>
                <a:gd name="T46" fmla="*/ 164 w 208"/>
                <a:gd name="T47" fmla="*/ 152 h 302"/>
                <a:gd name="T48" fmla="*/ 154 w 208"/>
                <a:gd name="T49" fmla="*/ 154 h 302"/>
                <a:gd name="T50" fmla="*/ 140 w 208"/>
                <a:gd name="T51" fmla="*/ 161 h 302"/>
                <a:gd name="T52" fmla="*/ 110 w 208"/>
                <a:gd name="T53" fmla="*/ 183 h 302"/>
                <a:gd name="T54" fmla="*/ 79 w 208"/>
                <a:gd name="T55" fmla="*/ 227 h 302"/>
                <a:gd name="T56" fmla="*/ 63 w 208"/>
                <a:gd name="T57" fmla="*/ 266 h 302"/>
                <a:gd name="T58" fmla="*/ 56 w 208"/>
                <a:gd name="T59" fmla="*/ 274 h 302"/>
                <a:gd name="T60" fmla="*/ 45 w 208"/>
                <a:gd name="T61" fmla="*/ 276 h 302"/>
                <a:gd name="T62" fmla="*/ 37 w 208"/>
                <a:gd name="T63" fmla="*/ 274 h 302"/>
                <a:gd name="T64" fmla="*/ 31 w 208"/>
                <a:gd name="T65" fmla="*/ 267 h 302"/>
                <a:gd name="T66" fmla="*/ 31 w 208"/>
                <a:gd name="T67" fmla="*/ 259 h 302"/>
                <a:gd name="T68" fmla="*/ 31 w 208"/>
                <a:gd name="T69" fmla="*/ 224 h 302"/>
                <a:gd name="T70" fmla="*/ 26 w 208"/>
                <a:gd name="T71" fmla="*/ 187 h 302"/>
                <a:gd name="T72" fmla="*/ 17 w 208"/>
                <a:gd name="T73" fmla="*/ 140 h 302"/>
                <a:gd name="T74" fmla="*/ 7 w 208"/>
                <a:gd name="T75" fmla="*/ 78 h 302"/>
                <a:gd name="T76" fmla="*/ 0 w 208"/>
                <a:gd name="T77" fmla="*/ 22 h 302"/>
                <a:gd name="T78" fmla="*/ 2 w 208"/>
                <a:gd name="T79" fmla="*/ 8 h 302"/>
                <a:gd name="T80" fmla="*/ 9 w 208"/>
                <a:gd name="T81" fmla="*/ 1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302">
                  <a:moveTo>
                    <a:pt x="14" y="0"/>
                  </a:moveTo>
                  <a:lnTo>
                    <a:pt x="21" y="1"/>
                  </a:lnTo>
                  <a:lnTo>
                    <a:pt x="26" y="3"/>
                  </a:lnTo>
                  <a:lnTo>
                    <a:pt x="30" y="7"/>
                  </a:lnTo>
                  <a:lnTo>
                    <a:pt x="33" y="12"/>
                  </a:lnTo>
                  <a:lnTo>
                    <a:pt x="35" y="19"/>
                  </a:lnTo>
                  <a:lnTo>
                    <a:pt x="40" y="75"/>
                  </a:lnTo>
                  <a:lnTo>
                    <a:pt x="44" y="122"/>
                  </a:lnTo>
                  <a:lnTo>
                    <a:pt x="49" y="166"/>
                  </a:lnTo>
                  <a:lnTo>
                    <a:pt x="58" y="210"/>
                  </a:lnTo>
                  <a:lnTo>
                    <a:pt x="72" y="189"/>
                  </a:lnTo>
                  <a:lnTo>
                    <a:pt x="89" y="168"/>
                  </a:lnTo>
                  <a:lnTo>
                    <a:pt x="108" y="150"/>
                  </a:lnTo>
                  <a:lnTo>
                    <a:pt x="131" y="136"/>
                  </a:lnTo>
                  <a:lnTo>
                    <a:pt x="157" y="129"/>
                  </a:lnTo>
                  <a:lnTo>
                    <a:pt x="170" y="129"/>
                  </a:lnTo>
                  <a:lnTo>
                    <a:pt x="184" y="133"/>
                  </a:lnTo>
                  <a:lnTo>
                    <a:pt x="194" y="138"/>
                  </a:lnTo>
                  <a:lnTo>
                    <a:pt x="203" y="152"/>
                  </a:lnTo>
                  <a:lnTo>
                    <a:pt x="208" y="169"/>
                  </a:lnTo>
                  <a:lnTo>
                    <a:pt x="208" y="192"/>
                  </a:lnTo>
                  <a:lnTo>
                    <a:pt x="205" y="215"/>
                  </a:lnTo>
                  <a:lnTo>
                    <a:pt x="198" y="239"/>
                  </a:lnTo>
                  <a:lnTo>
                    <a:pt x="187" y="260"/>
                  </a:lnTo>
                  <a:lnTo>
                    <a:pt x="173" y="280"/>
                  </a:lnTo>
                  <a:lnTo>
                    <a:pt x="154" y="294"/>
                  </a:lnTo>
                  <a:lnTo>
                    <a:pt x="133" y="302"/>
                  </a:lnTo>
                  <a:lnTo>
                    <a:pt x="126" y="302"/>
                  </a:lnTo>
                  <a:lnTo>
                    <a:pt x="119" y="301"/>
                  </a:lnTo>
                  <a:lnTo>
                    <a:pt x="115" y="301"/>
                  </a:lnTo>
                  <a:lnTo>
                    <a:pt x="112" y="297"/>
                  </a:lnTo>
                  <a:lnTo>
                    <a:pt x="108" y="295"/>
                  </a:lnTo>
                  <a:lnTo>
                    <a:pt x="107" y="292"/>
                  </a:lnTo>
                  <a:lnTo>
                    <a:pt x="105" y="288"/>
                  </a:lnTo>
                  <a:lnTo>
                    <a:pt x="105" y="285"/>
                  </a:lnTo>
                  <a:lnTo>
                    <a:pt x="107" y="281"/>
                  </a:lnTo>
                  <a:lnTo>
                    <a:pt x="108" y="281"/>
                  </a:lnTo>
                  <a:lnTo>
                    <a:pt x="112" y="281"/>
                  </a:lnTo>
                  <a:lnTo>
                    <a:pt x="122" y="285"/>
                  </a:lnTo>
                  <a:lnTo>
                    <a:pt x="133" y="283"/>
                  </a:lnTo>
                  <a:lnTo>
                    <a:pt x="145" y="276"/>
                  </a:lnTo>
                  <a:lnTo>
                    <a:pt x="161" y="257"/>
                  </a:lnTo>
                  <a:lnTo>
                    <a:pt x="171" y="229"/>
                  </a:lnTo>
                  <a:lnTo>
                    <a:pt x="177" y="197"/>
                  </a:lnTo>
                  <a:lnTo>
                    <a:pt x="173" y="162"/>
                  </a:lnTo>
                  <a:lnTo>
                    <a:pt x="171" y="157"/>
                  </a:lnTo>
                  <a:lnTo>
                    <a:pt x="168" y="154"/>
                  </a:lnTo>
                  <a:lnTo>
                    <a:pt x="164" y="152"/>
                  </a:lnTo>
                  <a:lnTo>
                    <a:pt x="161" y="152"/>
                  </a:lnTo>
                  <a:lnTo>
                    <a:pt x="154" y="154"/>
                  </a:lnTo>
                  <a:lnTo>
                    <a:pt x="149" y="155"/>
                  </a:lnTo>
                  <a:lnTo>
                    <a:pt x="140" y="161"/>
                  </a:lnTo>
                  <a:lnTo>
                    <a:pt x="126" y="169"/>
                  </a:lnTo>
                  <a:lnTo>
                    <a:pt x="110" y="183"/>
                  </a:lnTo>
                  <a:lnTo>
                    <a:pt x="94" y="201"/>
                  </a:lnTo>
                  <a:lnTo>
                    <a:pt x="79" y="227"/>
                  </a:lnTo>
                  <a:lnTo>
                    <a:pt x="66" y="259"/>
                  </a:lnTo>
                  <a:lnTo>
                    <a:pt x="63" y="266"/>
                  </a:lnTo>
                  <a:lnTo>
                    <a:pt x="59" y="271"/>
                  </a:lnTo>
                  <a:lnTo>
                    <a:pt x="56" y="274"/>
                  </a:lnTo>
                  <a:lnTo>
                    <a:pt x="51" y="276"/>
                  </a:lnTo>
                  <a:lnTo>
                    <a:pt x="45" y="276"/>
                  </a:lnTo>
                  <a:lnTo>
                    <a:pt x="40" y="276"/>
                  </a:lnTo>
                  <a:lnTo>
                    <a:pt x="37" y="274"/>
                  </a:lnTo>
                  <a:lnTo>
                    <a:pt x="33" y="271"/>
                  </a:lnTo>
                  <a:lnTo>
                    <a:pt x="31" y="267"/>
                  </a:lnTo>
                  <a:lnTo>
                    <a:pt x="31" y="264"/>
                  </a:lnTo>
                  <a:lnTo>
                    <a:pt x="31" y="259"/>
                  </a:lnTo>
                  <a:lnTo>
                    <a:pt x="33" y="243"/>
                  </a:lnTo>
                  <a:lnTo>
                    <a:pt x="31" y="224"/>
                  </a:lnTo>
                  <a:lnTo>
                    <a:pt x="28" y="201"/>
                  </a:lnTo>
                  <a:lnTo>
                    <a:pt x="26" y="187"/>
                  </a:lnTo>
                  <a:lnTo>
                    <a:pt x="21" y="166"/>
                  </a:lnTo>
                  <a:lnTo>
                    <a:pt x="17" y="140"/>
                  </a:lnTo>
                  <a:lnTo>
                    <a:pt x="12" y="110"/>
                  </a:lnTo>
                  <a:lnTo>
                    <a:pt x="7" y="78"/>
                  </a:lnTo>
                  <a:lnTo>
                    <a:pt x="4" y="49"/>
                  </a:lnTo>
                  <a:lnTo>
                    <a:pt x="0" y="22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5"/>
                  </a:lnTo>
                  <a:lnTo>
                    <a:pt x="9" y="1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52"/>
            <p:cNvSpPr>
              <a:spLocks/>
            </p:cNvSpPr>
            <p:nvPr userDrawn="1"/>
          </p:nvSpPr>
          <p:spPr bwMode="auto">
            <a:xfrm>
              <a:off x="6153530" y="3581285"/>
              <a:ext cx="181344" cy="421623"/>
            </a:xfrm>
            <a:custGeom>
              <a:avLst/>
              <a:gdLst>
                <a:gd name="T0" fmla="*/ 150 w 160"/>
                <a:gd name="T1" fmla="*/ 1 h 372"/>
                <a:gd name="T2" fmla="*/ 159 w 160"/>
                <a:gd name="T3" fmla="*/ 10 h 372"/>
                <a:gd name="T4" fmla="*/ 160 w 160"/>
                <a:gd name="T5" fmla="*/ 45 h 372"/>
                <a:gd name="T6" fmla="*/ 150 w 160"/>
                <a:gd name="T7" fmla="*/ 105 h 372"/>
                <a:gd name="T8" fmla="*/ 131 w 160"/>
                <a:gd name="T9" fmla="*/ 175 h 372"/>
                <a:gd name="T10" fmla="*/ 117 w 160"/>
                <a:gd name="T11" fmla="*/ 241 h 372"/>
                <a:gd name="T12" fmla="*/ 115 w 160"/>
                <a:gd name="T13" fmla="*/ 287 h 372"/>
                <a:gd name="T14" fmla="*/ 118 w 160"/>
                <a:gd name="T15" fmla="*/ 318 h 372"/>
                <a:gd name="T16" fmla="*/ 122 w 160"/>
                <a:gd name="T17" fmla="*/ 350 h 372"/>
                <a:gd name="T18" fmla="*/ 120 w 160"/>
                <a:gd name="T19" fmla="*/ 365 h 372"/>
                <a:gd name="T20" fmla="*/ 115 w 160"/>
                <a:gd name="T21" fmla="*/ 372 h 372"/>
                <a:gd name="T22" fmla="*/ 110 w 160"/>
                <a:gd name="T23" fmla="*/ 372 h 372"/>
                <a:gd name="T24" fmla="*/ 103 w 160"/>
                <a:gd name="T25" fmla="*/ 369 h 372"/>
                <a:gd name="T26" fmla="*/ 97 w 160"/>
                <a:gd name="T27" fmla="*/ 364 h 372"/>
                <a:gd name="T28" fmla="*/ 99 w 160"/>
                <a:gd name="T29" fmla="*/ 357 h 372"/>
                <a:gd name="T30" fmla="*/ 99 w 160"/>
                <a:gd name="T31" fmla="*/ 348 h 372"/>
                <a:gd name="T32" fmla="*/ 97 w 160"/>
                <a:gd name="T33" fmla="*/ 336 h 372"/>
                <a:gd name="T34" fmla="*/ 94 w 160"/>
                <a:gd name="T35" fmla="*/ 262 h 372"/>
                <a:gd name="T36" fmla="*/ 101 w 160"/>
                <a:gd name="T37" fmla="*/ 206 h 372"/>
                <a:gd name="T38" fmla="*/ 113 w 160"/>
                <a:gd name="T39" fmla="*/ 147 h 372"/>
                <a:gd name="T40" fmla="*/ 131 w 160"/>
                <a:gd name="T41" fmla="*/ 66 h 372"/>
                <a:gd name="T42" fmla="*/ 103 w 160"/>
                <a:gd name="T43" fmla="*/ 119 h 372"/>
                <a:gd name="T44" fmla="*/ 80 w 160"/>
                <a:gd name="T45" fmla="*/ 155 h 372"/>
                <a:gd name="T46" fmla="*/ 59 w 160"/>
                <a:gd name="T47" fmla="*/ 168 h 372"/>
                <a:gd name="T48" fmla="*/ 43 w 160"/>
                <a:gd name="T49" fmla="*/ 164 h 372"/>
                <a:gd name="T50" fmla="*/ 31 w 160"/>
                <a:gd name="T51" fmla="*/ 159 h 372"/>
                <a:gd name="T52" fmla="*/ 22 w 160"/>
                <a:gd name="T53" fmla="*/ 150 h 372"/>
                <a:gd name="T54" fmla="*/ 15 w 160"/>
                <a:gd name="T55" fmla="*/ 133 h 372"/>
                <a:gd name="T56" fmla="*/ 5 w 160"/>
                <a:gd name="T57" fmla="*/ 96 h 372"/>
                <a:gd name="T58" fmla="*/ 0 w 160"/>
                <a:gd name="T59" fmla="*/ 61 h 372"/>
                <a:gd name="T60" fmla="*/ 1 w 160"/>
                <a:gd name="T61" fmla="*/ 38 h 372"/>
                <a:gd name="T62" fmla="*/ 14 w 160"/>
                <a:gd name="T63" fmla="*/ 29 h 372"/>
                <a:gd name="T64" fmla="*/ 21 w 160"/>
                <a:gd name="T65" fmla="*/ 33 h 372"/>
                <a:gd name="T66" fmla="*/ 26 w 160"/>
                <a:gd name="T67" fmla="*/ 42 h 372"/>
                <a:gd name="T68" fmla="*/ 28 w 160"/>
                <a:gd name="T69" fmla="*/ 54 h 372"/>
                <a:gd name="T70" fmla="*/ 33 w 160"/>
                <a:gd name="T71" fmla="*/ 98 h 372"/>
                <a:gd name="T72" fmla="*/ 43 w 160"/>
                <a:gd name="T73" fmla="*/ 136 h 372"/>
                <a:gd name="T74" fmla="*/ 59 w 160"/>
                <a:gd name="T75" fmla="*/ 138 h 372"/>
                <a:gd name="T76" fmla="*/ 89 w 160"/>
                <a:gd name="T77" fmla="*/ 98 h 372"/>
                <a:gd name="T78" fmla="*/ 122 w 160"/>
                <a:gd name="T79" fmla="*/ 29 h 372"/>
                <a:gd name="T80" fmla="*/ 136 w 160"/>
                <a:gd name="T81" fmla="*/ 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" h="372">
                  <a:moveTo>
                    <a:pt x="145" y="0"/>
                  </a:moveTo>
                  <a:lnTo>
                    <a:pt x="150" y="1"/>
                  </a:lnTo>
                  <a:lnTo>
                    <a:pt x="155" y="3"/>
                  </a:lnTo>
                  <a:lnTo>
                    <a:pt x="159" y="10"/>
                  </a:lnTo>
                  <a:lnTo>
                    <a:pt x="160" y="24"/>
                  </a:lnTo>
                  <a:lnTo>
                    <a:pt x="160" y="45"/>
                  </a:lnTo>
                  <a:lnTo>
                    <a:pt x="157" y="71"/>
                  </a:lnTo>
                  <a:lnTo>
                    <a:pt x="150" y="105"/>
                  </a:lnTo>
                  <a:lnTo>
                    <a:pt x="139" y="140"/>
                  </a:lnTo>
                  <a:lnTo>
                    <a:pt x="131" y="175"/>
                  </a:lnTo>
                  <a:lnTo>
                    <a:pt x="122" y="211"/>
                  </a:lnTo>
                  <a:lnTo>
                    <a:pt x="117" y="241"/>
                  </a:lnTo>
                  <a:lnTo>
                    <a:pt x="115" y="267"/>
                  </a:lnTo>
                  <a:lnTo>
                    <a:pt x="115" y="287"/>
                  </a:lnTo>
                  <a:lnTo>
                    <a:pt x="117" y="304"/>
                  </a:lnTo>
                  <a:lnTo>
                    <a:pt x="118" y="318"/>
                  </a:lnTo>
                  <a:lnTo>
                    <a:pt x="120" y="337"/>
                  </a:lnTo>
                  <a:lnTo>
                    <a:pt x="122" y="350"/>
                  </a:lnTo>
                  <a:lnTo>
                    <a:pt x="122" y="360"/>
                  </a:lnTo>
                  <a:lnTo>
                    <a:pt x="120" y="365"/>
                  </a:lnTo>
                  <a:lnTo>
                    <a:pt x="118" y="371"/>
                  </a:lnTo>
                  <a:lnTo>
                    <a:pt x="115" y="372"/>
                  </a:lnTo>
                  <a:lnTo>
                    <a:pt x="113" y="372"/>
                  </a:lnTo>
                  <a:lnTo>
                    <a:pt x="110" y="372"/>
                  </a:lnTo>
                  <a:lnTo>
                    <a:pt x="104" y="371"/>
                  </a:lnTo>
                  <a:lnTo>
                    <a:pt x="103" y="369"/>
                  </a:lnTo>
                  <a:lnTo>
                    <a:pt x="99" y="367"/>
                  </a:lnTo>
                  <a:lnTo>
                    <a:pt x="97" y="364"/>
                  </a:lnTo>
                  <a:lnTo>
                    <a:pt x="97" y="360"/>
                  </a:lnTo>
                  <a:lnTo>
                    <a:pt x="99" y="357"/>
                  </a:lnTo>
                  <a:lnTo>
                    <a:pt x="99" y="351"/>
                  </a:lnTo>
                  <a:lnTo>
                    <a:pt x="99" y="348"/>
                  </a:lnTo>
                  <a:lnTo>
                    <a:pt x="97" y="343"/>
                  </a:lnTo>
                  <a:lnTo>
                    <a:pt x="97" y="336"/>
                  </a:lnTo>
                  <a:lnTo>
                    <a:pt x="94" y="295"/>
                  </a:lnTo>
                  <a:lnTo>
                    <a:pt x="94" y="262"/>
                  </a:lnTo>
                  <a:lnTo>
                    <a:pt x="96" y="234"/>
                  </a:lnTo>
                  <a:lnTo>
                    <a:pt x="101" y="206"/>
                  </a:lnTo>
                  <a:lnTo>
                    <a:pt x="106" y="178"/>
                  </a:lnTo>
                  <a:lnTo>
                    <a:pt x="113" y="147"/>
                  </a:lnTo>
                  <a:lnTo>
                    <a:pt x="122" y="110"/>
                  </a:lnTo>
                  <a:lnTo>
                    <a:pt x="131" y="66"/>
                  </a:lnTo>
                  <a:lnTo>
                    <a:pt x="117" y="94"/>
                  </a:lnTo>
                  <a:lnTo>
                    <a:pt x="103" y="119"/>
                  </a:lnTo>
                  <a:lnTo>
                    <a:pt x="90" y="140"/>
                  </a:lnTo>
                  <a:lnTo>
                    <a:pt x="80" y="155"/>
                  </a:lnTo>
                  <a:lnTo>
                    <a:pt x="70" y="164"/>
                  </a:lnTo>
                  <a:lnTo>
                    <a:pt x="59" y="168"/>
                  </a:lnTo>
                  <a:lnTo>
                    <a:pt x="50" y="168"/>
                  </a:lnTo>
                  <a:lnTo>
                    <a:pt x="43" y="164"/>
                  </a:lnTo>
                  <a:lnTo>
                    <a:pt x="36" y="162"/>
                  </a:lnTo>
                  <a:lnTo>
                    <a:pt x="31" y="159"/>
                  </a:lnTo>
                  <a:lnTo>
                    <a:pt x="26" y="155"/>
                  </a:lnTo>
                  <a:lnTo>
                    <a:pt x="22" y="150"/>
                  </a:lnTo>
                  <a:lnTo>
                    <a:pt x="19" y="143"/>
                  </a:lnTo>
                  <a:lnTo>
                    <a:pt x="15" y="133"/>
                  </a:lnTo>
                  <a:lnTo>
                    <a:pt x="10" y="115"/>
                  </a:lnTo>
                  <a:lnTo>
                    <a:pt x="5" y="96"/>
                  </a:lnTo>
                  <a:lnTo>
                    <a:pt x="3" y="77"/>
                  </a:lnTo>
                  <a:lnTo>
                    <a:pt x="0" y="61"/>
                  </a:lnTo>
                  <a:lnTo>
                    <a:pt x="0" y="49"/>
                  </a:lnTo>
                  <a:lnTo>
                    <a:pt x="1" y="38"/>
                  </a:lnTo>
                  <a:lnTo>
                    <a:pt x="7" y="31"/>
                  </a:lnTo>
                  <a:lnTo>
                    <a:pt x="14" y="29"/>
                  </a:lnTo>
                  <a:lnTo>
                    <a:pt x="17" y="31"/>
                  </a:lnTo>
                  <a:lnTo>
                    <a:pt x="21" y="33"/>
                  </a:lnTo>
                  <a:lnTo>
                    <a:pt x="22" y="36"/>
                  </a:lnTo>
                  <a:lnTo>
                    <a:pt x="26" y="42"/>
                  </a:lnTo>
                  <a:lnTo>
                    <a:pt x="28" y="47"/>
                  </a:lnTo>
                  <a:lnTo>
                    <a:pt x="28" y="54"/>
                  </a:lnTo>
                  <a:lnTo>
                    <a:pt x="29" y="73"/>
                  </a:lnTo>
                  <a:lnTo>
                    <a:pt x="33" y="98"/>
                  </a:lnTo>
                  <a:lnTo>
                    <a:pt x="38" y="122"/>
                  </a:lnTo>
                  <a:lnTo>
                    <a:pt x="43" y="136"/>
                  </a:lnTo>
                  <a:lnTo>
                    <a:pt x="50" y="141"/>
                  </a:lnTo>
                  <a:lnTo>
                    <a:pt x="59" y="138"/>
                  </a:lnTo>
                  <a:lnTo>
                    <a:pt x="70" y="126"/>
                  </a:lnTo>
                  <a:lnTo>
                    <a:pt x="89" y="98"/>
                  </a:lnTo>
                  <a:lnTo>
                    <a:pt x="106" y="66"/>
                  </a:lnTo>
                  <a:lnTo>
                    <a:pt x="122" y="29"/>
                  </a:lnTo>
                  <a:lnTo>
                    <a:pt x="129" y="10"/>
                  </a:lnTo>
                  <a:lnTo>
                    <a:pt x="136" y="1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53"/>
            <p:cNvSpPr>
              <a:spLocks/>
            </p:cNvSpPr>
            <p:nvPr userDrawn="1"/>
          </p:nvSpPr>
          <p:spPr bwMode="auto">
            <a:xfrm>
              <a:off x="6487883" y="3579019"/>
              <a:ext cx="200611" cy="245948"/>
            </a:xfrm>
            <a:custGeom>
              <a:avLst/>
              <a:gdLst>
                <a:gd name="T0" fmla="*/ 135 w 177"/>
                <a:gd name="T1" fmla="*/ 2 h 217"/>
                <a:gd name="T2" fmla="*/ 161 w 177"/>
                <a:gd name="T3" fmla="*/ 14 h 217"/>
                <a:gd name="T4" fmla="*/ 164 w 177"/>
                <a:gd name="T5" fmla="*/ 42 h 217"/>
                <a:gd name="T6" fmla="*/ 166 w 177"/>
                <a:gd name="T7" fmla="*/ 96 h 217"/>
                <a:gd name="T8" fmla="*/ 170 w 177"/>
                <a:gd name="T9" fmla="*/ 154 h 217"/>
                <a:gd name="T10" fmla="*/ 177 w 177"/>
                <a:gd name="T11" fmla="*/ 196 h 217"/>
                <a:gd name="T12" fmla="*/ 177 w 177"/>
                <a:gd name="T13" fmla="*/ 210 h 217"/>
                <a:gd name="T14" fmla="*/ 171 w 177"/>
                <a:gd name="T15" fmla="*/ 217 h 217"/>
                <a:gd name="T16" fmla="*/ 161 w 177"/>
                <a:gd name="T17" fmla="*/ 217 h 217"/>
                <a:gd name="T18" fmla="*/ 150 w 177"/>
                <a:gd name="T19" fmla="*/ 213 h 217"/>
                <a:gd name="T20" fmla="*/ 143 w 177"/>
                <a:gd name="T21" fmla="*/ 206 h 217"/>
                <a:gd name="T22" fmla="*/ 142 w 177"/>
                <a:gd name="T23" fmla="*/ 191 h 217"/>
                <a:gd name="T24" fmla="*/ 140 w 177"/>
                <a:gd name="T25" fmla="*/ 150 h 217"/>
                <a:gd name="T26" fmla="*/ 135 w 177"/>
                <a:gd name="T27" fmla="*/ 87 h 217"/>
                <a:gd name="T28" fmla="*/ 129 w 177"/>
                <a:gd name="T29" fmla="*/ 35 h 217"/>
                <a:gd name="T30" fmla="*/ 126 w 177"/>
                <a:gd name="T31" fmla="*/ 28 h 217"/>
                <a:gd name="T32" fmla="*/ 122 w 177"/>
                <a:gd name="T33" fmla="*/ 28 h 217"/>
                <a:gd name="T34" fmla="*/ 115 w 177"/>
                <a:gd name="T35" fmla="*/ 35 h 217"/>
                <a:gd name="T36" fmla="*/ 100 w 177"/>
                <a:gd name="T37" fmla="*/ 56 h 217"/>
                <a:gd name="T38" fmla="*/ 73 w 177"/>
                <a:gd name="T39" fmla="*/ 100 h 217"/>
                <a:gd name="T40" fmla="*/ 47 w 177"/>
                <a:gd name="T41" fmla="*/ 170 h 217"/>
                <a:gd name="T42" fmla="*/ 44 w 177"/>
                <a:gd name="T43" fmla="*/ 177 h 217"/>
                <a:gd name="T44" fmla="*/ 35 w 177"/>
                <a:gd name="T45" fmla="*/ 178 h 217"/>
                <a:gd name="T46" fmla="*/ 23 w 177"/>
                <a:gd name="T47" fmla="*/ 177 h 217"/>
                <a:gd name="T48" fmla="*/ 14 w 177"/>
                <a:gd name="T49" fmla="*/ 171 h 217"/>
                <a:gd name="T50" fmla="*/ 11 w 177"/>
                <a:gd name="T51" fmla="*/ 166 h 217"/>
                <a:gd name="T52" fmla="*/ 7 w 177"/>
                <a:gd name="T53" fmla="*/ 154 h 217"/>
                <a:gd name="T54" fmla="*/ 4 w 177"/>
                <a:gd name="T55" fmla="*/ 126 h 217"/>
                <a:gd name="T56" fmla="*/ 2 w 177"/>
                <a:gd name="T57" fmla="*/ 75 h 217"/>
                <a:gd name="T58" fmla="*/ 0 w 177"/>
                <a:gd name="T59" fmla="*/ 24 h 217"/>
                <a:gd name="T60" fmla="*/ 2 w 177"/>
                <a:gd name="T61" fmla="*/ 10 h 217"/>
                <a:gd name="T62" fmla="*/ 7 w 177"/>
                <a:gd name="T63" fmla="*/ 2 h 217"/>
                <a:gd name="T64" fmla="*/ 16 w 177"/>
                <a:gd name="T65" fmla="*/ 2 h 217"/>
                <a:gd name="T66" fmla="*/ 26 w 177"/>
                <a:gd name="T67" fmla="*/ 14 h 217"/>
                <a:gd name="T68" fmla="*/ 28 w 177"/>
                <a:gd name="T69" fmla="*/ 38 h 217"/>
                <a:gd name="T70" fmla="*/ 30 w 177"/>
                <a:gd name="T71" fmla="*/ 98 h 217"/>
                <a:gd name="T72" fmla="*/ 46 w 177"/>
                <a:gd name="T73" fmla="*/ 101 h 217"/>
                <a:gd name="T74" fmla="*/ 73 w 177"/>
                <a:gd name="T75" fmla="*/ 54 h 217"/>
                <a:gd name="T76" fmla="*/ 96 w 177"/>
                <a:gd name="T77" fmla="*/ 17 h 217"/>
                <a:gd name="T78" fmla="*/ 112 w 177"/>
                <a:gd name="T79" fmla="*/ 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7" h="217">
                  <a:moveTo>
                    <a:pt x="121" y="0"/>
                  </a:moveTo>
                  <a:lnTo>
                    <a:pt x="135" y="2"/>
                  </a:lnTo>
                  <a:lnTo>
                    <a:pt x="152" y="7"/>
                  </a:lnTo>
                  <a:lnTo>
                    <a:pt x="161" y="14"/>
                  </a:lnTo>
                  <a:lnTo>
                    <a:pt x="163" y="24"/>
                  </a:lnTo>
                  <a:lnTo>
                    <a:pt x="164" y="42"/>
                  </a:lnTo>
                  <a:lnTo>
                    <a:pt x="164" y="68"/>
                  </a:lnTo>
                  <a:lnTo>
                    <a:pt x="166" y="96"/>
                  </a:lnTo>
                  <a:lnTo>
                    <a:pt x="168" y="124"/>
                  </a:lnTo>
                  <a:lnTo>
                    <a:pt x="170" y="154"/>
                  </a:lnTo>
                  <a:lnTo>
                    <a:pt x="173" y="177"/>
                  </a:lnTo>
                  <a:lnTo>
                    <a:pt x="177" y="196"/>
                  </a:lnTo>
                  <a:lnTo>
                    <a:pt x="177" y="205"/>
                  </a:lnTo>
                  <a:lnTo>
                    <a:pt x="177" y="210"/>
                  </a:lnTo>
                  <a:lnTo>
                    <a:pt x="175" y="213"/>
                  </a:lnTo>
                  <a:lnTo>
                    <a:pt x="171" y="217"/>
                  </a:lnTo>
                  <a:lnTo>
                    <a:pt x="168" y="217"/>
                  </a:lnTo>
                  <a:lnTo>
                    <a:pt x="161" y="217"/>
                  </a:lnTo>
                  <a:lnTo>
                    <a:pt x="156" y="215"/>
                  </a:lnTo>
                  <a:lnTo>
                    <a:pt x="150" y="213"/>
                  </a:lnTo>
                  <a:lnTo>
                    <a:pt x="147" y="210"/>
                  </a:lnTo>
                  <a:lnTo>
                    <a:pt x="143" y="206"/>
                  </a:lnTo>
                  <a:lnTo>
                    <a:pt x="142" y="199"/>
                  </a:lnTo>
                  <a:lnTo>
                    <a:pt x="142" y="191"/>
                  </a:lnTo>
                  <a:lnTo>
                    <a:pt x="140" y="175"/>
                  </a:lnTo>
                  <a:lnTo>
                    <a:pt x="140" y="150"/>
                  </a:lnTo>
                  <a:lnTo>
                    <a:pt x="138" y="119"/>
                  </a:lnTo>
                  <a:lnTo>
                    <a:pt x="135" y="87"/>
                  </a:lnTo>
                  <a:lnTo>
                    <a:pt x="133" y="58"/>
                  </a:lnTo>
                  <a:lnTo>
                    <a:pt x="129" y="35"/>
                  </a:lnTo>
                  <a:lnTo>
                    <a:pt x="128" y="30"/>
                  </a:lnTo>
                  <a:lnTo>
                    <a:pt x="126" y="28"/>
                  </a:lnTo>
                  <a:lnTo>
                    <a:pt x="124" y="26"/>
                  </a:lnTo>
                  <a:lnTo>
                    <a:pt x="122" y="28"/>
                  </a:lnTo>
                  <a:lnTo>
                    <a:pt x="119" y="30"/>
                  </a:lnTo>
                  <a:lnTo>
                    <a:pt x="115" y="35"/>
                  </a:lnTo>
                  <a:lnTo>
                    <a:pt x="110" y="42"/>
                  </a:lnTo>
                  <a:lnTo>
                    <a:pt x="100" y="56"/>
                  </a:lnTo>
                  <a:lnTo>
                    <a:pt x="87" y="75"/>
                  </a:lnTo>
                  <a:lnTo>
                    <a:pt x="73" y="100"/>
                  </a:lnTo>
                  <a:lnTo>
                    <a:pt x="60" y="131"/>
                  </a:lnTo>
                  <a:lnTo>
                    <a:pt x="47" y="170"/>
                  </a:lnTo>
                  <a:lnTo>
                    <a:pt x="46" y="173"/>
                  </a:lnTo>
                  <a:lnTo>
                    <a:pt x="44" y="177"/>
                  </a:lnTo>
                  <a:lnTo>
                    <a:pt x="40" y="178"/>
                  </a:lnTo>
                  <a:lnTo>
                    <a:pt x="35" y="178"/>
                  </a:lnTo>
                  <a:lnTo>
                    <a:pt x="30" y="178"/>
                  </a:lnTo>
                  <a:lnTo>
                    <a:pt x="23" y="177"/>
                  </a:lnTo>
                  <a:lnTo>
                    <a:pt x="19" y="175"/>
                  </a:lnTo>
                  <a:lnTo>
                    <a:pt x="14" y="171"/>
                  </a:lnTo>
                  <a:lnTo>
                    <a:pt x="12" y="170"/>
                  </a:lnTo>
                  <a:lnTo>
                    <a:pt x="11" y="166"/>
                  </a:lnTo>
                  <a:lnTo>
                    <a:pt x="9" y="161"/>
                  </a:lnTo>
                  <a:lnTo>
                    <a:pt x="7" y="154"/>
                  </a:lnTo>
                  <a:lnTo>
                    <a:pt x="5" y="143"/>
                  </a:lnTo>
                  <a:lnTo>
                    <a:pt x="4" y="126"/>
                  </a:lnTo>
                  <a:lnTo>
                    <a:pt x="2" y="101"/>
                  </a:lnTo>
                  <a:lnTo>
                    <a:pt x="2" y="75"/>
                  </a:lnTo>
                  <a:lnTo>
                    <a:pt x="0" y="49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2" y="10"/>
                  </a:lnTo>
                  <a:lnTo>
                    <a:pt x="4" y="5"/>
                  </a:lnTo>
                  <a:lnTo>
                    <a:pt x="7" y="2"/>
                  </a:lnTo>
                  <a:lnTo>
                    <a:pt x="11" y="2"/>
                  </a:lnTo>
                  <a:lnTo>
                    <a:pt x="16" y="2"/>
                  </a:lnTo>
                  <a:lnTo>
                    <a:pt x="23" y="5"/>
                  </a:lnTo>
                  <a:lnTo>
                    <a:pt x="26" y="14"/>
                  </a:lnTo>
                  <a:lnTo>
                    <a:pt x="28" y="24"/>
                  </a:lnTo>
                  <a:lnTo>
                    <a:pt x="28" y="38"/>
                  </a:lnTo>
                  <a:lnTo>
                    <a:pt x="28" y="68"/>
                  </a:lnTo>
                  <a:lnTo>
                    <a:pt x="30" y="98"/>
                  </a:lnTo>
                  <a:lnTo>
                    <a:pt x="33" y="128"/>
                  </a:lnTo>
                  <a:lnTo>
                    <a:pt x="46" y="101"/>
                  </a:lnTo>
                  <a:lnTo>
                    <a:pt x="60" y="77"/>
                  </a:lnTo>
                  <a:lnTo>
                    <a:pt x="73" y="54"/>
                  </a:lnTo>
                  <a:lnTo>
                    <a:pt x="86" y="33"/>
                  </a:lnTo>
                  <a:lnTo>
                    <a:pt x="96" y="17"/>
                  </a:lnTo>
                  <a:lnTo>
                    <a:pt x="105" y="5"/>
                  </a:lnTo>
                  <a:lnTo>
                    <a:pt x="112" y="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54"/>
            <p:cNvSpPr>
              <a:spLocks/>
            </p:cNvSpPr>
            <p:nvPr userDrawn="1"/>
          </p:nvSpPr>
          <p:spPr bwMode="auto">
            <a:xfrm>
              <a:off x="6702095" y="3576752"/>
              <a:ext cx="193811" cy="235746"/>
            </a:xfrm>
            <a:custGeom>
              <a:avLst/>
              <a:gdLst>
                <a:gd name="T0" fmla="*/ 114 w 171"/>
                <a:gd name="T1" fmla="*/ 2 h 208"/>
                <a:gd name="T2" fmla="*/ 121 w 171"/>
                <a:gd name="T3" fmla="*/ 5 h 208"/>
                <a:gd name="T4" fmla="*/ 124 w 171"/>
                <a:gd name="T5" fmla="*/ 12 h 208"/>
                <a:gd name="T6" fmla="*/ 119 w 171"/>
                <a:gd name="T7" fmla="*/ 23 h 208"/>
                <a:gd name="T8" fmla="*/ 73 w 171"/>
                <a:gd name="T9" fmla="*/ 47 h 208"/>
                <a:gd name="T10" fmla="*/ 42 w 171"/>
                <a:gd name="T11" fmla="*/ 79 h 208"/>
                <a:gd name="T12" fmla="*/ 30 w 171"/>
                <a:gd name="T13" fmla="*/ 109 h 208"/>
                <a:gd name="T14" fmla="*/ 38 w 171"/>
                <a:gd name="T15" fmla="*/ 123 h 208"/>
                <a:gd name="T16" fmla="*/ 65 w 171"/>
                <a:gd name="T17" fmla="*/ 119 h 208"/>
                <a:gd name="T18" fmla="*/ 98 w 171"/>
                <a:gd name="T19" fmla="*/ 105 h 208"/>
                <a:gd name="T20" fmla="*/ 126 w 171"/>
                <a:gd name="T21" fmla="*/ 86 h 208"/>
                <a:gd name="T22" fmla="*/ 128 w 171"/>
                <a:gd name="T23" fmla="*/ 60 h 208"/>
                <a:gd name="T24" fmla="*/ 140 w 171"/>
                <a:gd name="T25" fmla="*/ 49 h 208"/>
                <a:gd name="T26" fmla="*/ 152 w 171"/>
                <a:gd name="T27" fmla="*/ 54 h 208"/>
                <a:gd name="T28" fmla="*/ 157 w 171"/>
                <a:gd name="T29" fmla="*/ 58 h 208"/>
                <a:gd name="T30" fmla="*/ 159 w 171"/>
                <a:gd name="T31" fmla="*/ 63 h 208"/>
                <a:gd name="T32" fmla="*/ 161 w 171"/>
                <a:gd name="T33" fmla="*/ 112 h 208"/>
                <a:gd name="T34" fmla="*/ 166 w 171"/>
                <a:gd name="T35" fmla="*/ 172 h 208"/>
                <a:gd name="T36" fmla="*/ 169 w 171"/>
                <a:gd name="T37" fmla="*/ 200 h 208"/>
                <a:gd name="T38" fmla="*/ 164 w 171"/>
                <a:gd name="T39" fmla="*/ 207 h 208"/>
                <a:gd name="T40" fmla="*/ 156 w 171"/>
                <a:gd name="T41" fmla="*/ 207 h 208"/>
                <a:gd name="T42" fmla="*/ 147 w 171"/>
                <a:gd name="T43" fmla="*/ 198 h 208"/>
                <a:gd name="T44" fmla="*/ 135 w 171"/>
                <a:gd name="T45" fmla="*/ 158 h 208"/>
                <a:gd name="T46" fmla="*/ 129 w 171"/>
                <a:gd name="T47" fmla="*/ 117 h 208"/>
                <a:gd name="T48" fmla="*/ 86 w 171"/>
                <a:gd name="T49" fmla="*/ 140 h 208"/>
                <a:gd name="T50" fmla="*/ 44 w 171"/>
                <a:gd name="T51" fmla="*/ 151 h 208"/>
                <a:gd name="T52" fmla="*/ 12 w 171"/>
                <a:gd name="T53" fmla="*/ 138 h 208"/>
                <a:gd name="T54" fmla="*/ 0 w 171"/>
                <a:gd name="T55" fmla="*/ 102 h 208"/>
                <a:gd name="T56" fmla="*/ 17 w 171"/>
                <a:gd name="T57" fmla="*/ 58 h 208"/>
                <a:gd name="T58" fmla="*/ 58 w 171"/>
                <a:gd name="T59" fmla="*/ 19 h 208"/>
                <a:gd name="T60" fmla="*/ 91 w 171"/>
                <a:gd name="T61" fmla="*/ 2 h 208"/>
                <a:gd name="T62" fmla="*/ 110 w 171"/>
                <a:gd name="T6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1" h="208">
                  <a:moveTo>
                    <a:pt x="110" y="0"/>
                  </a:moveTo>
                  <a:lnTo>
                    <a:pt x="114" y="2"/>
                  </a:lnTo>
                  <a:lnTo>
                    <a:pt x="117" y="4"/>
                  </a:lnTo>
                  <a:lnTo>
                    <a:pt x="121" y="5"/>
                  </a:lnTo>
                  <a:lnTo>
                    <a:pt x="122" y="9"/>
                  </a:lnTo>
                  <a:lnTo>
                    <a:pt x="124" y="12"/>
                  </a:lnTo>
                  <a:lnTo>
                    <a:pt x="122" y="18"/>
                  </a:lnTo>
                  <a:lnTo>
                    <a:pt x="119" y="23"/>
                  </a:lnTo>
                  <a:lnTo>
                    <a:pt x="96" y="33"/>
                  </a:lnTo>
                  <a:lnTo>
                    <a:pt x="73" y="47"/>
                  </a:lnTo>
                  <a:lnTo>
                    <a:pt x="56" y="63"/>
                  </a:lnTo>
                  <a:lnTo>
                    <a:pt x="42" y="79"/>
                  </a:lnTo>
                  <a:lnTo>
                    <a:pt x="33" y="95"/>
                  </a:lnTo>
                  <a:lnTo>
                    <a:pt x="30" y="109"/>
                  </a:lnTo>
                  <a:lnTo>
                    <a:pt x="31" y="119"/>
                  </a:lnTo>
                  <a:lnTo>
                    <a:pt x="38" y="123"/>
                  </a:lnTo>
                  <a:lnTo>
                    <a:pt x="49" y="123"/>
                  </a:lnTo>
                  <a:lnTo>
                    <a:pt x="65" y="119"/>
                  </a:lnTo>
                  <a:lnTo>
                    <a:pt x="82" y="112"/>
                  </a:lnTo>
                  <a:lnTo>
                    <a:pt x="98" y="105"/>
                  </a:lnTo>
                  <a:lnTo>
                    <a:pt x="114" y="95"/>
                  </a:lnTo>
                  <a:lnTo>
                    <a:pt x="126" y="86"/>
                  </a:lnTo>
                  <a:lnTo>
                    <a:pt x="126" y="70"/>
                  </a:lnTo>
                  <a:lnTo>
                    <a:pt x="128" y="60"/>
                  </a:lnTo>
                  <a:lnTo>
                    <a:pt x="131" y="51"/>
                  </a:lnTo>
                  <a:lnTo>
                    <a:pt x="140" y="49"/>
                  </a:lnTo>
                  <a:lnTo>
                    <a:pt x="147" y="51"/>
                  </a:lnTo>
                  <a:lnTo>
                    <a:pt x="152" y="54"/>
                  </a:lnTo>
                  <a:lnTo>
                    <a:pt x="154" y="56"/>
                  </a:lnTo>
                  <a:lnTo>
                    <a:pt x="157" y="58"/>
                  </a:lnTo>
                  <a:lnTo>
                    <a:pt x="157" y="61"/>
                  </a:lnTo>
                  <a:lnTo>
                    <a:pt x="159" y="63"/>
                  </a:lnTo>
                  <a:lnTo>
                    <a:pt x="159" y="84"/>
                  </a:lnTo>
                  <a:lnTo>
                    <a:pt x="161" y="112"/>
                  </a:lnTo>
                  <a:lnTo>
                    <a:pt x="163" y="142"/>
                  </a:lnTo>
                  <a:lnTo>
                    <a:pt x="166" y="172"/>
                  </a:lnTo>
                  <a:lnTo>
                    <a:pt x="171" y="194"/>
                  </a:lnTo>
                  <a:lnTo>
                    <a:pt x="169" y="200"/>
                  </a:lnTo>
                  <a:lnTo>
                    <a:pt x="168" y="205"/>
                  </a:lnTo>
                  <a:lnTo>
                    <a:pt x="164" y="207"/>
                  </a:lnTo>
                  <a:lnTo>
                    <a:pt x="161" y="208"/>
                  </a:lnTo>
                  <a:lnTo>
                    <a:pt x="156" y="207"/>
                  </a:lnTo>
                  <a:lnTo>
                    <a:pt x="150" y="203"/>
                  </a:lnTo>
                  <a:lnTo>
                    <a:pt x="147" y="198"/>
                  </a:lnTo>
                  <a:lnTo>
                    <a:pt x="140" y="179"/>
                  </a:lnTo>
                  <a:lnTo>
                    <a:pt x="135" y="158"/>
                  </a:lnTo>
                  <a:lnTo>
                    <a:pt x="131" y="135"/>
                  </a:lnTo>
                  <a:lnTo>
                    <a:pt x="129" y="117"/>
                  </a:lnTo>
                  <a:lnTo>
                    <a:pt x="108" y="130"/>
                  </a:lnTo>
                  <a:lnTo>
                    <a:pt x="86" y="140"/>
                  </a:lnTo>
                  <a:lnTo>
                    <a:pt x="65" y="147"/>
                  </a:lnTo>
                  <a:lnTo>
                    <a:pt x="44" y="151"/>
                  </a:lnTo>
                  <a:lnTo>
                    <a:pt x="26" y="149"/>
                  </a:lnTo>
                  <a:lnTo>
                    <a:pt x="12" y="138"/>
                  </a:lnTo>
                  <a:lnTo>
                    <a:pt x="2" y="121"/>
                  </a:lnTo>
                  <a:lnTo>
                    <a:pt x="0" y="102"/>
                  </a:lnTo>
                  <a:lnTo>
                    <a:pt x="5" y="81"/>
                  </a:lnTo>
                  <a:lnTo>
                    <a:pt x="17" y="58"/>
                  </a:lnTo>
                  <a:lnTo>
                    <a:pt x="37" y="37"/>
                  </a:lnTo>
                  <a:lnTo>
                    <a:pt x="58" y="19"/>
                  </a:lnTo>
                  <a:lnTo>
                    <a:pt x="75" y="9"/>
                  </a:lnTo>
                  <a:lnTo>
                    <a:pt x="91" y="2"/>
                  </a:lnTo>
                  <a:lnTo>
                    <a:pt x="101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9" name="Groep 158"/>
            <p:cNvGrpSpPr/>
            <p:nvPr userDrawn="1"/>
          </p:nvGrpSpPr>
          <p:grpSpPr>
            <a:xfrm>
              <a:off x="6884572" y="3444144"/>
              <a:ext cx="223279" cy="359287"/>
              <a:chOff x="6884572" y="3444144"/>
              <a:chExt cx="223279" cy="359287"/>
            </a:xfrm>
          </p:grpSpPr>
          <p:sp>
            <p:nvSpPr>
              <p:cNvPr id="163" name="Freeform 55"/>
              <p:cNvSpPr>
                <a:spLocks/>
              </p:cNvSpPr>
              <p:nvPr userDrawn="1"/>
            </p:nvSpPr>
            <p:spPr bwMode="auto">
              <a:xfrm>
                <a:off x="6925374" y="3444144"/>
                <a:ext cx="86138" cy="359287"/>
              </a:xfrm>
              <a:custGeom>
                <a:avLst/>
                <a:gdLst>
                  <a:gd name="T0" fmla="*/ 16 w 76"/>
                  <a:gd name="T1" fmla="*/ 0 h 317"/>
                  <a:gd name="T2" fmla="*/ 21 w 76"/>
                  <a:gd name="T3" fmla="*/ 0 h 317"/>
                  <a:gd name="T4" fmla="*/ 28 w 76"/>
                  <a:gd name="T5" fmla="*/ 3 h 317"/>
                  <a:gd name="T6" fmla="*/ 34 w 76"/>
                  <a:gd name="T7" fmla="*/ 10 h 317"/>
                  <a:gd name="T8" fmla="*/ 35 w 76"/>
                  <a:gd name="T9" fmla="*/ 24 h 317"/>
                  <a:gd name="T10" fmla="*/ 35 w 76"/>
                  <a:gd name="T11" fmla="*/ 47 h 317"/>
                  <a:gd name="T12" fmla="*/ 37 w 76"/>
                  <a:gd name="T13" fmla="*/ 72 h 317"/>
                  <a:gd name="T14" fmla="*/ 37 w 76"/>
                  <a:gd name="T15" fmla="*/ 103 h 317"/>
                  <a:gd name="T16" fmla="*/ 39 w 76"/>
                  <a:gd name="T17" fmla="*/ 142 h 317"/>
                  <a:gd name="T18" fmla="*/ 42 w 76"/>
                  <a:gd name="T19" fmla="*/ 180 h 317"/>
                  <a:gd name="T20" fmla="*/ 46 w 76"/>
                  <a:gd name="T21" fmla="*/ 219 h 317"/>
                  <a:gd name="T22" fmla="*/ 51 w 76"/>
                  <a:gd name="T23" fmla="*/ 255 h 317"/>
                  <a:gd name="T24" fmla="*/ 53 w 76"/>
                  <a:gd name="T25" fmla="*/ 254 h 317"/>
                  <a:gd name="T26" fmla="*/ 56 w 76"/>
                  <a:gd name="T27" fmla="*/ 252 h 317"/>
                  <a:gd name="T28" fmla="*/ 60 w 76"/>
                  <a:gd name="T29" fmla="*/ 250 h 317"/>
                  <a:gd name="T30" fmla="*/ 62 w 76"/>
                  <a:gd name="T31" fmla="*/ 248 h 317"/>
                  <a:gd name="T32" fmla="*/ 65 w 76"/>
                  <a:gd name="T33" fmla="*/ 247 h 317"/>
                  <a:gd name="T34" fmla="*/ 69 w 76"/>
                  <a:gd name="T35" fmla="*/ 247 h 317"/>
                  <a:gd name="T36" fmla="*/ 70 w 76"/>
                  <a:gd name="T37" fmla="*/ 248 h 317"/>
                  <a:gd name="T38" fmla="*/ 74 w 76"/>
                  <a:gd name="T39" fmla="*/ 250 h 317"/>
                  <a:gd name="T40" fmla="*/ 74 w 76"/>
                  <a:gd name="T41" fmla="*/ 255 h 317"/>
                  <a:gd name="T42" fmla="*/ 76 w 76"/>
                  <a:gd name="T43" fmla="*/ 261 h 317"/>
                  <a:gd name="T44" fmla="*/ 72 w 76"/>
                  <a:gd name="T45" fmla="*/ 283 h 317"/>
                  <a:gd name="T46" fmla="*/ 63 w 76"/>
                  <a:gd name="T47" fmla="*/ 301 h 317"/>
                  <a:gd name="T48" fmla="*/ 53 w 76"/>
                  <a:gd name="T49" fmla="*/ 313 h 317"/>
                  <a:gd name="T50" fmla="*/ 42 w 76"/>
                  <a:gd name="T51" fmla="*/ 317 h 317"/>
                  <a:gd name="T52" fmla="*/ 35 w 76"/>
                  <a:gd name="T53" fmla="*/ 315 h 317"/>
                  <a:gd name="T54" fmla="*/ 30 w 76"/>
                  <a:gd name="T55" fmla="*/ 306 h 317"/>
                  <a:gd name="T56" fmla="*/ 27 w 76"/>
                  <a:gd name="T57" fmla="*/ 296 h 317"/>
                  <a:gd name="T58" fmla="*/ 23 w 76"/>
                  <a:gd name="T59" fmla="*/ 282 h 317"/>
                  <a:gd name="T60" fmla="*/ 21 w 76"/>
                  <a:gd name="T61" fmla="*/ 264 h 317"/>
                  <a:gd name="T62" fmla="*/ 18 w 76"/>
                  <a:gd name="T63" fmla="*/ 238 h 317"/>
                  <a:gd name="T64" fmla="*/ 14 w 76"/>
                  <a:gd name="T65" fmla="*/ 205 h 317"/>
                  <a:gd name="T66" fmla="*/ 13 w 76"/>
                  <a:gd name="T67" fmla="*/ 168 h 317"/>
                  <a:gd name="T68" fmla="*/ 9 w 76"/>
                  <a:gd name="T69" fmla="*/ 131 h 317"/>
                  <a:gd name="T70" fmla="*/ 6 w 76"/>
                  <a:gd name="T71" fmla="*/ 94 h 317"/>
                  <a:gd name="T72" fmla="*/ 2 w 76"/>
                  <a:gd name="T73" fmla="*/ 65 h 317"/>
                  <a:gd name="T74" fmla="*/ 0 w 76"/>
                  <a:gd name="T75" fmla="*/ 40 h 317"/>
                  <a:gd name="T76" fmla="*/ 0 w 76"/>
                  <a:gd name="T77" fmla="*/ 26 h 317"/>
                  <a:gd name="T78" fmla="*/ 0 w 76"/>
                  <a:gd name="T79" fmla="*/ 19 h 317"/>
                  <a:gd name="T80" fmla="*/ 0 w 76"/>
                  <a:gd name="T81" fmla="*/ 12 h 317"/>
                  <a:gd name="T82" fmla="*/ 4 w 76"/>
                  <a:gd name="T83" fmla="*/ 7 h 317"/>
                  <a:gd name="T84" fmla="*/ 6 w 76"/>
                  <a:gd name="T85" fmla="*/ 3 h 317"/>
                  <a:gd name="T86" fmla="*/ 9 w 76"/>
                  <a:gd name="T87" fmla="*/ 2 h 317"/>
                  <a:gd name="T88" fmla="*/ 13 w 76"/>
                  <a:gd name="T89" fmla="*/ 0 h 317"/>
                  <a:gd name="T90" fmla="*/ 16 w 76"/>
                  <a:gd name="T91" fmla="*/ 0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6" h="317">
                    <a:moveTo>
                      <a:pt x="16" y="0"/>
                    </a:moveTo>
                    <a:lnTo>
                      <a:pt x="21" y="0"/>
                    </a:lnTo>
                    <a:lnTo>
                      <a:pt x="28" y="3"/>
                    </a:lnTo>
                    <a:lnTo>
                      <a:pt x="34" y="10"/>
                    </a:lnTo>
                    <a:lnTo>
                      <a:pt x="35" y="24"/>
                    </a:lnTo>
                    <a:lnTo>
                      <a:pt x="35" y="47"/>
                    </a:lnTo>
                    <a:lnTo>
                      <a:pt x="37" y="72"/>
                    </a:lnTo>
                    <a:lnTo>
                      <a:pt x="37" y="103"/>
                    </a:lnTo>
                    <a:lnTo>
                      <a:pt x="39" y="142"/>
                    </a:lnTo>
                    <a:lnTo>
                      <a:pt x="42" y="180"/>
                    </a:lnTo>
                    <a:lnTo>
                      <a:pt x="46" y="219"/>
                    </a:lnTo>
                    <a:lnTo>
                      <a:pt x="51" y="255"/>
                    </a:lnTo>
                    <a:lnTo>
                      <a:pt x="53" y="254"/>
                    </a:lnTo>
                    <a:lnTo>
                      <a:pt x="56" y="252"/>
                    </a:lnTo>
                    <a:lnTo>
                      <a:pt x="60" y="250"/>
                    </a:lnTo>
                    <a:lnTo>
                      <a:pt x="62" y="248"/>
                    </a:lnTo>
                    <a:lnTo>
                      <a:pt x="65" y="247"/>
                    </a:lnTo>
                    <a:lnTo>
                      <a:pt x="69" y="247"/>
                    </a:lnTo>
                    <a:lnTo>
                      <a:pt x="70" y="248"/>
                    </a:lnTo>
                    <a:lnTo>
                      <a:pt x="74" y="250"/>
                    </a:lnTo>
                    <a:lnTo>
                      <a:pt x="74" y="255"/>
                    </a:lnTo>
                    <a:lnTo>
                      <a:pt x="76" y="261"/>
                    </a:lnTo>
                    <a:lnTo>
                      <a:pt x="72" y="283"/>
                    </a:lnTo>
                    <a:lnTo>
                      <a:pt x="63" y="301"/>
                    </a:lnTo>
                    <a:lnTo>
                      <a:pt x="53" y="313"/>
                    </a:lnTo>
                    <a:lnTo>
                      <a:pt x="42" y="317"/>
                    </a:lnTo>
                    <a:lnTo>
                      <a:pt x="35" y="315"/>
                    </a:lnTo>
                    <a:lnTo>
                      <a:pt x="30" y="306"/>
                    </a:lnTo>
                    <a:lnTo>
                      <a:pt x="27" y="296"/>
                    </a:lnTo>
                    <a:lnTo>
                      <a:pt x="23" y="282"/>
                    </a:lnTo>
                    <a:lnTo>
                      <a:pt x="21" y="264"/>
                    </a:lnTo>
                    <a:lnTo>
                      <a:pt x="18" y="238"/>
                    </a:lnTo>
                    <a:lnTo>
                      <a:pt x="14" y="205"/>
                    </a:lnTo>
                    <a:lnTo>
                      <a:pt x="13" y="168"/>
                    </a:lnTo>
                    <a:lnTo>
                      <a:pt x="9" y="131"/>
                    </a:lnTo>
                    <a:lnTo>
                      <a:pt x="6" y="94"/>
                    </a:lnTo>
                    <a:lnTo>
                      <a:pt x="2" y="65"/>
                    </a:lnTo>
                    <a:lnTo>
                      <a:pt x="0" y="40"/>
                    </a:lnTo>
                    <a:lnTo>
                      <a:pt x="0" y="26"/>
                    </a:lnTo>
                    <a:lnTo>
                      <a:pt x="0" y="19"/>
                    </a:lnTo>
                    <a:lnTo>
                      <a:pt x="0" y="12"/>
                    </a:lnTo>
                    <a:lnTo>
                      <a:pt x="4" y="7"/>
                    </a:lnTo>
                    <a:lnTo>
                      <a:pt x="6" y="3"/>
                    </a:lnTo>
                    <a:lnTo>
                      <a:pt x="9" y="2"/>
                    </a:lnTo>
                    <a:lnTo>
                      <a:pt x="13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56"/>
              <p:cNvSpPr>
                <a:spLocks/>
              </p:cNvSpPr>
              <p:nvPr userDrawn="1"/>
            </p:nvSpPr>
            <p:spPr bwMode="auto">
              <a:xfrm>
                <a:off x="6884572" y="3523482"/>
                <a:ext cx="223279" cy="53270"/>
              </a:xfrm>
              <a:custGeom>
                <a:avLst/>
                <a:gdLst>
                  <a:gd name="T0" fmla="*/ 183 w 197"/>
                  <a:gd name="T1" fmla="*/ 0 h 47"/>
                  <a:gd name="T2" fmla="*/ 187 w 197"/>
                  <a:gd name="T3" fmla="*/ 3 h 47"/>
                  <a:gd name="T4" fmla="*/ 192 w 197"/>
                  <a:gd name="T5" fmla="*/ 7 h 47"/>
                  <a:gd name="T6" fmla="*/ 196 w 197"/>
                  <a:gd name="T7" fmla="*/ 10 h 47"/>
                  <a:gd name="T8" fmla="*/ 197 w 197"/>
                  <a:gd name="T9" fmla="*/ 14 h 47"/>
                  <a:gd name="T10" fmla="*/ 196 w 197"/>
                  <a:gd name="T11" fmla="*/ 16 h 47"/>
                  <a:gd name="T12" fmla="*/ 194 w 197"/>
                  <a:gd name="T13" fmla="*/ 19 h 47"/>
                  <a:gd name="T14" fmla="*/ 190 w 197"/>
                  <a:gd name="T15" fmla="*/ 21 h 47"/>
                  <a:gd name="T16" fmla="*/ 183 w 197"/>
                  <a:gd name="T17" fmla="*/ 23 h 47"/>
                  <a:gd name="T18" fmla="*/ 176 w 197"/>
                  <a:gd name="T19" fmla="*/ 24 h 47"/>
                  <a:gd name="T20" fmla="*/ 157 w 197"/>
                  <a:gd name="T21" fmla="*/ 26 h 47"/>
                  <a:gd name="T22" fmla="*/ 131 w 197"/>
                  <a:gd name="T23" fmla="*/ 31 h 47"/>
                  <a:gd name="T24" fmla="*/ 105 w 197"/>
                  <a:gd name="T25" fmla="*/ 37 h 47"/>
                  <a:gd name="T26" fmla="*/ 78 w 197"/>
                  <a:gd name="T27" fmla="*/ 42 h 47"/>
                  <a:gd name="T28" fmla="*/ 52 w 197"/>
                  <a:gd name="T29" fmla="*/ 45 h 47"/>
                  <a:gd name="T30" fmla="*/ 33 w 197"/>
                  <a:gd name="T31" fmla="*/ 47 h 47"/>
                  <a:gd name="T32" fmla="*/ 19 w 197"/>
                  <a:gd name="T33" fmla="*/ 47 h 47"/>
                  <a:gd name="T34" fmla="*/ 8 w 197"/>
                  <a:gd name="T35" fmla="*/ 42 h 47"/>
                  <a:gd name="T36" fmla="*/ 2 w 197"/>
                  <a:gd name="T37" fmla="*/ 35 h 47"/>
                  <a:gd name="T38" fmla="*/ 0 w 197"/>
                  <a:gd name="T39" fmla="*/ 31 h 47"/>
                  <a:gd name="T40" fmla="*/ 2 w 197"/>
                  <a:gd name="T41" fmla="*/ 26 h 47"/>
                  <a:gd name="T42" fmla="*/ 3 w 197"/>
                  <a:gd name="T43" fmla="*/ 23 h 47"/>
                  <a:gd name="T44" fmla="*/ 5 w 197"/>
                  <a:gd name="T45" fmla="*/ 21 h 47"/>
                  <a:gd name="T46" fmla="*/ 10 w 197"/>
                  <a:gd name="T47" fmla="*/ 19 h 47"/>
                  <a:gd name="T48" fmla="*/ 17 w 197"/>
                  <a:gd name="T49" fmla="*/ 17 h 47"/>
                  <a:gd name="T50" fmla="*/ 31 w 197"/>
                  <a:gd name="T51" fmla="*/ 17 h 47"/>
                  <a:gd name="T52" fmla="*/ 47 w 197"/>
                  <a:gd name="T53" fmla="*/ 16 h 47"/>
                  <a:gd name="T54" fmla="*/ 64 w 197"/>
                  <a:gd name="T55" fmla="*/ 12 h 47"/>
                  <a:gd name="T56" fmla="*/ 122 w 197"/>
                  <a:gd name="T57" fmla="*/ 5 h 47"/>
                  <a:gd name="T58" fmla="*/ 183 w 197"/>
                  <a:gd name="T59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97" h="47">
                    <a:moveTo>
                      <a:pt x="183" y="0"/>
                    </a:moveTo>
                    <a:lnTo>
                      <a:pt x="187" y="3"/>
                    </a:lnTo>
                    <a:lnTo>
                      <a:pt x="192" y="7"/>
                    </a:lnTo>
                    <a:lnTo>
                      <a:pt x="196" y="10"/>
                    </a:lnTo>
                    <a:lnTo>
                      <a:pt x="197" y="14"/>
                    </a:lnTo>
                    <a:lnTo>
                      <a:pt x="196" y="16"/>
                    </a:lnTo>
                    <a:lnTo>
                      <a:pt x="194" y="19"/>
                    </a:lnTo>
                    <a:lnTo>
                      <a:pt x="190" y="21"/>
                    </a:lnTo>
                    <a:lnTo>
                      <a:pt x="183" y="23"/>
                    </a:lnTo>
                    <a:lnTo>
                      <a:pt x="176" y="24"/>
                    </a:lnTo>
                    <a:lnTo>
                      <a:pt x="157" y="26"/>
                    </a:lnTo>
                    <a:lnTo>
                      <a:pt x="131" y="31"/>
                    </a:lnTo>
                    <a:lnTo>
                      <a:pt x="105" y="37"/>
                    </a:lnTo>
                    <a:lnTo>
                      <a:pt x="78" y="42"/>
                    </a:lnTo>
                    <a:lnTo>
                      <a:pt x="52" y="45"/>
                    </a:lnTo>
                    <a:lnTo>
                      <a:pt x="33" y="47"/>
                    </a:lnTo>
                    <a:lnTo>
                      <a:pt x="19" y="47"/>
                    </a:lnTo>
                    <a:lnTo>
                      <a:pt x="8" y="42"/>
                    </a:lnTo>
                    <a:lnTo>
                      <a:pt x="2" y="35"/>
                    </a:lnTo>
                    <a:lnTo>
                      <a:pt x="0" y="31"/>
                    </a:lnTo>
                    <a:lnTo>
                      <a:pt x="2" y="26"/>
                    </a:lnTo>
                    <a:lnTo>
                      <a:pt x="3" y="23"/>
                    </a:lnTo>
                    <a:lnTo>
                      <a:pt x="5" y="21"/>
                    </a:lnTo>
                    <a:lnTo>
                      <a:pt x="10" y="19"/>
                    </a:lnTo>
                    <a:lnTo>
                      <a:pt x="17" y="17"/>
                    </a:lnTo>
                    <a:lnTo>
                      <a:pt x="31" y="17"/>
                    </a:lnTo>
                    <a:lnTo>
                      <a:pt x="47" y="16"/>
                    </a:lnTo>
                    <a:lnTo>
                      <a:pt x="64" y="12"/>
                    </a:lnTo>
                    <a:lnTo>
                      <a:pt x="122" y="5"/>
                    </a:lnTo>
                    <a:lnTo>
                      <a:pt x="183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60" name="Freeform 57"/>
            <p:cNvSpPr>
              <a:spLocks/>
            </p:cNvSpPr>
            <p:nvPr userDrawn="1"/>
          </p:nvSpPr>
          <p:spPr bwMode="auto">
            <a:xfrm>
              <a:off x="7036446" y="3579019"/>
              <a:ext cx="198344" cy="214212"/>
            </a:xfrm>
            <a:custGeom>
              <a:avLst/>
              <a:gdLst>
                <a:gd name="T0" fmla="*/ 158 w 175"/>
                <a:gd name="T1" fmla="*/ 2 h 189"/>
                <a:gd name="T2" fmla="*/ 163 w 175"/>
                <a:gd name="T3" fmla="*/ 19 h 189"/>
                <a:gd name="T4" fmla="*/ 159 w 175"/>
                <a:gd name="T5" fmla="*/ 65 h 189"/>
                <a:gd name="T6" fmla="*/ 161 w 175"/>
                <a:gd name="T7" fmla="*/ 112 h 189"/>
                <a:gd name="T8" fmla="*/ 168 w 175"/>
                <a:gd name="T9" fmla="*/ 157 h 189"/>
                <a:gd name="T10" fmla="*/ 172 w 175"/>
                <a:gd name="T11" fmla="*/ 163 h 189"/>
                <a:gd name="T12" fmla="*/ 175 w 175"/>
                <a:gd name="T13" fmla="*/ 170 h 189"/>
                <a:gd name="T14" fmla="*/ 173 w 175"/>
                <a:gd name="T15" fmla="*/ 180 h 189"/>
                <a:gd name="T16" fmla="*/ 168 w 175"/>
                <a:gd name="T17" fmla="*/ 189 h 189"/>
                <a:gd name="T18" fmla="*/ 159 w 175"/>
                <a:gd name="T19" fmla="*/ 189 h 189"/>
                <a:gd name="T20" fmla="*/ 153 w 175"/>
                <a:gd name="T21" fmla="*/ 185 h 189"/>
                <a:gd name="T22" fmla="*/ 142 w 175"/>
                <a:gd name="T23" fmla="*/ 166 h 189"/>
                <a:gd name="T24" fmla="*/ 132 w 175"/>
                <a:gd name="T25" fmla="*/ 112 h 189"/>
                <a:gd name="T26" fmla="*/ 104 w 175"/>
                <a:gd name="T27" fmla="*/ 156 h 189"/>
                <a:gd name="T28" fmla="*/ 76 w 175"/>
                <a:gd name="T29" fmla="*/ 173 h 189"/>
                <a:gd name="T30" fmla="*/ 46 w 175"/>
                <a:gd name="T31" fmla="*/ 164 h 189"/>
                <a:gd name="T32" fmla="*/ 23 w 175"/>
                <a:gd name="T33" fmla="*/ 131 h 189"/>
                <a:gd name="T34" fmla="*/ 9 w 175"/>
                <a:gd name="T35" fmla="*/ 87 h 189"/>
                <a:gd name="T36" fmla="*/ 2 w 175"/>
                <a:gd name="T37" fmla="*/ 49 h 189"/>
                <a:gd name="T38" fmla="*/ 0 w 175"/>
                <a:gd name="T39" fmla="*/ 31 h 189"/>
                <a:gd name="T40" fmla="*/ 2 w 175"/>
                <a:gd name="T41" fmla="*/ 23 h 189"/>
                <a:gd name="T42" fmla="*/ 6 w 175"/>
                <a:gd name="T43" fmla="*/ 16 h 189"/>
                <a:gd name="T44" fmla="*/ 13 w 175"/>
                <a:gd name="T45" fmla="*/ 12 h 189"/>
                <a:gd name="T46" fmla="*/ 28 w 175"/>
                <a:gd name="T47" fmla="*/ 14 h 189"/>
                <a:gd name="T48" fmla="*/ 34 w 175"/>
                <a:gd name="T49" fmla="*/ 31 h 189"/>
                <a:gd name="T50" fmla="*/ 41 w 175"/>
                <a:gd name="T51" fmla="*/ 82 h 189"/>
                <a:gd name="T52" fmla="*/ 55 w 175"/>
                <a:gd name="T53" fmla="*/ 135 h 189"/>
                <a:gd name="T54" fmla="*/ 63 w 175"/>
                <a:gd name="T55" fmla="*/ 145 h 189"/>
                <a:gd name="T56" fmla="*/ 72 w 175"/>
                <a:gd name="T57" fmla="*/ 147 h 189"/>
                <a:gd name="T58" fmla="*/ 83 w 175"/>
                <a:gd name="T59" fmla="*/ 140 h 189"/>
                <a:gd name="T60" fmla="*/ 109 w 175"/>
                <a:gd name="T61" fmla="*/ 105 h 189"/>
                <a:gd name="T62" fmla="*/ 133 w 175"/>
                <a:gd name="T63" fmla="*/ 42 h 189"/>
                <a:gd name="T64" fmla="*/ 139 w 175"/>
                <a:gd name="T65" fmla="*/ 9 h 189"/>
                <a:gd name="T66" fmla="*/ 153 w 175"/>
                <a:gd name="T67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5" h="189">
                  <a:moveTo>
                    <a:pt x="153" y="0"/>
                  </a:moveTo>
                  <a:lnTo>
                    <a:pt x="158" y="2"/>
                  </a:lnTo>
                  <a:lnTo>
                    <a:pt x="161" y="9"/>
                  </a:lnTo>
                  <a:lnTo>
                    <a:pt x="163" y="19"/>
                  </a:lnTo>
                  <a:lnTo>
                    <a:pt x="163" y="35"/>
                  </a:lnTo>
                  <a:lnTo>
                    <a:pt x="159" y="65"/>
                  </a:lnTo>
                  <a:lnTo>
                    <a:pt x="159" y="89"/>
                  </a:lnTo>
                  <a:lnTo>
                    <a:pt x="161" y="112"/>
                  </a:lnTo>
                  <a:lnTo>
                    <a:pt x="163" y="133"/>
                  </a:lnTo>
                  <a:lnTo>
                    <a:pt x="168" y="157"/>
                  </a:lnTo>
                  <a:lnTo>
                    <a:pt x="170" y="159"/>
                  </a:lnTo>
                  <a:lnTo>
                    <a:pt x="172" y="163"/>
                  </a:lnTo>
                  <a:lnTo>
                    <a:pt x="173" y="166"/>
                  </a:lnTo>
                  <a:lnTo>
                    <a:pt x="175" y="170"/>
                  </a:lnTo>
                  <a:lnTo>
                    <a:pt x="175" y="175"/>
                  </a:lnTo>
                  <a:lnTo>
                    <a:pt x="173" y="180"/>
                  </a:lnTo>
                  <a:lnTo>
                    <a:pt x="170" y="185"/>
                  </a:lnTo>
                  <a:lnTo>
                    <a:pt x="168" y="189"/>
                  </a:lnTo>
                  <a:lnTo>
                    <a:pt x="163" y="189"/>
                  </a:lnTo>
                  <a:lnTo>
                    <a:pt x="159" y="189"/>
                  </a:lnTo>
                  <a:lnTo>
                    <a:pt x="156" y="189"/>
                  </a:lnTo>
                  <a:lnTo>
                    <a:pt x="153" y="185"/>
                  </a:lnTo>
                  <a:lnTo>
                    <a:pt x="149" y="182"/>
                  </a:lnTo>
                  <a:lnTo>
                    <a:pt x="142" y="166"/>
                  </a:lnTo>
                  <a:lnTo>
                    <a:pt x="137" y="142"/>
                  </a:lnTo>
                  <a:lnTo>
                    <a:pt x="132" y="112"/>
                  </a:lnTo>
                  <a:lnTo>
                    <a:pt x="119" y="135"/>
                  </a:lnTo>
                  <a:lnTo>
                    <a:pt x="104" y="156"/>
                  </a:lnTo>
                  <a:lnTo>
                    <a:pt x="91" y="168"/>
                  </a:lnTo>
                  <a:lnTo>
                    <a:pt x="76" y="173"/>
                  </a:lnTo>
                  <a:lnTo>
                    <a:pt x="62" y="173"/>
                  </a:lnTo>
                  <a:lnTo>
                    <a:pt x="46" y="164"/>
                  </a:lnTo>
                  <a:lnTo>
                    <a:pt x="32" y="149"/>
                  </a:lnTo>
                  <a:lnTo>
                    <a:pt x="23" y="131"/>
                  </a:lnTo>
                  <a:lnTo>
                    <a:pt x="16" y="108"/>
                  </a:lnTo>
                  <a:lnTo>
                    <a:pt x="9" y="87"/>
                  </a:lnTo>
                  <a:lnTo>
                    <a:pt x="6" y="66"/>
                  </a:lnTo>
                  <a:lnTo>
                    <a:pt x="2" y="49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6"/>
                  </a:lnTo>
                  <a:lnTo>
                    <a:pt x="9" y="12"/>
                  </a:lnTo>
                  <a:lnTo>
                    <a:pt x="13" y="12"/>
                  </a:lnTo>
                  <a:lnTo>
                    <a:pt x="20" y="10"/>
                  </a:lnTo>
                  <a:lnTo>
                    <a:pt x="28" y="14"/>
                  </a:lnTo>
                  <a:lnTo>
                    <a:pt x="32" y="19"/>
                  </a:lnTo>
                  <a:lnTo>
                    <a:pt x="34" y="31"/>
                  </a:lnTo>
                  <a:lnTo>
                    <a:pt x="37" y="51"/>
                  </a:lnTo>
                  <a:lnTo>
                    <a:pt x="41" y="82"/>
                  </a:lnTo>
                  <a:lnTo>
                    <a:pt x="48" y="112"/>
                  </a:lnTo>
                  <a:lnTo>
                    <a:pt x="55" y="135"/>
                  </a:lnTo>
                  <a:lnTo>
                    <a:pt x="58" y="142"/>
                  </a:lnTo>
                  <a:lnTo>
                    <a:pt x="63" y="145"/>
                  </a:lnTo>
                  <a:lnTo>
                    <a:pt x="69" y="147"/>
                  </a:lnTo>
                  <a:lnTo>
                    <a:pt x="72" y="147"/>
                  </a:lnTo>
                  <a:lnTo>
                    <a:pt x="77" y="145"/>
                  </a:lnTo>
                  <a:lnTo>
                    <a:pt x="83" y="140"/>
                  </a:lnTo>
                  <a:lnTo>
                    <a:pt x="97" y="126"/>
                  </a:lnTo>
                  <a:lnTo>
                    <a:pt x="109" y="105"/>
                  </a:lnTo>
                  <a:lnTo>
                    <a:pt x="123" y="77"/>
                  </a:lnTo>
                  <a:lnTo>
                    <a:pt x="133" y="42"/>
                  </a:lnTo>
                  <a:lnTo>
                    <a:pt x="135" y="23"/>
                  </a:lnTo>
                  <a:lnTo>
                    <a:pt x="139" y="9"/>
                  </a:lnTo>
                  <a:lnTo>
                    <a:pt x="144" y="0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58"/>
            <p:cNvSpPr>
              <a:spLocks/>
            </p:cNvSpPr>
            <p:nvPr userDrawn="1"/>
          </p:nvSpPr>
          <p:spPr bwMode="auto">
            <a:xfrm>
              <a:off x="7280127" y="3568818"/>
              <a:ext cx="155276" cy="224412"/>
            </a:xfrm>
            <a:custGeom>
              <a:avLst/>
              <a:gdLst>
                <a:gd name="T0" fmla="*/ 105 w 137"/>
                <a:gd name="T1" fmla="*/ 0 h 198"/>
                <a:gd name="T2" fmla="*/ 119 w 137"/>
                <a:gd name="T3" fmla="*/ 0 h 198"/>
                <a:gd name="T4" fmla="*/ 128 w 137"/>
                <a:gd name="T5" fmla="*/ 5 h 198"/>
                <a:gd name="T6" fmla="*/ 135 w 137"/>
                <a:gd name="T7" fmla="*/ 14 h 198"/>
                <a:gd name="T8" fmla="*/ 137 w 137"/>
                <a:gd name="T9" fmla="*/ 32 h 198"/>
                <a:gd name="T10" fmla="*/ 135 w 137"/>
                <a:gd name="T11" fmla="*/ 46 h 198"/>
                <a:gd name="T12" fmla="*/ 132 w 137"/>
                <a:gd name="T13" fmla="*/ 58 h 198"/>
                <a:gd name="T14" fmla="*/ 126 w 137"/>
                <a:gd name="T15" fmla="*/ 68 h 198"/>
                <a:gd name="T16" fmla="*/ 118 w 137"/>
                <a:gd name="T17" fmla="*/ 74 h 198"/>
                <a:gd name="T18" fmla="*/ 107 w 137"/>
                <a:gd name="T19" fmla="*/ 75 h 198"/>
                <a:gd name="T20" fmla="*/ 104 w 137"/>
                <a:gd name="T21" fmla="*/ 74 h 198"/>
                <a:gd name="T22" fmla="*/ 102 w 137"/>
                <a:gd name="T23" fmla="*/ 72 h 198"/>
                <a:gd name="T24" fmla="*/ 102 w 137"/>
                <a:gd name="T25" fmla="*/ 68 h 198"/>
                <a:gd name="T26" fmla="*/ 102 w 137"/>
                <a:gd name="T27" fmla="*/ 67 h 198"/>
                <a:gd name="T28" fmla="*/ 104 w 137"/>
                <a:gd name="T29" fmla="*/ 63 h 198"/>
                <a:gd name="T30" fmla="*/ 105 w 137"/>
                <a:gd name="T31" fmla="*/ 58 h 198"/>
                <a:gd name="T32" fmla="*/ 105 w 137"/>
                <a:gd name="T33" fmla="*/ 49 h 198"/>
                <a:gd name="T34" fmla="*/ 107 w 137"/>
                <a:gd name="T35" fmla="*/ 39 h 198"/>
                <a:gd name="T36" fmla="*/ 104 w 137"/>
                <a:gd name="T37" fmla="*/ 30 h 198"/>
                <a:gd name="T38" fmla="*/ 98 w 137"/>
                <a:gd name="T39" fmla="*/ 26 h 198"/>
                <a:gd name="T40" fmla="*/ 88 w 137"/>
                <a:gd name="T41" fmla="*/ 28 h 198"/>
                <a:gd name="T42" fmla="*/ 77 w 137"/>
                <a:gd name="T43" fmla="*/ 37 h 198"/>
                <a:gd name="T44" fmla="*/ 69 w 137"/>
                <a:gd name="T45" fmla="*/ 54 h 198"/>
                <a:gd name="T46" fmla="*/ 58 w 137"/>
                <a:gd name="T47" fmla="*/ 75 h 198"/>
                <a:gd name="T48" fmla="*/ 53 w 137"/>
                <a:gd name="T49" fmla="*/ 103 h 198"/>
                <a:gd name="T50" fmla="*/ 51 w 137"/>
                <a:gd name="T51" fmla="*/ 117 h 198"/>
                <a:gd name="T52" fmla="*/ 51 w 137"/>
                <a:gd name="T53" fmla="*/ 131 h 198"/>
                <a:gd name="T54" fmla="*/ 51 w 137"/>
                <a:gd name="T55" fmla="*/ 149 h 198"/>
                <a:gd name="T56" fmla="*/ 55 w 137"/>
                <a:gd name="T57" fmla="*/ 175 h 198"/>
                <a:gd name="T58" fmla="*/ 56 w 137"/>
                <a:gd name="T59" fmla="*/ 182 h 198"/>
                <a:gd name="T60" fmla="*/ 56 w 137"/>
                <a:gd name="T61" fmla="*/ 189 h 198"/>
                <a:gd name="T62" fmla="*/ 55 w 137"/>
                <a:gd name="T63" fmla="*/ 193 h 198"/>
                <a:gd name="T64" fmla="*/ 55 w 137"/>
                <a:gd name="T65" fmla="*/ 196 h 198"/>
                <a:gd name="T66" fmla="*/ 53 w 137"/>
                <a:gd name="T67" fmla="*/ 198 h 198"/>
                <a:gd name="T68" fmla="*/ 49 w 137"/>
                <a:gd name="T69" fmla="*/ 198 h 198"/>
                <a:gd name="T70" fmla="*/ 46 w 137"/>
                <a:gd name="T71" fmla="*/ 198 h 198"/>
                <a:gd name="T72" fmla="*/ 41 w 137"/>
                <a:gd name="T73" fmla="*/ 198 h 198"/>
                <a:gd name="T74" fmla="*/ 35 w 137"/>
                <a:gd name="T75" fmla="*/ 196 h 198"/>
                <a:gd name="T76" fmla="*/ 32 w 137"/>
                <a:gd name="T77" fmla="*/ 194 h 198"/>
                <a:gd name="T78" fmla="*/ 28 w 137"/>
                <a:gd name="T79" fmla="*/ 191 h 198"/>
                <a:gd name="T80" fmla="*/ 27 w 137"/>
                <a:gd name="T81" fmla="*/ 186 h 198"/>
                <a:gd name="T82" fmla="*/ 14 w 137"/>
                <a:gd name="T83" fmla="*/ 138 h 198"/>
                <a:gd name="T84" fmla="*/ 7 w 137"/>
                <a:gd name="T85" fmla="*/ 93 h 198"/>
                <a:gd name="T86" fmla="*/ 2 w 137"/>
                <a:gd name="T87" fmla="*/ 49 h 198"/>
                <a:gd name="T88" fmla="*/ 0 w 137"/>
                <a:gd name="T89" fmla="*/ 14 h 198"/>
                <a:gd name="T90" fmla="*/ 0 w 137"/>
                <a:gd name="T91" fmla="*/ 9 h 198"/>
                <a:gd name="T92" fmla="*/ 4 w 137"/>
                <a:gd name="T93" fmla="*/ 5 h 198"/>
                <a:gd name="T94" fmla="*/ 7 w 137"/>
                <a:gd name="T95" fmla="*/ 4 h 198"/>
                <a:gd name="T96" fmla="*/ 11 w 137"/>
                <a:gd name="T97" fmla="*/ 2 h 198"/>
                <a:gd name="T98" fmla="*/ 14 w 137"/>
                <a:gd name="T99" fmla="*/ 2 h 198"/>
                <a:gd name="T100" fmla="*/ 18 w 137"/>
                <a:gd name="T101" fmla="*/ 4 h 198"/>
                <a:gd name="T102" fmla="*/ 21 w 137"/>
                <a:gd name="T103" fmla="*/ 4 h 198"/>
                <a:gd name="T104" fmla="*/ 25 w 137"/>
                <a:gd name="T105" fmla="*/ 7 h 198"/>
                <a:gd name="T106" fmla="*/ 27 w 137"/>
                <a:gd name="T107" fmla="*/ 12 h 198"/>
                <a:gd name="T108" fmla="*/ 30 w 137"/>
                <a:gd name="T109" fmla="*/ 28 h 198"/>
                <a:gd name="T110" fmla="*/ 34 w 137"/>
                <a:gd name="T111" fmla="*/ 47 h 198"/>
                <a:gd name="T112" fmla="*/ 37 w 137"/>
                <a:gd name="T113" fmla="*/ 68 h 198"/>
                <a:gd name="T114" fmla="*/ 44 w 137"/>
                <a:gd name="T115" fmla="*/ 49 h 198"/>
                <a:gd name="T116" fmla="*/ 55 w 137"/>
                <a:gd name="T117" fmla="*/ 32 h 198"/>
                <a:gd name="T118" fmla="*/ 67 w 137"/>
                <a:gd name="T119" fmla="*/ 16 h 198"/>
                <a:gd name="T120" fmla="*/ 84 w 137"/>
                <a:gd name="T121" fmla="*/ 5 h 198"/>
                <a:gd name="T122" fmla="*/ 105 w 137"/>
                <a:gd name="T12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" h="198">
                  <a:moveTo>
                    <a:pt x="105" y="0"/>
                  </a:moveTo>
                  <a:lnTo>
                    <a:pt x="119" y="0"/>
                  </a:lnTo>
                  <a:lnTo>
                    <a:pt x="128" y="5"/>
                  </a:lnTo>
                  <a:lnTo>
                    <a:pt x="135" y="14"/>
                  </a:lnTo>
                  <a:lnTo>
                    <a:pt x="137" y="32"/>
                  </a:lnTo>
                  <a:lnTo>
                    <a:pt x="135" y="46"/>
                  </a:lnTo>
                  <a:lnTo>
                    <a:pt x="132" y="58"/>
                  </a:lnTo>
                  <a:lnTo>
                    <a:pt x="126" y="68"/>
                  </a:lnTo>
                  <a:lnTo>
                    <a:pt x="118" y="74"/>
                  </a:lnTo>
                  <a:lnTo>
                    <a:pt x="107" y="75"/>
                  </a:lnTo>
                  <a:lnTo>
                    <a:pt x="104" y="74"/>
                  </a:lnTo>
                  <a:lnTo>
                    <a:pt x="102" y="72"/>
                  </a:lnTo>
                  <a:lnTo>
                    <a:pt x="102" y="68"/>
                  </a:lnTo>
                  <a:lnTo>
                    <a:pt x="102" y="67"/>
                  </a:lnTo>
                  <a:lnTo>
                    <a:pt x="104" y="63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7" y="39"/>
                  </a:lnTo>
                  <a:lnTo>
                    <a:pt x="104" y="30"/>
                  </a:lnTo>
                  <a:lnTo>
                    <a:pt x="98" y="26"/>
                  </a:lnTo>
                  <a:lnTo>
                    <a:pt x="88" y="28"/>
                  </a:lnTo>
                  <a:lnTo>
                    <a:pt x="77" y="37"/>
                  </a:lnTo>
                  <a:lnTo>
                    <a:pt x="69" y="54"/>
                  </a:lnTo>
                  <a:lnTo>
                    <a:pt x="58" y="75"/>
                  </a:lnTo>
                  <a:lnTo>
                    <a:pt x="53" y="103"/>
                  </a:lnTo>
                  <a:lnTo>
                    <a:pt x="51" y="117"/>
                  </a:lnTo>
                  <a:lnTo>
                    <a:pt x="51" y="131"/>
                  </a:lnTo>
                  <a:lnTo>
                    <a:pt x="51" y="149"/>
                  </a:lnTo>
                  <a:lnTo>
                    <a:pt x="55" y="175"/>
                  </a:lnTo>
                  <a:lnTo>
                    <a:pt x="56" y="182"/>
                  </a:lnTo>
                  <a:lnTo>
                    <a:pt x="56" y="189"/>
                  </a:lnTo>
                  <a:lnTo>
                    <a:pt x="55" y="193"/>
                  </a:lnTo>
                  <a:lnTo>
                    <a:pt x="55" y="196"/>
                  </a:lnTo>
                  <a:lnTo>
                    <a:pt x="53" y="198"/>
                  </a:lnTo>
                  <a:lnTo>
                    <a:pt x="49" y="198"/>
                  </a:lnTo>
                  <a:lnTo>
                    <a:pt x="46" y="198"/>
                  </a:lnTo>
                  <a:lnTo>
                    <a:pt x="41" y="198"/>
                  </a:lnTo>
                  <a:lnTo>
                    <a:pt x="35" y="196"/>
                  </a:lnTo>
                  <a:lnTo>
                    <a:pt x="32" y="194"/>
                  </a:lnTo>
                  <a:lnTo>
                    <a:pt x="28" y="191"/>
                  </a:lnTo>
                  <a:lnTo>
                    <a:pt x="27" y="186"/>
                  </a:lnTo>
                  <a:lnTo>
                    <a:pt x="14" y="138"/>
                  </a:lnTo>
                  <a:lnTo>
                    <a:pt x="7" y="93"/>
                  </a:lnTo>
                  <a:lnTo>
                    <a:pt x="2" y="49"/>
                  </a:lnTo>
                  <a:lnTo>
                    <a:pt x="0" y="14"/>
                  </a:lnTo>
                  <a:lnTo>
                    <a:pt x="0" y="9"/>
                  </a:lnTo>
                  <a:lnTo>
                    <a:pt x="4" y="5"/>
                  </a:lnTo>
                  <a:lnTo>
                    <a:pt x="7" y="4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8" y="4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28"/>
                  </a:lnTo>
                  <a:lnTo>
                    <a:pt x="34" y="47"/>
                  </a:lnTo>
                  <a:lnTo>
                    <a:pt x="37" y="68"/>
                  </a:lnTo>
                  <a:lnTo>
                    <a:pt x="44" y="49"/>
                  </a:lnTo>
                  <a:lnTo>
                    <a:pt x="55" y="32"/>
                  </a:lnTo>
                  <a:lnTo>
                    <a:pt x="67" y="16"/>
                  </a:lnTo>
                  <a:lnTo>
                    <a:pt x="84" y="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59"/>
            <p:cNvSpPr>
              <a:spLocks noEditPoints="1"/>
            </p:cNvSpPr>
            <p:nvPr userDrawn="1"/>
          </p:nvSpPr>
          <p:spPr bwMode="auto">
            <a:xfrm>
              <a:off x="7427469" y="3589219"/>
              <a:ext cx="190411" cy="204011"/>
            </a:xfrm>
            <a:custGeom>
              <a:avLst/>
              <a:gdLst>
                <a:gd name="T0" fmla="*/ 110 w 168"/>
                <a:gd name="T1" fmla="*/ 26 h 180"/>
                <a:gd name="T2" fmla="*/ 84 w 168"/>
                <a:gd name="T3" fmla="*/ 42 h 180"/>
                <a:gd name="T4" fmla="*/ 59 w 168"/>
                <a:gd name="T5" fmla="*/ 68 h 180"/>
                <a:gd name="T6" fmla="*/ 51 w 168"/>
                <a:gd name="T7" fmla="*/ 87 h 180"/>
                <a:gd name="T8" fmla="*/ 86 w 168"/>
                <a:gd name="T9" fmla="*/ 80 h 180"/>
                <a:gd name="T10" fmla="*/ 124 w 168"/>
                <a:gd name="T11" fmla="*/ 59 h 180"/>
                <a:gd name="T12" fmla="*/ 138 w 168"/>
                <a:gd name="T13" fmla="*/ 35 h 180"/>
                <a:gd name="T14" fmla="*/ 124 w 168"/>
                <a:gd name="T15" fmla="*/ 22 h 180"/>
                <a:gd name="T16" fmla="*/ 134 w 168"/>
                <a:gd name="T17" fmla="*/ 1 h 180"/>
                <a:gd name="T18" fmla="*/ 162 w 168"/>
                <a:gd name="T19" fmla="*/ 22 h 180"/>
                <a:gd name="T20" fmla="*/ 164 w 168"/>
                <a:gd name="T21" fmla="*/ 57 h 180"/>
                <a:gd name="T22" fmla="*/ 136 w 168"/>
                <a:gd name="T23" fmla="*/ 87 h 180"/>
                <a:gd name="T24" fmla="*/ 91 w 168"/>
                <a:gd name="T25" fmla="*/ 108 h 180"/>
                <a:gd name="T26" fmla="*/ 51 w 168"/>
                <a:gd name="T27" fmla="*/ 115 h 180"/>
                <a:gd name="T28" fmla="*/ 59 w 168"/>
                <a:gd name="T29" fmla="*/ 138 h 180"/>
                <a:gd name="T30" fmla="*/ 93 w 168"/>
                <a:gd name="T31" fmla="*/ 155 h 180"/>
                <a:gd name="T32" fmla="*/ 138 w 168"/>
                <a:gd name="T33" fmla="*/ 150 h 180"/>
                <a:gd name="T34" fmla="*/ 148 w 168"/>
                <a:gd name="T35" fmla="*/ 147 h 180"/>
                <a:gd name="T36" fmla="*/ 155 w 168"/>
                <a:gd name="T37" fmla="*/ 148 h 180"/>
                <a:gd name="T38" fmla="*/ 157 w 168"/>
                <a:gd name="T39" fmla="*/ 154 h 180"/>
                <a:gd name="T40" fmla="*/ 154 w 168"/>
                <a:gd name="T41" fmla="*/ 162 h 180"/>
                <a:gd name="T42" fmla="*/ 147 w 168"/>
                <a:gd name="T43" fmla="*/ 171 h 180"/>
                <a:gd name="T44" fmla="*/ 117 w 168"/>
                <a:gd name="T45" fmla="*/ 180 h 180"/>
                <a:gd name="T46" fmla="*/ 66 w 168"/>
                <a:gd name="T47" fmla="*/ 175 h 180"/>
                <a:gd name="T48" fmla="*/ 28 w 168"/>
                <a:gd name="T49" fmla="*/ 145 h 180"/>
                <a:gd name="T50" fmla="*/ 19 w 168"/>
                <a:gd name="T51" fmla="*/ 112 h 180"/>
                <a:gd name="T52" fmla="*/ 5 w 168"/>
                <a:gd name="T53" fmla="*/ 105 h 180"/>
                <a:gd name="T54" fmla="*/ 0 w 168"/>
                <a:gd name="T55" fmla="*/ 98 h 180"/>
                <a:gd name="T56" fmla="*/ 2 w 168"/>
                <a:gd name="T57" fmla="*/ 91 h 180"/>
                <a:gd name="T58" fmla="*/ 9 w 168"/>
                <a:gd name="T59" fmla="*/ 84 h 180"/>
                <a:gd name="T60" fmla="*/ 23 w 168"/>
                <a:gd name="T61" fmla="*/ 80 h 180"/>
                <a:gd name="T62" fmla="*/ 51 w 168"/>
                <a:gd name="T63" fmla="*/ 35 h 180"/>
                <a:gd name="T64" fmla="*/ 91 w 168"/>
                <a:gd name="T65" fmla="*/ 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" h="180">
                  <a:moveTo>
                    <a:pt x="124" y="22"/>
                  </a:moveTo>
                  <a:lnTo>
                    <a:pt x="110" y="26"/>
                  </a:lnTo>
                  <a:lnTo>
                    <a:pt x="96" y="33"/>
                  </a:lnTo>
                  <a:lnTo>
                    <a:pt x="84" y="42"/>
                  </a:lnTo>
                  <a:lnTo>
                    <a:pt x="73" y="50"/>
                  </a:lnTo>
                  <a:lnTo>
                    <a:pt x="59" y="68"/>
                  </a:lnTo>
                  <a:lnTo>
                    <a:pt x="51" y="84"/>
                  </a:lnTo>
                  <a:lnTo>
                    <a:pt x="51" y="87"/>
                  </a:lnTo>
                  <a:lnTo>
                    <a:pt x="61" y="85"/>
                  </a:lnTo>
                  <a:lnTo>
                    <a:pt x="86" y="80"/>
                  </a:lnTo>
                  <a:lnTo>
                    <a:pt x="106" y="70"/>
                  </a:lnTo>
                  <a:lnTo>
                    <a:pt x="124" y="59"/>
                  </a:lnTo>
                  <a:lnTo>
                    <a:pt x="134" y="47"/>
                  </a:lnTo>
                  <a:lnTo>
                    <a:pt x="138" y="35"/>
                  </a:lnTo>
                  <a:lnTo>
                    <a:pt x="133" y="26"/>
                  </a:lnTo>
                  <a:lnTo>
                    <a:pt x="124" y="22"/>
                  </a:lnTo>
                  <a:close/>
                  <a:moveTo>
                    <a:pt x="113" y="0"/>
                  </a:moveTo>
                  <a:lnTo>
                    <a:pt x="134" y="1"/>
                  </a:lnTo>
                  <a:lnTo>
                    <a:pt x="154" y="10"/>
                  </a:lnTo>
                  <a:lnTo>
                    <a:pt x="162" y="22"/>
                  </a:lnTo>
                  <a:lnTo>
                    <a:pt x="168" y="38"/>
                  </a:lnTo>
                  <a:lnTo>
                    <a:pt x="164" y="57"/>
                  </a:lnTo>
                  <a:lnTo>
                    <a:pt x="154" y="71"/>
                  </a:lnTo>
                  <a:lnTo>
                    <a:pt x="136" y="87"/>
                  </a:lnTo>
                  <a:lnTo>
                    <a:pt x="115" y="99"/>
                  </a:lnTo>
                  <a:lnTo>
                    <a:pt x="91" y="108"/>
                  </a:lnTo>
                  <a:lnTo>
                    <a:pt x="68" y="113"/>
                  </a:lnTo>
                  <a:lnTo>
                    <a:pt x="51" y="115"/>
                  </a:lnTo>
                  <a:lnTo>
                    <a:pt x="51" y="122"/>
                  </a:lnTo>
                  <a:lnTo>
                    <a:pt x="59" y="138"/>
                  </a:lnTo>
                  <a:lnTo>
                    <a:pt x="73" y="148"/>
                  </a:lnTo>
                  <a:lnTo>
                    <a:pt x="93" y="155"/>
                  </a:lnTo>
                  <a:lnTo>
                    <a:pt x="113" y="155"/>
                  </a:lnTo>
                  <a:lnTo>
                    <a:pt x="138" y="150"/>
                  </a:lnTo>
                  <a:lnTo>
                    <a:pt x="143" y="148"/>
                  </a:lnTo>
                  <a:lnTo>
                    <a:pt x="148" y="147"/>
                  </a:lnTo>
                  <a:lnTo>
                    <a:pt x="152" y="147"/>
                  </a:lnTo>
                  <a:lnTo>
                    <a:pt x="155" y="148"/>
                  </a:lnTo>
                  <a:lnTo>
                    <a:pt x="157" y="150"/>
                  </a:lnTo>
                  <a:lnTo>
                    <a:pt x="157" y="154"/>
                  </a:lnTo>
                  <a:lnTo>
                    <a:pt x="157" y="159"/>
                  </a:lnTo>
                  <a:lnTo>
                    <a:pt x="154" y="162"/>
                  </a:lnTo>
                  <a:lnTo>
                    <a:pt x="152" y="168"/>
                  </a:lnTo>
                  <a:lnTo>
                    <a:pt x="147" y="171"/>
                  </a:lnTo>
                  <a:lnTo>
                    <a:pt x="143" y="173"/>
                  </a:lnTo>
                  <a:lnTo>
                    <a:pt x="117" y="180"/>
                  </a:lnTo>
                  <a:lnTo>
                    <a:pt x="91" y="180"/>
                  </a:lnTo>
                  <a:lnTo>
                    <a:pt x="66" y="175"/>
                  </a:lnTo>
                  <a:lnTo>
                    <a:pt x="45" y="162"/>
                  </a:lnTo>
                  <a:lnTo>
                    <a:pt x="28" y="145"/>
                  </a:lnTo>
                  <a:lnTo>
                    <a:pt x="21" y="126"/>
                  </a:lnTo>
                  <a:lnTo>
                    <a:pt x="19" y="112"/>
                  </a:lnTo>
                  <a:lnTo>
                    <a:pt x="10" y="110"/>
                  </a:lnTo>
                  <a:lnTo>
                    <a:pt x="5" y="105"/>
                  </a:lnTo>
                  <a:lnTo>
                    <a:pt x="2" y="101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2" y="91"/>
                  </a:lnTo>
                  <a:lnTo>
                    <a:pt x="3" y="87"/>
                  </a:lnTo>
                  <a:lnTo>
                    <a:pt x="9" y="84"/>
                  </a:lnTo>
                  <a:lnTo>
                    <a:pt x="21" y="85"/>
                  </a:lnTo>
                  <a:lnTo>
                    <a:pt x="23" y="80"/>
                  </a:lnTo>
                  <a:lnTo>
                    <a:pt x="33" y="57"/>
                  </a:lnTo>
                  <a:lnTo>
                    <a:pt x="51" y="35"/>
                  </a:lnTo>
                  <a:lnTo>
                    <a:pt x="70" y="19"/>
                  </a:lnTo>
                  <a:lnTo>
                    <a:pt x="91" y="7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8843417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112"/>
                                        </p:tgtEl>
                                      </p:cBhvr>
                                      <p:by x="33500" y="335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125E-6 -4.44444E-6 L -0.24257 -0.16805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135" y="-840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64" presetClass="path" presetSubtype="0" accel="22000" decel="78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3.7037E-7 L 1.875E-6 -0.14282 " pathEditMode="relative" rAng="0" ptsTypes="AA">
                                      <p:cBhvr>
                                        <p:cTn id="16" dur="1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3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3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3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2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2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2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2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2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2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25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3" presetClass="entr" presetSubtype="272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2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3" presetClass="entr" presetSubtype="272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2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2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2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2" presetClass="entr" presetSubtype="2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9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9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2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9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9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75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750"/>
                                        <p:tgtEl>
                                          <p:spTgt spid="2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7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7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 animBg="1"/>
      <p:bldP spid="118" grpId="1" animBg="1"/>
      <p:bldP spid="8" grpId="0" animBg="1"/>
      <p:bldP spid="8" grpId="1" animBg="1"/>
      <p:bldP spid="115" grpId="0" animBg="1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AE4A36-6C08-4813-AB20-7B7FA92641D1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31813" y="872249"/>
            <a:ext cx="11115336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1" name="Tekstvak 80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Tabel 100%</a:t>
            </a:r>
          </a:p>
        </p:txBody>
      </p:sp>
      <p:sp>
        <p:nvSpPr>
          <p:cNvPr id="18" name="Tijdelijke aanduiding voor titel 1"/>
          <p:cNvSpPr>
            <a:spLocks noGrp="1"/>
          </p:cNvSpPr>
          <p:nvPr>
            <p:ph type="title"/>
          </p:nvPr>
        </p:nvSpPr>
        <p:spPr>
          <a:xfrm>
            <a:off x="531813" y="541467"/>
            <a:ext cx="11113607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grpSp>
        <p:nvGrpSpPr>
          <p:cNvPr id="19" name="GRID" hidden="1"/>
          <p:cNvGrpSpPr/>
          <p:nvPr userDrawn="1"/>
        </p:nvGrpSpPr>
        <p:grpSpPr>
          <a:xfrm>
            <a:off x="-10486" y="3303"/>
            <a:ext cx="12202486" cy="6854697"/>
            <a:chOff x="0" y="-1"/>
            <a:chExt cx="12202486" cy="6854697"/>
          </a:xfrm>
          <a:solidFill>
            <a:schemeClr val="tx2">
              <a:alpha val="26000"/>
            </a:schemeClr>
          </a:solidFill>
        </p:grpSpPr>
        <p:sp>
          <p:nvSpPr>
            <p:cNvPr id="21" name="Rechthoek 20"/>
            <p:cNvSpPr/>
            <p:nvPr userDrawn="1"/>
          </p:nvSpPr>
          <p:spPr>
            <a:xfrm>
              <a:off x="0" y="-1"/>
              <a:ext cx="12202486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hthoek 21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hthoek 22"/>
            <p:cNvSpPr/>
            <p:nvPr userDrawn="1"/>
          </p:nvSpPr>
          <p:spPr>
            <a:xfrm rot="16200000">
              <a:off x="8501517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hthoek 23"/>
            <p:cNvSpPr/>
            <p:nvPr userDrawn="1"/>
          </p:nvSpPr>
          <p:spPr>
            <a:xfrm>
              <a:off x="0" y="6313229"/>
              <a:ext cx="12202486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hthoek 24"/>
            <p:cNvSpPr/>
            <p:nvPr userDrawn="1"/>
          </p:nvSpPr>
          <p:spPr>
            <a:xfrm>
              <a:off x="0" y="5625142"/>
              <a:ext cx="12202486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hthoek 25"/>
            <p:cNvSpPr/>
            <p:nvPr userDrawn="1"/>
          </p:nvSpPr>
          <p:spPr>
            <a:xfrm>
              <a:off x="0" y="1053569"/>
              <a:ext cx="12202486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ijdelijke aanduiding voor tabel 2"/>
          <p:cNvSpPr>
            <a:spLocks noGrp="1"/>
          </p:cNvSpPr>
          <p:nvPr>
            <p:ph type="tbl" sz="quarter" idx="14"/>
          </p:nvPr>
        </p:nvSpPr>
        <p:spPr>
          <a:xfrm>
            <a:off x="531813" y="1455110"/>
            <a:ext cx="11114087" cy="4172578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03823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 dia: Feedback communicer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nl-NL" sz="1000" b="1" dirty="0">
              <a:solidFill>
                <a:schemeClr val="tx1"/>
              </a:solidFill>
            </a:endParaRPr>
          </a:p>
        </p:txBody>
      </p:sp>
      <p:sp>
        <p:nvSpPr>
          <p:cNvPr id="16" name="Rechthoek 15"/>
          <p:cNvSpPr/>
          <p:nvPr userDrawn="1"/>
        </p:nvSpPr>
        <p:spPr>
          <a:xfrm>
            <a:off x="701536" y="1700810"/>
            <a:ext cx="10800649" cy="435649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ste klant,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j PPT Solutions communiceren we feedback met opmerkingen in PowerPoint.</a:t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anneer u feedback heeft wat betrekking heeft op een dia in de presentatie, ga dan naar de desbetreffende dia en volg de volgende stappen:</a:t>
            </a: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nl-NL" sz="1000" kern="1200" cap="none" baseline="0" dirty="0">
              <a:solidFill>
                <a:srgbClr val="303E4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3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ze stappen kunt u uitvoeren door de gehele presentatie en eventueel ook antwoord geven op onze communicatie via opmerkingen.</a:t>
            </a:r>
            <a:b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000" kern="1200" cap="none" baseline="0" dirty="0">
                <a:solidFill>
                  <a:srgbClr val="303E4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 volgende stappen kunt u uitvoeren om antwoord te geven op evt. opmerkingen of om naar de vorige/volgende opmerking in de presentatie te gaan:</a:t>
            </a:r>
          </a:p>
        </p:txBody>
      </p:sp>
      <p:sp>
        <p:nvSpPr>
          <p:cNvPr id="8" name="Tekstvak 7"/>
          <p:cNvSpPr txBox="1"/>
          <p:nvPr userDrawn="1"/>
        </p:nvSpPr>
        <p:spPr>
          <a:xfrm>
            <a:off x="8548743" y="-399456"/>
            <a:ext cx="3643257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nl-NL" sz="140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e dia: Feedback communiceren</a:t>
            </a:r>
          </a:p>
        </p:txBody>
      </p:sp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2267220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4838993"/>
              <a:ext cx="12169774" cy="210548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7" name="Rechthoek 36"/>
            <p:cNvSpPr/>
            <p:nvPr userDrawn="1"/>
          </p:nvSpPr>
          <p:spPr>
            <a:xfrm>
              <a:off x="0" y="277158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8" name="Rechthoek 37"/>
            <p:cNvSpPr/>
            <p:nvPr userDrawn="1"/>
          </p:nvSpPr>
          <p:spPr>
            <a:xfrm>
              <a:off x="0" y="320061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39" name="Rechthoek 38"/>
            <p:cNvSpPr/>
            <p:nvPr userDrawn="1"/>
          </p:nvSpPr>
          <p:spPr>
            <a:xfrm>
              <a:off x="0" y="3666199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48" name="Rechthoek 47"/>
            <p:cNvSpPr/>
            <p:nvPr userDrawn="1"/>
          </p:nvSpPr>
          <p:spPr>
            <a:xfrm>
              <a:off x="0" y="5380201"/>
              <a:ext cx="12169774" cy="133544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Tekstvak 6"/>
          <p:cNvSpPr txBox="1"/>
          <p:nvPr userDrawn="1"/>
        </p:nvSpPr>
        <p:spPr>
          <a:xfrm>
            <a:off x="693962" y="692697"/>
            <a:ext cx="9946827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1800" dirty="0">
                <a:solidFill>
                  <a:srgbClr val="0096A5"/>
                </a:solidFill>
                <a:latin typeface="Oswald" panose="02000503000000000000" pitchFamily="2" charset="0"/>
              </a:rPr>
              <a:t>Feedback communicatie</a:t>
            </a:r>
            <a:endParaRPr lang="en-US" sz="180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  <p:grpSp>
        <p:nvGrpSpPr>
          <p:cNvPr id="67" name="Groep 66"/>
          <p:cNvGrpSpPr/>
          <p:nvPr userDrawn="1"/>
        </p:nvGrpSpPr>
        <p:grpSpPr>
          <a:xfrm>
            <a:off x="696791" y="2472280"/>
            <a:ext cx="9936052" cy="1694973"/>
            <a:chOff x="695521" y="2472279"/>
            <a:chExt cx="9917939" cy="1694973"/>
          </a:xfrm>
        </p:grpSpPr>
        <p:grpSp>
          <p:nvGrpSpPr>
            <p:cNvPr id="18" name="Groep 17"/>
            <p:cNvGrpSpPr/>
            <p:nvPr/>
          </p:nvGrpSpPr>
          <p:grpSpPr>
            <a:xfrm>
              <a:off x="695521" y="2477768"/>
              <a:ext cx="9917939" cy="1643724"/>
              <a:chOff x="607174" y="2060848"/>
              <a:chExt cx="9917939" cy="1643724"/>
            </a:xfrm>
          </p:grpSpPr>
          <p:sp>
            <p:nvSpPr>
              <p:cNvPr id="23" name="Tekstvak 22"/>
              <p:cNvSpPr txBox="1"/>
              <p:nvPr/>
            </p:nvSpPr>
            <p:spPr>
              <a:xfrm>
                <a:off x="1020057" y="2060849"/>
                <a:ext cx="4824536" cy="2654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Ga naar de tab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Invoegen’.</a:t>
                </a:r>
              </a:p>
            </p:txBody>
          </p:sp>
          <p:sp>
            <p:nvSpPr>
              <p:cNvPr id="24" name="Ovaal 23"/>
              <p:cNvSpPr/>
              <p:nvPr/>
            </p:nvSpPr>
            <p:spPr>
              <a:xfrm>
                <a:off x="607174" y="2060848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1</a:t>
                </a:r>
              </a:p>
            </p:txBody>
          </p:sp>
          <p:sp>
            <p:nvSpPr>
              <p:cNvPr id="25" name="Tekstvak 24"/>
              <p:cNvSpPr txBox="1"/>
              <p:nvPr/>
            </p:nvSpPr>
            <p:spPr>
              <a:xfrm>
                <a:off x="1020057" y="2483279"/>
                <a:ext cx="482453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Klik op de knop </a:t>
                </a: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‘Opmerking’.</a:t>
                </a:r>
              </a:p>
            </p:txBody>
          </p:sp>
          <p:sp>
            <p:nvSpPr>
              <p:cNvPr id="26" name="Ovaal 25"/>
              <p:cNvSpPr/>
              <p:nvPr/>
            </p:nvSpPr>
            <p:spPr>
              <a:xfrm>
                <a:off x="607174" y="2488475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</a:t>
                </a:r>
              </a:p>
            </p:txBody>
          </p:sp>
          <p:sp>
            <p:nvSpPr>
              <p:cNvPr id="27" name="Tekstvak 26"/>
              <p:cNvSpPr txBox="1"/>
              <p:nvPr/>
            </p:nvSpPr>
            <p:spPr>
              <a:xfrm>
                <a:off x="1020057" y="2931615"/>
                <a:ext cx="95050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r verschijnt nu een klein spreekwolkje op de slide en het venster voor opmerkingen opent zich aan de zijkant.</a:t>
                </a:r>
              </a:p>
              <a:p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yp uw feedback in het tekst vak in het venster voor opmerkingen.</a:t>
                </a:r>
              </a:p>
            </p:txBody>
          </p:sp>
          <p:sp>
            <p:nvSpPr>
              <p:cNvPr id="28" name="Ovaal 27"/>
              <p:cNvSpPr/>
              <p:nvPr/>
            </p:nvSpPr>
            <p:spPr>
              <a:xfrm>
                <a:off x="607174" y="291608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3</a:t>
                </a:r>
              </a:p>
            </p:txBody>
          </p:sp>
          <p:sp>
            <p:nvSpPr>
              <p:cNvPr id="29" name="Tekstvak 28"/>
              <p:cNvSpPr txBox="1"/>
              <p:nvPr/>
            </p:nvSpPr>
            <p:spPr>
              <a:xfrm>
                <a:off x="1020057" y="3416540"/>
                <a:ext cx="7293656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u dit gedaan heeft, kunt u het spreekwolkje op de juiste plaats op de dia slepen. 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Zo is het voor ons duidelijk op welk deel van de content, op de dia, uw feedback betrekking heeft.</a:t>
                </a:r>
              </a:p>
            </p:txBody>
          </p:sp>
          <p:sp>
            <p:nvSpPr>
              <p:cNvPr id="30" name="Ovaal 29"/>
              <p:cNvSpPr/>
              <p:nvPr/>
            </p:nvSpPr>
            <p:spPr>
              <a:xfrm>
                <a:off x="607174" y="341654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4</a:t>
                </a:r>
              </a:p>
            </p:txBody>
          </p:sp>
        </p:grpSp>
        <p:pic>
          <p:nvPicPr>
            <p:cNvPr id="51" name="Afbeelding 50"/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92913" y="2472279"/>
              <a:ext cx="1822207" cy="26537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2" name="Afbeelding 51"/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92913" y="2840765"/>
              <a:ext cx="432050" cy="376815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6" name="Afbeelding 55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2793592"/>
              <a:ext cx="2144324" cy="880792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58" name="Afbeelding 57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9962" y="3767202"/>
              <a:ext cx="419100" cy="400050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grpSp>
        <p:nvGrpSpPr>
          <p:cNvPr id="66" name="Groep 65"/>
          <p:cNvGrpSpPr/>
          <p:nvPr userDrawn="1"/>
        </p:nvGrpSpPr>
        <p:grpSpPr>
          <a:xfrm>
            <a:off x="691994" y="4957010"/>
            <a:ext cx="10940890" cy="992294"/>
            <a:chOff x="690732" y="4957010"/>
            <a:chExt cx="10920946" cy="992294"/>
          </a:xfrm>
        </p:grpSpPr>
        <p:grpSp>
          <p:nvGrpSpPr>
            <p:cNvPr id="41" name="Groep 40"/>
            <p:cNvGrpSpPr/>
            <p:nvPr/>
          </p:nvGrpSpPr>
          <p:grpSpPr>
            <a:xfrm>
              <a:off x="690732" y="5052264"/>
              <a:ext cx="10920946" cy="807860"/>
              <a:chOff x="612279" y="4917797"/>
              <a:chExt cx="10920946" cy="807860"/>
            </a:xfrm>
          </p:grpSpPr>
          <p:sp>
            <p:nvSpPr>
              <p:cNvPr id="44" name="Tekstvak 43"/>
              <p:cNvSpPr txBox="1"/>
              <p:nvPr/>
            </p:nvSpPr>
            <p:spPr>
              <a:xfrm>
                <a:off x="1020057" y="4933332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en u een opmerking van PPT Solutions ziet staan, Kunt u antwoorden door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nder de opmerking, waar een tekst vak staat met de beschrijving ‘Beantwoorden’, uw antwoord te typen.</a:t>
                </a:r>
              </a:p>
            </p:txBody>
          </p:sp>
          <p:sp>
            <p:nvSpPr>
              <p:cNvPr id="45" name="Ovaal 44"/>
              <p:cNvSpPr/>
              <p:nvPr/>
            </p:nvSpPr>
            <p:spPr>
              <a:xfrm>
                <a:off x="612279" y="4917797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</a:t>
                </a:r>
              </a:p>
            </p:txBody>
          </p:sp>
          <p:sp>
            <p:nvSpPr>
              <p:cNvPr id="46" name="Tekstvak 45"/>
              <p:cNvSpPr txBox="1"/>
              <p:nvPr/>
            </p:nvSpPr>
            <p:spPr>
              <a:xfrm>
                <a:off x="1020057" y="5437625"/>
                <a:ext cx="10513168" cy="288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Wanneer het venster voor opmerkingen is geopend zijn in de rechter bovenhoek twee knopjes zichtbaar.</a:t>
                </a:r>
                <a:br>
                  <a:rPr lang="nl-NL" sz="1000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nl-NL" sz="1000" b="1" dirty="0">
                    <a:solidFill>
                      <a:srgbClr val="44546A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et het linker knopje gaat u naar de vorige opmerking in de presentatie en met het rechter knopje gaat u naar de volgende.</a:t>
                </a:r>
              </a:p>
            </p:txBody>
          </p:sp>
          <p:sp>
            <p:nvSpPr>
              <p:cNvPr id="47" name="Ovaal 46"/>
              <p:cNvSpPr/>
              <p:nvPr/>
            </p:nvSpPr>
            <p:spPr>
              <a:xfrm>
                <a:off x="612279" y="5422090"/>
                <a:ext cx="288032" cy="288032"/>
              </a:xfrm>
              <a:prstGeom prst="ellipse">
                <a:avLst/>
              </a:prstGeom>
              <a:solidFill>
                <a:srgbClr val="4454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8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1000" b="1" cap="all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B</a:t>
                </a:r>
              </a:p>
            </p:txBody>
          </p:sp>
        </p:grpSp>
        <p:pic>
          <p:nvPicPr>
            <p:cNvPr id="63" name="Afbeelding 62"/>
            <p:cNvPicPr>
              <a:picLocks noChangeAspect="1"/>
            </p:cNvPicPr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521581" y="4957010"/>
              <a:ext cx="1677516" cy="529469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  <p:pic>
          <p:nvPicPr>
            <p:cNvPr id="65" name="Afbeelding 64"/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21580" y="5568546"/>
              <a:ext cx="673648" cy="380758"/>
            </a:xfrm>
            <a:prstGeom prst="rect">
              <a:avLst/>
            </a:prstGeom>
            <a:ln w="3175">
              <a:solidFill>
                <a:srgbClr val="E7E6E6"/>
              </a:solidFill>
            </a:ln>
          </p:spPr>
        </p:pic>
      </p:grpSp>
      <p:sp>
        <p:nvSpPr>
          <p:cNvPr id="43" name="Tijdelijke aanduiding voor tekst 58"/>
          <p:cNvSpPr txBox="1">
            <a:spLocks/>
          </p:cNvSpPr>
          <p:nvPr userDrawn="1"/>
        </p:nvSpPr>
        <p:spPr>
          <a:xfrm>
            <a:off x="1" y="6750000"/>
            <a:ext cx="12192000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l-NL" sz="2000" dirty="0"/>
          </a:p>
        </p:txBody>
      </p:sp>
      <p:cxnSp>
        <p:nvCxnSpPr>
          <p:cNvPr id="42" name="Rechte verbindingslijn 41"/>
          <p:cNvCxnSpPr>
            <a:cxnSpLocks/>
          </p:cNvCxnSpPr>
          <p:nvPr userDrawn="1"/>
        </p:nvCxnSpPr>
        <p:spPr>
          <a:xfrm>
            <a:off x="693962" y="1124808"/>
            <a:ext cx="9946827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Vrije vorm 308"/>
          <p:cNvSpPr/>
          <p:nvPr userDrawn="1"/>
        </p:nvSpPr>
        <p:spPr>
          <a:xfrm>
            <a:off x="11056395" y="692697"/>
            <a:ext cx="434787" cy="433993"/>
          </a:xfrm>
          <a:custGeom>
            <a:avLst/>
            <a:gdLst>
              <a:gd name="connsiteX0" fmla="*/ 3160837 w 6321674"/>
              <a:gd name="connsiteY0" fmla="*/ 0 h 6321674"/>
              <a:gd name="connsiteX1" fmla="*/ 6321674 w 6321674"/>
              <a:gd name="connsiteY1" fmla="*/ 3160837 h 6321674"/>
              <a:gd name="connsiteX2" fmla="*/ 6073280 w 6321674"/>
              <a:gd name="connsiteY2" fmla="*/ 4391178 h 6321674"/>
              <a:gd name="connsiteX3" fmla="*/ 6050767 w 6321674"/>
              <a:gd name="connsiteY3" fmla="*/ 4437912 h 6321674"/>
              <a:gd name="connsiteX4" fmla="*/ 5808464 w 6321674"/>
              <a:gd name="connsiteY4" fmla="*/ 4437912 h 6321674"/>
              <a:gd name="connsiteX5" fmla="*/ 4886641 w 6321674"/>
              <a:gd name="connsiteY5" fmla="*/ 3516089 h 6321674"/>
              <a:gd name="connsiteX6" fmla="*/ 4886641 w 6321674"/>
              <a:gd name="connsiteY6" fmla="*/ 2976234 h 6321674"/>
              <a:gd name="connsiteX7" fmla="*/ 4861424 w 6321674"/>
              <a:gd name="connsiteY7" fmla="*/ 2811002 h 6321674"/>
              <a:gd name="connsiteX8" fmla="*/ 3160837 w 6321674"/>
              <a:gd name="connsiteY8" fmla="*/ 1424984 h 6321674"/>
              <a:gd name="connsiteX9" fmla="*/ 1759746 w 6321674"/>
              <a:gd name="connsiteY9" fmla="*/ 1424984 h 6321674"/>
              <a:gd name="connsiteX10" fmla="*/ 2750811 w 6321674"/>
              <a:gd name="connsiteY10" fmla="*/ 2416049 h 6321674"/>
              <a:gd name="connsiteX11" fmla="*/ 2828413 w 6321674"/>
              <a:gd name="connsiteY11" fmla="*/ 2373928 h 6321674"/>
              <a:gd name="connsiteX12" fmla="*/ 3160836 w 6321674"/>
              <a:gd name="connsiteY12" fmla="*/ 2306815 h 6321674"/>
              <a:gd name="connsiteX13" fmla="*/ 4014858 w 6321674"/>
              <a:gd name="connsiteY13" fmla="*/ 3160837 h 6321674"/>
              <a:gd name="connsiteX14" fmla="*/ 3947745 w 6321674"/>
              <a:gd name="connsiteY14" fmla="*/ 3493261 h 6321674"/>
              <a:gd name="connsiteX15" fmla="*/ 3905624 w 6321674"/>
              <a:gd name="connsiteY15" fmla="*/ 3570862 h 6321674"/>
              <a:gd name="connsiteX16" fmla="*/ 4978204 w 6321674"/>
              <a:gd name="connsiteY16" fmla="*/ 4651491 h 6321674"/>
              <a:gd name="connsiteX17" fmla="*/ 5564528 w 6321674"/>
              <a:gd name="connsiteY17" fmla="*/ 4886642 h 6321674"/>
              <a:gd name="connsiteX18" fmla="*/ 5807033 w 6321674"/>
              <a:gd name="connsiteY18" fmla="*/ 4886642 h 6321674"/>
              <a:gd name="connsiteX19" fmla="*/ 5781853 w 6321674"/>
              <a:gd name="connsiteY19" fmla="*/ 4928091 h 6321674"/>
              <a:gd name="connsiteX20" fmla="*/ 3160837 w 6321674"/>
              <a:gd name="connsiteY20" fmla="*/ 6321674 h 6321674"/>
              <a:gd name="connsiteX21" fmla="*/ 0 w 6321674"/>
              <a:gd name="connsiteY21" fmla="*/ 3160837 h 6321674"/>
              <a:gd name="connsiteX22" fmla="*/ 248395 w 6321674"/>
              <a:gd name="connsiteY22" fmla="*/ 1930497 h 6321674"/>
              <a:gd name="connsiteX23" fmla="*/ 278958 w 6321674"/>
              <a:gd name="connsiteY23" fmla="*/ 1867050 h 6321674"/>
              <a:gd name="connsiteX24" fmla="*/ 523257 w 6321674"/>
              <a:gd name="connsiteY24" fmla="*/ 1867050 h 6321674"/>
              <a:gd name="connsiteX25" fmla="*/ 1445080 w 6321674"/>
              <a:gd name="connsiteY25" fmla="*/ 2788873 h 6321674"/>
              <a:gd name="connsiteX26" fmla="*/ 1445080 w 6321674"/>
              <a:gd name="connsiteY26" fmla="*/ 3411271 h 6321674"/>
              <a:gd name="connsiteX27" fmla="*/ 1460251 w 6321674"/>
              <a:gd name="connsiteY27" fmla="*/ 3510672 h 6321674"/>
              <a:gd name="connsiteX28" fmla="*/ 3160837 w 6321674"/>
              <a:gd name="connsiteY28" fmla="*/ 4896690 h 6321674"/>
              <a:gd name="connsiteX29" fmla="*/ 4561928 w 6321674"/>
              <a:gd name="connsiteY29" fmla="*/ 4896690 h 6321674"/>
              <a:gd name="connsiteX30" fmla="*/ 3570862 w 6321674"/>
              <a:gd name="connsiteY30" fmla="*/ 3905624 h 6321674"/>
              <a:gd name="connsiteX31" fmla="*/ 3493260 w 6321674"/>
              <a:gd name="connsiteY31" fmla="*/ 3947745 h 6321674"/>
              <a:gd name="connsiteX32" fmla="*/ 3160836 w 6321674"/>
              <a:gd name="connsiteY32" fmla="*/ 4014859 h 6321674"/>
              <a:gd name="connsiteX33" fmla="*/ 2306814 w 6321674"/>
              <a:gd name="connsiteY33" fmla="*/ 3160837 h 6321674"/>
              <a:gd name="connsiteX34" fmla="*/ 2373928 w 6321674"/>
              <a:gd name="connsiteY34" fmla="*/ 2828413 h 6321674"/>
              <a:gd name="connsiteX35" fmla="*/ 2416050 w 6321674"/>
              <a:gd name="connsiteY35" fmla="*/ 2750811 h 6321674"/>
              <a:gd name="connsiteX36" fmla="*/ 1433758 w 6321674"/>
              <a:gd name="connsiteY36" fmla="*/ 1759384 h 6321674"/>
              <a:gd name="connsiteX37" fmla="*/ 731545 w 6321674"/>
              <a:gd name="connsiteY37" fmla="*/ 1403612 h 6321674"/>
              <a:gd name="connsiteX38" fmla="*/ 533729 w 6321674"/>
              <a:gd name="connsiteY38" fmla="*/ 1403612 h 6321674"/>
              <a:gd name="connsiteX39" fmla="*/ 539822 w 6321674"/>
              <a:gd name="connsiteY39" fmla="*/ 1393583 h 6321674"/>
              <a:gd name="connsiteX40" fmla="*/ 3160837 w 6321674"/>
              <a:gd name="connsiteY40" fmla="*/ 0 h 6321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6321674" h="6321674">
                <a:moveTo>
                  <a:pt x="3160837" y="0"/>
                </a:moveTo>
                <a:cubicBezTo>
                  <a:pt x="4906519" y="0"/>
                  <a:pt x="6321674" y="1415155"/>
                  <a:pt x="6321674" y="3160837"/>
                </a:cubicBezTo>
                <a:cubicBezTo>
                  <a:pt x="6321674" y="3597258"/>
                  <a:pt x="6233227" y="4013020"/>
                  <a:pt x="6073280" y="4391178"/>
                </a:cubicBezTo>
                <a:lnTo>
                  <a:pt x="6050767" y="4437912"/>
                </a:lnTo>
                <a:lnTo>
                  <a:pt x="5808464" y="4437912"/>
                </a:lnTo>
                <a:cubicBezTo>
                  <a:pt x="5299355" y="4437912"/>
                  <a:pt x="4886641" y="4025198"/>
                  <a:pt x="4886641" y="3516089"/>
                </a:cubicBezTo>
                <a:lnTo>
                  <a:pt x="4886641" y="2976234"/>
                </a:lnTo>
                <a:lnTo>
                  <a:pt x="4861424" y="2811002"/>
                </a:lnTo>
                <a:cubicBezTo>
                  <a:pt x="4699562" y="2020003"/>
                  <a:pt x="3999687" y="1424984"/>
                  <a:pt x="3160837" y="1424984"/>
                </a:cubicBezTo>
                <a:lnTo>
                  <a:pt x="1759746" y="1424984"/>
                </a:lnTo>
                <a:lnTo>
                  <a:pt x="2750811" y="2416049"/>
                </a:lnTo>
                <a:lnTo>
                  <a:pt x="2828413" y="2373928"/>
                </a:lnTo>
                <a:cubicBezTo>
                  <a:pt x="2930586" y="2330712"/>
                  <a:pt x="3042921" y="2306815"/>
                  <a:pt x="3160836" y="2306815"/>
                </a:cubicBezTo>
                <a:cubicBezTo>
                  <a:pt x="3632499" y="2306815"/>
                  <a:pt x="4014858" y="2689174"/>
                  <a:pt x="4014858" y="3160837"/>
                </a:cubicBezTo>
                <a:cubicBezTo>
                  <a:pt x="4014858" y="3278753"/>
                  <a:pt x="3990961" y="3391087"/>
                  <a:pt x="3947745" y="3493261"/>
                </a:cubicBezTo>
                <a:lnTo>
                  <a:pt x="3905624" y="3570862"/>
                </a:lnTo>
                <a:lnTo>
                  <a:pt x="4978204" y="4651491"/>
                </a:lnTo>
                <a:cubicBezTo>
                  <a:pt x="5125286" y="4798573"/>
                  <a:pt x="5340089" y="4886642"/>
                  <a:pt x="5564528" y="4886642"/>
                </a:cubicBezTo>
                <a:lnTo>
                  <a:pt x="5807033" y="4886642"/>
                </a:lnTo>
                <a:lnTo>
                  <a:pt x="5781853" y="4928091"/>
                </a:lnTo>
                <a:cubicBezTo>
                  <a:pt x="5213828" y="5768879"/>
                  <a:pt x="4251889" y="6321674"/>
                  <a:pt x="3160837" y="6321674"/>
                </a:cubicBezTo>
                <a:cubicBezTo>
                  <a:pt x="1415155" y="6321674"/>
                  <a:pt x="0" y="4906519"/>
                  <a:pt x="0" y="3160837"/>
                </a:cubicBezTo>
                <a:cubicBezTo>
                  <a:pt x="0" y="2724417"/>
                  <a:pt x="88448" y="2308654"/>
                  <a:pt x="248395" y="1930497"/>
                </a:cubicBezTo>
                <a:lnTo>
                  <a:pt x="278958" y="1867050"/>
                </a:lnTo>
                <a:lnTo>
                  <a:pt x="523257" y="1867050"/>
                </a:lnTo>
                <a:cubicBezTo>
                  <a:pt x="1032366" y="1867050"/>
                  <a:pt x="1445080" y="2279764"/>
                  <a:pt x="1445080" y="2788873"/>
                </a:cubicBezTo>
                <a:lnTo>
                  <a:pt x="1445080" y="3411271"/>
                </a:lnTo>
                <a:lnTo>
                  <a:pt x="1460251" y="3510672"/>
                </a:lnTo>
                <a:cubicBezTo>
                  <a:pt x="1622113" y="4301671"/>
                  <a:pt x="2321988" y="4896690"/>
                  <a:pt x="3160837" y="4896690"/>
                </a:cubicBezTo>
                <a:lnTo>
                  <a:pt x="4561928" y="4896690"/>
                </a:lnTo>
                <a:lnTo>
                  <a:pt x="3570862" y="3905624"/>
                </a:lnTo>
                <a:lnTo>
                  <a:pt x="3493260" y="3947745"/>
                </a:lnTo>
                <a:cubicBezTo>
                  <a:pt x="3391086" y="3990961"/>
                  <a:pt x="3278752" y="4014859"/>
                  <a:pt x="3160836" y="4014859"/>
                </a:cubicBezTo>
                <a:cubicBezTo>
                  <a:pt x="2689173" y="4014859"/>
                  <a:pt x="2306814" y="3632500"/>
                  <a:pt x="2306814" y="3160837"/>
                </a:cubicBezTo>
                <a:cubicBezTo>
                  <a:pt x="2306814" y="3042921"/>
                  <a:pt x="2330712" y="2930587"/>
                  <a:pt x="2373928" y="2828413"/>
                </a:cubicBezTo>
                <a:lnTo>
                  <a:pt x="2416050" y="2750811"/>
                </a:lnTo>
                <a:lnTo>
                  <a:pt x="1433758" y="1759384"/>
                </a:lnTo>
                <a:cubicBezTo>
                  <a:pt x="1244033" y="1545756"/>
                  <a:pt x="1012094" y="1403612"/>
                  <a:pt x="731545" y="1403612"/>
                </a:cubicBezTo>
                <a:lnTo>
                  <a:pt x="533729" y="1403612"/>
                </a:lnTo>
                <a:lnTo>
                  <a:pt x="539822" y="1393583"/>
                </a:lnTo>
                <a:cubicBezTo>
                  <a:pt x="1107847" y="552795"/>
                  <a:pt x="2069786" y="0"/>
                  <a:pt x="3160837" y="0"/>
                </a:cubicBezTo>
                <a:close/>
              </a:path>
            </a:pathLst>
          </a:custGeom>
          <a:solidFill>
            <a:srgbClr val="0096A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nl-NL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7581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eld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Afbeelding 20">
            <a:extLst>
              <a:ext uri="{FF2B5EF4-FFF2-40B4-BE49-F238E27FC236}">
                <a16:creationId xmlns:a16="http://schemas.microsoft.com/office/drawing/2014/main" xmlns="" id="{841792E0-2316-4BE9-A9FF-B724C3262D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732" y="-1700079"/>
            <a:ext cx="12213464" cy="8548815"/>
          </a:xfrm>
          <a:prstGeom prst="rect">
            <a:avLst/>
          </a:prstGeom>
        </p:spPr>
      </p:pic>
      <p:pic>
        <p:nvPicPr>
          <p:cNvPr id="22" name="Gras_achter">
            <a:extLst>
              <a:ext uri="{FF2B5EF4-FFF2-40B4-BE49-F238E27FC236}">
                <a16:creationId xmlns:a16="http://schemas.microsoft.com/office/drawing/2014/main" xmlns="" id="{A826AB20-1552-44FA-B58D-D8842FF93D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7" y="2523753"/>
            <a:ext cx="12208496" cy="3943351"/>
          </a:xfrm>
          <a:prstGeom prst="rect">
            <a:avLst/>
          </a:prstGeom>
        </p:spPr>
      </p:pic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3622C3-465B-43FB-9737-0856F064AF94}" type="datetimeFigureOut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88" name="Tekstvak 87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Beeld 100%</a:t>
            </a:r>
          </a:p>
        </p:txBody>
      </p:sp>
      <p:sp>
        <p:nvSpPr>
          <p:cNvPr id="81" name="Tijdelijke aanduiding voor afbeelding 7"/>
          <p:cNvSpPr>
            <a:spLocks noGrp="1"/>
          </p:cNvSpPr>
          <p:nvPr>
            <p:ph type="pic" sz="quarter" idx="17" hasCustomPrompt="1"/>
          </p:nvPr>
        </p:nvSpPr>
        <p:spPr>
          <a:xfrm>
            <a:off x="1" y="-344073"/>
            <a:ext cx="12208494" cy="6640247"/>
          </a:xfrm>
          <a:prstGeom prst="roundRect">
            <a:avLst>
              <a:gd name="adj" fmla="val 0"/>
            </a:avLst>
          </a:prstGeom>
        </p:spPr>
        <p:txBody>
          <a:bodyPr tIns="1440000" rIns="0">
            <a:normAutofit/>
          </a:bodyPr>
          <a:lstStyle>
            <a:lvl1pPr marL="0" indent="0" algn="ctr">
              <a:buNone/>
              <a:defRPr sz="1200" i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onderstaand</a:t>
            </a:r>
            <a:r>
              <a:rPr lang="en-US" dirty="0"/>
              <a:t> pictogram</a:t>
            </a:r>
            <a:br>
              <a:rPr lang="en-US" dirty="0"/>
            </a:br>
            <a:r>
              <a:rPr lang="en-US" dirty="0"/>
              <a:t>om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afbeelding</a:t>
            </a:r>
            <a:r>
              <a:rPr lang="en-US" dirty="0"/>
              <a:t> in te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19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43005" y="872249"/>
            <a:ext cx="11104144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grpSp>
        <p:nvGrpSpPr>
          <p:cNvPr id="17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18" name="Rechthoek 17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hthoek 28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hthoek 29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hthoek 30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0" y="5609570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hthoek 32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hthoek 33"/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" name="Bloem_rechts">
            <a:extLst>
              <a:ext uri="{FF2B5EF4-FFF2-40B4-BE49-F238E27FC236}">
                <a16:creationId xmlns:a16="http://schemas.microsoft.com/office/drawing/2014/main" xmlns="" id="{604E51CF-60ED-4D9D-8504-8F00667A81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92667" y="5546816"/>
            <a:ext cx="1266434" cy="1314267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Bloem_links">
            <a:extLst>
              <a:ext uri="{FF2B5EF4-FFF2-40B4-BE49-F238E27FC236}">
                <a16:creationId xmlns:a16="http://schemas.microsoft.com/office/drawing/2014/main" xmlns="" id="{38F54190-27DF-41D8-88E7-0FD82C1FB1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3995" y="4835398"/>
            <a:ext cx="1251199" cy="1781749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25" name="Graspol_rechts">
            <a:extLst>
              <a:ext uri="{FF2B5EF4-FFF2-40B4-BE49-F238E27FC236}">
                <a16:creationId xmlns:a16="http://schemas.microsoft.com/office/drawing/2014/main" xmlns="" id="{B3ABC83C-A9D5-426E-8782-756310EB7A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255456" y="5472217"/>
            <a:ext cx="1953039" cy="994887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Graspol_links">
            <a:extLst>
              <a:ext uri="{FF2B5EF4-FFF2-40B4-BE49-F238E27FC236}">
                <a16:creationId xmlns:a16="http://schemas.microsoft.com/office/drawing/2014/main" xmlns="" id="{863993F2-FD1D-4359-B631-B8957D290F6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9938" y="5025895"/>
            <a:ext cx="1499778" cy="1335609"/>
          </a:xfr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Gras_voor">
            <a:extLst>
              <a:ext uri="{FF2B5EF4-FFF2-40B4-BE49-F238E27FC236}">
                <a16:creationId xmlns:a16="http://schemas.microsoft.com/office/drawing/2014/main" xmlns="" id="{DFDC6AE0-3DFE-4A0B-BA37-2949E8417B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9525" y="5287366"/>
            <a:ext cx="12199938" cy="1570634"/>
          </a:xfr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Bloem_blur">
            <a:extLst>
              <a:ext uri="{FF2B5EF4-FFF2-40B4-BE49-F238E27FC236}">
                <a16:creationId xmlns:a16="http://schemas.microsoft.com/office/drawing/2014/main" xmlns="" id="{591EA1E8-3916-4DF1-9CB3-AA52092701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-9525" y="4940168"/>
            <a:ext cx="12199938" cy="1917832"/>
          </a:xfr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2124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dia -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Achtergron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684448"/>
            <a:ext cx="12190719" cy="8520722"/>
          </a:xfrm>
          <a:prstGeom prst="rect">
            <a:avLst/>
          </a:prstGeom>
        </p:spPr>
      </p:pic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83404E-E1AA-4686-BFEC-F0058A556099}" type="datetime1">
              <a:rPr lang="en-US" smtClean="0"/>
              <a:t>6/10/18</a:t>
            </a:fld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Gras_achter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7" y="2523753"/>
            <a:ext cx="12208496" cy="3943351"/>
          </a:xfrm>
          <a:prstGeom prst="rect">
            <a:avLst/>
          </a:prstGeom>
        </p:spPr>
      </p:pic>
      <p:sp>
        <p:nvSpPr>
          <p:cNvPr id="118" name="Ovaal 117"/>
          <p:cNvSpPr/>
          <p:nvPr userDrawn="1"/>
        </p:nvSpPr>
        <p:spPr>
          <a:xfrm>
            <a:off x="-1451082" y="-1719824"/>
            <a:ext cx="5289958" cy="5289958"/>
          </a:xfrm>
          <a:prstGeom prst="ellipse">
            <a:avLst/>
          </a:prstGeom>
          <a:solidFill>
            <a:schemeClr val="bg1">
              <a:alpha val="63000"/>
            </a:schemeClr>
          </a:solidFill>
          <a:ln>
            <a:noFill/>
          </a:ln>
          <a:effectLst>
            <a:softEdge rad="838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6-puntige ster 7"/>
          <p:cNvSpPr/>
          <p:nvPr userDrawn="1"/>
        </p:nvSpPr>
        <p:spPr>
          <a:xfrm rot="20040497">
            <a:off x="-3464863" y="-4112032"/>
            <a:ext cx="9068687" cy="9889645"/>
          </a:xfrm>
          <a:prstGeom prst="star6">
            <a:avLst>
              <a:gd name="adj" fmla="val 7354"/>
              <a:gd name="hf" fmla="val 115470"/>
            </a:avLst>
          </a:prstGeom>
          <a:solidFill>
            <a:schemeClr val="bg1">
              <a:alpha val="80000"/>
            </a:schemeClr>
          </a:solidFill>
          <a:ln>
            <a:noFill/>
          </a:ln>
          <a:effectLst>
            <a:softEdge rad="215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13" name="Lensflare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249" y="-1457264"/>
            <a:ext cx="4008747" cy="6320589"/>
          </a:xfrm>
          <a:prstGeom prst="rect">
            <a:avLst/>
          </a:prstGeom>
        </p:spPr>
      </p:pic>
      <p:pic>
        <p:nvPicPr>
          <p:cNvPr id="106" name="Bloem1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0" y="4838701"/>
            <a:ext cx="1371448" cy="2019299"/>
          </a:xfrm>
          <a:prstGeom prst="rect">
            <a:avLst/>
          </a:prstGeom>
        </p:spPr>
      </p:pic>
      <p:pic>
        <p:nvPicPr>
          <p:cNvPr id="107" name="Bloem 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6050" y="5546816"/>
            <a:ext cx="1268102" cy="1311184"/>
          </a:xfrm>
          <a:prstGeom prst="rect">
            <a:avLst/>
          </a:prstGeom>
        </p:spPr>
      </p:pic>
      <p:sp>
        <p:nvSpPr>
          <p:cNvPr id="2116" name="Rechthoek: afgeronde hoeken 2115">
            <a:extLst>
              <a:ext uri="{FF2B5EF4-FFF2-40B4-BE49-F238E27FC236}">
                <a16:creationId xmlns:a16="http://schemas.microsoft.com/office/drawing/2014/main" xmlns="" id="{51450CF6-AE41-486C-821A-C8B00E83B7DE}"/>
              </a:ext>
            </a:extLst>
          </p:cNvPr>
          <p:cNvSpPr/>
          <p:nvPr userDrawn="1"/>
        </p:nvSpPr>
        <p:spPr>
          <a:xfrm>
            <a:off x="1455825" y="2334165"/>
            <a:ext cx="6775114" cy="3975760"/>
          </a:xfrm>
          <a:prstGeom prst="roundRect">
            <a:avLst>
              <a:gd name="adj" fmla="val 1691"/>
            </a:avLst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612000" rIns="540000" bIns="144000" rtlCol="0" anchor="t" anchorCtr="0"/>
          <a:lstStyle/>
          <a:p>
            <a:r>
              <a:rPr lang="en-US" sz="2800" b="1" cap="all" baseline="0" dirty="0"/>
              <a:t>Future proofing trade spend</a:t>
            </a:r>
          </a:p>
          <a:p>
            <a:r>
              <a:rPr lang="en-US" sz="2000" b="1" i="0" cap="all" baseline="0" dirty="0"/>
              <a:t>The challenge of the pitch fork</a:t>
            </a:r>
          </a:p>
          <a:p>
            <a:endParaRPr lang="en-US" sz="2000" b="1" i="0" cap="all" baseline="0" dirty="0"/>
          </a:p>
          <a:p>
            <a:endParaRPr lang="en-US" sz="2000" b="1" i="0" cap="all" baseline="0" dirty="0"/>
          </a:p>
          <a:p>
            <a:r>
              <a:rPr lang="en-US" sz="1800" b="1" i="0" cap="none" baseline="0" dirty="0"/>
              <a:t>Commercial director </a:t>
            </a:r>
          </a:p>
          <a:p>
            <a:r>
              <a:rPr lang="en-US" sz="1800" b="0" i="0" cap="none" baseline="0" dirty="0"/>
              <a:t>Royal Friesland Campina Netherlands</a:t>
            </a:r>
          </a:p>
          <a:p>
            <a:endParaRPr lang="en-US" sz="2000" b="1" i="1" cap="all" baseline="0" dirty="0"/>
          </a:p>
        </p:txBody>
      </p:sp>
      <p:pic>
        <p:nvPicPr>
          <p:cNvPr id="10" name="Pitch fork">
            <a:extLst>
              <a:ext uri="{FF2B5EF4-FFF2-40B4-BE49-F238E27FC236}">
                <a16:creationId xmlns:a16="http://schemas.microsoft.com/office/drawing/2014/main" xmlns="" id="{81D0FC52-11C5-4667-B045-0492394897F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384261">
            <a:off x="6671887" y="-822997"/>
            <a:ext cx="6763241" cy="9591506"/>
          </a:xfrm>
          <a:prstGeom prst="rect">
            <a:avLst/>
          </a:prstGeom>
        </p:spPr>
      </p:pic>
      <p:pic>
        <p:nvPicPr>
          <p:cNvPr id="108" name="Graspol rechts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48899" y="5475521"/>
            <a:ext cx="1951349" cy="1377846"/>
          </a:xfrm>
          <a:prstGeom prst="rect">
            <a:avLst/>
          </a:prstGeom>
        </p:spPr>
      </p:pic>
      <p:grpSp>
        <p:nvGrpSpPr>
          <p:cNvPr id="2118" name="Mobiel">
            <a:extLst>
              <a:ext uri="{FF2B5EF4-FFF2-40B4-BE49-F238E27FC236}">
                <a16:creationId xmlns:a16="http://schemas.microsoft.com/office/drawing/2014/main" xmlns="" id="{9E0516E7-6B45-4467-9E56-3753E8799B7D}"/>
              </a:ext>
            </a:extLst>
          </p:cNvPr>
          <p:cNvGrpSpPr/>
          <p:nvPr userDrawn="1"/>
        </p:nvGrpSpPr>
        <p:grpSpPr>
          <a:xfrm rot="5400000">
            <a:off x="8251507" y="4020368"/>
            <a:ext cx="1657351" cy="2903006"/>
            <a:chOff x="3200399" y="2819400"/>
            <a:chExt cx="1657351" cy="2903006"/>
          </a:xfrm>
        </p:grpSpPr>
        <p:pic>
          <p:nvPicPr>
            <p:cNvPr id="2128" name="Mobiel">
              <a:extLst>
                <a:ext uri="{FF2B5EF4-FFF2-40B4-BE49-F238E27FC236}">
                  <a16:creationId xmlns:a16="http://schemas.microsoft.com/office/drawing/2014/main" xmlns="" id="{DB0FC534-3FB2-4C9D-8645-21C447FC595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00399" y="2819400"/>
              <a:ext cx="1657351" cy="2903006"/>
            </a:xfrm>
            <a:prstGeom prst="rect">
              <a:avLst/>
            </a:prstGeom>
          </p:spPr>
        </p:pic>
        <p:sp>
          <p:nvSpPr>
            <p:cNvPr id="2129" name="Rechthoek 16">
              <a:extLst>
                <a:ext uri="{FF2B5EF4-FFF2-40B4-BE49-F238E27FC236}">
                  <a16:creationId xmlns:a16="http://schemas.microsoft.com/office/drawing/2014/main" xmlns="" id="{5CC0AFCE-568B-4ED0-8644-B2445A378502}"/>
                </a:ext>
              </a:extLst>
            </p:cNvPr>
            <p:cNvSpPr/>
            <p:nvPr userDrawn="1"/>
          </p:nvSpPr>
          <p:spPr>
            <a:xfrm>
              <a:off x="3368313" y="3224636"/>
              <a:ext cx="1368736" cy="2128626"/>
            </a:xfrm>
            <a:custGeom>
              <a:avLst/>
              <a:gdLst>
                <a:gd name="connsiteX0" fmla="*/ 0 w 1154384"/>
                <a:gd name="connsiteY0" fmla="*/ 0 h 2101843"/>
                <a:gd name="connsiteX1" fmla="*/ 1154384 w 1154384"/>
                <a:gd name="connsiteY1" fmla="*/ 0 h 2101843"/>
                <a:gd name="connsiteX2" fmla="*/ 1154384 w 1154384"/>
                <a:gd name="connsiteY2" fmla="*/ 2101843 h 2101843"/>
                <a:gd name="connsiteX3" fmla="*/ 0 w 1154384"/>
                <a:gd name="connsiteY3" fmla="*/ 2101843 h 2101843"/>
                <a:gd name="connsiteX4" fmla="*/ 0 w 1154384"/>
                <a:gd name="connsiteY4" fmla="*/ 0 h 2101843"/>
                <a:gd name="connsiteX0" fmla="*/ 0 w 1259891"/>
                <a:gd name="connsiteY0" fmla="*/ 7815 h 2109658"/>
                <a:gd name="connsiteX1" fmla="*/ 1259891 w 1259891"/>
                <a:gd name="connsiteY1" fmla="*/ 0 h 2109658"/>
                <a:gd name="connsiteX2" fmla="*/ 1154384 w 1259891"/>
                <a:gd name="connsiteY2" fmla="*/ 2109658 h 2109658"/>
                <a:gd name="connsiteX3" fmla="*/ 0 w 1259891"/>
                <a:gd name="connsiteY3" fmla="*/ 2109658 h 2109658"/>
                <a:gd name="connsiteX4" fmla="*/ 0 w 1259891"/>
                <a:gd name="connsiteY4" fmla="*/ 7815 h 2109658"/>
                <a:gd name="connsiteX0" fmla="*/ 105508 w 1365399"/>
                <a:gd name="connsiteY0" fmla="*/ 7815 h 2109658"/>
                <a:gd name="connsiteX1" fmla="*/ 1365399 w 1365399"/>
                <a:gd name="connsiteY1" fmla="*/ 0 h 2109658"/>
                <a:gd name="connsiteX2" fmla="*/ 1259892 w 1365399"/>
                <a:gd name="connsiteY2" fmla="*/ 2109658 h 2109658"/>
                <a:gd name="connsiteX3" fmla="*/ 0 w 1365399"/>
                <a:gd name="connsiteY3" fmla="*/ 1984612 h 2109658"/>
                <a:gd name="connsiteX4" fmla="*/ 105508 w 1365399"/>
                <a:gd name="connsiteY4" fmla="*/ 7815 h 2109658"/>
                <a:gd name="connsiteX0" fmla="*/ 105508 w 1365399"/>
                <a:gd name="connsiteY0" fmla="*/ 7815 h 2125289"/>
                <a:gd name="connsiteX1" fmla="*/ 1365399 w 1365399"/>
                <a:gd name="connsiteY1" fmla="*/ 0 h 2125289"/>
                <a:gd name="connsiteX2" fmla="*/ 1255984 w 1365399"/>
                <a:gd name="connsiteY2" fmla="*/ 2125289 h 2125289"/>
                <a:gd name="connsiteX3" fmla="*/ 0 w 1365399"/>
                <a:gd name="connsiteY3" fmla="*/ 1984612 h 2125289"/>
                <a:gd name="connsiteX4" fmla="*/ 105508 w 1365399"/>
                <a:gd name="connsiteY4" fmla="*/ 7815 h 2125289"/>
                <a:gd name="connsiteX0" fmla="*/ 105508 w 1368736"/>
                <a:gd name="connsiteY0" fmla="*/ 11152 h 2128626"/>
                <a:gd name="connsiteX1" fmla="*/ 1368736 w 1368736"/>
                <a:gd name="connsiteY1" fmla="*/ 0 h 2128626"/>
                <a:gd name="connsiteX2" fmla="*/ 1255984 w 1368736"/>
                <a:gd name="connsiteY2" fmla="*/ 2128626 h 2128626"/>
                <a:gd name="connsiteX3" fmla="*/ 0 w 1368736"/>
                <a:gd name="connsiteY3" fmla="*/ 1987949 h 2128626"/>
                <a:gd name="connsiteX4" fmla="*/ 105508 w 1368736"/>
                <a:gd name="connsiteY4" fmla="*/ 11152 h 212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8736" h="2128626">
                  <a:moveTo>
                    <a:pt x="105508" y="11152"/>
                  </a:moveTo>
                  <a:lnTo>
                    <a:pt x="1368736" y="0"/>
                  </a:lnTo>
                  <a:lnTo>
                    <a:pt x="1255984" y="2128626"/>
                  </a:lnTo>
                  <a:lnTo>
                    <a:pt x="0" y="1987949"/>
                  </a:lnTo>
                  <a:lnTo>
                    <a:pt x="105508" y="11152"/>
                  </a:lnTo>
                  <a:close/>
                </a:path>
              </a:pathLst>
            </a:custGeom>
            <a:gradFill flip="none" rotWithShape="1">
              <a:gsLst>
                <a:gs pos="24000">
                  <a:schemeClr val="tx2">
                    <a:lumMod val="50000"/>
                  </a:schemeClr>
                </a:gs>
                <a:gs pos="100000">
                  <a:schemeClr val="tx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/>
            </a:p>
          </p:txBody>
        </p:sp>
      </p:grpSp>
      <p:pic>
        <p:nvPicPr>
          <p:cNvPr id="2130" name="Mobiel_screen">
            <a:extLst>
              <a:ext uri="{FF2B5EF4-FFF2-40B4-BE49-F238E27FC236}">
                <a16:creationId xmlns:a16="http://schemas.microsoft.com/office/drawing/2014/main" xmlns="" id="{82CFB22A-BA8E-4069-9DA2-C6A60186D1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64" t="-40227" r="-6659" b="-43789"/>
          <a:stretch/>
        </p:blipFill>
        <p:spPr>
          <a:xfrm rot="183302">
            <a:off x="8060202" y="4711853"/>
            <a:ext cx="2067826" cy="1536236"/>
          </a:xfrm>
          <a:prstGeom prst="rect">
            <a:avLst/>
          </a:prstGeom>
          <a:solidFill>
            <a:schemeClr val="bg1"/>
          </a:solidFill>
          <a:scene3d>
            <a:camera prst="perspectiveAbove" fov="2100000">
              <a:rot lat="19499990" lon="0" rev="0"/>
            </a:camera>
            <a:lightRig rig="threePt" dir="t"/>
          </a:scene3d>
        </p:spPr>
      </p:pic>
      <p:pic>
        <p:nvPicPr>
          <p:cNvPr id="109" name="Graspol links"/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5029199"/>
            <a:ext cx="1513197" cy="1828801"/>
          </a:xfrm>
          <a:prstGeom prst="rect">
            <a:avLst/>
          </a:prstGeom>
        </p:spPr>
      </p:pic>
      <p:pic>
        <p:nvPicPr>
          <p:cNvPr id="110" name="Gras_voor"/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5287367"/>
            <a:ext cx="12208496" cy="1570633"/>
          </a:xfrm>
          <a:prstGeom prst="rect">
            <a:avLst/>
          </a:prstGeom>
        </p:spPr>
      </p:pic>
      <p:pic>
        <p:nvPicPr>
          <p:cNvPr id="111" name="Bloem_blur"/>
          <p:cNvPicPr>
            <a:picLocks noChangeAspect="1"/>
          </p:cNvPicPr>
          <p:nvPr userDrawn="1"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4957904"/>
            <a:ext cx="12208496" cy="1900096"/>
          </a:xfrm>
          <a:prstGeom prst="rect">
            <a:avLst/>
          </a:prstGeom>
        </p:spPr>
      </p:pic>
      <p:grpSp>
        <p:nvGrpSpPr>
          <p:cNvPr id="35" name="Logo"/>
          <p:cNvGrpSpPr/>
          <p:nvPr userDrawn="1"/>
        </p:nvGrpSpPr>
        <p:grpSpPr>
          <a:xfrm>
            <a:off x="536692" y="543619"/>
            <a:ext cx="2189507" cy="1159485"/>
            <a:chOff x="1516063" y="1006475"/>
            <a:chExt cx="9155113" cy="4848225"/>
          </a:xfrm>
        </p:grpSpPr>
        <p:sp>
          <p:nvSpPr>
            <p:cNvPr id="36" name="Freeform 6"/>
            <p:cNvSpPr>
              <a:spLocks/>
            </p:cNvSpPr>
            <p:nvPr userDrawn="1"/>
          </p:nvSpPr>
          <p:spPr bwMode="auto">
            <a:xfrm>
              <a:off x="5629276" y="4187825"/>
              <a:ext cx="406400" cy="471488"/>
            </a:xfrm>
            <a:custGeom>
              <a:avLst/>
              <a:gdLst>
                <a:gd name="T0" fmla="*/ 131 w 256"/>
                <a:gd name="T1" fmla="*/ 0 h 297"/>
                <a:gd name="T2" fmla="*/ 163 w 256"/>
                <a:gd name="T3" fmla="*/ 3 h 297"/>
                <a:gd name="T4" fmla="*/ 191 w 256"/>
                <a:gd name="T5" fmla="*/ 14 h 297"/>
                <a:gd name="T6" fmla="*/ 212 w 256"/>
                <a:gd name="T7" fmla="*/ 28 h 297"/>
                <a:gd name="T8" fmla="*/ 231 w 256"/>
                <a:gd name="T9" fmla="*/ 47 h 297"/>
                <a:gd name="T10" fmla="*/ 243 w 256"/>
                <a:gd name="T11" fmla="*/ 70 h 297"/>
                <a:gd name="T12" fmla="*/ 252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3 w 256"/>
                <a:gd name="T21" fmla="*/ 297 h 297"/>
                <a:gd name="T22" fmla="*/ 173 w 256"/>
                <a:gd name="T23" fmla="*/ 140 h 297"/>
                <a:gd name="T24" fmla="*/ 173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1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1" y="0"/>
                  </a:moveTo>
                  <a:lnTo>
                    <a:pt x="163" y="3"/>
                  </a:lnTo>
                  <a:lnTo>
                    <a:pt x="191" y="14"/>
                  </a:lnTo>
                  <a:lnTo>
                    <a:pt x="212" y="28"/>
                  </a:lnTo>
                  <a:lnTo>
                    <a:pt x="231" y="47"/>
                  </a:lnTo>
                  <a:lnTo>
                    <a:pt x="243" y="70"/>
                  </a:lnTo>
                  <a:lnTo>
                    <a:pt x="252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8863013" y="4187825"/>
              <a:ext cx="406400" cy="471488"/>
            </a:xfrm>
            <a:custGeom>
              <a:avLst/>
              <a:gdLst>
                <a:gd name="T0" fmla="*/ 130 w 256"/>
                <a:gd name="T1" fmla="*/ 0 h 297"/>
                <a:gd name="T2" fmla="*/ 163 w 256"/>
                <a:gd name="T3" fmla="*/ 3 h 297"/>
                <a:gd name="T4" fmla="*/ 189 w 256"/>
                <a:gd name="T5" fmla="*/ 14 h 297"/>
                <a:gd name="T6" fmla="*/ 212 w 256"/>
                <a:gd name="T7" fmla="*/ 28 h 297"/>
                <a:gd name="T8" fmla="*/ 229 w 256"/>
                <a:gd name="T9" fmla="*/ 47 h 297"/>
                <a:gd name="T10" fmla="*/ 243 w 256"/>
                <a:gd name="T11" fmla="*/ 70 h 297"/>
                <a:gd name="T12" fmla="*/ 250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2 w 256"/>
                <a:gd name="T21" fmla="*/ 297 h 297"/>
                <a:gd name="T22" fmla="*/ 173 w 256"/>
                <a:gd name="T23" fmla="*/ 140 h 297"/>
                <a:gd name="T24" fmla="*/ 172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0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0" y="0"/>
                  </a:moveTo>
                  <a:lnTo>
                    <a:pt x="163" y="3"/>
                  </a:lnTo>
                  <a:lnTo>
                    <a:pt x="189" y="14"/>
                  </a:lnTo>
                  <a:lnTo>
                    <a:pt x="212" y="28"/>
                  </a:lnTo>
                  <a:lnTo>
                    <a:pt x="229" y="47"/>
                  </a:lnTo>
                  <a:lnTo>
                    <a:pt x="243" y="70"/>
                  </a:lnTo>
                  <a:lnTo>
                    <a:pt x="250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2" y="297"/>
                  </a:lnTo>
                  <a:lnTo>
                    <a:pt x="173" y="140"/>
                  </a:lnTo>
                  <a:lnTo>
                    <a:pt x="172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/>
            <p:cNvSpPr>
              <a:spLocks noEditPoints="1"/>
            </p:cNvSpPr>
            <p:nvPr userDrawn="1"/>
          </p:nvSpPr>
          <p:spPr bwMode="auto">
            <a:xfrm>
              <a:off x="5153026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2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1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8 w 253"/>
                <a:gd name="T51" fmla="*/ 295 h 299"/>
                <a:gd name="T52" fmla="*/ 188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6 w 253"/>
                <a:gd name="T61" fmla="*/ 280 h 299"/>
                <a:gd name="T62" fmla="*/ 167 w 253"/>
                <a:gd name="T63" fmla="*/ 287 h 299"/>
                <a:gd name="T64" fmla="*/ 155 w 253"/>
                <a:gd name="T65" fmla="*/ 292 h 299"/>
                <a:gd name="T66" fmla="*/ 139 w 253"/>
                <a:gd name="T67" fmla="*/ 297 h 299"/>
                <a:gd name="T68" fmla="*/ 118 w 253"/>
                <a:gd name="T69" fmla="*/ 299 h 299"/>
                <a:gd name="T70" fmla="*/ 87 w 253"/>
                <a:gd name="T71" fmla="*/ 294 h 299"/>
                <a:gd name="T72" fmla="*/ 59 w 253"/>
                <a:gd name="T73" fmla="*/ 278 h 299"/>
                <a:gd name="T74" fmla="*/ 34 w 253"/>
                <a:gd name="T75" fmla="*/ 253 h 299"/>
                <a:gd name="T76" fmla="*/ 15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7 w 253"/>
                <a:gd name="T87" fmla="*/ 57 h 299"/>
                <a:gd name="T88" fmla="*/ 48 w 253"/>
                <a:gd name="T89" fmla="*/ 36 h 299"/>
                <a:gd name="T90" fmla="*/ 71 w 253"/>
                <a:gd name="T91" fmla="*/ 21 h 299"/>
                <a:gd name="T92" fmla="*/ 97 w 253"/>
                <a:gd name="T93" fmla="*/ 8 h 299"/>
                <a:gd name="T94" fmla="*/ 125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2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1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8" y="295"/>
                  </a:lnTo>
                  <a:lnTo>
                    <a:pt x="188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6" y="280"/>
                  </a:lnTo>
                  <a:lnTo>
                    <a:pt x="167" y="287"/>
                  </a:lnTo>
                  <a:lnTo>
                    <a:pt x="155" y="292"/>
                  </a:lnTo>
                  <a:lnTo>
                    <a:pt x="139" y="297"/>
                  </a:lnTo>
                  <a:lnTo>
                    <a:pt x="118" y="299"/>
                  </a:lnTo>
                  <a:lnTo>
                    <a:pt x="87" y="294"/>
                  </a:lnTo>
                  <a:lnTo>
                    <a:pt x="59" y="278"/>
                  </a:lnTo>
                  <a:lnTo>
                    <a:pt x="34" y="253"/>
                  </a:lnTo>
                  <a:lnTo>
                    <a:pt x="15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7" y="57"/>
                  </a:lnTo>
                  <a:lnTo>
                    <a:pt x="48" y="36"/>
                  </a:lnTo>
                  <a:lnTo>
                    <a:pt x="71" y="21"/>
                  </a:lnTo>
                  <a:lnTo>
                    <a:pt x="97" y="8"/>
                  </a:lnTo>
                  <a:lnTo>
                    <a:pt x="125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/>
            <p:cNvSpPr>
              <a:spLocks noEditPoints="1"/>
            </p:cNvSpPr>
            <p:nvPr userDrawn="1"/>
          </p:nvSpPr>
          <p:spPr bwMode="auto">
            <a:xfrm>
              <a:off x="69850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9 w 253"/>
                <a:gd name="T41" fmla="*/ 5 h 299"/>
                <a:gd name="T42" fmla="*/ 234 w 253"/>
                <a:gd name="T43" fmla="*/ 10 h 299"/>
                <a:gd name="T44" fmla="*/ 253 w 253"/>
                <a:gd name="T45" fmla="*/ 15 h 299"/>
                <a:gd name="T46" fmla="*/ 253 w 253"/>
                <a:gd name="T47" fmla="*/ 295 h 299"/>
                <a:gd name="T48" fmla="*/ 190 w 253"/>
                <a:gd name="T49" fmla="*/ 295 h 299"/>
                <a:gd name="T50" fmla="*/ 190 w 253"/>
                <a:gd name="T51" fmla="*/ 295 h 299"/>
                <a:gd name="T52" fmla="*/ 188 w 253"/>
                <a:gd name="T53" fmla="*/ 292 h 299"/>
                <a:gd name="T54" fmla="*/ 187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4 w 253"/>
                <a:gd name="T61" fmla="*/ 281 h 299"/>
                <a:gd name="T62" fmla="*/ 162 w 253"/>
                <a:gd name="T63" fmla="*/ 290 h 299"/>
                <a:gd name="T64" fmla="*/ 145 w 253"/>
                <a:gd name="T65" fmla="*/ 297 h 299"/>
                <a:gd name="T66" fmla="*/ 118 w 253"/>
                <a:gd name="T67" fmla="*/ 299 h 299"/>
                <a:gd name="T68" fmla="*/ 89 w 253"/>
                <a:gd name="T69" fmla="*/ 294 h 299"/>
                <a:gd name="T70" fmla="*/ 61 w 253"/>
                <a:gd name="T71" fmla="*/ 278 h 299"/>
                <a:gd name="T72" fmla="*/ 36 w 253"/>
                <a:gd name="T73" fmla="*/ 253 h 299"/>
                <a:gd name="T74" fmla="*/ 17 w 253"/>
                <a:gd name="T75" fmla="*/ 222 h 299"/>
                <a:gd name="T76" fmla="*/ 5 w 253"/>
                <a:gd name="T77" fmla="*/ 185 h 299"/>
                <a:gd name="T78" fmla="*/ 0 w 253"/>
                <a:gd name="T79" fmla="*/ 147 h 299"/>
                <a:gd name="T80" fmla="*/ 3 w 253"/>
                <a:gd name="T81" fmla="*/ 112 h 299"/>
                <a:gd name="T82" fmla="*/ 14 w 253"/>
                <a:gd name="T83" fmla="*/ 82 h 299"/>
                <a:gd name="T84" fmla="*/ 29 w 253"/>
                <a:gd name="T85" fmla="*/ 57 h 299"/>
                <a:gd name="T86" fmla="*/ 48 w 253"/>
                <a:gd name="T87" fmla="*/ 36 h 299"/>
                <a:gd name="T88" fmla="*/ 73 w 253"/>
                <a:gd name="T89" fmla="*/ 21 h 299"/>
                <a:gd name="T90" fmla="*/ 99 w 253"/>
                <a:gd name="T91" fmla="*/ 8 h 299"/>
                <a:gd name="T92" fmla="*/ 127 w 253"/>
                <a:gd name="T93" fmla="*/ 1 h 299"/>
                <a:gd name="T94" fmla="*/ 155 w 253"/>
                <a:gd name="T95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9" y="5"/>
                  </a:lnTo>
                  <a:lnTo>
                    <a:pt x="234" y="10"/>
                  </a:lnTo>
                  <a:lnTo>
                    <a:pt x="253" y="15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90" y="295"/>
                  </a:lnTo>
                  <a:lnTo>
                    <a:pt x="188" y="292"/>
                  </a:lnTo>
                  <a:lnTo>
                    <a:pt x="187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4" y="281"/>
                  </a:lnTo>
                  <a:lnTo>
                    <a:pt x="162" y="290"/>
                  </a:lnTo>
                  <a:lnTo>
                    <a:pt x="145" y="297"/>
                  </a:lnTo>
                  <a:lnTo>
                    <a:pt x="118" y="299"/>
                  </a:lnTo>
                  <a:lnTo>
                    <a:pt x="89" y="294"/>
                  </a:lnTo>
                  <a:lnTo>
                    <a:pt x="61" y="278"/>
                  </a:lnTo>
                  <a:lnTo>
                    <a:pt x="36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9" y="57"/>
                  </a:lnTo>
                  <a:lnTo>
                    <a:pt x="48" y="36"/>
                  </a:lnTo>
                  <a:lnTo>
                    <a:pt x="73" y="21"/>
                  </a:lnTo>
                  <a:lnTo>
                    <a:pt x="99" y="8"/>
                  </a:lnTo>
                  <a:lnTo>
                    <a:pt x="127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/>
            <p:cNvSpPr>
              <a:spLocks noEditPoints="1"/>
            </p:cNvSpPr>
            <p:nvPr userDrawn="1"/>
          </p:nvSpPr>
          <p:spPr bwMode="auto">
            <a:xfrm>
              <a:off x="93218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6 w 253"/>
                <a:gd name="T21" fmla="*/ 234 h 299"/>
                <a:gd name="T22" fmla="*/ 136 w 253"/>
                <a:gd name="T23" fmla="*/ 236 h 299"/>
                <a:gd name="T24" fmla="*/ 154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2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3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9 w 253"/>
                <a:gd name="T51" fmla="*/ 295 h 299"/>
                <a:gd name="T52" fmla="*/ 189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2 w 253"/>
                <a:gd name="T59" fmla="*/ 276 h 299"/>
                <a:gd name="T60" fmla="*/ 176 w 253"/>
                <a:gd name="T61" fmla="*/ 280 h 299"/>
                <a:gd name="T62" fmla="*/ 168 w 253"/>
                <a:gd name="T63" fmla="*/ 287 h 299"/>
                <a:gd name="T64" fmla="*/ 155 w 253"/>
                <a:gd name="T65" fmla="*/ 292 h 299"/>
                <a:gd name="T66" fmla="*/ 140 w 253"/>
                <a:gd name="T67" fmla="*/ 297 h 299"/>
                <a:gd name="T68" fmla="*/ 119 w 253"/>
                <a:gd name="T69" fmla="*/ 299 h 299"/>
                <a:gd name="T70" fmla="*/ 89 w 253"/>
                <a:gd name="T71" fmla="*/ 294 h 299"/>
                <a:gd name="T72" fmla="*/ 59 w 253"/>
                <a:gd name="T73" fmla="*/ 278 h 299"/>
                <a:gd name="T74" fmla="*/ 35 w 253"/>
                <a:gd name="T75" fmla="*/ 253 h 299"/>
                <a:gd name="T76" fmla="*/ 17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8 w 253"/>
                <a:gd name="T87" fmla="*/ 57 h 299"/>
                <a:gd name="T88" fmla="*/ 49 w 253"/>
                <a:gd name="T89" fmla="*/ 36 h 299"/>
                <a:gd name="T90" fmla="*/ 71 w 253"/>
                <a:gd name="T91" fmla="*/ 21 h 299"/>
                <a:gd name="T92" fmla="*/ 98 w 253"/>
                <a:gd name="T93" fmla="*/ 8 h 299"/>
                <a:gd name="T94" fmla="*/ 126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6" y="234"/>
                  </a:lnTo>
                  <a:lnTo>
                    <a:pt x="136" y="236"/>
                  </a:lnTo>
                  <a:lnTo>
                    <a:pt x="154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2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3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9" y="295"/>
                  </a:lnTo>
                  <a:lnTo>
                    <a:pt x="189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2" y="276"/>
                  </a:lnTo>
                  <a:lnTo>
                    <a:pt x="176" y="280"/>
                  </a:lnTo>
                  <a:lnTo>
                    <a:pt x="168" y="287"/>
                  </a:lnTo>
                  <a:lnTo>
                    <a:pt x="155" y="292"/>
                  </a:lnTo>
                  <a:lnTo>
                    <a:pt x="140" y="297"/>
                  </a:lnTo>
                  <a:lnTo>
                    <a:pt x="119" y="299"/>
                  </a:lnTo>
                  <a:lnTo>
                    <a:pt x="89" y="294"/>
                  </a:lnTo>
                  <a:lnTo>
                    <a:pt x="59" y="278"/>
                  </a:lnTo>
                  <a:lnTo>
                    <a:pt x="35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8" y="57"/>
                  </a:lnTo>
                  <a:lnTo>
                    <a:pt x="49" y="36"/>
                  </a:lnTo>
                  <a:lnTo>
                    <a:pt x="71" y="21"/>
                  </a:lnTo>
                  <a:lnTo>
                    <a:pt x="98" y="8"/>
                  </a:lnTo>
                  <a:lnTo>
                    <a:pt x="126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/>
            <p:cNvSpPr>
              <a:spLocks/>
            </p:cNvSpPr>
            <p:nvPr userDrawn="1"/>
          </p:nvSpPr>
          <p:spPr bwMode="auto">
            <a:xfrm>
              <a:off x="7461251" y="4187825"/>
              <a:ext cx="681038" cy="471488"/>
            </a:xfrm>
            <a:custGeom>
              <a:avLst/>
              <a:gdLst>
                <a:gd name="T0" fmla="*/ 131 w 429"/>
                <a:gd name="T1" fmla="*/ 0 h 297"/>
                <a:gd name="T2" fmla="*/ 161 w 429"/>
                <a:gd name="T3" fmla="*/ 3 h 297"/>
                <a:gd name="T4" fmla="*/ 186 w 429"/>
                <a:gd name="T5" fmla="*/ 10 h 297"/>
                <a:gd name="T6" fmla="*/ 207 w 429"/>
                <a:gd name="T7" fmla="*/ 23 h 297"/>
                <a:gd name="T8" fmla="*/ 235 w 429"/>
                <a:gd name="T9" fmla="*/ 12 h 297"/>
                <a:gd name="T10" fmla="*/ 268 w 429"/>
                <a:gd name="T11" fmla="*/ 3 h 297"/>
                <a:gd name="T12" fmla="*/ 304 w 429"/>
                <a:gd name="T13" fmla="*/ 0 h 297"/>
                <a:gd name="T14" fmla="*/ 336 w 429"/>
                <a:gd name="T15" fmla="*/ 3 h 297"/>
                <a:gd name="T16" fmla="*/ 364 w 429"/>
                <a:gd name="T17" fmla="*/ 14 h 297"/>
                <a:gd name="T18" fmla="*/ 385 w 429"/>
                <a:gd name="T19" fmla="*/ 28 h 297"/>
                <a:gd name="T20" fmla="*/ 404 w 429"/>
                <a:gd name="T21" fmla="*/ 47 h 297"/>
                <a:gd name="T22" fmla="*/ 416 w 429"/>
                <a:gd name="T23" fmla="*/ 70 h 297"/>
                <a:gd name="T24" fmla="*/ 425 w 429"/>
                <a:gd name="T25" fmla="*/ 98 h 297"/>
                <a:gd name="T26" fmla="*/ 427 w 429"/>
                <a:gd name="T27" fmla="*/ 122 h 297"/>
                <a:gd name="T28" fmla="*/ 429 w 429"/>
                <a:gd name="T29" fmla="*/ 156 h 297"/>
                <a:gd name="T30" fmla="*/ 429 w 429"/>
                <a:gd name="T31" fmla="*/ 297 h 297"/>
                <a:gd name="T32" fmla="*/ 346 w 429"/>
                <a:gd name="T33" fmla="*/ 297 h 297"/>
                <a:gd name="T34" fmla="*/ 346 w 429"/>
                <a:gd name="T35" fmla="*/ 140 h 297"/>
                <a:gd name="T36" fmla="*/ 346 w 429"/>
                <a:gd name="T37" fmla="*/ 119 h 297"/>
                <a:gd name="T38" fmla="*/ 345 w 429"/>
                <a:gd name="T39" fmla="*/ 100 h 297"/>
                <a:gd name="T40" fmla="*/ 339 w 429"/>
                <a:gd name="T41" fmla="*/ 84 h 297"/>
                <a:gd name="T42" fmla="*/ 329 w 429"/>
                <a:gd name="T43" fmla="*/ 73 h 297"/>
                <a:gd name="T44" fmla="*/ 315 w 429"/>
                <a:gd name="T45" fmla="*/ 66 h 297"/>
                <a:gd name="T46" fmla="*/ 296 w 429"/>
                <a:gd name="T47" fmla="*/ 63 h 297"/>
                <a:gd name="T48" fmla="*/ 280 w 429"/>
                <a:gd name="T49" fmla="*/ 65 h 297"/>
                <a:gd name="T50" fmla="*/ 263 w 429"/>
                <a:gd name="T51" fmla="*/ 68 h 297"/>
                <a:gd name="T52" fmla="*/ 247 w 429"/>
                <a:gd name="T53" fmla="*/ 75 h 297"/>
                <a:gd name="T54" fmla="*/ 249 w 429"/>
                <a:gd name="T55" fmla="*/ 80 h 297"/>
                <a:gd name="T56" fmla="*/ 252 w 429"/>
                <a:gd name="T57" fmla="*/ 94 h 297"/>
                <a:gd name="T58" fmla="*/ 256 w 429"/>
                <a:gd name="T59" fmla="*/ 114 h 297"/>
                <a:gd name="T60" fmla="*/ 257 w 429"/>
                <a:gd name="T61" fmla="*/ 138 h 297"/>
                <a:gd name="T62" fmla="*/ 257 w 429"/>
                <a:gd name="T63" fmla="*/ 297 h 297"/>
                <a:gd name="T64" fmla="*/ 173 w 429"/>
                <a:gd name="T65" fmla="*/ 297 h 297"/>
                <a:gd name="T66" fmla="*/ 173 w 429"/>
                <a:gd name="T67" fmla="*/ 140 h 297"/>
                <a:gd name="T68" fmla="*/ 173 w 429"/>
                <a:gd name="T69" fmla="*/ 117 h 297"/>
                <a:gd name="T70" fmla="*/ 170 w 429"/>
                <a:gd name="T71" fmla="*/ 98 h 297"/>
                <a:gd name="T72" fmla="*/ 165 w 429"/>
                <a:gd name="T73" fmla="*/ 84 h 297"/>
                <a:gd name="T74" fmla="*/ 156 w 429"/>
                <a:gd name="T75" fmla="*/ 72 h 297"/>
                <a:gd name="T76" fmla="*/ 142 w 429"/>
                <a:gd name="T77" fmla="*/ 66 h 297"/>
                <a:gd name="T78" fmla="*/ 123 w 429"/>
                <a:gd name="T79" fmla="*/ 63 h 297"/>
                <a:gd name="T80" fmla="*/ 103 w 429"/>
                <a:gd name="T81" fmla="*/ 65 h 297"/>
                <a:gd name="T82" fmla="*/ 84 w 429"/>
                <a:gd name="T83" fmla="*/ 70 h 297"/>
                <a:gd name="T84" fmla="*/ 84 w 429"/>
                <a:gd name="T85" fmla="*/ 297 h 297"/>
                <a:gd name="T86" fmla="*/ 0 w 429"/>
                <a:gd name="T87" fmla="*/ 297 h 297"/>
                <a:gd name="T88" fmla="*/ 0 w 429"/>
                <a:gd name="T89" fmla="*/ 26 h 297"/>
                <a:gd name="T90" fmla="*/ 39 w 429"/>
                <a:gd name="T91" fmla="*/ 14 h 297"/>
                <a:gd name="T92" fmla="*/ 84 w 429"/>
                <a:gd name="T93" fmla="*/ 5 h 297"/>
                <a:gd name="T94" fmla="*/ 131 w 429"/>
                <a:gd name="T95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9" h="297">
                  <a:moveTo>
                    <a:pt x="131" y="0"/>
                  </a:moveTo>
                  <a:lnTo>
                    <a:pt x="161" y="3"/>
                  </a:lnTo>
                  <a:lnTo>
                    <a:pt x="186" y="10"/>
                  </a:lnTo>
                  <a:lnTo>
                    <a:pt x="207" y="23"/>
                  </a:lnTo>
                  <a:lnTo>
                    <a:pt x="235" y="12"/>
                  </a:lnTo>
                  <a:lnTo>
                    <a:pt x="268" y="3"/>
                  </a:lnTo>
                  <a:lnTo>
                    <a:pt x="304" y="0"/>
                  </a:lnTo>
                  <a:lnTo>
                    <a:pt x="336" y="3"/>
                  </a:lnTo>
                  <a:lnTo>
                    <a:pt x="364" y="14"/>
                  </a:lnTo>
                  <a:lnTo>
                    <a:pt x="385" y="28"/>
                  </a:lnTo>
                  <a:lnTo>
                    <a:pt x="404" y="47"/>
                  </a:lnTo>
                  <a:lnTo>
                    <a:pt x="416" y="70"/>
                  </a:lnTo>
                  <a:lnTo>
                    <a:pt x="425" y="98"/>
                  </a:lnTo>
                  <a:lnTo>
                    <a:pt x="427" y="122"/>
                  </a:lnTo>
                  <a:lnTo>
                    <a:pt x="429" y="156"/>
                  </a:lnTo>
                  <a:lnTo>
                    <a:pt x="429" y="297"/>
                  </a:lnTo>
                  <a:lnTo>
                    <a:pt x="346" y="297"/>
                  </a:lnTo>
                  <a:lnTo>
                    <a:pt x="346" y="140"/>
                  </a:lnTo>
                  <a:lnTo>
                    <a:pt x="346" y="119"/>
                  </a:lnTo>
                  <a:lnTo>
                    <a:pt x="345" y="100"/>
                  </a:lnTo>
                  <a:lnTo>
                    <a:pt x="339" y="84"/>
                  </a:lnTo>
                  <a:lnTo>
                    <a:pt x="329" y="73"/>
                  </a:lnTo>
                  <a:lnTo>
                    <a:pt x="315" y="66"/>
                  </a:lnTo>
                  <a:lnTo>
                    <a:pt x="296" y="63"/>
                  </a:lnTo>
                  <a:lnTo>
                    <a:pt x="280" y="65"/>
                  </a:lnTo>
                  <a:lnTo>
                    <a:pt x="263" y="68"/>
                  </a:lnTo>
                  <a:lnTo>
                    <a:pt x="247" y="75"/>
                  </a:lnTo>
                  <a:lnTo>
                    <a:pt x="249" y="80"/>
                  </a:lnTo>
                  <a:lnTo>
                    <a:pt x="252" y="94"/>
                  </a:lnTo>
                  <a:lnTo>
                    <a:pt x="256" y="114"/>
                  </a:lnTo>
                  <a:lnTo>
                    <a:pt x="257" y="138"/>
                  </a:lnTo>
                  <a:lnTo>
                    <a:pt x="257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7"/>
                  </a:lnTo>
                  <a:lnTo>
                    <a:pt x="170" y="98"/>
                  </a:lnTo>
                  <a:lnTo>
                    <a:pt x="165" y="84"/>
                  </a:lnTo>
                  <a:lnTo>
                    <a:pt x="156" y="72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4" y="70"/>
                  </a:lnTo>
                  <a:lnTo>
                    <a:pt x="84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39" y="14"/>
                  </a:lnTo>
                  <a:lnTo>
                    <a:pt x="84" y="5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"/>
            <p:cNvSpPr>
              <a:spLocks noEditPoints="1"/>
            </p:cNvSpPr>
            <p:nvPr userDrawn="1"/>
          </p:nvSpPr>
          <p:spPr bwMode="auto">
            <a:xfrm>
              <a:off x="8205788" y="4191000"/>
              <a:ext cx="396875" cy="685800"/>
            </a:xfrm>
            <a:custGeom>
              <a:avLst/>
              <a:gdLst>
                <a:gd name="T0" fmla="*/ 105 w 250"/>
                <a:gd name="T1" fmla="*/ 61 h 432"/>
                <a:gd name="T2" fmla="*/ 96 w 250"/>
                <a:gd name="T3" fmla="*/ 61 h 432"/>
                <a:gd name="T4" fmla="*/ 89 w 250"/>
                <a:gd name="T5" fmla="*/ 61 h 432"/>
                <a:gd name="T6" fmla="*/ 82 w 250"/>
                <a:gd name="T7" fmla="*/ 61 h 432"/>
                <a:gd name="T8" fmla="*/ 82 w 250"/>
                <a:gd name="T9" fmla="*/ 234 h 432"/>
                <a:gd name="T10" fmla="*/ 87 w 250"/>
                <a:gd name="T11" fmla="*/ 238 h 432"/>
                <a:gd name="T12" fmla="*/ 96 w 250"/>
                <a:gd name="T13" fmla="*/ 239 h 432"/>
                <a:gd name="T14" fmla="*/ 108 w 250"/>
                <a:gd name="T15" fmla="*/ 239 h 432"/>
                <a:gd name="T16" fmla="*/ 122 w 250"/>
                <a:gd name="T17" fmla="*/ 238 h 432"/>
                <a:gd name="T18" fmla="*/ 136 w 250"/>
                <a:gd name="T19" fmla="*/ 232 h 432"/>
                <a:gd name="T20" fmla="*/ 148 w 250"/>
                <a:gd name="T21" fmla="*/ 222 h 432"/>
                <a:gd name="T22" fmla="*/ 159 w 250"/>
                <a:gd name="T23" fmla="*/ 203 h 432"/>
                <a:gd name="T24" fmla="*/ 166 w 250"/>
                <a:gd name="T25" fmla="*/ 178 h 432"/>
                <a:gd name="T26" fmla="*/ 168 w 250"/>
                <a:gd name="T27" fmla="*/ 143 h 432"/>
                <a:gd name="T28" fmla="*/ 162 w 250"/>
                <a:gd name="T29" fmla="*/ 115 h 432"/>
                <a:gd name="T30" fmla="*/ 152 w 250"/>
                <a:gd name="T31" fmla="*/ 92 h 432"/>
                <a:gd name="T32" fmla="*/ 138 w 250"/>
                <a:gd name="T33" fmla="*/ 75 h 432"/>
                <a:gd name="T34" fmla="*/ 122 w 250"/>
                <a:gd name="T35" fmla="*/ 64 h 432"/>
                <a:gd name="T36" fmla="*/ 105 w 250"/>
                <a:gd name="T37" fmla="*/ 61 h 432"/>
                <a:gd name="T38" fmla="*/ 98 w 250"/>
                <a:gd name="T39" fmla="*/ 0 h 432"/>
                <a:gd name="T40" fmla="*/ 122 w 250"/>
                <a:gd name="T41" fmla="*/ 1 h 432"/>
                <a:gd name="T42" fmla="*/ 147 w 250"/>
                <a:gd name="T43" fmla="*/ 7 h 432"/>
                <a:gd name="T44" fmla="*/ 171 w 250"/>
                <a:gd name="T45" fmla="*/ 15 h 432"/>
                <a:gd name="T46" fmla="*/ 194 w 250"/>
                <a:gd name="T47" fmla="*/ 28 h 432"/>
                <a:gd name="T48" fmla="*/ 213 w 250"/>
                <a:gd name="T49" fmla="*/ 45 h 432"/>
                <a:gd name="T50" fmla="*/ 229 w 250"/>
                <a:gd name="T51" fmla="*/ 66 h 432"/>
                <a:gd name="T52" fmla="*/ 241 w 250"/>
                <a:gd name="T53" fmla="*/ 91 h 432"/>
                <a:gd name="T54" fmla="*/ 248 w 250"/>
                <a:gd name="T55" fmla="*/ 120 h 432"/>
                <a:gd name="T56" fmla="*/ 250 w 250"/>
                <a:gd name="T57" fmla="*/ 155 h 432"/>
                <a:gd name="T58" fmla="*/ 246 w 250"/>
                <a:gd name="T59" fmla="*/ 194 h 432"/>
                <a:gd name="T60" fmla="*/ 238 w 250"/>
                <a:gd name="T61" fmla="*/ 222 h 432"/>
                <a:gd name="T62" fmla="*/ 224 w 250"/>
                <a:gd name="T63" fmla="*/ 248 h 432"/>
                <a:gd name="T64" fmla="*/ 206 w 250"/>
                <a:gd name="T65" fmla="*/ 269 h 432"/>
                <a:gd name="T66" fmla="*/ 185 w 250"/>
                <a:gd name="T67" fmla="*/ 285 h 432"/>
                <a:gd name="T68" fmla="*/ 159 w 250"/>
                <a:gd name="T69" fmla="*/ 295 h 432"/>
                <a:gd name="T70" fmla="*/ 129 w 250"/>
                <a:gd name="T71" fmla="*/ 299 h 432"/>
                <a:gd name="T72" fmla="*/ 112 w 250"/>
                <a:gd name="T73" fmla="*/ 297 h 432"/>
                <a:gd name="T74" fmla="*/ 94 w 250"/>
                <a:gd name="T75" fmla="*/ 294 h 432"/>
                <a:gd name="T76" fmla="*/ 82 w 250"/>
                <a:gd name="T77" fmla="*/ 290 h 432"/>
                <a:gd name="T78" fmla="*/ 82 w 250"/>
                <a:gd name="T79" fmla="*/ 432 h 432"/>
                <a:gd name="T80" fmla="*/ 0 w 250"/>
                <a:gd name="T81" fmla="*/ 432 h 432"/>
                <a:gd name="T82" fmla="*/ 0 w 250"/>
                <a:gd name="T83" fmla="*/ 12 h 432"/>
                <a:gd name="T84" fmla="*/ 28 w 250"/>
                <a:gd name="T85" fmla="*/ 5 h 432"/>
                <a:gd name="T86" fmla="*/ 61 w 250"/>
                <a:gd name="T87" fmla="*/ 1 h 432"/>
                <a:gd name="T88" fmla="*/ 98 w 250"/>
                <a:gd name="T89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0" h="432">
                  <a:moveTo>
                    <a:pt x="105" y="61"/>
                  </a:moveTo>
                  <a:lnTo>
                    <a:pt x="96" y="61"/>
                  </a:lnTo>
                  <a:lnTo>
                    <a:pt x="89" y="61"/>
                  </a:lnTo>
                  <a:lnTo>
                    <a:pt x="82" y="61"/>
                  </a:lnTo>
                  <a:lnTo>
                    <a:pt x="82" y="234"/>
                  </a:lnTo>
                  <a:lnTo>
                    <a:pt x="87" y="238"/>
                  </a:lnTo>
                  <a:lnTo>
                    <a:pt x="96" y="239"/>
                  </a:lnTo>
                  <a:lnTo>
                    <a:pt x="108" y="239"/>
                  </a:lnTo>
                  <a:lnTo>
                    <a:pt x="122" y="238"/>
                  </a:lnTo>
                  <a:lnTo>
                    <a:pt x="136" y="232"/>
                  </a:lnTo>
                  <a:lnTo>
                    <a:pt x="148" y="222"/>
                  </a:lnTo>
                  <a:lnTo>
                    <a:pt x="159" y="203"/>
                  </a:lnTo>
                  <a:lnTo>
                    <a:pt x="166" y="178"/>
                  </a:lnTo>
                  <a:lnTo>
                    <a:pt x="168" y="143"/>
                  </a:lnTo>
                  <a:lnTo>
                    <a:pt x="162" y="115"/>
                  </a:lnTo>
                  <a:lnTo>
                    <a:pt x="152" y="92"/>
                  </a:lnTo>
                  <a:lnTo>
                    <a:pt x="138" y="75"/>
                  </a:lnTo>
                  <a:lnTo>
                    <a:pt x="122" y="64"/>
                  </a:lnTo>
                  <a:lnTo>
                    <a:pt x="105" y="61"/>
                  </a:lnTo>
                  <a:close/>
                  <a:moveTo>
                    <a:pt x="98" y="0"/>
                  </a:moveTo>
                  <a:lnTo>
                    <a:pt x="122" y="1"/>
                  </a:lnTo>
                  <a:lnTo>
                    <a:pt x="147" y="7"/>
                  </a:lnTo>
                  <a:lnTo>
                    <a:pt x="171" y="15"/>
                  </a:lnTo>
                  <a:lnTo>
                    <a:pt x="194" y="28"/>
                  </a:lnTo>
                  <a:lnTo>
                    <a:pt x="213" y="45"/>
                  </a:lnTo>
                  <a:lnTo>
                    <a:pt x="229" y="66"/>
                  </a:lnTo>
                  <a:lnTo>
                    <a:pt x="241" y="91"/>
                  </a:lnTo>
                  <a:lnTo>
                    <a:pt x="248" y="120"/>
                  </a:lnTo>
                  <a:lnTo>
                    <a:pt x="250" y="155"/>
                  </a:lnTo>
                  <a:lnTo>
                    <a:pt x="246" y="194"/>
                  </a:lnTo>
                  <a:lnTo>
                    <a:pt x="238" y="222"/>
                  </a:lnTo>
                  <a:lnTo>
                    <a:pt x="224" y="248"/>
                  </a:lnTo>
                  <a:lnTo>
                    <a:pt x="206" y="269"/>
                  </a:lnTo>
                  <a:lnTo>
                    <a:pt x="185" y="285"/>
                  </a:lnTo>
                  <a:lnTo>
                    <a:pt x="159" y="295"/>
                  </a:lnTo>
                  <a:lnTo>
                    <a:pt x="129" y="299"/>
                  </a:lnTo>
                  <a:lnTo>
                    <a:pt x="112" y="297"/>
                  </a:lnTo>
                  <a:lnTo>
                    <a:pt x="94" y="294"/>
                  </a:lnTo>
                  <a:lnTo>
                    <a:pt x="82" y="290"/>
                  </a:lnTo>
                  <a:lnTo>
                    <a:pt x="82" y="432"/>
                  </a:lnTo>
                  <a:lnTo>
                    <a:pt x="0" y="432"/>
                  </a:lnTo>
                  <a:lnTo>
                    <a:pt x="0" y="12"/>
                  </a:lnTo>
                  <a:lnTo>
                    <a:pt x="28" y="5"/>
                  </a:lnTo>
                  <a:lnTo>
                    <a:pt x="61" y="1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"/>
            <p:cNvSpPr>
              <a:spLocks/>
            </p:cNvSpPr>
            <p:nvPr userDrawn="1"/>
          </p:nvSpPr>
          <p:spPr bwMode="auto">
            <a:xfrm>
              <a:off x="4591051" y="4187825"/>
              <a:ext cx="311150" cy="485775"/>
            </a:xfrm>
            <a:custGeom>
              <a:avLst/>
              <a:gdLst>
                <a:gd name="T0" fmla="*/ 91 w 196"/>
                <a:gd name="T1" fmla="*/ 0 h 306"/>
                <a:gd name="T2" fmla="*/ 110 w 196"/>
                <a:gd name="T3" fmla="*/ 2 h 306"/>
                <a:gd name="T4" fmla="*/ 128 w 196"/>
                <a:gd name="T5" fmla="*/ 3 h 306"/>
                <a:gd name="T6" fmla="*/ 145 w 196"/>
                <a:gd name="T7" fmla="*/ 9 h 306"/>
                <a:gd name="T8" fmla="*/ 168 w 196"/>
                <a:gd name="T9" fmla="*/ 17 h 306"/>
                <a:gd name="T10" fmla="*/ 168 w 196"/>
                <a:gd name="T11" fmla="*/ 79 h 306"/>
                <a:gd name="T12" fmla="*/ 149 w 196"/>
                <a:gd name="T13" fmla="*/ 68 h 306"/>
                <a:gd name="T14" fmla="*/ 131 w 196"/>
                <a:gd name="T15" fmla="*/ 61 h 306"/>
                <a:gd name="T16" fmla="*/ 117 w 196"/>
                <a:gd name="T17" fmla="*/ 58 h 306"/>
                <a:gd name="T18" fmla="*/ 102 w 196"/>
                <a:gd name="T19" fmla="*/ 56 h 306"/>
                <a:gd name="T20" fmla="*/ 89 w 196"/>
                <a:gd name="T21" fmla="*/ 59 h 306"/>
                <a:gd name="T22" fmla="*/ 81 w 196"/>
                <a:gd name="T23" fmla="*/ 65 h 306"/>
                <a:gd name="T24" fmla="*/ 76 w 196"/>
                <a:gd name="T25" fmla="*/ 72 h 306"/>
                <a:gd name="T26" fmla="*/ 74 w 196"/>
                <a:gd name="T27" fmla="*/ 80 h 306"/>
                <a:gd name="T28" fmla="*/ 74 w 196"/>
                <a:gd name="T29" fmla="*/ 87 h 306"/>
                <a:gd name="T30" fmla="*/ 83 w 196"/>
                <a:gd name="T31" fmla="*/ 100 h 306"/>
                <a:gd name="T32" fmla="*/ 100 w 196"/>
                <a:gd name="T33" fmla="*/ 112 h 306"/>
                <a:gd name="T34" fmla="*/ 128 w 196"/>
                <a:gd name="T35" fmla="*/ 128 h 306"/>
                <a:gd name="T36" fmla="*/ 151 w 196"/>
                <a:gd name="T37" fmla="*/ 142 h 306"/>
                <a:gd name="T38" fmla="*/ 170 w 196"/>
                <a:gd name="T39" fmla="*/ 157 h 306"/>
                <a:gd name="T40" fmla="*/ 184 w 196"/>
                <a:gd name="T41" fmla="*/ 178 h 306"/>
                <a:gd name="T42" fmla="*/ 194 w 196"/>
                <a:gd name="T43" fmla="*/ 205 h 306"/>
                <a:gd name="T44" fmla="*/ 196 w 196"/>
                <a:gd name="T45" fmla="*/ 233 h 306"/>
                <a:gd name="T46" fmla="*/ 191 w 196"/>
                <a:gd name="T47" fmla="*/ 255 h 306"/>
                <a:gd name="T48" fmla="*/ 179 w 196"/>
                <a:gd name="T49" fmla="*/ 275 h 306"/>
                <a:gd name="T50" fmla="*/ 161 w 196"/>
                <a:gd name="T51" fmla="*/ 289 h 306"/>
                <a:gd name="T52" fmla="*/ 138 w 196"/>
                <a:gd name="T53" fmla="*/ 299 h 306"/>
                <a:gd name="T54" fmla="*/ 112 w 196"/>
                <a:gd name="T55" fmla="*/ 304 h 306"/>
                <a:gd name="T56" fmla="*/ 83 w 196"/>
                <a:gd name="T57" fmla="*/ 306 h 306"/>
                <a:gd name="T58" fmla="*/ 55 w 196"/>
                <a:gd name="T59" fmla="*/ 304 h 306"/>
                <a:gd name="T60" fmla="*/ 30 w 196"/>
                <a:gd name="T61" fmla="*/ 299 h 306"/>
                <a:gd name="T62" fmla="*/ 7 w 196"/>
                <a:gd name="T63" fmla="*/ 292 h 306"/>
                <a:gd name="T64" fmla="*/ 7 w 196"/>
                <a:gd name="T65" fmla="*/ 229 h 306"/>
                <a:gd name="T66" fmla="*/ 30 w 196"/>
                <a:gd name="T67" fmla="*/ 240 h 306"/>
                <a:gd name="T68" fmla="*/ 51 w 196"/>
                <a:gd name="T69" fmla="*/ 248 h 306"/>
                <a:gd name="T70" fmla="*/ 74 w 196"/>
                <a:gd name="T71" fmla="*/ 254 h 306"/>
                <a:gd name="T72" fmla="*/ 93 w 196"/>
                <a:gd name="T73" fmla="*/ 250 h 306"/>
                <a:gd name="T74" fmla="*/ 107 w 196"/>
                <a:gd name="T75" fmla="*/ 245 h 306"/>
                <a:gd name="T76" fmla="*/ 114 w 196"/>
                <a:gd name="T77" fmla="*/ 236 h 306"/>
                <a:gd name="T78" fmla="*/ 117 w 196"/>
                <a:gd name="T79" fmla="*/ 226 h 306"/>
                <a:gd name="T80" fmla="*/ 117 w 196"/>
                <a:gd name="T81" fmla="*/ 215 h 306"/>
                <a:gd name="T82" fmla="*/ 109 w 196"/>
                <a:gd name="T83" fmla="*/ 201 h 306"/>
                <a:gd name="T84" fmla="*/ 95 w 196"/>
                <a:gd name="T85" fmla="*/ 187 h 306"/>
                <a:gd name="T86" fmla="*/ 76 w 196"/>
                <a:gd name="T87" fmla="*/ 175 h 306"/>
                <a:gd name="T88" fmla="*/ 55 w 196"/>
                <a:gd name="T89" fmla="*/ 161 h 306"/>
                <a:gd name="T90" fmla="*/ 37 w 196"/>
                <a:gd name="T91" fmla="*/ 149 h 306"/>
                <a:gd name="T92" fmla="*/ 21 w 196"/>
                <a:gd name="T93" fmla="*/ 133 h 306"/>
                <a:gd name="T94" fmla="*/ 9 w 196"/>
                <a:gd name="T95" fmla="*/ 115 h 306"/>
                <a:gd name="T96" fmla="*/ 2 w 196"/>
                <a:gd name="T97" fmla="*/ 93 h 306"/>
                <a:gd name="T98" fmla="*/ 0 w 196"/>
                <a:gd name="T99" fmla="*/ 68 h 306"/>
                <a:gd name="T100" fmla="*/ 6 w 196"/>
                <a:gd name="T101" fmla="*/ 47 h 306"/>
                <a:gd name="T102" fmla="*/ 14 w 196"/>
                <a:gd name="T103" fmla="*/ 30 h 306"/>
                <a:gd name="T104" fmla="*/ 30 w 196"/>
                <a:gd name="T105" fmla="*/ 17 h 306"/>
                <a:gd name="T106" fmla="*/ 48 w 196"/>
                <a:gd name="T107" fmla="*/ 9 h 306"/>
                <a:gd name="T108" fmla="*/ 69 w 196"/>
                <a:gd name="T109" fmla="*/ 2 h 306"/>
                <a:gd name="T110" fmla="*/ 91 w 196"/>
                <a:gd name="T111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6" h="306">
                  <a:moveTo>
                    <a:pt x="91" y="0"/>
                  </a:moveTo>
                  <a:lnTo>
                    <a:pt x="110" y="2"/>
                  </a:lnTo>
                  <a:lnTo>
                    <a:pt x="128" y="3"/>
                  </a:lnTo>
                  <a:lnTo>
                    <a:pt x="145" y="9"/>
                  </a:lnTo>
                  <a:lnTo>
                    <a:pt x="168" y="17"/>
                  </a:lnTo>
                  <a:lnTo>
                    <a:pt x="168" y="79"/>
                  </a:lnTo>
                  <a:lnTo>
                    <a:pt x="149" y="68"/>
                  </a:lnTo>
                  <a:lnTo>
                    <a:pt x="131" y="61"/>
                  </a:lnTo>
                  <a:lnTo>
                    <a:pt x="117" y="58"/>
                  </a:lnTo>
                  <a:lnTo>
                    <a:pt x="102" y="56"/>
                  </a:lnTo>
                  <a:lnTo>
                    <a:pt x="89" y="59"/>
                  </a:lnTo>
                  <a:lnTo>
                    <a:pt x="81" y="65"/>
                  </a:lnTo>
                  <a:lnTo>
                    <a:pt x="76" y="72"/>
                  </a:lnTo>
                  <a:lnTo>
                    <a:pt x="74" y="80"/>
                  </a:lnTo>
                  <a:lnTo>
                    <a:pt x="74" y="87"/>
                  </a:lnTo>
                  <a:lnTo>
                    <a:pt x="83" y="100"/>
                  </a:lnTo>
                  <a:lnTo>
                    <a:pt x="100" y="112"/>
                  </a:lnTo>
                  <a:lnTo>
                    <a:pt x="128" y="128"/>
                  </a:lnTo>
                  <a:lnTo>
                    <a:pt x="151" y="142"/>
                  </a:lnTo>
                  <a:lnTo>
                    <a:pt x="170" y="157"/>
                  </a:lnTo>
                  <a:lnTo>
                    <a:pt x="184" y="178"/>
                  </a:lnTo>
                  <a:lnTo>
                    <a:pt x="194" y="205"/>
                  </a:lnTo>
                  <a:lnTo>
                    <a:pt x="196" y="233"/>
                  </a:lnTo>
                  <a:lnTo>
                    <a:pt x="191" y="255"/>
                  </a:lnTo>
                  <a:lnTo>
                    <a:pt x="179" y="275"/>
                  </a:lnTo>
                  <a:lnTo>
                    <a:pt x="161" y="289"/>
                  </a:lnTo>
                  <a:lnTo>
                    <a:pt x="138" y="299"/>
                  </a:lnTo>
                  <a:lnTo>
                    <a:pt x="112" y="304"/>
                  </a:lnTo>
                  <a:lnTo>
                    <a:pt x="83" y="306"/>
                  </a:lnTo>
                  <a:lnTo>
                    <a:pt x="55" y="304"/>
                  </a:lnTo>
                  <a:lnTo>
                    <a:pt x="30" y="299"/>
                  </a:lnTo>
                  <a:lnTo>
                    <a:pt x="7" y="292"/>
                  </a:lnTo>
                  <a:lnTo>
                    <a:pt x="7" y="229"/>
                  </a:lnTo>
                  <a:lnTo>
                    <a:pt x="30" y="240"/>
                  </a:lnTo>
                  <a:lnTo>
                    <a:pt x="51" y="248"/>
                  </a:lnTo>
                  <a:lnTo>
                    <a:pt x="74" y="254"/>
                  </a:lnTo>
                  <a:lnTo>
                    <a:pt x="93" y="250"/>
                  </a:lnTo>
                  <a:lnTo>
                    <a:pt x="107" y="245"/>
                  </a:lnTo>
                  <a:lnTo>
                    <a:pt x="114" y="236"/>
                  </a:lnTo>
                  <a:lnTo>
                    <a:pt x="117" y="226"/>
                  </a:lnTo>
                  <a:lnTo>
                    <a:pt x="117" y="215"/>
                  </a:lnTo>
                  <a:lnTo>
                    <a:pt x="109" y="201"/>
                  </a:lnTo>
                  <a:lnTo>
                    <a:pt x="95" y="187"/>
                  </a:lnTo>
                  <a:lnTo>
                    <a:pt x="76" y="175"/>
                  </a:lnTo>
                  <a:lnTo>
                    <a:pt x="55" y="161"/>
                  </a:lnTo>
                  <a:lnTo>
                    <a:pt x="37" y="149"/>
                  </a:lnTo>
                  <a:lnTo>
                    <a:pt x="21" y="133"/>
                  </a:lnTo>
                  <a:lnTo>
                    <a:pt x="9" y="115"/>
                  </a:lnTo>
                  <a:lnTo>
                    <a:pt x="2" y="93"/>
                  </a:lnTo>
                  <a:lnTo>
                    <a:pt x="0" y="68"/>
                  </a:lnTo>
                  <a:lnTo>
                    <a:pt x="6" y="47"/>
                  </a:lnTo>
                  <a:lnTo>
                    <a:pt x="14" y="30"/>
                  </a:lnTo>
                  <a:lnTo>
                    <a:pt x="30" y="17"/>
                  </a:lnTo>
                  <a:lnTo>
                    <a:pt x="48" y="9"/>
                  </a:lnTo>
                  <a:lnTo>
                    <a:pt x="69" y="2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4"/>
            <p:cNvSpPr>
              <a:spLocks/>
            </p:cNvSpPr>
            <p:nvPr userDrawn="1"/>
          </p:nvSpPr>
          <p:spPr bwMode="auto">
            <a:xfrm>
              <a:off x="3719513" y="4195763"/>
              <a:ext cx="230188" cy="463550"/>
            </a:xfrm>
            <a:custGeom>
              <a:avLst/>
              <a:gdLst>
                <a:gd name="T0" fmla="*/ 140 w 145"/>
                <a:gd name="T1" fmla="*/ 0 h 292"/>
                <a:gd name="T2" fmla="*/ 145 w 145"/>
                <a:gd name="T3" fmla="*/ 0 h 292"/>
                <a:gd name="T4" fmla="*/ 145 w 145"/>
                <a:gd name="T5" fmla="*/ 61 h 292"/>
                <a:gd name="T6" fmla="*/ 138 w 145"/>
                <a:gd name="T7" fmla="*/ 61 h 292"/>
                <a:gd name="T8" fmla="*/ 133 w 145"/>
                <a:gd name="T9" fmla="*/ 61 h 292"/>
                <a:gd name="T10" fmla="*/ 117 w 145"/>
                <a:gd name="T11" fmla="*/ 61 h 292"/>
                <a:gd name="T12" fmla="*/ 98 w 145"/>
                <a:gd name="T13" fmla="*/ 63 h 292"/>
                <a:gd name="T14" fmla="*/ 82 w 145"/>
                <a:gd name="T15" fmla="*/ 68 h 292"/>
                <a:gd name="T16" fmla="*/ 84 w 145"/>
                <a:gd name="T17" fmla="*/ 292 h 292"/>
                <a:gd name="T18" fmla="*/ 0 w 145"/>
                <a:gd name="T19" fmla="*/ 292 h 292"/>
                <a:gd name="T20" fmla="*/ 0 w 145"/>
                <a:gd name="T21" fmla="*/ 25 h 292"/>
                <a:gd name="T22" fmla="*/ 21 w 145"/>
                <a:gd name="T23" fmla="*/ 18 h 292"/>
                <a:gd name="T24" fmla="*/ 44 w 145"/>
                <a:gd name="T25" fmla="*/ 11 h 292"/>
                <a:gd name="T26" fmla="*/ 72 w 145"/>
                <a:gd name="T27" fmla="*/ 5 h 292"/>
                <a:gd name="T28" fmla="*/ 103 w 145"/>
                <a:gd name="T29" fmla="*/ 2 h 292"/>
                <a:gd name="T30" fmla="*/ 140 w 145"/>
                <a:gd name="T3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92">
                  <a:moveTo>
                    <a:pt x="140" y="0"/>
                  </a:moveTo>
                  <a:lnTo>
                    <a:pt x="145" y="0"/>
                  </a:lnTo>
                  <a:lnTo>
                    <a:pt x="145" y="61"/>
                  </a:lnTo>
                  <a:lnTo>
                    <a:pt x="138" y="61"/>
                  </a:lnTo>
                  <a:lnTo>
                    <a:pt x="133" y="61"/>
                  </a:lnTo>
                  <a:lnTo>
                    <a:pt x="117" y="61"/>
                  </a:lnTo>
                  <a:lnTo>
                    <a:pt x="98" y="63"/>
                  </a:lnTo>
                  <a:lnTo>
                    <a:pt x="82" y="68"/>
                  </a:lnTo>
                  <a:lnTo>
                    <a:pt x="84" y="292"/>
                  </a:lnTo>
                  <a:lnTo>
                    <a:pt x="0" y="292"/>
                  </a:lnTo>
                  <a:lnTo>
                    <a:pt x="0" y="25"/>
                  </a:lnTo>
                  <a:lnTo>
                    <a:pt x="21" y="18"/>
                  </a:lnTo>
                  <a:lnTo>
                    <a:pt x="44" y="11"/>
                  </a:lnTo>
                  <a:lnTo>
                    <a:pt x="72" y="5"/>
                  </a:lnTo>
                  <a:lnTo>
                    <a:pt x="103" y="2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 userDrawn="1"/>
          </p:nvSpPr>
          <p:spPr bwMode="auto">
            <a:xfrm>
              <a:off x="4003676" y="4191000"/>
              <a:ext cx="127000" cy="468313"/>
            </a:xfrm>
            <a:custGeom>
              <a:avLst/>
              <a:gdLst>
                <a:gd name="T0" fmla="*/ 40 w 80"/>
                <a:gd name="T1" fmla="*/ 0 h 295"/>
                <a:gd name="T2" fmla="*/ 61 w 80"/>
                <a:gd name="T3" fmla="*/ 1 h 295"/>
                <a:gd name="T4" fmla="*/ 73 w 80"/>
                <a:gd name="T5" fmla="*/ 1 h 295"/>
                <a:gd name="T6" fmla="*/ 78 w 80"/>
                <a:gd name="T7" fmla="*/ 3 h 295"/>
                <a:gd name="T8" fmla="*/ 80 w 80"/>
                <a:gd name="T9" fmla="*/ 3 h 295"/>
                <a:gd name="T10" fmla="*/ 80 w 80"/>
                <a:gd name="T11" fmla="*/ 295 h 295"/>
                <a:gd name="T12" fmla="*/ 0 w 80"/>
                <a:gd name="T13" fmla="*/ 295 h 295"/>
                <a:gd name="T14" fmla="*/ 0 w 80"/>
                <a:gd name="T15" fmla="*/ 3 h 295"/>
                <a:gd name="T16" fmla="*/ 1 w 80"/>
                <a:gd name="T17" fmla="*/ 3 h 295"/>
                <a:gd name="T18" fmla="*/ 8 w 80"/>
                <a:gd name="T19" fmla="*/ 1 h 295"/>
                <a:gd name="T20" fmla="*/ 21 w 80"/>
                <a:gd name="T21" fmla="*/ 1 h 295"/>
                <a:gd name="T22" fmla="*/ 40 w 80"/>
                <a:gd name="T23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295">
                  <a:moveTo>
                    <a:pt x="40" y="0"/>
                  </a:moveTo>
                  <a:lnTo>
                    <a:pt x="61" y="1"/>
                  </a:lnTo>
                  <a:lnTo>
                    <a:pt x="73" y="1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0" y="295"/>
                  </a:lnTo>
                  <a:lnTo>
                    <a:pt x="0" y="295"/>
                  </a:lnTo>
                  <a:lnTo>
                    <a:pt x="0" y="3"/>
                  </a:lnTo>
                  <a:lnTo>
                    <a:pt x="1" y="3"/>
                  </a:lnTo>
                  <a:lnTo>
                    <a:pt x="8" y="1"/>
                  </a:lnTo>
                  <a:lnTo>
                    <a:pt x="21" y="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6"/>
            <p:cNvSpPr>
              <a:spLocks/>
            </p:cNvSpPr>
            <p:nvPr userDrawn="1"/>
          </p:nvSpPr>
          <p:spPr bwMode="auto">
            <a:xfrm>
              <a:off x="4943476" y="4043363"/>
              <a:ext cx="217488" cy="630238"/>
            </a:xfrm>
            <a:custGeom>
              <a:avLst/>
              <a:gdLst>
                <a:gd name="T0" fmla="*/ 42 w 137"/>
                <a:gd name="T1" fmla="*/ 0 h 397"/>
                <a:gd name="T2" fmla="*/ 63 w 137"/>
                <a:gd name="T3" fmla="*/ 0 h 397"/>
                <a:gd name="T4" fmla="*/ 76 w 137"/>
                <a:gd name="T5" fmla="*/ 2 h 397"/>
                <a:gd name="T6" fmla="*/ 83 w 137"/>
                <a:gd name="T7" fmla="*/ 3 h 397"/>
                <a:gd name="T8" fmla="*/ 84 w 137"/>
                <a:gd name="T9" fmla="*/ 3 h 397"/>
                <a:gd name="T10" fmla="*/ 84 w 137"/>
                <a:gd name="T11" fmla="*/ 289 h 397"/>
                <a:gd name="T12" fmla="*/ 86 w 137"/>
                <a:gd name="T13" fmla="*/ 306 h 397"/>
                <a:gd name="T14" fmla="*/ 90 w 137"/>
                <a:gd name="T15" fmla="*/ 317 h 397"/>
                <a:gd name="T16" fmla="*/ 98 w 137"/>
                <a:gd name="T17" fmla="*/ 324 h 397"/>
                <a:gd name="T18" fmla="*/ 109 w 137"/>
                <a:gd name="T19" fmla="*/ 325 h 397"/>
                <a:gd name="T20" fmla="*/ 114 w 137"/>
                <a:gd name="T21" fmla="*/ 325 h 397"/>
                <a:gd name="T22" fmla="*/ 119 w 137"/>
                <a:gd name="T23" fmla="*/ 324 h 397"/>
                <a:gd name="T24" fmla="*/ 137 w 137"/>
                <a:gd name="T25" fmla="*/ 390 h 397"/>
                <a:gd name="T26" fmla="*/ 116 w 137"/>
                <a:gd name="T27" fmla="*/ 395 h 397"/>
                <a:gd name="T28" fmla="*/ 88 w 137"/>
                <a:gd name="T29" fmla="*/ 397 h 397"/>
                <a:gd name="T30" fmla="*/ 74 w 137"/>
                <a:gd name="T31" fmla="*/ 397 h 397"/>
                <a:gd name="T32" fmla="*/ 60 w 137"/>
                <a:gd name="T33" fmla="*/ 394 h 397"/>
                <a:gd name="T34" fmla="*/ 46 w 137"/>
                <a:gd name="T35" fmla="*/ 388 h 397"/>
                <a:gd name="T36" fmla="*/ 32 w 137"/>
                <a:gd name="T37" fmla="*/ 380 h 397"/>
                <a:gd name="T38" fmla="*/ 20 w 137"/>
                <a:gd name="T39" fmla="*/ 366 h 397"/>
                <a:gd name="T40" fmla="*/ 9 w 137"/>
                <a:gd name="T41" fmla="*/ 348 h 397"/>
                <a:gd name="T42" fmla="*/ 4 w 137"/>
                <a:gd name="T43" fmla="*/ 324 h 397"/>
                <a:gd name="T44" fmla="*/ 0 w 137"/>
                <a:gd name="T45" fmla="*/ 292 h 397"/>
                <a:gd name="T46" fmla="*/ 0 w 137"/>
                <a:gd name="T47" fmla="*/ 3 h 397"/>
                <a:gd name="T48" fmla="*/ 2 w 137"/>
                <a:gd name="T49" fmla="*/ 3 h 397"/>
                <a:gd name="T50" fmla="*/ 4 w 137"/>
                <a:gd name="T51" fmla="*/ 3 h 397"/>
                <a:gd name="T52" fmla="*/ 11 w 137"/>
                <a:gd name="T53" fmla="*/ 2 h 397"/>
                <a:gd name="T54" fmla="*/ 23 w 137"/>
                <a:gd name="T55" fmla="*/ 0 h 397"/>
                <a:gd name="T56" fmla="*/ 42 w 137"/>
                <a:gd name="T5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397">
                  <a:moveTo>
                    <a:pt x="42" y="0"/>
                  </a:moveTo>
                  <a:lnTo>
                    <a:pt x="63" y="0"/>
                  </a:lnTo>
                  <a:lnTo>
                    <a:pt x="76" y="2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289"/>
                  </a:lnTo>
                  <a:lnTo>
                    <a:pt x="86" y="306"/>
                  </a:lnTo>
                  <a:lnTo>
                    <a:pt x="90" y="317"/>
                  </a:lnTo>
                  <a:lnTo>
                    <a:pt x="98" y="324"/>
                  </a:lnTo>
                  <a:lnTo>
                    <a:pt x="109" y="325"/>
                  </a:lnTo>
                  <a:lnTo>
                    <a:pt x="114" y="325"/>
                  </a:lnTo>
                  <a:lnTo>
                    <a:pt x="119" y="324"/>
                  </a:lnTo>
                  <a:lnTo>
                    <a:pt x="137" y="390"/>
                  </a:lnTo>
                  <a:lnTo>
                    <a:pt x="116" y="395"/>
                  </a:lnTo>
                  <a:lnTo>
                    <a:pt x="88" y="397"/>
                  </a:lnTo>
                  <a:lnTo>
                    <a:pt x="74" y="397"/>
                  </a:lnTo>
                  <a:lnTo>
                    <a:pt x="60" y="394"/>
                  </a:lnTo>
                  <a:lnTo>
                    <a:pt x="46" y="388"/>
                  </a:lnTo>
                  <a:lnTo>
                    <a:pt x="32" y="380"/>
                  </a:lnTo>
                  <a:lnTo>
                    <a:pt x="20" y="366"/>
                  </a:lnTo>
                  <a:lnTo>
                    <a:pt x="9" y="348"/>
                  </a:lnTo>
                  <a:lnTo>
                    <a:pt x="4" y="324"/>
                  </a:lnTo>
                  <a:lnTo>
                    <a:pt x="0" y="292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7"/>
            <p:cNvSpPr>
              <a:spLocks/>
            </p:cNvSpPr>
            <p:nvPr userDrawn="1"/>
          </p:nvSpPr>
          <p:spPr bwMode="auto">
            <a:xfrm>
              <a:off x="8655051" y="4195763"/>
              <a:ext cx="130175" cy="463550"/>
            </a:xfrm>
            <a:custGeom>
              <a:avLst/>
              <a:gdLst>
                <a:gd name="T0" fmla="*/ 42 w 82"/>
                <a:gd name="T1" fmla="*/ 0 h 292"/>
                <a:gd name="T2" fmla="*/ 63 w 82"/>
                <a:gd name="T3" fmla="*/ 0 h 292"/>
                <a:gd name="T4" fmla="*/ 75 w 82"/>
                <a:gd name="T5" fmla="*/ 2 h 292"/>
                <a:gd name="T6" fmla="*/ 81 w 82"/>
                <a:gd name="T7" fmla="*/ 5 h 292"/>
                <a:gd name="T8" fmla="*/ 82 w 82"/>
                <a:gd name="T9" fmla="*/ 5 h 292"/>
                <a:gd name="T10" fmla="*/ 82 w 82"/>
                <a:gd name="T11" fmla="*/ 292 h 292"/>
                <a:gd name="T12" fmla="*/ 0 w 82"/>
                <a:gd name="T13" fmla="*/ 292 h 292"/>
                <a:gd name="T14" fmla="*/ 2 w 82"/>
                <a:gd name="T15" fmla="*/ 5 h 292"/>
                <a:gd name="T16" fmla="*/ 4 w 82"/>
                <a:gd name="T17" fmla="*/ 5 h 292"/>
                <a:gd name="T18" fmla="*/ 11 w 82"/>
                <a:gd name="T19" fmla="*/ 2 h 292"/>
                <a:gd name="T20" fmla="*/ 23 w 82"/>
                <a:gd name="T21" fmla="*/ 0 h 292"/>
                <a:gd name="T22" fmla="*/ 42 w 82"/>
                <a:gd name="T2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292">
                  <a:moveTo>
                    <a:pt x="42" y="0"/>
                  </a:moveTo>
                  <a:lnTo>
                    <a:pt x="63" y="0"/>
                  </a:lnTo>
                  <a:lnTo>
                    <a:pt x="75" y="2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292"/>
                  </a:lnTo>
                  <a:lnTo>
                    <a:pt x="0" y="292"/>
                  </a:lnTo>
                  <a:lnTo>
                    <a:pt x="2" y="5"/>
                  </a:lnTo>
                  <a:lnTo>
                    <a:pt x="4" y="5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8"/>
            <p:cNvSpPr>
              <a:spLocks/>
            </p:cNvSpPr>
            <p:nvPr userDrawn="1"/>
          </p:nvSpPr>
          <p:spPr bwMode="auto">
            <a:xfrm>
              <a:off x="6584951" y="4043363"/>
              <a:ext cx="422275" cy="636588"/>
            </a:xfrm>
            <a:custGeom>
              <a:avLst/>
              <a:gdLst>
                <a:gd name="T0" fmla="*/ 166 w 266"/>
                <a:gd name="T1" fmla="*/ 0 h 401"/>
                <a:gd name="T2" fmla="*/ 199 w 266"/>
                <a:gd name="T3" fmla="*/ 3 h 401"/>
                <a:gd name="T4" fmla="*/ 225 w 266"/>
                <a:gd name="T5" fmla="*/ 10 h 401"/>
                <a:gd name="T6" fmla="*/ 248 w 266"/>
                <a:gd name="T7" fmla="*/ 21 h 401"/>
                <a:gd name="T8" fmla="*/ 266 w 266"/>
                <a:gd name="T9" fmla="*/ 35 h 401"/>
                <a:gd name="T10" fmla="*/ 224 w 266"/>
                <a:gd name="T11" fmla="*/ 91 h 401"/>
                <a:gd name="T12" fmla="*/ 204 w 266"/>
                <a:gd name="T13" fmla="*/ 77 h 401"/>
                <a:gd name="T14" fmla="*/ 183 w 266"/>
                <a:gd name="T15" fmla="*/ 72 h 401"/>
                <a:gd name="T16" fmla="*/ 166 w 266"/>
                <a:gd name="T17" fmla="*/ 70 h 401"/>
                <a:gd name="T18" fmla="*/ 143 w 266"/>
                <a:gd name="T19" fmla="*/ 73 h 401"/>
                <a:gd name="T20" fmla="*/ 124 w 266"/>
                <a:gd name="T21" fmla="*/ 84 h 401"/>
                <a:gd name="T22" fmla="*/ 110 w 266"/>
                <a:gd name="T23" fmla="*/ 100 h 401"/>
                <a:gd name="T24" fmla="*/ 101 w 266"/>
                <a:gd name="T25" fmla="*/ 121 h 401"/>
                <a:gd name="T26" fmla="*/ 94 w 266"/>
                <a:gd name="T27" fmla="*/ 145 h 401"/>
                <a:gd name="T28" fmla="*/ 91 w 266"/>
                <a:gd name="T29" fmla="*/ 171 h 401"/>
                <a:gd name="T30" fmla="*/ 89 w 266"/>
                <a:gd name="T31" fmla="*/ 199 h 401"/>
                <a:gd name="T32" fmla="*/ 91 w 266"/>
                <a:gd name="T33" fmla="*/ 229 h 401"/>
                <a:gd name="T34" fmla="*/ 94 w 266"/>
                <a:gd name="T35" fmla="*/ 257 h 401"/>
                <a:gd name="T36" fmla="*/ 103 w 266"/>
                <a:gd name="T37" fmla="*/ 282 h 401"/>
                <a:gd name="T38" fmla="*/ 113 w 266"/>
                <a:gd name="T39" fmla="*/ 301 h 401"/>
                <a:gd name="T40" fmla="*/ 127 w 266"/>
                <a:gd name="T41" fmla="*/ 317 h 401"/>
                <a:gd name="T42" fmla="*/ 147 w 266"/>
                <a:gd name="T43" fmla="*/ 327 h 401"/>
                <a:gd name="T44" fmla="*/ 168 w 266"/>
                <a:gd name="T45" fmla="*/ 329 h 401"/>
                <a:gd name="T46" fmla="*/ 199 w 266"/>
                <a:gd name="T47" fmla="*/ 325 h 401"/>
                <a:gd name="T48" fmla="*/ 227 w 266"/>
                <a:gd name="T49" fmla="*/ 318 h 401"/>
                <a:gd name="T50" fmla="*/ 260 w 266"/>
                <a:gd name="T51" fmla="*/ 383 h 401"/>
                <a:gd name="T52" fmla="*/ 239 w 266"/>
                <a:gd name="T53" fmla="*/ 388 h 401"/>
                <a:gd name="T54" fmla="*/ 215 w 266"/>
                <a:gd name="T55" fmla="*/ 394 h 401"/>
                <a:gd name="T56" fmla="*/ 190 w 266"/>
                <a:gd name="T57" fmla="*/ 399 h 401"/>
                <a:gd name="T58" fmla="*/ 166 w 266"/>
                <a:gd name="T59" fmla="*/ 401 h 401"/>
                <a:gd name="T60" fmla="*/ 134 w 266"/>
                <a:gd name="T61" fmla="*/ 397 h 401"/>
                <a:gd name="T62" fmla="*/ 105 w 266"/>
                <a:gd name="T63" fmla="*/ 392 h 401"/>
                <a:gd name="T64" fmla="*/ 78 w 266"/>
                <a:gd name="T65" fmla="*/ 380 h 401"/>
                <a:gd name="T66" fmla="*/ 56 w 266"/>
                <a:gd name="T67" fmla="*/ 364 h 401"/>
                <a:gd name="T68" fmla="*/ 36 w 266"/>
                <a:gd name="T69" fmla="*/ 343 h 401"/>
                <a:gd name="T70" fmla="*/ 21 w 266"/>
                <a:gd name="T71" fmla="*/ 315 h 401"/>
                <a:gd name="T72" fmla="*/ 8 w 266"/>
                <a:gd name="T73" fmla="*/ 283 h 401"/>
                <a:gd name="T74" fmla="*/ 1 w 266"/>
                <a:gd name="T75" fmla="*/ 245 h 401"/>
                <a:gd name="T76" fmla="*/ 0 w 266"/>
                <a:gd name="T77" fmla="*/ 199 h 401"/>
                <a:gd name="T78" fmla="*/ 1 w 266"/>
                <a:gd name="T79" fmla="*/ 156 h 401"/>
                <a:gd name="T80" fmla="*/ 10 w 266"/>
                <a:gd name="T81" fmla="*/ 119 h 401"/>
                <a:gd name="T82" fmla="*/ 22 w 266"/>
                <a:gd name="T83" fmla="*/ 86 h 401"/>
                <a:gd name="T84" fmla="*/ 38 w 266"/>
                <a:gd name="T85" fmla="*/ 59 h 401"/>
                <a:gd name="T86" fmla="*/ 59 w 266"/>
                <a:gd name="T87" fmla="*/ 38 h 401"/>
                <a:gd name="T88" fmla="*/ 82 w 266"/>
                <a:gd name="T89" fmla="*/ 21 h 401"/>
                <a:gd name="T90" fmla="*/ 108 w 266"/>
                <a:gd name="T91" fmla="*/ 9 h 401"/>
                <a:gd name="T92" fmla="*/ 136 w 266"/>
                <a:gd name="T93" fmla="*/ 3 h 401"/>
                <a:gd name="T94" fmla="*/ 166 w 266"/>
                <a:gd name="T95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6" h="401">
                  <a:moveTo>
                    <a:pt x="166" y="0"/>
                  </a:moveTo>
                  <a:lnTo>
                    <a:pt x="199" y="3"/>
                  </a:lnTo>
                  <a:lnTo>
                    <a:pt x="225" y="10"/>
                  </a:lnTo>
                  <a:lnTo>
                    <a:pt x="248" y="21"/>
                  </a:lnTo>
                  <a:lnTo>
                    <a:pt x="266" y="35"/>
                  </a:lnTo>
                  <a:lnTo>
                    <a:pt x="224" y="91"/>
                  </a:lnTo>
                  <a:lnTo>
                    <a:pt x="204" y="77"/>
                  </a:lnTo>
                  <a:lnTo>
                    <a:pt x="183" y="72"/>
                  </a:lnTo>
                  <a:lnTo>
                    <a:pt x="166" y="70"/>
                  </a:lnTo>
                  <a:lnTo>
                    <a:pt x="143" y="73"/>
                  </a:lnTo>
                  <a:lnTo>
                    <a:pt x="124" y="84"/>
                  </a:lnTo>
                  <a:lnTo>
                    <a:pt x="110" y="100"/>
                  </a:lnTo>
                  <a:lnTo>
                    <a:pt x="101" y="121"/>
                  </a:lnTo>
                  <a:lnTo>
                    <a:pt x="94" y="145"/>
                  </a:lnTo>
                  <a:lnTo>
                    <a:pt x="91" y="171"/>
                  </a:lnTo>
                  <a:lnTo>
                    <a:pt x="89" y="199"/>
                  </a:lnTo>
                  <a:lnTo>
                    <a:pt x="91" y="229"/>
                  </a:lnTo>
                  <a:lnTo>
                    <a:pt x="94" y="257"/>
                  </a:lnTo>
                  <a:lnTo>
                    <a:pt x="103" y="282"/>
                  </a:lnTo>
                  <a:lnTo>
                    <a:pt x="113" y="301"/>
                  </a:lnTo>
                  <a:lnTo>
                    <a:pt x="127" y="317"/>
                  </a:lnTo>
                  <a:lnTo>
                    <a:pt x="147" y="327"/>
                  </a:lnTo>
                  <a:lnTo>
                    <a:pt x="168" y="329"/>
                  </a:lnTo>
                  <a:lnTo>
                    <a:pt x="199" y="325"/>
                  </a:lnTo>
                  <a:lnTo>
                    <a:pt x="227" y="318"/>
                  </a:lnTo>
                  <a:lnTo>
                    <a:pt x="260" y="383"/>
                  </a:lnTo>
                  <a:lnTo>
                    <a:pt x="239" y="388"/>
                  </a:lnTo>
                  <a:lnTo>
                    <a:pt x="215" y="394"/>
                  </a:lnTo>
                  <a:lnTo>
                    <a:pt x="190" y="399"/>
                  </a:lnTo>
                  <a:lnTo>
                    <a:pt x="166" y="401"/>
                  </a:lnTo>
                  <a:lnTo>
                    <a:pt x="134" y="397"/>
                  </a:lnTo>
                  <a:lnTo>
                    <a:pt x="105" y="392"/>
                  </a:lnTo>
                  <a:lnTo>
                    <a:pt x="78" y="380"/>
                  </a:lnTo>
                  <a:lnTo>
                    <a:pt x="56" y="364"/>
                  </a:lnTo>
                  <a:lnTo>
                    <a:pt x="36" y="343"/>
                  </a:lnTo>
                  <a:lnTo>
                    <a:pt x="21" y="315"/>
                  </a:lnTo>
                  <a:lnTo>
                    <a:pt x="8" y="283"/>
                  </a:lnTo>
                  <a:lnTo>
                    <a:pt x="1" y="245"/>
                  </a:lnTo>
                  <a:lnTo>
                    <a:pt x="0" y="199"/>
                  </a:lnTo>
                  <a:lnTo>
                    <a:pt x="1" y="156"/>
                  </a:lnTo>
                  <a:lnTo>
                    <a:pt x="10" y="119"/>
                  </a:lnTo>
                  <a:lnTo>
                    <a:pt x="22" y="86"/>
                  </a:lnTo>
                  <a:lnTo>
                    <a:pt x="38" y="59"/>
                  </a:lnTo>
                  <a:lnTo>
                    <a:pt x="59" y="38"/>
                  </a:lnTo>
                  <a:lnTo>
                    <a:pt x="82" y="21"/>
                  </a:lnTo>
                  <a:lnTo>
                    <a:pt x="108" y="9"/>
                  </a:lnTo>
                  <a:lnTo>
                    <a:pt x="136" y="3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9"/>
            <p:cNvSpPr>
              <a:spLocks noEditPoints="1"/>
            </p:cNvSpPr>
            <p:nvPr userDrawn="1"/>
          </p:nvSpPr>
          <p:spPr bwMode="auto">
            <a:xfrm>
              <a:off x="6092826" y="4043363"/>
              <a:ext cx="406400" cy="630238"/>
            </a:xfrm>
            <a:custGeom>
              <a:avLst/>
              <a:gdLst>
                <a:gd name="T0" fmla="*/ 156 w 256"/>
                <a:gd name="T1" fmla="*/ 152 h 397"/>
                <a:gd name="T2" fmla="*/ 137 w 256"/>
                <a:gd name="T3" fmla="*/ 152 h 397"/>
                <a:gd name="T4" fmla="*/ 117 w 256"/>
                <a:gd name="T5" fmla="*/ 159 h 397"/>
                <a:gd name="T6" fmla="*/ 103 w 256"/>
                <a:gd name="T7" fmla="*/ 175 h 397"/>
                <a:gd name="T8" fmla="*/ 93 w 256"/>
                <a:gd name="T9" fmla="*/ 196 h 397"/>
                <a:gd name="T10" fmla="*/ 86 w 256"/>
                <a:gd name="T11" fmla="*/ 220 h 397"/>
                <a:gd name="T12" fmla="*/ 84 w 256"/>
                <a:gd name="T13" fmla="*/ 247 h 397"/>
                <a:gd name="T14" fmla="*/ 86 w 256"/>
                <a:gd name="T15" fmla="*/ 273 h 397"/>
                <a:gd name="T16" fmla="*/ 93 w 256"/>
                <a:gd name="T17" fmla="*/ 297 h 397"/>
                <a:gd name="T18" fmla="*/ 102 w 256"/>
                <a:gd name="T19" fmla="*/ 313 h 397"/>
                <a:gd name="T20" fmla="*/ 112 w 256"/>
                <a:gd name="T21" fmla="*/ 324 h 397"/>
                <a:gd name="T22" fmla="*/ 124 w 256"/>
                <a:gd name="T23" fmla="*/ 331 h 397"/>
                <a:gd name="T24" fmla="*/ 135 w 256"/>
                <a:gd name="T25" fmla="*/ 332 h 397"/>
                <a:gd name="T26" fmla="*/ 154 w 256"/>
                <a:gd name="T27" fmla="*/ 329 h 397"/>
                <a:gd name="T28" fmla="*/ 172 w 256"/>
                <a:gd name="T29" fmla="*/ 317 h 397"/>
                <a:gd name="T30" fmla="*/ 172 w 256"/>
                <a:gd name="T31" fmla="*/ 156 h 397"/>
                <a:gd name="T32" fmla="*/ 156 w 256"/>
                <a:gd name="T33" fmla="*/ 152 h 397"/>
                <a:gd name="T34" fmla="*/ 214 w 256"/>
                <a:gd name="T35" fmla="*/ 0 h 397"/>
                <a:gd name="T36" fmla="*/ 235 w 256"/>
                <a:gd name="T37" fmla="*/ 0 h 397"/>
                <a:gd name="T38" fmla="*/ 247 w 256"/>
                <a:gd name="T39" fmla="*/ 2 h 397"/>
                <a:gd name="T40" fmla="*/ 254 w 256"/>
                <a:gd name="T41" fmla="*/ 3 h 397"/>
                <a:gd name="T42" fmla="*/ 256 w 256"/>
                <a:gd name="T43" fmla="*/ 3 h 397"/>
                <a:gd name="T44" fmla="*/ 256 w 256"/>
                <a:gd name="T45" fmla="*/ 388 h 397"/>
                <a:gd name="T46" fmla="*/ 193 w 256"/>
                <a:gd name="T47" fmla="*/ 388 h 397"/>
                <a:gd name="T48" fmla="*/ 184 w 256"/>
                <a:gd name="T49" fmla="*/ 373 h 397"/>
                <a:gd name="T50" fmla="*/ 165 w 256"/>
                <a:gd name="T51" fmla="*/ 385 h 397"/>
                <a:gd name="T52" fmla="*/ 145 w 256"/>
                <a:gd name="T53" fmla="*/ 394 h 397"/>
                <a:gd name="T54" fmla="*/ 124 w 256"/>
                <a:gd name="T55" fmla="*/ 397 h 397"/>
                <a:gd name="T56" fmla="*/ 91 w 256"/>
                <a:gd name="T57" fmla="*/ 390 h 397"/>
                <a:gd name="T58" fmla="*/ 61 w 256"/>
                <a:gd name="T59" fmla="*/ 374 h 397"/>
                <a:gd name="T60" fmla="*/ 35 w 256"/>
                <a:gd name="T61" fmla="*/ 352 h 397"/>
                <a:gd name="T62" fmla="*/ 16 w 256"/>
                <a:gd name="T63" fmla="*/ 318 h 397"/>
                <a:gd name="T64" fmla="*/ 4 w 256"/>
                <a:gd name="T65" fmla="*/ 282 h 397"/>
                <a:gd name="T66" fmla="*/ 0 w 256"/>
                <a:gd name="T67" fmla="*/ 243 h 397"/>
                <a:gd name="T68" fmla="*/ 0 w 256"/>
                <a:gd name="T69" fmla="*/ 210 h 397"/>
                <a:gd name="T70" fmla="*/ 7 w 256"/>
                <a:gd name="T71" fmla="*/ 180 h 397"/>
                <a:gd name="T72" fmla="*/ 19 w 256"/>
                <a:gd name="T73" fmla="*/ 156 h 397"/>
                <a:gd name="T74" fmla="*/ 35 w 256"/>
                <a:gd name="T75" fmla="*/ 136 h 397"/>
                <a:gd name="T76" fmla="*/ 54 w 256"/>
                <a:gd name="T77" fmla="*/ 119 h 397"/>
                <a:gd name="T78" fmla="*/ 75 w 256"/>
                <a:gd name="T79" fmla="*/ 107 h 397"/>
                <a:gd name="T80" fmla="*/ 100 w 256"/>
                <a:gd name="T81" fmla="*/ 98 h 397"/>
                <a:gd name="T82" fmla="*/ 124 w 256"/>
                <a:gd name="T83" fmla="*/ 93 h 397"/>
                <a:gd name="T84" fmla="*/ 149 w 256"/>
                <a:gd name="T85" fmla="*/ 91 h 397"/>
                <a:gd name="T86" fmla="*/ 158 w 256"/>
                <a:gd name="T87" fmla="*/ 93 h 397"/>
                <a:gd name="T88" fmla="*/ 165 w 256"/>
                <a:gd name="T89" fmla="*/ 93 h 397"/>
                <a:gd name="T90" fmla="*/ 172 w 256"/>
                <a:gd name="T91" fmla="*/ 94 h 397"/>
                <a:gd name="T92" fmla="*/ 172 w 256"/>
                <a:gd name="T93" fmla="*/ 3 h 397"/>
                <a:gd name="T94" fmla="*/ 173 w 256"/>
                <a:gd name="T95" fmla="*/ 3 h 397"/>
                <a:gd name="T96" fmla="*/ 180 w 256"/>
                <a:gd name="T97" fmla="*/ 2 h 397"/>
                <a:gd name="T98" fmla="*/ 194 w 256"/>
                <a:gd name="T99" fmla="*/ 0 h 397"/>
                <a:gd name="T100" fmla="*/ 214 w 256"/>
                <a:gd name="T10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6" h="397">
                  <a:moveTo>
                    <a:pt x="156" y="152"/>
                  </a:moveTo>
                  <a:lnTo>
                    <a:pt x="137" y="152"/>
                  </a:lnTo>
                  <a:lnTo>
                    <a:pt x="117" y="159"/>
                  </a:lnTo>
                  <a:lnTo>
                    <a:pt x="103" y="175"/>
                  </a:lnTo>
                  <a:lnTo>
                    <a:pt x="93" y="196"/>
                  </a:lnTo>
                  <a:lnTo>
                    <a:pt x="86" y="220"/>
                  </a:lnTo>
                  <a:lnTo>
                    <a:pt x="84" y="247"/>
                  </a:lnTo>
                  <a:lnTo>
                    <a:pt x="86" y="273"/>
                  </a:lnTo>
                  <a:lnTo>
                    <a:pt x="93" y="297"/>
                  </a:lnTo>
                  <a:lnTo>
                    <a:pt x="102" y="313"/>
                  </a:lnTo>
                  <a:lnTo>
                    <a:pt x="112" y="324"/>
                  </a:lnTo>
                  <a:lnTo>
                    <a:pt x="124" y="331"/>
                  </a:lnTo>
                  <a:lnTo>
                    <a:pt x="135" y="332"/>
                  </a:lnTo>
                  <a:lnTo>
                    <a:pt x="154" y="329"/>
                  </a:lnTo>
                  <a:lnTo>
                    <a:pt x="172" y="317"/>
                  </a:lnTo>
                  <a:lnTo>
                    <a:pt x="172" y="156"/>
                  </a:lnTo>
                  <a:lnTo>
                    <a:pt x="156" y="152"/>
                  </a:lnTo>
                  <a:close/>
                  <a:moveTo>
                    <a:pt x="214" y="0"/>
                  </a:moveTo>
                  <a:lnTo>
                    <a:pt x="235" y="0"/>
                  </a:lnTo>
                  <a:lnTo>
                    <a:pt x="247" y="2"/>
                  </a:lnTo>
                  <a:lnTo>
                    <a:pt x="254" y="3"/>
                  </a:lnTo>
                  <a:lnTo>
                    <a:pt x="256" y="3"/>
                  </a:lnTo>
                  <a:lnTo>
                    <a:pt x="256" y="388"/>
                  </a:lnTo>
                  <a:lnTo>
                    <a:pt x="193" y="388"/>
                  </a:lnTo>
                  <a:lnTo>
                    <a:pt x="184" y="373"/>
                  </a:lnTo>
                  <a:lnTo>
                    <a:pt x="165" y="385"/>
                  </a:lnTo>
                  <a:lnTo>
                    <a:pt x="145" y="394"/>
                  </a:lnTo>
                  <a:lnTo>
                    <a:pt x="124" y="397"/>
                  </a:lnTo>
                  <a:lnTo>
                    <a:pt x="91" y="390"/>
                  </a:lnTo>
                  <a:lnTo>
                    <a:pt x="61" y="374"/>
                  </a:lnTo>
                  <a:lnTo>
                    <a:pt x="35" y="352"/>
                  </a:lnTo>
                  <a:lnTo>
                    <a:pt x="16" y="318"/>
                  </a:lnTo>
                  <a:lnTo>
                    <a:pt x="4" y="282"/>
                  </a:lnTo>
                  <a:lnTo>
                    <a:pt x="0" y="243"/>
                  </a:lnTo>
                  <a:lnTo>
                    <a:pt x="0" y="210"/>
                  </a:lnTo>
                  <a:lnTo>
                    <a:pt x="7" y="180"/>
                  </a:lnTo>
                  <a:lnTo>
                    <a:pt x="19" y="156"/>
                  </a:lnTo>
                  <a:lnTo>
                    <a:pt x="35" y="136"/>
                  </a:lnTo>
                  <a:lnTo>
                    <a:pt x="54" y="119"/>
                  </a:lnTo>
                  <a:lnTo>
                    <a:pt x="75" y="107"/>
                  </a:lnTo>
                  <a:lnTo>
                    <a:pt x="100" y="98"/>
                  </a:lnTo>
                  <a:lnTo>
                    <a:pt x="124" y="93"/>
                  </a:lnTo>
                  <a:lnTo>
                    <a:pt x="149" y="91"/>
                  </a:lnTo>
                  <a:lnTo>
                    <a:pt x="158" y="93"/>
                  </a:lnTo>
                  <a:lnTo>
                    <a:pt x="165" y="93"/>
                  </a:lnTo>
                  <a:lnTo>
                    <a:pt x="172" y="94"/>
                  </a:lnTo>
                  <a:lnTo>
                    <a:pt x="172" y="3"/>
                  </a:lnTo>
                  <a:lnTo>
                    <a:pt x="173" y="3"/>
                  </a:lnTo>
                  <a:lnTo>
                    <a:pt x="180" y="2"/>
                  </a:lnTo>
                  <a:lnTo>
                    <a:pt x="194" y="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0"/>
            <p:cNvSpPr>
              <a:spLocks noEditPoints="1"/>
            </p:cNvSpPr>
            <p:nvPr userDrawn="1"/>
          </p:nvSpPr>
          <p:spPr bwMode="auto">
            <a:xfrm>
              <a:off x="4181476" y="4187825"/>
              <a:ext cx="371475" cy="488950"/>
            </a:xfrm>
            <a:custGeom>
              <a:avLst/>
              <a:gdLst>
                <a:gd name="T0" fmla="*/ 111 w 234"/>
                <a:gd name="T1" fmla="*/ 61 h 308"/>
                <a:gd name="T2" fmla="*/ 90 w 234"/>
                <a:gd name="T3" fmla="*/ 84 h 308"/>
                <a:gd name="T4" fmla="*/ 82 w 234"/>
                <a:gd name="T5" fmla="*/ 112 h 308"/>
                <a:gd name="T6" fmla="*/ 80 w 234"/>
                <a:gd name="T7" fmla="*/ 131 h 308"/>
                <a:gd name="T8" fmla="*/ 171 w 234"/>
                <a:gd name="T9" fmla="*/ 135 h 308"/>
                <a:gd name="T10" fmla="*/ 167 w 234"/>
                <a:gd name="T11" fmla="*/ 93 h 308"/>
                <a:gd name="T12" fmla="*/ 146 w 234"/>
                <a:gd name="T13" fmla="*/ 61 h 308"/>
                <a:gd name="T14" fmla="*/ 131 w 234"/>
                <a:gd name="T15" fmla="*/ 58 h 308"/>
                <a:gd name="T16" fmla="*/ 127 w 234"/>
                <a:gd name="T17" fmla="*/ 0 h 308"/>
                <a:gd name="T18" fmla="*/ 167 w 234"/>
                <a:gd name="T19" fmla="*/ 7 h 308"/>
                <a:gd name="T20" fmla="*/ 202 w 234"/>
                <a:gd name="T21" fmla="*/ 28 h 308"/>
                <a:gd name="T22" fmla="*/ 225 w 234"/>
                <a:gd name="T23" fmla="*/ 66 h 308"/>
                <a:gd name="T24" fmla="*/ 234 w 234"/>
                <a:gd name="T25" fmla="*/ 128 h 308"/>
                <a:gd name="T26" fmla="*/ 232 w 234"/>
                <a:gd name="T27" fmla="*/ 166 h 308"/>
                <a:gd name="T28" fmla="*/ 229 w 234"/>
                <a:gd name="T29" fmla="*/ 182 h 308"/>
                <a:gd name="T30" fmla="*/ 185 w 234"/>
                <a:gd name="T31" fmla="*/ 184 h 308"/>
                <a:gd name="T32" fmla="*/ 80 w 234"/>
                <a:gd name="T33" fmla="*/ 184 h 308"/>
                <a:gd name="T34" fmla="*/ 80 w 234"/>
                <a:gd name="T35" fmla="*/ 194 h 308"/>
                <a:gd name="T36" fmla="*/ 83 w 234"/>
                <a:gd name="T37" fmla="*/ 213 h 308"/>
                <a:gd name="T38" fmla="*/ 101 w 234"/>
                <a:gd name="T39" fmla="*/ 234 h 308"/>
                <a:gd name="T40" fmla="*/ 138 w 234"/>
                <a:gd name="T41" fmla="*/ 247 h 308"/>
                <a:gd name="T42" fmla="*/ 180 w 234"/>
                <a:gd name="T43" fmla="*/ 241 h 308"/>
                <a:gd name="T44" fmla="*/ 222 w 234"/>
                <a:gd name="T45" fmla="*/ 226 h 308"/>
                <a:gd name="T46" fmla="*/ 187 w 234"/>
                <a:gd name="T47" fmla="*/ 299 h 308"/>
                <a:gd name="T48" fmla="*/ 131 w 234"/>
                <a:gd name="T49" fmla="*/ 308 h 308"/>
                <a:gd name="T50" fmla="*/ 131 w 234"/>
                <a:gd name="T51" fmla="*/ 308 h 308"/>
                <a:gd name="T52" fmla="*/ 76 w 234"/>
                <a:gd name="T53" fmla="*/ 297 h 308"/>
                <a:gd name="T54" fmla="*/ 36 w 234"/>
                <a:gd name="T55" fmla="*/ 271 h 308"/>
                <a:gd name="T56" fmla="*/ 10 w 234"/>
                <a:gd name="T57" fmla="*/ 224 h 308"/>
                <a:gd name="T58" fmla="*/ 0 w 234"/>
                <a:gd name="T59" fmla="*/ 154 h 308"/>
                <a:gd name="T60" fmla="*/ 3 w 234"/>
                <a:gd name="T61" fmla="*/ 115 h 308"/>
                <a:gd name="T62" fmla="*/ 21 w 234"/>
                <a:gd name="T63" fmla="*/ 58 h 308"/>
                <a:gd name="T64" fmla="*/ 54 w 234"/>
                <a:gd name="T65" fmla="*/ 21 h 308"/>
                <a:gd name="T66" fmla="*/ 99 w 234"/>
                <a:gd name="T67" fmla="*/ 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4" h="308">
                  <a:moveTo>
                    <a:pt x="131" y="58"/>
                  </a:moveTo>
                  <a:lnTo>
                    <a:pt x="111" y="61"/>
                  </a:lnTo>
                  <a:lnTo>
                    <a:pt x="99" y="70"/>
                  </a:lnTo>
                  <a:lnTo>
                    <a:pt x="90" y="84"/>
                  </a:lnTo>
                  <a:lnTo>
                    <a:pt x="85" y="98"/>
                  </a:lnTo>
                  <a:lnTo>
                    <a:pt x="82" y="112"/>
                  </a:lnTo>
                  <a:lnTo>
                    <a:pt x="80" y="122"/>
                  </a:lnTo>
                  <a:lnTo>
                    <a:pt x="80" y="131"/>
                  </a:lnTo>
                  <a:lnTo>
                    <a:pt x="82" y="135"/>
                  </a:lnTo>
                  <a:lnTo>
                    <a:pt x="171" y="135"/>
                  </a:lnTo>
                  <a:lnTo>
                    <a:pt x="171" y="117"/>
                  </a:lnTo>
                  <a:lnTo>
                    <a:pt x="167" y="93"/>
                  </a:lnTo>
                  <a:lnTo>
                    <a:pt x="159" y="73"/>
                  </a:lnTo>
                  <a:lnTo>
                    <a:pt x="146" y="61"/>
                  </a:lnTo>
                  <a:lnTo>
                    <a:pt x="131" y="58"/>
                  </a:lnTo>
                  <a:lnTo>
                    <a:pt x="131" y="58"/>
                  </a:lnTo>
                  <a:close/>
                  <a:moveTo>
                    <a:pt x="125" y="0"/>
                  </a:moveTo>
                  <a:lnTo>
                    <a:pt x="127" y="0"/>
                  </a:lnTo>
                  <a:lnTo>
                    <a:pt x="148" y="2"/>
                  </a:lnTo>
                  <a:lnTo>
                    <a:pt x="167" y="7"/>
                  </a:lnTo>
                  <a:lnTo>
                    <a:pt x="187" y="16"/>
                  </a:lnTo>
                  <a:lnTo>
                    <a:pt x="202" y="28"/>
                  </a:lnTo>
                  <a:lnTo>
                    <a:pt x="215" y="45"/>
                  </a:lnTo>
                  <a:lnTo>
                    <a:pt x="225" y="66"/>
                  </a:lnTo>
                  <a:lnTo>
                    <a:pt x="232" y="94"/>
                  </a:lnTo>
                  <a:lnTo>
                    <a:pt x="234" y="128"/>
                  </a:lnTo>
                  <a:lnTo>
                    <a:pt x="234" y="149"/>
                  </a:lnTo>
                  <a:lnTo>
                    <a:pt x="232" y="166"/>
                  </a:lnTo>
                  <a:lnTo>
                    <a:pt x="230" y="177"/>
                  </a:lnTo>
                  <a:lnTo>
                    <a:pt x="229" y="182"/>
                  </a:lnTo>
                  <a:lnTo>
                    <a:pt x="211" y="184"/>
                  </a:lnTo>
                  <a:lnTo>
                    <a:pt x="185" y="184"/>
                  </a:lnTo>
                  <a:lnTo>
                    <a:pt x="157" y="184"/>
                  </a:lnTo>
                  <a:lnTo>
                    <a:pt x="80" y="184"/>
                  </a:lnTo>
                  <a:lnTo>
                    <a:pt x="80" y="187"/>
                  </a:lnTo>
                  <a:lnTo>
                    <a:pt x="80" y="194"/>
                  </a:lnTo>
                  <a:lnTo>
                    <a:pt x="80" y="203"/>
                  </a:lnTo>
                  <a:lnTo>
                    <a:pt x="83" y="213"/>
                  </a:lnTo>
                  <a:lnTo>
                    <a:pt x="90" y="226"/>
                  </a:lnTo>
                  <a:lnTo>
                    <a:pt x="101" y="234"/>
                  </a:lnTo>
                  <a:lnTo>
                    <a:pt x="117" y="243"/>
                  </a:lnTo>
                  <a:lnTo>
                    <a:pt x="138" y="247"/>
                  </a:lnTo>
                  <a:lnTo>
                    <a:pt x="160" y="247"/>
                  </a:lnTo>
                  <a:lnTo>
                    <a:pt x="180" y="241"/>
                  </a:lnTo>
                  <a:lnTo>
                    <a:pt x="199" y="234"/>
                  </a:lnTo>
                  <a:lnTo>
                    <a:pt x="222" y="226"/>
                  </a:lnTo>
                  <a:lnTo>
                    <a:pt x="222" y="287"/>
                  </a:lnTo>
                  <a:lnTo>
                    <a:pt x="187" y="299"/>
                  </a:lnTo>
                  <a:lnTo>
                    <a:pt x="155" y="306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03" y="304"/>
                  </a:lnTo>
                  <a:lnTo>
                    <a:pt x="76" y="297"/>
                  </a:lnTo>
                  <a:lnTo>
                    <a:pt x="55" y="287"/>
                  </a:lnTo>
                  <a:lnTo>
                    <a:pt x="36" y="271"/>
                  </a:lnTo>
                  <a:lnTo>
                    <a:pt x="22" y="250"/>
                  </a:lnTo>
                  <a:lnTo>
                    <a:pt x="10" y="224"/>
                  </a:lnTo>
                  <a:lnTo>
                    <a:pt x="3" y="192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3" y="115"/>
                  </a:lnTo>
                  <a:lnTo>
                    <a:pt x="10" y="84"/>
                  </a:lnTo>
                  <a:lnTo>
                    <a:pt x="21" y="58"/>
                  </a:lnTo>
                  <a:lnTo>
                    <a:pt x="35" y="37"/>
                  </a:lnTo>
                  <a:lnTo>
                    <a:pt x="54" y="21"/>
                  </a:lnTo>
                  <a:lnTo>
                    <a:pt x="75" y="10"/>
                  </a:lnTo>
                  <a:lnTo>
                    <a:pt x="99" y="3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1"/>
            <p:cNvSpPr>
              <a:spLocks/>
            </p:cNvSpPr>
            <p:nvPr userDrawn="1"/>
          </p:nvSpPr>
          <p:spPr bwMode="auto">
            <a:xfrm>
              <a:off x="3332163" y="4029075"/>
              <a:ext cx="415925" cy="633413"/>
            </a:xfrm>
            <a:custGeom>
              <a:avLst/>
              <a:gdLst>
                <a:gd name="T0" fmla="*/ 162 w 262"/>
                <a:gd name="T1" fmla="*/ 0 h 399"/>
                <a:gd name="T2" fmla="*/ 197 w 262"/>
                <a:gd name="T3" fmla="*/ 2 h 399"/>
                <a:gd name="T4" fmla="*/ 225 w 262"/>
                <a:gd name="T5" fmla="*/ 5 h 399"/>
                <a:gd name="T6" fmla="*/ 244 w 262"/>
                <a:gd name="T7" fmla="*/ 11 h 399"/>
                <a:gd name="T8" fmla="*/ 257 w 262"/>
                <a:gd name="T9" fmla="*/ 16 h 399"/>
                <a:gd name="T10" fmla="*/ 262 w 262"/>
                <a:gd name="T11" fmla="*/ 18 h 399"/>
                <a:gd name="T12" fmla="*/ 243 w 262"/>
                <a:gd name="T13" fmla="*/ 79 h 399"/>
                <a:gd name="T14" fmla="*/ 239 w 262"/>
                <a:gd name="T15" fmla="*/ 79 h 399"/>
                <a:gd name="T16" fmla="*/ 230 w 262"/>
                <a:gd name="T17" fmla="*/ 75 h 399"/>
                <a:gd name="T18" fmla="*/ 213 w 262"/>
                <a:gd name="T19" fmla="*/ 70 h 399"/>
                <a:gd name="T20" fmla="*/ 188 w 262"/>
                <a:gd name="T21" fmla="*/ 67 h 399"/>
                <a:gd name="T22" fmla="*/ 157 w 262"/>
                <a:gd name="T23" fmla="*/ 67 h 399"/>
                <a:gd name="T24" fmla="*/ 136 w 262"/>
                <a:gd name="T25" fmla="*/ 67 h 399"/>
                <a:gd name="T26" fmla="*/ 117 w 262"/>
                <a:gd name="T27" fmla="*/ 68 h 399"/>
                <a:gd name="T28" fmla="*/ 99 w 262"/>
                <a:gd name="T29" fmla="*/ 74 h 399"/>
                <a:gd name="T30" fmla="*/ 89 w 262"/>
                <a:gd name="T31" fmla="*/ 81 h 399"/>
                <a:gd name="T32" fmla="*/ 89 w 262"/>
                <a:gd name="T33" fmla="*/ 168 h 399"/>
                <a:gd name="T34" fmla="*/ 215 w 262"/>
                <a:gd name="T35" fmla="*/ 168 h 399"/>
                <a:gd name="T36" fmla="*/ 215 w 262"/>
                <a:gd name="T37" fmla="*/ 236 h 399"/>
                <a:gd name="T38" fmla="*/ 89 w 262"/>
                <a:gd name="T39" fmla="*/ 236 h 399"/>
                <a:gd name="T40" fmla="*/ 87 w 262"/>
                <a:gd name="T41" fmla="*/ 399 h 399"/>
                <a:gd name="T42" fmla="*/ 0 w 262"/>
                <a:gd name="T43" fmla="*/ 399 h 399"/>
                <a:gd name="T44" fmla="*/ 0 w 262"/>
                <a:gd name="T45" fmla="*/ 33 h 399"/>
                <a:gd name="T46" fmla="*/ 3 w 262"/>
                <a:gd name="T47" fmla="*/ 32 h 399"/>
                <a:gd name="T48" fmla="*/ 10 w 262"/>
                <a:gd name="T49" fmla="*/ 26 h 399"/>
                <a:gd name="T50" fmla="*/ 26 w 262"/>
                <a:gd name="T51" fmla="*/ 19 h 399"/>
                <a:gd name="T52" fmla="*/ 47 w 262"/>
                <a:gd name="T53" fmla="*/ 12 h 399"/>
                <a:gd name="T54" fmla="*/ 78 w 262"/>
                <a:gd name="T55" fmla="*/ 5 h 399"/>
                <a:gd name="T56" fmla="*/ 118 w 262"/>
                <a:gd name="T57" fmla="*/ 2 h 399"/>
                <a:gd name="T58" fmla="*/ 162 w 262"/>
                <a:gd name="T59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2" h="399">
                  <a:moveTo>
                    <a:pt x="162" y="0"/>
                  </a:moveTo>
                  <a:lnTo>
                    <a:pt x="197" y="2"/>
                  </a:lnTo>
                  <a:lnTo>
                    <a:pt x="225" y="5"/>
                  </a:lnTo>
                  <a:lnTo>
                    <a:pt x="244" y="11"/>
                  </a:lnTo>
                  <a:lnTo>
                    <a:pt x="257" y="16"/>
                  </a:lnTo>
                  <a:lnTo>
                    <a:pt x="262" y="18"/>
                  </a:lnTo>
                  <a:lnTo>
                    <a:pt x="243" y="79"/>
                  </a:lnTo>
                  <a:lnTo>
                    <a:pt x="239" y="79"/>
                  </a:lnTo>
                  <a:lnTo>
                    <a:pt x="230" y="75"/>
                  </a:lnTo>
                  <a:lnTo>
                    <a:pt x="213" y="70"/>
                  </a:lnTo>
                  <a:lnTo>
                    <a:pt x="188" y="67"/>
                  </a:lnTo>
                  <a:lnTo>
                    <a:pt x="157" y="67"/>
                  </a:lnTo>
                  <a:lnTo>
                    <a:pt x="136" y="67"/>
                  </a:lnTo>
                  <a:lnTo>
                    <a:pt x="117" y="68"/>
                  </a:lnTo>
                  <a:lnTo>
                    <a:pt x="99" y="74"/>
                  </a:lnTo>
                  <a:lnTo>
                    <a:pt x="89" y="81"/>
                  </a:lnTo>
                  <a:lnTo>
                    <a:pt x="89" y="168"/>
                  </a:lnTo>
                  <a:lnTo>
                    <a:pt x="215" y="168"/>
                  </a:lnTo>
                  <a:lnTo>
                    <a:pt x="215" y="236"/>
                  </a:lnTo>
                  <a:lnTo>
                    <a:pt x="89" y="236"/>
                  </a:lnTo>
                  <a:lnTo>
                    <a:pt x="87" y="399"/>
                  </a:lnTo>
                  <a:lnTo>
                    <a:pt x="0" y="399"/>
                  </a:lnTo>
                  <a:lnTo>
                    <a:pt x="0" y="33"/>
                  </a:lnTo>
                  <a:lnTo>
                    <a:pt x="3" y="32"/>
                  </a:lnTo>
                  <a:lnTo>
                    <a:pt x="10" y="26"/>
                  </a:lnTo>
                  <a:lnTo>
                    <a:pt x="26" y="19"/>
                  </a:lnTo>
                  <a:lnTo>
                    <a:pt x="47" y="12"/>
                  </a:lnTo>
                  <a:lnTo>
                    <a:pt x="78" y="5"/>
                  </a:lnTo>
                  <a:lnTo>
                    <a:pt x="118" y="2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2"/>
            <p:cNvSpPr>
              <a:spLocks/>
            </p:cNvSpPr>
            <p:nvPr userDrawn="1"/>
          </p:nvSpPr>
          <p:spPr bwMode="auto">
            <a:xfrm>
              <a:off x="10212388" y="4037013"/>
              <a:ext cx="136525" cy="136525"/>
            </a:xfrm>
            <a:custGeom>
              <a:avLst/>
              <a:gdLst>
                <a:gd name="T0" fmla="*/ 42 w 86"/>
                <a:gd name="T1" fmla="*/ 0 h 86"/>
                <a:gd name="T2" fmla="*/ 59 w 86"/>
                <a:gd name="T3" fmla="*/ 4 h 86"/>
                <a:gd name="T4" fmla="*/ 73 w 86"/>
                <a:gd name="T5" fmla="*/ 13 h 86"/>
                <a:gd name="T6" fmla="*/ 82 w 86"/>
                <a:gd name="T7" fmla="*/ 27 h 86"/>
                <a:gd name="T8" fmla="*/ 86 w 86"/>
                <a:gd name="T9" fmla="*/ 44 h 86"/>
                <a:gd name="T10" fmla="*/ 82 w 86"/>
                <a:gd name="T11" fmla="*/ 60 h 86"/>
                <a:gd name="T12" fmla="*/ 73 w 86"/>
                <a:gd name="T13" fmla="*/ 74 h 86"/>
                <a:gd name="T14" fmla="*/ 59 w 86"/>
                <a:gd name="T15" fmla="*/ 83 h 86"/>
                <a:gd name="T16" fmla="*/ 42 w 86"/>
                <a:gd name="T17" fmla="*/ 86 h 86"/>
                <a:gd name="T18" fmla="*/ 26 w 86"/>
                <a:gd name="T19" fmla="*/ 83 h 86"/>
                <a:gd name="T20" fmla="*/ 12 w 86"/>
                <a:gd name="T21" fmla="*/ 74 h 86"/>
                <a:gd name="T22" fmla="*/ 4 w 86"/>
                <a:gd name="T23" fmla="*/ 60 h 86"/>
                <a:gd name="T24" fmla="*/ 0 w 86"/>
                <a:gd name="T25" fmla="*/ 44 h 86"/>
                <a:gd name="T26" fmla="*/ 4 w 86"/>
                <a:gd name="T27" fmla="*/ 27 h 86"/>
                <a:gd name="T28" fmla="*/ 12 w 86"/>
                <a:gd name="T29" fmla="*/ 13 h 86"/>
                <a:gd name="T30" fmla="*/ 26 w 86"/>
                <a:gd name="T31" fmla="*/ 4 h 86"/>
                <a:gd name="T32" fmla="*/ 42 w 86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59" y="4"/>
                  </a:lnTo>
                  <a:lnTo>
                    <a:pt x="73" y="13"/>
                  </a:lnTo>
                  <a:lnTo>
                    <a:pt x="82" y="27"/>
                  </a:lnTo>
                  <a:lnTo>
                    <a:pt x="86" y="44"/>
                  </a:lnTo>
                  <a:lnTo>
                    <a:pt x="82" y="60"/>
                  </a:lnTo>
                  <a:lnTo>
                    <a:pt x="73" y="74"/>
                  </a:lnTo>
                  <a:lnTo>
                    <a:pt x="59" y="83"/>
                  </a:lnTo>
                  <a:lnTo>
                    <a:pt x="42" y="86"/>
                  </a:lnTo>
                  <a:lnTo>
                    <a:pt x="26" y="83"/>
                  </a:lnTo>
                  <a:lnTo>
                    <a:pt x="12" y="74"/>
                  </a:lnTo>
                  <a:lnTo>
                    <a:pt x="4" y="60"/>
                  </a:lnTo>
                  <a:lnTo>
                    <a:pt x="0" y="44"/>
                  </a:lnTo>
                  <a:lnTo>
                    <a:pt x="4" y="27"/>
                  </a:lnTo>
                  <a:lnTo>
                    <a:pt x="12" y="13"/>
                  </a:lnTo>
                  <a:lnTo>
                    <a:pt x="26" y="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"/>
            <p:cNvSpPr>
              <a:spLocks/>
            </p:cNvSpPr>
            <p:nvPr userDrawn="1"/>
          </p:nvSpPr>
          <p:spPr bwMode="auto">
            <a:xfrm>
              <a:off x="10387013" y="4191000"/>
              <a:ext cx="284163" cy="338138"/>
            </a:xfrm>
            <a:custGeom>
              <a:avLst/>
              <a:gdLst>
                <a:gd name="T0" fmla="*/ 100 w 179"/>
                <a:gd name="T1" fmla="*/ 0 h 213"/>
                <a:gd name="T2" fmla="*/ 119 w 179"/>
                <a:gd name="T3" fmla="*/ 1 h 213"/>
                <a:gd name="T4" fmla="*/ 137 w 179"/>
                <a:gd name="T5" fmla="*/ 5 h 213"/>
                <a:gd name="T6" fmla="*/ 152 w 179"/>
                <a:gd name="T7" fmla="*/ 12 h 213"/>
                <a:gd name="T8" fmla="*/ 166 w 179"/>
                <a:gd name="T9" fmla="*/ 26 h 213"/>
                <a:gd name="T10" fmla="*/ 175 w 179"/>
                <a:gd name="T11" fmla="*/ 43 h 213"/>
                <a:gd name="T12" fmla="*/ 179 w 179"/>
                <a:gd name="T13" fmla="*/ 68 h 213"/>
                <a:gd name="T14" fmla="*/ 177 w 179"/>
                <a:gd name="T15" fmla="*/ 85 h 213"/>
                <a:gd name="T16" fmla="*/ 173 w 179"/>
                <a:gd name="T17" fmla="*/ 105 h 213"/>
                <a:gd name="T18" fmla="*/ 170 w 179"/>
                <a:gd name="T19" fmla="*/ 119 h 213"/>
                <a:gd name="T20" fmla="*/ 165 w 179"/>
                <a:gd name="T21" fmla="*/ 136 h 213"/>
                <a:gd name="T22" fmla="*/ 158 w 179"/>
                <a:gd name="T23" fmla="*/ 157 h 213"/>
                <a:gd name="T24" fmla="*/ 149 w 179"/>
                <a:gd name="T25" fmla="*/ 178 h 213"/>
                <a:gd name="T26" fmla="*/ 144 w 179"/>
                <a:gd name="T27" fmla="*/ 196 h 213"/>
                <a:gd name="T28" fmla="*/ 138 w 179"/>
                <a:gd name="T29" fmla="*/ 208 h 213"/>
                <a:gd name="T30" fmla="*/ 137 w 179"/>
                <a:gd name="T31" fmla="*/ 213 h 213"/>
                <a:gd name="T32" fmla="*/ 93 w 179"/>
                <a:gd name="T33" fmla="*/ 213 h 213"/>
                <a:gd name="T34" fmla="*/ 93 w 179"/>
                <a:gd name="T35" fmla="*/ 150 h 213"/>
                <a:gd name="T36" fmla="*/ 100 w 179"/>
                <a:gd name="T37" fmla="*/ 127 h 213"/>
                <a:gd name="T38" fmla="*/ 109 w 179"/>
                <a:gd name="T39" fmla="*/ 103 h 213"/>
                <a:gd name="T40" fmla="*/ 110 w 179"/>
                <a:gd name="T41" fmla="*/ 92 h 213"/>
                <a:gd name="T42" fmla="*/ 112 w 179"/>
                <a:gd name="T43" fmla="*/ 84 h 213"/>
                <a:gd name="T44" fmla="*/ 114 w 179"/>
                <a:gd name="T45" fmla="*/ 78 h 213"/>
                <a:gd name="T46" fmla="*/ 112 w 179"/>
                <a:gd name="T47" fmla="*/ 73 h 213"/>
                <a:gd name="T48" fmla="*/ 112 w 179"/>
                <a:gd name="T49" fmla="*/ 70 h 213"/>
                <a:gd name="T50" fmla="*/ 110 w 179"/>
                <a:gd name="T51" fmla="*/ 68 h 213"/>
                <a:gd name="T52" fmla="*/ 109 w 179"/>
                <a:gd name="T53" fmla="*/ 66 h 213"/>
                <a:gd name="T54" fmla="*/ 107 w 179"/>
                <a:gd name="T55" fmla="*/ 64 h 213"/>
                <a:gd name="T56" fmla="*/ 100 w 179"/>
                <a:gd name="T57" fmla="*/ 63 h 213"/>
                <a:gd name="T58" fmla="*/ 93 w 179"/>
                <a:gd name="T59" fmla="*/ 63 h 213"/>
                <a:gd name="T60" fmla="*/ 81 w 179"/>
                <a:gd name="T61" fmla="*/ 63 h 213"/>
                <a:gd name="T62" fmla="*/ 63 w 179"/>
                <a:gd name="T63" fmla="*/ 66 h 213"/>
                <a:gd name="T64" fmla="*/ 63 w 179"/>
                <a:gd name="T65" fmla="*/ 213 h 213"/>
                <a:gd name="T66" fmla="*/ 0 w 179"/>
                <a:gd name="T67" fmla="*/ 213 h 213"/>
                <a:gd name="T68" fmla="*/ 0 w 179"/>
                <a:gd name="T69" fmla="*/ 17 h 213"/>
                <a:gd name="T70" fmla="*/ 19 w 179"/>
                <a:gd name="T71" fmla="*/ 12 h 213"/>
                <a:gd name="T72" fmla="*/ 47 w 179"/>
                <a:gd name="T73" fmla="*/ 5 h 213"/>
                <a:gd name="T74" fmla="*/ 81 w 179"/>
                <a:gd name="T75" fmla="*/ 1 h 213"/>
                <a:gd name="T76" fmla="*/ 89 w 179"/>
                <a:gd name="T77" fmla="*/ 0 h 213"/>
                <a:gd name="T78" fmla="*/ 100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100" y="0"/>
                  </a:moveTo>
                  <a:lnTo>
                    <a:pt x="119" y="1"/>
                  </a:lnTo>
                  <a:lnTo>
                    <a:pt x="137" y="5"/>
                  </a:lnTo>
                  <a:lnTo>
                    <a:pt x="152" y="12"/>
                  </a:lnTo>
                  <a:lnTo>
                    <a:pt x="166" y="26"/>
                  </a:lnTo>
                  <a:lnTo>
                    <a:pt x="175" y="43"/>
                  </a:lnTo>
                  <a:lnTo>
                    <a:pt x="179" y="68"/>
                  </a:lnTo>
                  <a:lnTo>
                    <a:pt x="177" y="85"/>
                  </a:lnTo>
                  <a:lnTo>
                    <a:pt x="173" y="105"/>
                  </a:lnTo>
                  <a:lnTo>
                    <a:pt x="170" y="119"/>
                  </a:lnTo>
                  <a:lnTo>
                    <a:pt x="165" y="136"/>
                  </a:lnTo>
                  <a:lnTo>
                    <a:pt x="158" y="157"/>
                  </a:lnTo>
                  <a:lnTo>
                    <a:pt x="149" y="178"/>
                  </a:lnTo>
                  <a:lnTo>
                    <a:pt x="144" y="196"/>
                  </a:lnTo>
                  <a:lnTo>
                    <a:pt x="138" y="208"/>
                  </a:lnTo>
                  <a:lnTo>
                    <a:pt x="137" y="213"/>
                  </a:lnTo>
                  <a:lnTo>
                    <a:pt x="93" y="213"/>
                  </a:lnTo>
                  <a:lnTo>
                    <a:pt x="93" y="150"/>
                  </a:lnTo>
                  <a:lnTo>
                    <a:pt x="100" y="127"/>
                  </a:lnTo>
                  <a:lnTo>
                    <a:pt x="109" y="103"/>
                  </a:lnTo>
                  <a:lnTo>
                    <a:pt x="110" y="92"/>
                  </a:lnTo>
                  <a:lnTo>
                    <a:pt x="112" y="84"/>
                  </a:lnTo>
                  <a:lnTo>
                    <a:pt x="114" y="78"/>
                  </a:lnTo>
                  <a:lnTo>
                    <a:pt x="112" y="73"/>
                  </a:lnTo>
                  <a:lnTo>
                    <a:pt x="112" y="70"/>
                  </a:lnTo>
                  <a:lnTo>
                    <a:pt x="110" y="68"/>
                  </a:lnTo>
                  <a:lnTo>
                    <a:pt x="109" y="66"/>
                  </a:lnTo>
                  <a:lnTo>
                    <a:pt x="107" y="64"/>
                  </a:lnTo>
                  <a:lnTo>
                    <a:pt x="100" y="63"/>
                  </a:lnTo>
                  <a:lnTo>
                    <a:pt x="93" y="63"/>
                  </a:lnTo>
                  <a:lnTo>
                    <a:pt x="81" y="63"/>
                  </a:lnTo>
                  <a:lnTo>
                    <a:pt x="63" y="66"/>
                  </a:lnTo>
                  <a:lnTo>
                    <a:pt x="63" y="213"/>
                  </a:lnTo>
                  <a:lnTo>
                    <a:pt x="0" y="213"/>
                  </a:lnTo>
                  <a:lnTo>
                    <a:pt x="0" y="17"/>
                  </a:lnTo>
                  <a:lnTo>
                    <a:pt x="19" y="12"/>
                  </a:lnTo>
                  <a:lnTo>
                    <a:pt x="47" y="5"/>
                  </a:lnTo>
                  <a:lnTo>
                    <a:pt x="81" y="1"/>
                  </a:lnTo>
                  <a:lnTo>
                    <a:pt x="89" y="0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24"/>
            <p:cNvSpPr>
              <a:spLocks noChangeArrowheads="1"/>
            </p:cNvSpPr>
            <p:nvPr userDrawn="1"/>
          </p:nvSpPr>
          <p:spPr bwMode="auto">
            <a:xfrm>
              <a:off x="9975851" y="4570413"/>
              <a:ext cx="608013" cy="88900"/>
            </a:xfrm>
            <a:prstGeom prst="rect">
              <a:avLst/>
            </a:prstGeom>
            <a:solidFill>
              <a:schemeClr val="accent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"/>
            <p:cNvSpPr>
              <a:spLocks/>
            </p:cNvSpPr>
            <p:nvPr userDrawn="1"/>
          </p:nvSpPr>
          <p:spPr bwMode="auto">
            <a:xfrm>
              <a:off x="10223501" y="4217988"/>
              <a:ext cx="111125" cy="311150"/>
            </a:xfrm>
            <a:custGeom>
              <a:avLst/>
              <a:gdLst>
                <a:gd name="T0" fmla="*/ 35 w 70"/>
                <a:gd name="T1" fmla="*/ 0 h 196"/>
                <a:gd name="T2" fmla="*/ 56 w 70"/>
                <a:gd name="T3" fmla="*/ 0 h 196"/>
                <a:gd name="T4" fmla="*/ 66 w 70"/>
                <a:gd name="T5" fmla="*/ 2 h 196"/>
                <a:gd name="T6" fmla="*/ 70 w 70"/>
                <a:gd name="T7" fmla="*/ 2 h 196"/>
                <a:gd name="T8" fmla="*/ 70 w 70"/>
                <a:gd name="T9" fmla="*/ 196 h 196"/>
                <a:gd name="T10" fmla="*/ 0 w 70"/>
                <a:gd name="T11" fmla="*/ 196 h 196"/>
                <a:gd name="T12" fmla="*/ 0 w 70"/>
                <a:gd name="T13" fmla="*/ 2 h 196"/>
                <a:gd name="T14" fmla="*/ 5 w 70"/>
                <a:gd name="T15" fmla="*/ 2 h 196"/>
                <a:gd name="T16" fmla="*/ 17 w 70"/>
                <a:gd name="T17" fmla="*/ 0 h 196"/>
                <a:gd name="T18" fmla="*/ 35 w 70"/>
                <a:gd name="T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96">
                  <a:moveTo>
                    <a:pt x="35" y="0"/>
                  </a:moveTo>
                  <a:lnTo>
                    <a:pt x="56" y="0"/>
                  </a:lnTo>
                  <a:lnTo>
                    <a:pt x="66" y="2"/>
                  </a:lnTo>
                  <a:lnTo>
                    <a:pt x="70" y="2"/>
                  </a:lnTo>
                  <a:lnTo>
                    <a:pt x="70" y="196"/>
                  </a:lnTo>
                  <a:lnTo>
                    <a:pt x="0" y="196"/>
                  </a:lnTo>
                  <a:lnTo>
                    <a:pt x="0" y="2"/>
                  </a:lnTo>
                  <a:lnTo>
                    <a:pt x="5" y="2"/>
                  </a:lnTo>
                  <a:lnTo>
                    <a:pt x="17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"/>
            <p:cNvSpPr>
              <a:spLocks/>
            </p:cNvSpPr>
            <p:nvPr userDrawn="1"/>
          </p:nvSpPr>
          <p:spPr bwMode="auto">
            <a:xfrm>
              <a:off x="9890126" y="4191000"/>
              <a:ext cx="284163" cy="338138"/>
            </a:xfrm>
            <a:custGeom>
              <a:avLst/>
              <a:gdLst>
                <a:gd name="T0" fmla="*/ 77 w 179"/>
                <a:gd name="T1" fmla="*/ 0 h 213"/>
                <a:gd name="T2" fmla="*/ 88 w 179"/>
                <a:gd name="T3" fmla="*/ 0 h 213"/>
                <a:gd name="T4" fmla="*/ 98 w 179"/>
                <a:gd name="T5" fmla="*/ 1 h 213"/>
                <a:gd name="T6" fmla="*/ 131 w 179"/>
                <a:gd name="T7" fmla="*/ 5 h 213"/>
                <a:gd name="T8" fmla="*/ 159 w 179"/>
                <a:gd name="T9" fmla="*/ 12 h 213"/>
                <a:gd name="T10" fmla="*/ 179 w 179"/>
                <a:gd name="T11" fmla="*/ 17 h 213"/>
                <a:gd name="T12" fmla="*/ 179 w 179"/>
                <a:gd name="T13" fmla="*/ 213 h 213"/>
                <a:gd name="T14" fmla="*/ 114 w 179"/>
                <a:gd name="T15" fmla="*/ 213 h 213"/>
                <a:gd name="T16" fmla="*/ 114 w 179"/>
                <a:gd name="T17" fmla="*/ 66 h 213"/>
                <a:gd name="T18" fmla="*/ 98 w 179"/>
                <a:gd name="T19" fmla="*/ 63 h 213"/>
                <a:gd name="T20" fmla="*/ 86 w 179"/>
                <a:gd name="T21" fmla="*/ 63 h 213"/>
                <a:gd name="T22" fmla="*/ 77 w 179"/>
                <a:gd name="T23" fmla="*/ 63 h 213"/>
                <a:gd name="T24" fmla="*/ 72 w 179"/>
                <a:gd name="T25" fmla="*/ 64 h 213"/>
                <a:gd name="T26" fmla="*/ 68 w 179"/>
                <a:gd name="T27" fmla="*/ 66 h 213"/>
                <a:gd name="T28" fmla="*/ 67 w 179"/>
                <a:gd name="T29" fmla="*/ 68 h 213"/>
                <a:gd name="T30" fmla="*/ 67 w 179"/>
                <a:gd name="T31" fmla="*/ 70 h 213"/>
                <a:gd name="T32" fmla="*/ 65 w 179"/>
                <a:gd name="T33" fmla="*/ 73 h 213"/>
                <a:gd name="T34" fmla="*/ 65 w 179"/>
                <a:gd name="T35" fmla="*/ 78 h 213"/>
                <a:gd name="T36" fmla="*/ 65 w 179"/>
                <a:gd name="T37" fmla="*/ 84 h 213"/>
                <a:gd name="T38" fmla="*/ 67 w 179"/>
                <a:gd name="T39" fmla="*/ 92 h 213"/>
                <a:gd name="T40" fmla="*/ 70 w 179"/>
                <a:gd name="T41" fmla="*/ 103 h 213"/>
                <a:gd name="T42" fmla="*/ 77 w 179"/>
                <a:gd name="T43" fmla="*/ 127 h 213"/>
                <a:gd name="T44" fmla="*/ 86 w 179"/>
                <a:gd name="T45" fmla="*/ 150 h 213"/>
                <a:gd name="T46" fmla="*/ 86 w 179"/>
                <a:gd name="T47" fmla="*/ 213 h 213"/>
                <a:gd name="T48" fmla="*/ 42 w 179"/>
                <a:gd name="T49" fmla="*/ 213 h 213"/>
                <a:gd name="T50" fmla="*/ 40 w 179"/>
                <a:gd name="T51" fmla="*/ 208 h 213"/>
                <a:gd name="T52" fmla="*/ 35 w 179"/>
                <a:gd name="T53" fmla="*/ 196 h 213"/>
                <a:gd name="T54" fmla="*/ 28 w 179"/>
                <a:gd name="T55" fmla="*/ 178 h 213"/>
                <a:gd name="T56" fmla="*/ 21 w 179"/>
                <a:gd name="T57" fmla="*/ 157 h 213"/>
                <a:gd name="T58" fmla="*/ 14 w 179"/>
                <a:gd name="T59" fmla="*/ 136 h 213"/>
                <a:gd name="T60" fmla="*/ 7 w 179"/>
                <a:gd name="T61" fmla="*/ 119 h 213"/>
                <a:gd name="T62" fmla="*/ 4 w 179"/>
                <a:gd name="T63" fmla="*/ 105 h 213"/>
                <a:gd name="T64" fmla="*/ 0 w 179"/>
                <a:gd name="T65" fmla="*/ 85 h 213"/>
                <a:gd name="T66" fmla="*/ 0 w 179"/>
                <a:gd name="T67" fmla="*/ 68 h 213"/>
                <a:gd name="T68" fmla="*/ 2 w 179"/>
                <a:gd name="T69" fmla="*/ 43 h 213"/>
                <a:gd name="T70" fmla="*/ 12 w 179"/>
                <a:gd name="T71" fmla="*/ 26 h 213"/>
                <a:gd name="T72" fmla="*/ 25 w 179"/>
                <a:gd name="T73" fmla="*/ 12 h 213"/>
                <a:gd name="T74" fmla="*/ 42 w 179"/>
                <a:gd name="T75" fmla="*/ 5 h 213"/>
                <a:gd name="T76" fmla="*/ 60 w 179"/>
                <a:gd name="T77" fmla="*/ 1 h 213"/>
                <a:gd name="T78" fmla="*/ 77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77" y="0"/>
                  </a:moveTo>
                  <a:lnTo>
                    <a:pt x="88" y="0"/>
                  </a:lnTo>
                  <a:lnTo>
                    <a:pt x="98" y="1"/>
                  </a:lnTo>
                  <a:lnTo>
                    <a:pt x="131" y="5"/>
                  </a:lnTo>
                  <a:lnTo>
                    <a:pt x="159" y="12"/>
                  </a:lnTo>
                  <a:lnTo>
                    <a:pt x="179" y="17"/>
                  </a:lnTo>
                  <a:lnTo>
                    <a:pt x="179" y="213"/>
                  </a:lnTo>
                  <a:lnTo>
                    <a:pt x="114" y="213"/>
                  </a:lnTo>
                  <a:lnTo>
                    <a:pt x="114" y="66"/>
                  </a:lnTo>
                  <a:lnTo>
                    <a:pt x="98" y="63"/>
                  </a:lnTo>
                  <a:lnTo>
                    <a:pt x="86" y="63"/>
                  </a:lnTo>
                  <a:lnTo>
                    <a:pt x="77" y="63"/>
                  </a:lnTo>
                  <a:lnTo>
                    <a:pt x="72" y="64"/>
                  </a:lnTo>
                  <a:lnTo>
                    <a:pt x="68" y="66"/>
                  </a:lnTo>
                  <a:lnTo>
                    <a:pt x="67" y="68"/>
                  </a:lnTo>
                  <a:lnTo>
                    <a:pt x="67" y="70"/>
                  </a:lnTo>
                  <a:lnTo>
                    <a:pt x="65" y="73"/>
                  </a:lnTo>
                  <a:lnTo>
                    <a:pt x="65" y="78"/>
                  </a:lnTo>
                  <a:lnTo>
                    <a:pt x="65" y="84"/>
                  </a:lnTo>
                  <a:lnTo>
                    <a:pt x="67" y="92"/>
                  </a:lnTo>
                  <a:lnTo>
                    <a:pt x="70" y="103"/>
                  </a:lnTo>
                  <a:lnTo>
                    <a:pt x="77" y="127"/>
                  </a:lnTo>
                  <a:lnTo>
                    <a:pt x="86" y="150"/>
                  </a:lnTo>
                  <a:lnTo>
                    <a:pt x="86" y="213"/>
                  </a:lnTo>
                  <a:lnTo>
                    <a:pt x="42" y="213"/>
                  </a:lnTo>
                  <a:lnTo>
                    <a:pt x="40" y="208"/>
                  </a:lnTo>
                  <a:lnTo>
                    <a:pt x="35" y="196"/>
                  </a:lnTo>
                  <a:lnTo>
                    <a:pt x="28" y="178"/>
                  </a:lnTo>
                  <a:lnTo>
                    <a:pt x="21" y="157"/>
                  </a:lnTo>
                  <a:lnTo>
                    <a:pt x="14" y="136"/>
                  </a:lnTo>
                  <a:lnTo>
                    <a:pt x="7" y="119"/>
                  </a:lnTo>
                  <a:lnTo>
                    <a:pt x="4" y="105"/>
                  </a:lnTo>
                  <a:lnTo>
                    <a:pt x="0" y="85"/>
                  </a:lnTo>
                  <a:lnTo>
                    <a:pt x="0" y="68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5"/>
                  </a:lnTo>
                  <a:lnTo>
                    <a:pt x="60" y="1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"/>
            <p:cNvSpPr>
              <a:spLocks/>
            </p:cNvSpPr>
            <p:nvPr userDrawn="1"/>
          </p:nvSpPr>
          <p:spPr bwMode="auto">
            <a:xfrm>
              <a:off x="3489326" y="1066800"/>
              <a:ext cx="1693863" cy="1184275"/>
            </a:xfrm>
            <a:custGeom>
              <a:avLst/>
              <a:gdLst>
                <a:gd name="T0" fmla="*/ 152 w 1067"/>
                <a:gd name="T1" fmla="*/ 0 h 746"/>
                <a:gd name="T2" fmla="*/ 152 w 1067"/>
                <a:gd name="T3" fmla="*/ 2 h 746"/>
                <a:gd name="T4" fmla="*/ 151 w 1067"/>
                <a:gd name="T5" fmla="*/ 6 h 746"/>
                <a:gd name="T6" fmla="*/ 151 w 1067"/>
                <a:gd name="T7" fmla="*/ 9 h 746"/>
                <a:gd name="T8" fmla="*/ 149 w 1067"/>
                <a:gd name="T9" fmla="*/ 13 h 746"/>
                <a:gd name="T10" fmla="*/ 149 w 1067"/>
                <a:gd name="T11" fmla="*/ 13 h 746"/>
                <a:gd name="T12" fmla="*/ 131 w 1067"/>
                <a:gd name="T13" fmla="*/ 62 h 746"/>
                <a:gd name="T14" fmla="*/ 117 w 1067"/>
                <a:gd name="T15" fmla="*/ 109 h 746"/>
                <a:gd name="T16" fmla="*/ 98 w 1067"/>
                <a:gd name="T17" fmla="*/ 179 h 746"/>
                <a:gd name="T18" fmla="*/ 82 w 1067"/>
                <a:gd name="T19" fmla="*/ 252 h 746"/>
                <a:gd name="T20" fmla="*/ 72 w 1067"/>
                <a:gd name="T21" fmla="*/ 326 h 746"/>
                <a:gd name="T22" fmla="*/ 68 w 1067"/>
                <a:gd name="T23" fmla="*/ 401 h 746"/>
                <a:gd name="T24" fmla="*/ 72 w 1067"/>
                <a:gd name="T25" fmla="*/ 459 h 746"/>
                <a:gd name="T26" fmla="*/ 84 w 1067"/>
                <a:gd name="T27" fmla="*/ 517 h 746"/>
                <a:gd name="T28" fmla="*/ 100 w 1067"/>
                <a:gd name="T29" fmla="*/ 553 h 746"/>
                <a:gd name="T30" fmla="*/ 121 w 1067"/>
                <a:gd name="T31" fmla="*/ 587 h 746"/>
                <a:gd name="T32" fmla="*/ 149 w 1067"/>
                <a:gd name="T33" fmla="*/ 620 h 746"/>
                <a:gd name="T34" fmla="*/ 184 w 1067"/>
                <a:gd name="T35" fmla="*/ 646 h 746"/>
                <a:gd name="T36" fmla="*/ 224 w 1067"/>
                <a:gd name="T37" fmla="*/ 664 h 746"/>
                <a:gd name="T38" fmla="*/ 264 w 1067"/>
                <a:gd name="T39" fmla="*/ 678 h 746"/>
                <a:gd name="T40" fmla="*/ 310 w 1067"/>
                <a:gd name="T41" fmla="*/ 686 h 746"/>
                <a:gd name="T42" fmla="*/ 373 w 1067"/>
                <a:gd name="T43" fmla="*/ 695 h 746"/>
                <a:gd name="T44" fmla="*/ 441 w 1067"/>
                <a:gd name="T45" fmla="*/ 699 h 746"/>
                <a:gd name="T46" fmla="*/ 512 w 1067"/>
                <a:gd name="T47" fmla="*/ 699 h 746"/>
                <a:gd name="T48" fmla="*/ 619 w 1067"/>
                <a:gd name="T49" fmla="*/ 695 h 746"/>
                <a:gd name="T50" fmla="*/ 731 w 1067"/>
                <a:gd name="T51" fmla="*/ 686 h 746"/>
                <a:gd name="T52" fmla="*/ 845 w 1067"/>
                <a:gd name="T53" fmla="*/ 676 h 746"/>
                <a:gd name="T54" fmla="*/ 957 w 1067"/>
                <a:gd name="T55" fmla="*/ 662 h 746"/>
                <a:gd name="T56" fmla="*/ 1067 w 1067"/>
                <a:gd name="T57" fmla="*/ 648 h 746"/>
                <a:gd name="T58" fmla="*/ 1016 w 1067"/>
                <a:gd name="T59" fmla="*/ 657 h 746"/>
                <a:gd name="T60" fmla="*/ 958 w 1067"/>
                <a:gd name="T61" fmla="*/ 665 h 746"/>
                <a:gd name="T62" fmla="*/ 892 w 1067"/>
                <a:gd name="T63" fmla="*/ 676 h 746"/>
                <a:gd name="T64" fmla="*/ 824 w 1067"/>
                <a:gd name="T65" fmla="*/ 686 h 746"/>
                <a:gd name="T66" fmla="*/ 756 w 1067"/>
                <a:gd name="T67" fmla="*/ 697 h 746"/>
                <a:gd name="T68" fmla="*/ 689 w 1067"/>
                <a:gd name="T69" fmla="*/ 706 h 746"/>
                <a:gd name="T70" fmla="*/ 628 w 1067"/>
                <a:gd name="T71" fmla="*/ 714 h 746"/>
                <a:gd name="T72" fmla="*/ 577 w 1067"/>
                <a:gd name="T73" fmla="*/ 721 h 746"/>
                <a:gd name="T74" fmla="*/ 490 w 1067"/>
                <a:gd name="T75" fmla="*/ 732 h 746"/>
                <a:gd name="T76" fmla="*/ 406 w 1067"/>
                <a:gd name="T77" fmla="*/ 739 h 746"/>
                <a:gd name="T78" fmla="*/ 325 w 1067"/>
                <a:gd name="T79" fmla="*/ 744 h 746"/>
                <a:gd name="T80" fmla="*/ 252 w 1067"/>
                <a:gd name="T81" fmla="*/ 746 h 746"/>
                <a:gd name="T82" fmla="*/ 186 w 1067"/>
                <a:gd name="T83" fmla="*/ 744 h 746"/>
                <a:gd name="T84" fmla="*/ 126 w 1067"/>
                <a:gd name="T85" fmla="*/ 735 h 746"/>
                <a:gd name="T86" fmla="*/ 105 w 1067"/>
                <a:gd name="T87" fmla="*/ 730 h 746"/>
                <a:gd name="T88" fmla="*/ 82 w 1067"/>
                <a:gd name="T89" fmla="*/ 721 h 746"/>
                <a:gd name="T90" fmla="*/ 61 w 1067"/>
                <a:gd name="T91" fmla="*/ 711 h 746"/>
                <a:gd name="T92" fmla="*/ 42 w 1067"/>
                <a:gd name="T93" fmla="*/ 695 h 746"/>
                <a:gd name="T94" fmla="*/ 26 w 1067"/>
                <a:gd name="T95" fmla="*/ 676 h 746"/>
                <a:gd name="T96" fmla="*/ 12 w 1067"/>
                <a:gd name="T97" fmla="*/ 650 h 746"/>
                <a:gd name="T98" fmla="*/ 4 w 1067"/>
                <a:gd name="T99" fmla="*/ 618 h 746"/>
                <a:gd name="T100" fmla="*/ 0 w 1067"/>
                <a:gd name="T101" fmla="*/ 581 h 746"/>
                <a:gd name="T102" fmla="*/ 0 w 1067"/>
                <a:gd name="T103" fmla="*/ 550 h 746"/>
                <a:gd name="T104" fmla="*/ 2 w 1067"/>
                <a:gd name="T105" fmla="*/ 517 h 746"/>
                <a:gd name="T106" fmla="*/ 7 w 1067"/>
                <a:gd name="T107" fmla="*/ 478 h 746"/>
                <a:gd name="T108" fmla="*/ 16 w 1067"/>
                <a:gd name="T109" fmla="*/ 436 h 746"/>
                <a:gd name="T110" fmla="*/ 26 w 1067"/>
                <a:gd name="T111" fmla="*/ 392 h 746"/>
                <a:gd name="T112" fmla="*/ 39 w 1067"/>
                <a:gd name="T113" fmla="*/ 347 h 746"/>
                <a:gd name="T114" fmla="*/ 54 w 1067"/>
                <a:gd name="T115" fmla="*/ 294 h 746"/>
                <a:gd name="T116" fmla="*/ 72 w 1067"/>
                <a:gd name="T117" fmla="*/ 235 h 746"/>
                <a:gd name="T118" fmla="*/ 93 w 1067"/>
                <a:gd name="T119" fmla="*/ 170 h 746"/>
                <a:gd name="T120" fmla="*/ 119 w 1067"/>
                <a:gd name="T121" fmla="*/ 95 h 746"/>
                <a:gd name="T122" fmla="*/ 149 w 1067"/>
                <a:gd name="T123" fmla="*/ 13 h 746"/>
                <a:gd name="T124" fmla="*/ 152 w 1067"/>
                <a:gd name="T125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746">
                  <a:moveTo>
                    <a:pt x="152" y="0"/>
                  </a:moveTo>
                  <a:lnTo>
                    <a:pt x="152" y="2"/>
                  </a:lnTo>
                  <a:lnTo>
                    <a:pt x="151" y="6"/>
                  </a:lnTo>
                  <a:lnTo>
                    <a:pt x="151" y="9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31" y="62"/>
                  </a:lnTo>
                  <a:lnTo>
                    <a:pt x="117" y="109"/>
                  </a:lnTo>
                  <a:lnTo>
                    <a:pt x="98" y="179"/>
                  </a:lnTo>
                  <a:lnTo>
                    <a:pt x="82" y="252"/>
                  </a:lnTo>
                  <a:lnTo>
                    <a:pt x="72" y="326"/>
                  </a:lnTo>
                  <a:lnTo>
                    <a:pt x="68" y="401"/>
                  </a:lnTo>
                  <a:lnTo>
                    <a:pt x="72" y="459"/>
                  </a:lnTo>
                  <a:lnTo>
                    <a:pt x="84" y="517"/>
                  </a:lnTo>
                  <a:lnTo>
                    <a:pt x="100" y="553"/>
                  </a:lnTo>
                  <a:lnTo>
                    <a:pt x="121" y="587"/>
                  </a:lnTo>
                  <a:lnTo>
                    <a:pt x="149" y="620"/>
                  </a:lnTo>
                  <a:lnTo>
                    <a:pt x="184" y="646"/>
                  </a:lnTo>
                  <a:lnTo>
                    <a:pt x="224" y="664"/>
                  </a:lnTo>
                  <a:lnTo>
                    <a:pt x="264" y="678"/>
                  </a:lnTo>
                  <a:lnTo>
                    <a:pt x="310" y="686"/>
                  </a:lnTo>
                  <a:lnTo>
                    <a:pt x="373" y="695"/>
                  </a:lnTo>
                  <a:lnTo>
                    <a:pt x="441" y="699"/>
                  </a:lnTo>
                  <a:lnTo>
                    <a:pt x="512" y="699"/>
                  </a:lnTo>
                  <a:lnTo>
                    <a:pt x="619" y="695"/>
                  </a:lnTo>
                  <a:lnTo>
                    <a:pt x="731" y="686"/>
                  </a:lnTo>
                  <a:lnTo>
                    <a:pt x="845" y="676"/>
                  </a:lnTo>
                  <a:lnTo>
                    <a:pt x="957" y="662"/>
                  </a:lnTo>
                  <a:lnTo>
                    <a:pt x="1067" y="648"/>
                  </a:lnTo>
                  <a:lnTo>
                    <a:pt x="1016" y="657"/>
                  </a:lnTo>
                  <a:lnTo>
                    <a:pt x="958" y="665"/>
                  </a:lnTo>
                  <a:lnTo>
                    <a:pt x="892" y="676"/>
                  </a:lnTo>
                  <a:lnTo>
                    <a:pt x="824" y="686"/>
                  </a:lnTo>
                  <a:lnTo>
                    <a:pt x="756" y="697"/>
                  </a:lnTo>
                  <a:lnTo>
                    <a:pt x="689" y="706"/>
                  </a:lnTo>
                  <a:lnTo>
                    <a:pt x="628" y="714"/>
                  </a:lnTo>
                  <a:lnTo>
                    <a:pt x="577" y="721"/>
                  </a:lnTo>
                  <a:lnTo>
                    <a:pt x="490" y="732"/>
                  </a:lnTo>
                  <a:lnTo>
                    <a:pt x="406" y="739"/>
                  </a:lnTo>
                  <a:lnTo>
                    <a:pt x="325" y="744"/>
                  </a:lnTo>
                  <a:lnTo>
                    <a:pt x="252" y="746"/>
                  </a:lnTo>
                  <a:lnTo>
                    <a:pt x="186" y="744"/>
                  </a:lnTo>
                  <a:lnTo>
                    <a:pt x="126" y="735"/>
                  </a:lnTo>
                  <a:lnTo>
                    <a:pt x="105" y="730"/>
                  </a:lnTo>
                  <a:lnTo>
                    <a:pt x="82" y="721"/>
                  </a:lnTo>
                  <a:lnTo>
                    <a:pt x="61" y="711"/>
                  </a:lnTo>
                  <a:lnTo>
                    <a:pt x="42" y="695"/>
                  </a:lnTo>
                  <a:lnTo>
                    <a:pt x="26" y="676"/>
                  </a:lnTo>
                  <a:lnTo>
                    <a:pt x="12" y="650"/>
                  </a:lnTo>
                  <a:lnTo>
                    <a:pt x="4" y="618"/>
                  </a:lnTo>
                  <a:lnTo>
                    <a:pt x="0" y="581"/>
                  </a:lnTo>
                  <a:lnTo>
                    <a:pt x="0" y="550"/>
                  </a:lnTo>
                  <a:lnTo>
                    <a:pt x="2" y="517"/>
                  </a:lnTo>
                  <a:lnTo>
                    <a:pt x="7" y="478"/>
                  </a:lnTo>
                  <a:lnTo>
                    <a:pt x="16" y="436"/>
                  </a:lnTo>
                  <a:lnTo>
                    <a:pt x="26" y="392"/>
                  </a:lnTo>
                  <a:lnTo>
                    <a:pt x="39" y="347"/>
                  </a:lnTo>
                  <a:lnTo>
                    <a:pt x="54" y="294"/>
                  </a:lnTo>
                  <a:lnTo>
                    <a:pt x="72" y="235"/>
                  </a:lnTo>
                  <a:lnTo>
                    <a:pt x="93" y="170"/>
                  </a:lnTo>
                  <a:lnTo>
                    <a:pt x="119" y="95"/>
                  </a:lnTo>
                  <a:lnTo>
                    <a:pt x="149" y="1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AED4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8"/>
            <p:cNvSpPr>
              <a:spLocks/>
            </p:cNvSpPr>
            <p:nvPr userDrawn="1"/>
          </p:nvSpPr>
          <p:spPr bwMode="auto">
            <a:xfrm>
              <a:off x="3597276" y="1039813"/>
              <a:ext cx="1643063" cy="1136650"/>
            </a:xfrm>
            <a:custGeom>
              <a:avLst/>
              <a:gdLst>
                <a:gd name="T0" fmla="*/ 91 w 1035"/>
                <a:gd name="T1" fmla="*/ 0 h 716"/>
                <a:gd name="T2" fmla="*/ 133 w 1035"/>
                <a:gd name="T3" fmla="*/ 17 h 716"/>
                <a:gd name="T4" fmla="*/ 172 w 1035"/>
                <a:gd name="T5" fmla="*/ 38 h 716"/>
                <a:gd name="T6" fmla="*/ 205 w 1035"/>
                <a:gd name="T7" fmla="*/ 61 h 716"/>
                <a:gd name="T8" fmla="*/ 193 w 1035"/>
                <a:gd name="T9" fmla="*/ 105 h 716"/>
                <a:gd name="T10" fmla="*/ 180 w 1035"/>
                <a:gd name="T11" fmla="*/ 152 h 716"/>
                <a:gd name="T12" fmla="*/ 170 w 1035"/>
                <a:gd name="T13" fmla="*/ 199 h 716"/>
                <a:gd name="T14" fmla="*/ 159 w 1035"/>
                <a:gd name="T15" fmla="*/ 247 h 716"/>
                <a:gd name="T16" fmla="*/ 152 w 1035"/>
                <a:gd name="T17" fmla="*/ 292 h 716"/>
                <a:gd name="T18" fmla="*/ 149 w 1035"/>
                <a:gd name="T19" fmla="*/ 338 h 716"/>
                <a:gd name="T20" fmla="*/ 145 w 1035"/>
                <a:gd name="T21" fmla="*/ 378 h 716"/>
                <a:gd name="T22" fmla="*/ 147 w 1035"/>
                <a:gd name="T23" fmla="*/ 416 h 716"/>
                <a:gd name="T24" fmla="*/ 154 w 1035"/>
                <a:gd name="T25" fmla="*/ 450 h 716"/>
                <a:gd name="T26" fmla="*/ 163 w 1035"/>
                <a:gd name="T27" fmla="*/ 478 h 716"/>
                <a:gd name="T28" fmla="*/ 179 w 1035"/>
                <a:gd name="T29" fmla="*/ 499 h 716"/>
                <a:gd name="T30" fmla="*/ 203 w 1035"/>
                <a:gd name="T31" fmla="*/ 518 h 716"/>
                <a:gd name="T32" fmla="*/ 235 w 1035"/>
                <a:gd name="T33" fmla="*/ 532 h 716"/>
                <a:gd name="T34" fmla="*/ 271 w 1035"/>
                <a:gd name="T35" fmla="*/ 542 h 716"/>
                <a:gd name="T36" fmla="*/ 317 w 1035"/>
                <a:gd name="T37" fmla="*/ 549 h 716"/>
                <a:gd name="T38" fmla="*/ 366 w 1035"/>
                <a:gd name="T39" fmla="*/ 553 h 716"/>
                <a:gd name="T40" fmla="*/ 420 w 1035"/>
                <a:gd name="T41" fmla="*/ 555 h 716"/>
                <a:gd name="T42" fmla="*/ 478 w 1035"/>
                <a:gd name="T43" fmla="*/ 553 h 716"/>
                <a:gd name="T44" fmla="*/ 539 w 1035"/>
                <a:gd name="T45" fmla="*/ 548 h 716"/>
                <a:gd name="T46" fmla="*/ 602 w 1035"/>
                <a:gd name="T47" fmla="*/ 542 h 716"/>
                <a:gd name="T48" fmla="*/ 668 w 1035"/>
                <a:gd name="T49" fmla="*/ 534 h 716"/>
                <a:gd name="T50" fmla="*/ 820 w 1035"/>
                <a:gd name="T51" fmla="*/ 514 h 716"/>
                <a:gd name="T52" fmla="*/ 969 w 1035"/>
                <a:gd name="T53" fmla="*/ 495 h 716"/>
                <a:gd name="T54" fmla="*/ 990 w 1035"/>
                <a:gd name="T55" fmla="*/ 534 h 716"/>
                <a:gd name="T56" fmla="*/ 1009 w 1035"/>
                <a:gd name="T57" fmla="*/ 576 h 716"/>
                <a:gd name="T58" fmla="*/ 1025 w 1035"/>
                <a:gd name="T59" fmla="*/ 621 h 716"/>
                <a:gd name="T60" fmla="*/ 1035 w 1035"/>
                <a:gd name="T61" fmla="*/ 660 h 716"/>
                <a:gd name="T62" fmla="*/ 999 w 1035"/>
                <a:gd name="T63" fmla="*/ 665 h 716"/>
                <a:gd name="T64" fmla="*/ 889 w 1035"/>
                <a:gd name="T65" fmla="*/ 679 h 716"/>
                <a:gd name="T66" fmla="*/ 777 w 1035"/>
                <a:gd name="T67" fmla="*/ 693 h 716"/>
                <a:gd name="T68" fmla="*/ 663 w 1035"/>
                <a:gd name="T69" fmla="*/ 703 h 716"/>
                <a:gd name="T70" fmla="*/ 551 w 1035"/>
                <a:gd name="T71" fmla="*/ 712 h 716"/>
                <a:gd name="T72" fmla="*/ 444 w 1035"/>
                <a:gd name="T73" fmla="*/ 716 h 716"/>
                <a:gd name="T74" fmla="*/ 373 w 1035"/>
                <a:gd name="T75" fmla="*/ 716 h 716"/>
                <a:gd name="T76" fmla="*/ 305 w 1035"/>
                <a:gd name="T77" fmla="*/ 712 h 716"/>
                <a:gd name="T78" fmla="*/ 242 w 1035"/>
                <a:gd name="T79" fmla="*/ 703 h 716"/>
                <a:gd name="T80" fmla="*/ 196 w 1035"/>
                <a:gd name="T81" fmla="*/ 695 h 716"/>
                <a:gd name="T82" fmla="*/ 156 w 1035"/>
                <a:gd name="T83" fmla="*/ 681 h 716"/>
                <a:gd name="T84" fmla="*/ 116 w 1035"/>
                <a:gd name="T85" fmla="*/ 663 h 716"/>
                <a:gd name="T86" fmla="*/ 81 w 1035"/>
                <a:gd name="T87" fmla="*/ 637 h 716"/>
                <a:gd name="T88" fmla="*/ 53 w 1035"/>
                <a:gd name="T89" fmla="*/ 605 h 716"/>
                <a:gd name="T90" fmla="*/ 32 w 1035"/>
                <a:gd name="T91" fmla="*/ 570 h 716"/>
                <a:gd name="T92" fmla="*/ 16 w 1035"/>
                <a:gd name="T93" fmla="*/ 534 h 716"/>
                <a:gd name="T94" fmla="*/ 4 w 1035"/>
                <a:gd name="T95" fmla="*/ 476 h 716"/>
                <a:gd name="T96" fmla="*/ 0 w 1035"/>
                <a:gd name="T97" fmla="*/ 418 h 716"/>
                <a:gd name="T98" fmla="*/ 4 w 1035"/>
                <a:gd name="T99" fmla="*/ 343 h 716"/>
                <a:gd name="T100" fmla="*/ 14 w 1035"/>
                <a:gd name="T101" fmla="*/ 269 h 716"/>
                <a:gd name="T102" fmla="*/ 30 w 1035"/>
                <a:gd name="T103" fmla="*/ 196 h 716"/>
                <a:gd name="T104" fmla="*/ 49 w 1035"/>
                <a:gd name="T105" fmla="*/ 126 h 716"/>
                <a:gd name="T106" fmla="*/ 69 w 1035"/>
                <a:gd name="T107" fmla="*/ 65 h 716"/>
                <a:gd name="T108" fmla="*/ 88 w 1035"/>
                <a:gd name="T109" fmla="*/ 10 h 716"/>
                <a:gd name="T110" fmla="*/ 91 w 1035"/>
                <a:gd name="T111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5" h="716">
                  <a:moveTo>
                    <a:pt x="91" y="0"/>
                  </a:moveTo>
                  <a:lnTo>
                    <a:pt x="133" y="17"/>
                  </a:lnTo>
                  <a:lnTo>
                    <a:pt x="172" y="38"/>
                  </a:lnTo>
                  <a:lnTo>
                    <a:pt x="205" y="61"/>
                  </a:lnTo>
                  <a:lnTo>
                    <a:pt x="193" y="105"/>
                  </a:lnTo>
                  <a:lnTo>
                    <a:pt x="180" y="152"/>
                  </a:lnTo>
                  <a:lnTo>
                    <a:pt x="170" y="199"/>
                  </a:lnTo>
                  <a:lnTo>
                    <a:pt x="159" y="247"/>
                  </a:lnTo>
                  <a:lnTo>
                    <a:pt x="152" y="292"/>
                  </a:lnTo>
                  <a:lnTo>
                    <a:pt x="149" y="338"/>
                  </a:lnTo>
                  <a:lnTo>
                    <a:pt x="145" y="378"/>
                  </a:lnTo>
                  <a:lnTo>
                    <a:pt x="147" y="416"/>
                  </a:lnTo>
                  <a:lnTo>
                    <a:pt x="154" y="450"/>
                  </a:lnTo>
                  <a:lnTo>
                    <a:pt x="163" y="478"/>
                  </a:lnTo>
                  <a:lnTo>
                    <a:pt x="179" y="499"/>
                  </a:lnTo>
                  <a:lnTo>
                    <a:pt x="203" y="518"/>
                  </a:lnTo>
                  <a:lnTo>
                    <a:pt x="235" y="532"/>
                  </a:lnTo>
                  <a:lnTo>
                    <a:pt x="271" y="542"/>
                  </a:lnTo>
                  <a:lnTo>
                    <a:pt x="317" y="549"/>
                  </a:lnTo>
                  <a:lnTo>
                    <a:pt x="366" y="553"/>
                  </a:lnTo>
                  <a:lnTo>
                    <a:pt x="420" y="555"/>
                  </a:lnTo>
                  <a:lnTo>
                    <a:pt x="478" y="553"/>
                  </a:lnTo>
                  <a:lnTo>
                    <a:pt x="539" y="548"/>
                  </a:lnTo>
                  <a:lnTo>
                    <a:pt x="602" y="542"/>
                  </a:lnTo>
                  <a:lnTo>
                    <a:pt x="668" y="534"/>
                  </a:lnTo>
                  <a:lnTo>
                    <a:pt x="820" y="514"/>
                  </a:lnTo>
                  <a:lnTo>
                    <a:pt x="969" y="495"/>
                  </a:lnTo>
                  <a:lnTo>
                    <a:pt x="990" y="534"/>
                  </a:lnTo>
                  <a:lnTo>
                    <a:pt x="1009" y="576"/>
                  </a:lnTo>
                  <a:lnTo>
                    <a:pt x="1025" y="621"/>
                  </a:lnTo>
                  <a:lnTo>
                    <a:pt x="1035" y="660"/>
                  </a:lnTo>
                  <a:lnTo>
                    <a:pt x="999" y="665"/>
                  </a:lnTo>
                  <a:lnTo>
                    <a:pt x="889" y="679"/>
                  </a:lnTo>
                  <a:lnTo>
                    <a:pt x="777" y="693"/>
                  </a:lnTo>
                  <a:lnTo>
                    <a:pt x="663" y="703"/>
                  </a:lnTo>
                  <a:lnTo>
                    <a:pt x="551" y="712"/>
                  </a:lnTo>
                  <a:lnTo>
                    <a:pt x="444" y="716"/>
                  </a:lnTo>
                  <a:lnTo>
                    <a:pt x="373" y="716"/>
                  </a:lnTo>
                  <a:lnTo>
                    <a:pt x="305" y="712"/>
                  </a:lnTo>
                  <a:lnTo>
                    <a:pt x="242" y="703"/>
                  </a:lnTo>
                  <a:lnTo>
                    <a:pt x="196" y="695"/>
                  </a:lnTo>
                  <a:lnTo>
                    <a:pt x="156" y="681"/>
                  </a:lnTo>
                  <a:lnTo>
                    <a:pt x="116" y="663"/>
                  </a:lnTo>
                  <a:lnTo>
                    <a:pt x="81" y="637"/>
                  </a:lnTo>
                  <a:lnTo>
                    <a:pt x="53" y="605"/>
                  </a:lnTo>
                  <a:lnTo>
                    <a:pt x="32" y="570"/>
                  </a:lnTo>
                  <a:lnTo>
                    <a:pt x="16" y="534"/>
                  </a:lnTo>
                  <a:lnTo>
                    <a:pt x="4" y="476"/>
                  </a:lnTo>
                  <a:lnTo>
                    <a:pt x="0" y="418"/>
                  </a:lnTo>
                  <a:lnTo>
                    <a:pt x="4" y="343"/>
                  </a:lnTo>
                  <a:lnTo>
                    <a:pt x="14" y="269"/>
                  </a:lnTo>
                  <a:lnTo>
                    <a:pt x="30" y="196"/>
                  </a:lnTo>
                  <a:lnTo>
                    <a:pt x="49" y="126"/>
                  </a:lnTo>
                  <a:lnTo>
                    <a:pt x="69" y="65"/>
                  </a:lnTo>
                  <a:lnTo>
                    <a:pt x="88" y="1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9"/>
            <p:cNvSpPr>
              <a:spLocks noEditPoints="1"/>
            </p:cNvSpPr>
            <p:nvPr userDrawn="1"/>
          </p:nvSpPr>
          <p:spPr bwMode="auto">
            <a:xfrm>
              <a:off x="2420938" y="2798763"/>
              <a:ext cx="1690688" cy="1414463"/>
            </a:xfrm>
            <a:custGeom>
              <a:avLst/>
              <a:gdLst>
                <a:gd name="T0" fmla="*/ 0 w 1065"/>
                <a:gd name="T1" fmla="*/ 891 h 891"/>
                <a:gd name="T2" fmla="*/ 0 w 1065"/>
                <a:gd name="T3" fmla="*/ 891 h 891"/>
                <a:gd name="T4" fmla="*/ 546 w 1065"/>
                <a:gd name="T5" fmla="*/ 1 h 891"/>
                <a:gd name="T6" fmla="*/ 603 w 1065"/>
                <a:gd name="T7" fmla="*/ 21 h 891"/>
                <a:gd name="T8" fmla="*/ 678 w 1065"/>
                <a:gd name="T9" fmla="*/ 70 h 891"/>
                <a:gd name="T10" fmla="*/ 775 w 1065"/>
                <a:gd name="T11" fmla="*/ 159 h 891"/>
                <a:gd name="T12" fmla="*/ 843 w 1065"/>
                <a:gd name="T13" fmla="*/ 234 h 891"/>
                <a:gd name="T14" fmla="*/ 892 w 1065"/>
                <a:gd name="T15" fmla="*/ 292 h 891"/>
                <a:gd name="T16" fmla="*/ 942 w 1065"/>
                <a:gd name="T17" fmla="*/ 355 h 891"/>
                <a:gd name="T18" fmla="*/ 990 w 1065"/>
                <a:gd name="T19" fmla="*/ 415 h 891"/>
                <a:gd name="T20" fmla="*/ 1028 w 1065"/>
                <a:gd name="T21" fmla="*/ 467 h 891"/>
                <a:gd name="T22" fmla="*/ 1056 w 1065"/>
                <a:gd name="T23" fmla="*/ 504 h 891"/>
                <a:gd name="T24" fmla="*/ 1065 w 1065"/>
                <a:gd name="T25" fmla="*/ 518 h 891"/>
                <a:gd name="T26" fmla="*/ 1063 w 1065"/>
                <a:gd name="T27" fmla="*/ 514 h 891"/>
                <a:gd name="T28" fmla="*/ 1044 w 1065"/>
                <a:gd name="T29" fmla="*/ 490 h 891"/>
                <a:gd name="T30" fmla="*/ 1011 w 1065"/>
                <a:gd name="T31" fmla="*/ 448 h 891"/>
                <a:gd name="T32" fmla="*/ 967 w 1065"/>
                <a:gd name="T33" fmla="*/ 395 h 891"/>
                <a:gd name="T34" fmla="*/ 920 w 1065"/>
                <a:gd name="T35" fmla="*/ 339 h 891"/>
                <a:gd name="T36" fmla="*/ 873 w 1065"/>
                <a:gd name="T37" fmla="*/ 287 h 891"/>
                <a:gd name="T38" fmla="*/ 832 w 1065"/>
                <a:gd name="T39" fmla="*/ 246 h 891"/>
                <a:gd name="T40" fmla="*/ 747 w 1065"/>
                <a:gd name="T41" fmla="*/ 180 h 891"/>
                <a:gd name="T42" fmla="*/ 668 w 1065"/>
                <a:gd name="T43" fmla="*/ 134 h 891"/>
                <a:gd name="T44" fmla="*/ 596 w 1065"/>
                <a:gd name="T45" fmla="*/ 112 h 891"/>
                <a:gd name="T46" fmla="*/ 526 w 1065"/>
                <a:gd name="T47" fmla="*/ 112 h 891"/>
                <a:gd name="T48" fmla="*/ 463 w 1065"/>
                <a:gd name="T49" fmla="*/ 131 h 891"/>
                <a:gd name="T50" fmla="*/ 409 w 1065"/>
                <a:gd name="T51" fmla="*/ 166 h 891"/>
                <a:gd name="T52" fmla="*/ 323 w 1065"/>
                <a:gd name="T53" fmla="*/ 257 h 891"/>
                <a:gd name="T54" fmla="*/ 241 w 1065"/>
                <a:gd name="T55" fmla="*/ 379 h 891"/>
                <a:gd name="T56" fmla="*/ 159 w 1065"/>
                <a:gd name="T57" fmla="*/ 528 h 891"/>
                <a:gd name="T58" fmla="*/ 87 w 1065"/>
                <a:gd name="T59" fmla="*/ 682 h 891"/>
                <a:gd name="T60" fmla="*/ 24 w 1065"/>
                <a:gd name="T61" fmla="*/ 828 h 891"/>
                <a:gd name="T62" fmla="*/ 21 w 1065"/>
                <a:gd name="T63" fmla="*/ 833 h 891"/>
                <a:gd name="T64" fmla="*/ 75 w 1065"/>
                <a:gd name="T65" fmla="*/ 696 h 891"/>
                <a:gd name="T66" fmla="*/ 138 w 1065"/>
                <a:gd name="T67" fmla="*/ 542 h 891"/>
                <a:gd name="T68" fmla="*/ 208 w 1065"/>
                <a:gd name="T69" fmla="*/ 388 h 891"/>
                <a:gd name="T70" fmla="*/ 278 w 1065"/>
                <a:gd name="T71" fmla="*/ 245 h 891"/>
                <a:gd name="T72" fmla="*/ 332 w 1065"/>
                <a:gd name="T73" fmla="*/ 145 h 891"/>
                <a:gd name="T74" fmla="*/ 388 w 1065"/>
                <a:gd name="T75" fmla="*/ 64 h 891"/>
                <a:gd name="T76" fmla="*/ 423 w 1065"/>
                <a:gd name="T77" fmla="*/ 29 h 891"/>
                <a:gd name="T78" fmla="*/ 476 w 1065"/>
                <a:gd name="T79" fmla="*/ 3 h 891"/>
                <a:gd name="T80" fmla="*/ 512 w 1065"/>
                <a:gd name="T81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65" h="891">
                  <a:moveTo>
                    <a:pt x="0" y="891"/>
                  </a:moveTo>
                  <a:lnTo>
                    <a:pt x="0" y="891"/>
                  </a:lnTo>
                  <a:lnTo>
                    <a:pt x="0" y="891"/>
                  </a:lnTo>
                  <a:lnTo>
                    <a:pt x="0" y="891"/>
                  </a:lnTo>
                  <a:close/>
                  <a:moveTo>
                    <a:pt x="512" y="0"/>
                  </a:moveTo>
                  <a:lnTo>
                    <a:pt x="546" y="1"/>
                  </a:lnTo>
                  <a:lnTo>
                    <a:pt x="575" y="10"/>
                  </a:lnTo>
                  <a:lnTo>
                    <a:pt x="603" y="21"/>
                  </a:lnTo>
                  <a:lnTo>
                    <a:pt x="642" y="43"/>
                  </a:lnTo>
                  <a:lnTo>
                    <a:pt x="678" y="70"/>
                  </a:lnTo>
                  <a:lnTo>
                    <a:pt x="727" y="112"/>
                  </a:lnTo>
                  <a:lnTo>
                    <a:pt x="775" y="159"/>
                  </a:lnTo>
                  <a:lnTo>
                    <a:pt x="822" y="210"/>
                  </a:lnTo>
                  <a:lnTo>
                    <a:pt x="843" y="234"/>
                  </a:lnTo>
                  <a:lnTo>
                    <a:pt x="867" y="262"/>
                  </a:lnTo>
                  <a:lnTo>
                    <a:pt x="892" y="292"/>
                  </a:lnTo>
                  <a:lnTo>
                    <a:pt x="916" y="323"/>
                  </a:lnTo>
                  <a:lnTo>
                    <a:pt x="942" y="355"/>
                  </a:lnTo>
                  <a:lnTo>
                    <a:pt x="967" y="385"/>
                  </a:lnTo>
                  <a:lnTo>
                    <a:pt x="990" y="415"/>
                  </a:lnTo>
                  <a:lnTo>
                    <a:pt x="1011" y="443"/>
                  </a:lnTo>
                  <a:lnTo>
                    <a:pt x="1028" y="467"/>
                  </a:lnTo>
                  <a:lnTo>
                    <a:pt x="1044" y="488"/>
                  </a:lnTo>
                  <a:lnTo>
                    <a:pt x="1056" y="504"/>
                  </a:lnTo>
                  <a:lnTo>
                    <a:pt x="1063" y="514"/>
                  </a:lnTo>
                  <a:lnTo>
                    <a:pt x="1065" y="518"/>
                  </a:lnTo>
                  <a:lnTo>
                    <a:pt x="1065" y="518"/>
                  </a:lnTo>
                  <a:lnTo>
                    <a:pt x="1063" y="514"/>
                  </a:lnTo>
                  <a:lnTo>
                    <a:pt x="1054" y="504"/>
                  </a:lnTo>
                  <a:lnTo>
                    <a:pt x="1044" y="490"/>
                  </a:lnTo>
                  <a:lnTo>
                    <a:pt x="1028" y="471"/>
                  </a:lnTo>
                  <a:lnTo>
                    <a:pt x="1011" y="448"/>
                  </a:lnTo>
                  <a:lnTo>
                    <a:pt x="990" y="422"/>
                  </a:lnTo>
                  <a:lnTo>
                    <a:pt x="967" y="395"/>
                  </a:lnTo>
                  <a:lnTo>
                    <a:pt x="944" y="367"/>
                  </a:lnTo>
                  <a:lnTo>
                    <a:pt x="920" y="339"/>
                  </a:lnTo>
                  <a:lnTo>
                    <a:pt x="897" y="313"/>
                  </a:lnTo>
                  <a:lnTo>
                    <a:pt x="873" y="287"/>
                  </a:lnTo>
                  <a:lnTo>
                    <a:pt x="852" y="266"/>
                  </a:lnTo>
                  <a:lnTo>
                    <a:pt x="832" y="246"/>
                  </a:lnTo>
                  <a:lnTo>
                    <a:pt x="790" y="211"/>
                  </a:lnTo>
                  <a:lnTo>
                    <a:pt x="747" y="180"/>
                  </a:lnTo>
                  <a:lnTo>
                    <a:pt x="701" y="152"/>
                  </a:lnTo>
                  <a:lnTo>
                    <a:pt x="668" y="134"/>
                  </a:lnTo>
                  <a:lnTo>
                    <a:pt x="633" y="120"/>
                  </a:lnTo>
                  <a:lnTo>
                    <a:pt x="596" y="112"/>
                  </a:lnTo>
                  <a:lnTo>
                    <a:pt x="556" y="110"/>
                  </a:lnTo>
                  <a:lnTo>
                    <a:pt x="526" y="112"/>
                  </a:lnTo>
                  <a:lnTo>
                    <a:pt x="497" y="117"/>
                  </a:lnTo>
                  <a:lnTo>
                    <a:pt x="463" y="131"/>
                  </a:lnTo>
                  <a:lnTo>
                    <a:pt x="435" y="147"/>
                  </a:lnTo>
                  <a:lnTo>
                    <a:pt x="409" y="166"/>
                  </a:lnTo>
                  <a:lnTo>
                    <a:pt x="365" y="208"/>
                  </a:lnTo>
                  <a:lnTo>
                    <a:pt x="323" y="257"/>
                  </a:lnTo>
                  <a:lnTo>
                    <a:pt x="283" y="315"/>
                  </a:lnTo>
                  <a:lnTo>
                    <a:pt x="241" y="379"/>
                  </a:lnTo>
                  <a:lnTo>
                    <a:pt x="199" y="451"/>
                  </a:lnTo>
                  <a:lnTo>
                    <a:pt x="159" y="528"/>
                  </a:lnTo>
                  <a:lnTo>
                    <a:pt x="122" y="605"/>
                  </a:lnTo>
                  <a:lnTo>
                    <a:pt x="87" y="682"/>
                  </a:lnTo>
                  <a:lnTo>
                    <a:pt x="54" y="758"/>
                  </a:lnTo>
                  <a:lnTo>
                    <a:pt x="24" y="828"/>
                  </a:lnTo>
                  <a:lnTo>
                    <a:pt x="0" y="891"/>
                  </a:lnTo>
                  <a:lnTo>
                    <a:pt x="21" y="833"/>
                  </a:lnTo>
                  <a:lnTo>
                    <a:pt x="47" y="766"/>
                  </a:lnTo>
                  <a:lnTo>
                    <a:pt x="75" y="696"/>
                  </a:lnTo>
                  <a:lnTo>
                    <a:pt x="107" y="621"/>
                  </a:lnTo>
                  <a:lnTo>
                    <a:pt x="138" y="542"/>
                  </a:lnTo>
                  <a:lnTo>
                    <a:pt x="173" y="465"/>
                  </a:lnTo>
                  <a:lnTo>
                    <a:pt x="208" y="388"/>
                  </a:lnTo>
                  <a:lnTo>
                    <a:pt x="243" y="315"/>
                  </a:lnTo>
                  <a:lnTo>
                    <a:pt x="278" y="245"/>
                  </a:lnTo>
                  <a:lnTo>
                    <a:pt x="304" y="194"/>
                  </a:lnTo>
                  <a:lnTo>
                    <a:pt x="332" y="145"/>
                  </a:lnTo>
                  <a:lnTo>
                    <a:pt x="360" y="101"/>
                  </a:lnTo>
                  <a:lnTo>
                    <a:pt x="388" y="64"/>
                  </a:lnTo>
                  <a:lnTo>
                    <a:pt x="406" y="47"/>
                  </a:lnTo>
                  <a:lnTo>
                    <a:pt x="423" y="29"/>
                  </a:lnTo>
                  <a:lnTo>
                    <a:pt x="448" y="15"/>
                  </a:lnTo>
                  <a:lnTo>
                    <a:pt x="476" y="3"/>
                  </a:lnTo>
                  <a:lnTo>
                    <a:pt x="495" y="0"/>
                  </a:lnTo>
                  <a:lnTo>
                    <a:pt x="512" y="0"/>
                  </a:lnTo>
                  <a:close/>
                </a:path>
              </a:pathLst>
            </a:custGeom>
            <a:solidFill>
              <a:srgbClr val="F29FC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0"/>
            <p:cNvSpPr>
              <a:spLocks/>
            </p:cNvSpPr>
            <p:nvPr userDrawn="1"/>
          </p:nvSpPr>
          <p:spPr bwMode="auto">
            <a:xfrm>
              <a:off x="2420938" y="2973388"/>
              <a:ext cx="1690688" cy="1273175"/>
            </a:xfrm>
            <a:custGeom>
              <a:avLst/>
              <a:gdLst>
                <a:gd name="T0" fmla="*/ 596 w 1065"/>
                <a:gd name="T1" fmla="*/ 2 h 802"/>
                <a:gd name="T2" fmla="*/ 668 w 1065"/>
                <a:gd name="T3" fmla="*/ 24 h 802"/>
                <a:gd name="T4" fmla="*/ 747 w 1065"/>
                <a:gd name="T5" fmla="*/ 70 h 802"/>
                <a:gd name="T6" fmla="*/ 832 w 1065"/>
                <a:gd name="T7" fmla="*/ 136 h 802"/>
                <a:gd name="T8" fmla="*/ 873 w 1065"/>
                <a:gd name="T9" fmla="*/ 177 h 802"/>
                <a:gd name="T10" fmla="*/ 920 w 1065"/>
                <a:gd name="T11" fmla="*/ 229 h 802"/>
                <a:gd name="T12" fmla="*/ 967 w 1065"/>
                <a:gd name="T13" fmla="*/ 285 h 802"/>
                <a:gd name="T14" fmla="*/ 1011 w 1065"/>
                <a:gd name="T15" fmla="*/ 338 h 802"/>
                <a:gd name="T16" fmla="*/ 1044 w 1065"/>
                <a:gd name="T17" fmla="*/ 380 h 802"/>
                <a:gd name="T18" fmla="*/ 1063 w 1065"/>
                <a:gd name="T19" fmla="*/ 404 h 802"/>
                <a:gd name="T20" fmla="*/ 1030 w 1065"/>
                <a:gd name="T21" fmla="*/ 420 h 802"/>
                <a:gd name="T22" fmla="*/ 956 w 1065"/>
                <a:gd name="T23" fmla="*/ 438 h 802"/>
                <a:gd name="T24" fmla="*/ 911 w 1065"/>
                <a:gd name="T25" fmla="*/ 425 h 802"/>
                <a:gd name="T26" fmla="*/ 876 w 1065"/>
                <a:gd name="T27" fmla="*/ 378 h 802"/>
                <a:gd name="T28" fmla="*/ 825 w 1065"/>
                <a:gd name="T29" fmla="*/ 319 h 802"/>
                <a:gd name="T30" fmla="*/ 764 w 1065"/>
                <a:gd name="T31" fmla="*/ 255 h 802"/>
                <a:gd name="T32" fmla="*/ 699 w 1065"/>
                <a:gd name="T33" fmla="*/ 199 h 802"/>
                <a:gd name="T34" fmla="*/ 635 w 1065"/>
                <a:gd name="T35" fmla="*/ 163 h 802"/>
                <a:gd name="T36" fmla="*/ 574 w 1065"/>
                <a:gd name="T37" fmla="*/ 154 h 802"/>
                <a:gd name="T38" fmla="*/ 521 w 1065"/>
                <a:gd name="T39" fmla="*/ 180 h 802"/>
                <a:gd name="T40" fmla="*/ 467 w 1065"/>
                <a:gd name="T41" fmla="*/ 236 h 802"/>
                <a:gd name="T42" fmla="*/ 409 w 1065"/>
                <a:gd name="T43" fmla="*/ 315 h 802"/>
                <a:gd name="T44" fmla="*/ 355 w 1065"/>
                <a:gd name="T45" fmla="*/ 408 h 802"/>
                <a:gd name="T46" fmla="*/ 304 w 1065"/>
                <a:gd name="T47" fmla="*/ 508 h 802"/>
                <a:gd name="T48" fmla="*/ 257 w 1065"/>
                <a:gd name="T49" fmla="*/ 604 h 802"/>
                <a:gd name="T50" fmla="*/ 220 w 1065"/>
                <a:gd name="T51" fmla="*/ 690 h 802"/>
                <a:gd name="T52" fmla="*/ 192 w 1065"/>
                <a:gd name="T53" fmla="*/ 756 h 802"/>
                <a:gd name="T54" fmla="*/ 177 w 1065"/>
                <a:gd name="T55" fmla="*/ 795 h 802"/>
                <a:gd name="T56" fmla="*/ 119 w 1065"/>
                <a:gd name="T57" fmla="*/ 802 h 802"/>
                <a:gd name="T58" fmla="*/ 30 w 1065"/>
                <a:gd name="T59" fmla="*/ 789 h 802"/>
                <a:gd name="T60" fmla="*/ 24 w 1065"/>
                <a:gd name="T61" fmla="*/ 718 h 802"/>
                <a:gd name="T62" fmla="*/ 87 w 1065"/>
                <a:gd name="T63" fmla="*/ 572 h 802"/>
                <a:gd name="T64" fmla="*/ 159 w 1065"/>
                <a:gd name="T65" fmla="*/ 418 h 802"/>
                <a:gd name="T66" fmla="*/ 241 w 1065"/>
                <a:gd name="T67" fmla="*/ 269 h 802"/>
                <a:gd name="T68" fmla="*/ 323 w 1065"/>
                <a:gd name="T69" fmla="*/ 147 h 802"/>
                <a:gd name="T70" fmla="*/ 409 w 1065"/>
                <a:gd name="T71" fmla="*/ 56 h 802"/>
                <a:gd name="T72" fmla="*/ 463 w 1065"/>
                <a:gd name="T73" fmla="*/ 21 h 802"/>
                <a:gd name="T74" fmla="*/ 526 w 1065"/>
                <a:gd name="T75" fmla="*/ 2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65" h="802">
                  <a:moveTo>
                    <a:pt x="556" y="0"/>
                  </a:moveTo>
                  <a:lnTo>
                    <a:pt x="596" y="2"/>
                  </a:lnTo>
                  <a:lnTo>
                    <a:pt x="633" y="10"/>
                  </a:lnTo>
                  <a:lnTo>
                    <a:pt x="668" y="24"/>
                  </a:lnTo>
                  <a:lnTo>
                    <a:pt x="701" y="42"/>
                  </a:lnTo>
                  <a:lnTo>
                    <a:pt x="747" y="70"/>
                  </a:lnTo>
                  <a:lnTo>
                    <a:pt x="790" y="101"/>
                  </a:lnTo>
                  <a:lnTo>
                    <a:pt x="832" y="136"/>
                  </a:lnTo>
                  <a:lnTo>
                    <a:pt x="852" y="156"/>
                  </a:lnTo>
                  <a:lnTo>
                    <a:pt x="873" y="177"/>
                  </a:lnTo>
                  <a:lnTo>
                    <a:pt x="897" y="203"/>
                  </a:lnTo>
                  <a:lnTo>
                    <a:pt x="920" y="229"/>
                  </a:lnTo>
                  <a:lnTo>
                    <a:pt x="944" y="257"/>
                  </a:lnTo>
                  <a:lnTo>
                    <a:pt x="967" y="285"/>
                  </a:lnTo>
                  <a:lnTo>
                    <a:pt x="990" y="312"/>
                  </a:lnTo>
                  <a:lnTo>
                    <a:pt x="1011" y="338"/>
                  </a:lnTo>
                  <a:lnTo>
                    <a:pt x="1028" y="361"/>
                  </a:lnTo>
                  <a:lnTo>
                    <a:pt x="1044" y="380"/>
                  </a:lnTo>
                  <a:lnTo>
                    <a:pt x="1054" y="394"/>
                  </a:lnTo>
                  <a:lnTo>
                    <a:pt x="1063" y="404"/>
                  </a:lnTo>
                  <a:lnTo>
                    <a:pt x="1065" y="408"/>
                  </a:lnTo>
                  <a:lnTo>
                    <a:pt x="1030" y="420"/>
                  </a:lnTo>
                  <a:lnTo>
                    <a:pt x="991" y="431"/>
                  </a:lnTo>
                  <a:lnTo>
                    <a:pt x="956" y="438"/>
                  </a:lnTo>
                  <a:lnTo>
                    <a:pt x="923" y="439"/>
                  </a:lnTo>
                  <a:lnTo>
                    <a:pt x="911" y="425"/>
                  </a:lnTo>
                  <a:lnTo>
                    <a:pt x="895" y="404"/>
                  </a:lnTo>
                  <a:lnTo>
                    <a:pt x="876" y="378"/>
                  </a:lnTo>
                  <a:lnTo>
                    <a:pt x="852" y="350"/>
                  </a:lnTo>
                  <a:lnTo>
                    <a:pt x="825" y="319"/>
                  </a:lnTo>
                  <a:lnTo>
                    <a:pt x="796" y="285"/>
                  </a:lnTo>
                  <a:lnTo>
                    <a:pt x="764" y="255"/>
                  </a:lnTo>
                  <a:lnTo>
                    <a:pt x="733" y="226"/>
                  </a:lnTo>
                  <a:lnTo>
                    <a:pt x="699" y="199"/>
                  </a:lnTo>
                  <a:lnTo>
                    <a:pt x="666" y="178"/>
                  </a:lnTo>
                  <a:lnTo>
                    <a:pt x="635" y="163"/>
                  </a:lnTo>
                  <a:lnTo>
                    <a:pt x="603" y="154"/>
                  </a:lnTo>
                  <a:lnTo>
                    <a:pt x="574" y="154"/>
                  </a:lnTo>
                  <a:lnTo>
                    <a:pt x="547" y="163"/>
                  </a:lnTo>
                  <a:lnTo>
                    <a:pt x="521" y="180"/>
                  </a:lnTo>
                  <a:lnTo>
                    <a:pt x="493" y="205"/>
                  </a:lnTo>
                  <a:lnTo>
                    <a:pt x="467" y="236"/>
                  </a:lnTo>
                  <a:lnTo>
                    <a:pt x="437" y="273"/>
                  </a:lnTo>
                  <a:lnTo>
                    <a:pt x="409" y="315"/>
                  </a:lnTo>
                  <a:lnTo>
                    <a:pt x="383" y="361"/>
                  </a:lnTo>
                  <a:lnTo>
                    <a:pt x="355" y="408"/>
                  </a:lnTo>
                  <a:lnTo>
                    <a:pt x="329" y="457"/>
                  </a:lnTo>
                  <a:lnTo>
                    <a:pt x="304" y="508"/>
                  </a:lnTo>
                  <a:lnTo>
                    <a:pt x="280" y="557"/>
                  </a:lnTo>
                  <a:lnTo>
                    <a:pt x="257" y="604"/>
                  </a:lnTo>
                  <a:lnTo>
                    <a:pt x="238" y="648"/>
                  </a:lnTo>
                  <a:lnTo>
                    <a:pt x="220" y="690"/>
                  </a:lnTo>
                  <a:lnTo>
                    <a:pt x="205" y="725"/>
                  </a:lnTo>
                  <a:lnTo>
                    <a:pt x="192" y="756"/>
                  </a:lnTo>
                  <a:lnTo>
                    <a:pt x="182" y="779"/>
                  </a:lnTo>
                  <a:lnTo>
                    <a:pt x="177" y="795"/>
                  </a:lnTo>
                  <a:lnTo>
                    <a:pt x="173" y="802"/>
                  </a:lnTo>
                  <a:lnTo>
                    <a:pt x="119" y="802"/>
                  </a:lnTo>
                  <a:lnTo>
                    <a:pt x="72" y="796"/>
                  </a:lnTo>
                  <a:lnTo>
                    <a:pt x="30" y="789"/>
                  </a:lnTo>
                  <a:lnTo>
                    <a:pt x="0" y="781"/>
                  </a:lnTo>
                  <a:lnTo>
                    <a:pt x="24" y="718"/>
                  </a:lnTo>
                  <a:lnTo>
                    <a:pt x="54" y="648"/>
                  </a:lnTo>
                  <a:lnTo>
                    <a:pt x="87" y="572"/>
                  </a:lnTo>
                  <a:lnTo>
                    <a:pt x="122" y="495"/>
                  </a:lnTo>
                  <a:lnTo>
                    <a:pt x="159" y="418"/>
                  </a:lnTo>
                  <a:lnTo>
                    <a:pt x="199" y="341"/>
                  </a:lnTo>
                  <a:lnTo>
                    <a:pt x="241" y="269"/>
                  </a:lnTo>
                  <a:lnTo>
                    <a:pt x="283" y="205"/>
                  </a:lnTo>
                  <a:lnTo>
                    <a:pt x="323" y="147"/>
                  </a:lnTo>
                  <a:lnTo>
                    <a:pt x="365" y="98"/>
                  </a:lnTo>
                  <a:lnTo>
                    <a:pt x="409" y="56"/>
                  </a:lnTo>
                  <a:lnTo>
                    <a:pt x="435" y="37"/>
                  </a:lnTo>
                  <a:lnTo>
                    <a:pt x="463" y="21"/>
                  </a:lnTo>
                  <a:lnTo>
                    <a:pt x="497" y="7"/>
                  </a:lnTo>
                  <a:lnTo>
                    <a:pt x="526" y="2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"/>
            <p:cNvSpPr>
              <a:spLocks/>
            </p:cNvSpPr>
            <p:nvPr userDrawn="1"/>
          </p:nvSpPr>
          <p:spPr bwMode="auto">
            <a:xfrm>
              <a:off x="3589338" y="2143125"/>
              <a:ext cx="1660525" cy="1444625"/>
            </a:xfrm>
            <a:custGeom>
              <a:avLst/>
              <a:gdLst>
                <a:gd name="T0" fmla="*/ 1019 w 1046"/>
                <a:gd name="T1" fmla="*/ 5 h 910"/>
                <a:gd name="T2" fmla="*/ 941 w 1046"/>
                <a:gd name="T3" fmla="*/ 17 h 910"/>
                <a:gd name="T4" fmla="*/ 827 w 1046"/>
                <a:gd name="T5" fmla="*/ 36 h 910"/>
                <a:gd name="T6" fmla="*/ 687 w 1046"/>
                <a:gd name="T7" fmla="*/ 64 h 910"/>
                <a:gd name="T8" fmla="*/ 523 w 1046"/>
                <a:gd name="T9" fmla="*/ 103 h 910"/>
                <a:gd name="T10" fmla="*/ 425 w 1046"/>
                <a:gd name="T11" fmla="*/ 131 h 910"/>
                <a:gd name="T12" fmla="*/ 336 w 1046"/>
                <a:gd name="T13" fmla="*/ 166 h 910"/>
                <a:gd name="T14" fmla="*/ 255 w 1046"/>
                <a:gd name="T15" fmla="*/ 210 h 910"/>
                <a:gd name="T16" fmla="*/ 192 w 1046"/>
                <a:gd name="T17" fmla="*/ 264 h 910"/>
                <a:gd name="T18" fmla="*/ 147 w 1046"/>
                <a:gd name="T19" fmla="*/ 330 h 910"/>
                <a:gd name="T20" fmla="*/ 126 w 1046"/>
                <a:gd name="T21" fmla="*/ 409 h 910"/>
                <a:gd name="T22" fmla="*/ 131 w 1046"/>
                <a:gd name="T23" fmla="*/ 502 h 910"/>
                <a:gd name="T24" fmla="*/ 170 w 1046"/>
                <a:gd name="T25" fmla="*/ 612 h 910"/>
                <a:gd name="T26" fmla="*/ 201 w 1046"/>
                <a:gd name="T27" fmla="*/ 672 h 910"/>
                <a:gd name="T28" fmla="*/ 240 w 1046"/>
                <a:gd name="T29" fmla="*/ 738 h 910"/>
                <a:gd name="T30" fmla="*/ 283 w 1046"/>
                <a:gd name="T31" fmla="*/ 803 h 910"/>
                <a:gd name="T32" fmla="*/ 322 w 1046"/>
                <a:gd name="T33" fmla="*/ 859 h 910"/>
                <a:gd name="T34" fmla="*/ 352 w 1046"/>
                <a:gd name="T35" fmla="*/ 898 h 910"/>
                <a:gd name="T36" fmla="*/ 350 w 1046"/>
                <a:gd name="T37" fmla="*/ 898 h 910"/>
                <a:gd name="T38" fmla="*/ 317 w 1046"/>
                <a:gd name="T39" fmla="*/ 859 h 910"/>
                <a:gd name="T40" fmla="*/ 269 w 1046"/>
                <a:gd name="T41" fmla="*/ 799 h 910"/>
                <a:gd name="T42" fmla="*/ 212 w 1046"/>
                <a:gd name="T43" fmla="*/ 726 h 910"/>
                <a:gd name="T44" fmla="*/ 154 w 1046"/>
                <a:gd name="T45" fmla="*/ 645 h 910"/>
                <a:gd name="T46" fmla="*/ 96 w 1046"/>
                <a:gd name="T47" fmla="*/ 561 h 910"/>
                <a:gd name="T48" fmla="*/ 49 w 1046"/>
                <a:gd name="T49" fmla="*/ 479 h 910"/>
                <a:gd name="T50" fmla="*/ 16 w 1046"/>
                <a:gd name="T51" fmla="*/ 407 h 910"/>
                <a:gd name="T52" fmla="*/ 0 w 1046"/>
                <a:gd name="T53" fmla="*/ 327 h 910"/>
                <a:gd name="T54" fmla="*/ 18 w 1046"/>
                <a:gd name="T55" fmla="*/ 264 h 910"/>
                <a:gd name="T56" fmla="*/ 63 w 1046"/>
                <a:gd name="T57" fmla="*/ 213 h 910"/>
                <a:gd name="T58" fmla="*/ 140 w 1046"/>
                <a:gd name="T59" fmla="*/ 175 h 910"/>
                <a:gd name="T60" fmla="*/ 243 w 1046"/>
                <a:gd name="T61" fmla="*/ 141 h 910"/>
                <a:gd name="T62" fmla="*/ 371 w 1046"/>
                <a:gd name="T63" fmla="*/ 113 h 910"/>
                <a:gd name="T64" fmla="*/ 525 w 1046"/>
                <a:gd name="T65" fmla="*/ 84 h 910"/>
                <a:gd name="T66" fmla="*/ 677 w 1046"/>
                <a:gd name="T67" fmla="*/ 57 h 910"/>
                <a:gd name="T68" fmla="*/ 815 w 1046"/>
                <a:gd name="T69" fmla="*/ 35 h 910"/>
                <a:gd name="T70" fmla="*/ 932 w 1046"/>
                <a:gd name="T71" fmla="*/ 17 h 910"/>
                <a:gd name="T72" fmla="*/ 1018 w 1046"/>
                <a:gd name="T73" fmla="*/ 5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6" h="910">
                  <a:moveTo>
                    <a:pt x="1046" y="0"/>
                  </a:moveTo>
                  <a:lnTo>
                    <a:pt x="1019" y="5"/>
                  </a:lnTo>
                  <a:lnTo>
                    <a:pt x="985" y="10"/>
                  </a:lnTo>
                  <a:lnTo>
                    <a:pt x="941" y="17"/>
                  </a:lnTo>
                  <a:lnTo>
                    <a:pt x="888" y="26"/>
                  </a:lnTo>
                  <a:lnTo>
                    <a:pt x="827" y="36"/>
                  </a:lnTo>
                  <a:lnTo>
                    <a:pt x="761" y="49"/>
                  </a:lnTo>
                  <a:lnTo>
                    <a:pt x="687" y="64"/>
                  </a:lnTo>
                  <a:lnTo>
                    <a:pt x="607" y="82"/>
                  </a:lnTo>
                  <a:lnTo>
                    <a:pt x="523" y="103"/>
                  </a:lnTo>
                  <a:lnTo>
                    <a:pt x="474" y="115"/>
                  </a:lnTo>
                  <a:lnTo>
                    <a:pt x="425" y="131"/>
                  </a:lnTo>
                  <a:lnTo>
                    <a:pt x="380" y="147"/>
                  </a:lnTo>
                  <a:lnTo>
                    <a:pt x="336" y="166"/>
                  </a:lnTo>
                  <a:lnTo>
                    <a:pt x="294" y="187"/>
                  </a:lnTo>
                  <a:lnTo>
                    <a:pt x="255" y="210"/>
                  </a:lnTo>
                  <a:lnTo>
                    <a:pt x="222" y="236"/>
                  </a:lnTo>
                  <a:lnTo>
                    <a:pt x="192" y="264"/>
                  </a:lnTo>
                  <a:lnTo>
                    <a:pt x="166" y="295"/>
                  </a:lnTo>
                  <a:lnTo>
                    <a:pt x="147" y="330"/>
                  </a:lnTo>
                  <a:lnTo>
                    <a:pt x="133" y="367"/>
                  </a:lnTo>
                  <a:lnTo>
                    <a:pt x="126" y="409"/>
                  </a:lnTo>
                  <a:lnTo>
                    <a:pt x="124" y="453"/>
                  </a:lnTo>
                  <a:lnTo>
                    <a:pt x="131" y="502"/>
                  </a:lnTo>
                  <a:lnTo>
                    <a:pt x="147" y="554"/>
                  </a:lnTo>
                  <a:lnTo>
                    <a:pt x="170" y="612"/>
                  </a:lnTo>
                  <a:lnTo>
                    <a:pt x="184" y="640"/>
                  </a:lnTo>
                  <a:lnTo>
                    <a:pt x="201" y="672"/>
                  </a:lnTo>
                  <a:lnTo>
                    <a:pt x="219" y="705"/>
                  </a:lnTo>
                  <a:lnTo>
                    <a:pt x="240" y="738"/>
                  </a:lnTo>
                  <a:lnTo>
                    <a:pt x="262" y="771"/>
                  </a:lnTo>
                  <a:lnTo>
                    <a:pt x="283" y="803"/>
                  </a:lnTo>
                  <a:lnTo>
                    <a:pt x="303" y="833"/>
                  </a:lnTo>
                  <a:lnTo>
                    <a:pt x="322" y="859"/>
                  </a:lnTo>
                  <a:lnTo>
                    <a:pt x="338" y="880"/>
                  </a:lnTo>
                  <a:lnTo>
                    <a:pt x="352" y="898"/>
                  </a:lnTo>
                  <a:lnTo>
                    <a:pt x="360" y="910"/>
                  </a:lnTo>
                  <a:lnTo>
                    <a:pt x="350" y="898"/>
                  </a:lnTo>
                  <a:lnTo>
                    <a:pt x="336" y="882"/>
                  </a:lnTo>
                  <a:lnTo>
                    <a:pt x="317" y="859"/>
                  </a:lnTo>
                  <a:lnTo>
                    <a:pt x="294" y="831"/>
                  </a:lnTo>
                  <a:lnTo>
                    <a:pt x="269" y="799"/>
                  </a:lnTo>
                  <a:lnTo>
                    <a:pt x="241" y="764"/>
                  </a:lnTo>
                  <a:lnTo>
                    <a:pt x="212" y="726"/>
                  </a:lnTo>
                  <a:lnTo>
                    <a:pt x="184" y="686"/>
                  </a:lnTo>
                  <a:lnTo>
                    <a:pt x="154" y="645"/>
                  </a:lnTo>
                  <a:lnTo>
                    <a:pt x="124" y="603"/>
                  </a:lnTo>
                  <a:lnTo>
                    <a:pt x="96" y="561"/>
                  </a:lnTo>
                  <a:lnTo>
                    <a:pt x="72" y="519"/>
                  </a:lnTo>
                  <a:lnTo>
                    <a:pt x="49" y="479"/>
                  </a:lnTo>
                  <a:lnTo>
                    <a:pt x="30" y="442"/>
                  </a:lnTo>
                  <a:lnTo>
                    <a:pt x="16" y="407"/>
                  </a:lnTo>
                  <a:lnTo>
                    <a:pt x="4" y="364"/>
                  </a:lnTo>
                  <a:lnTo>
                    <a:pt x="0" y="327"/>
                  </a:lnTo>
                  <a:lnTo>
                    <a:pt x="5" y="294"/>
                  </a:lnTo>
                  <a:lnTo>
                    <a:pt x="18" y="264"/>
                  </a:lnTo>
                  <a:lnTo>
                    <a:pt x="37" y="238"/>
                  </a:lnTo>
                  <a:lnTo>
                    <a:pt x="63" y="213"/>
                  </a:lnTo>
                  <a:lnTo>
                    <a:pt x="98" y="192"/>
                  </a:lnTo>
                  <a:lnTo>
                    <a:pt x="140" y="175"/>
                  </a:lnTo>
                  <a:lnTo>
                    <a:pt x="187" y="157"/>
                  </a:lnTo>
                  <a:lnTo>
                    <a:pt x="243" y="141"/>
                  </a:lnTo>
                  <a:lnTo>
                    <a:pt x="304" y="127"/>
                  </a:lnTo>
                  <a:lnTo>
                    <a:pt x="371" y="113"/>
                  </a:lnTo>
                  <a:lnTo>
                    <a:pt x="448" y="98"/>
                  </a:lnTo>
                  <a:lnTo>
                    <a:pt x="525" y="84"/>
                  </a:lnTo>
                  <a:lnTo>
                    <a:pt x="602" y="70"/>
                  </a:lnTo>
                  <a:lnTo>
                    <a:pt x="677" y="57"/>
                  </a:lnTo>
                  <a:lnTo>
                    <a:pt x="748" y="45"/>
                  </a:lnTo>
                  <a:lnTo>
                    <a:pt x="815" y="35"/>
                  </a:lnTo>
                  <a:lnTo>
                    <a:pt x="878" y="24"/>
                  </a:lnTo>
                  <a:lnTo>
                    <a:pt x="932" y="17"/>
                  </a:lnTo>
                  <a:lnTo>
                    <a:pt x="979" y="10"/>
                  </a:lnTo>
                  <a:lnTo>
                    <a:pt x="1018" y="5"/>
                  </a:lnTo>
                  <a:lnTo>
                    <a:pt x="1046" y="0"/>
                  </a:lnTo>
                  <a:close/>
                </a:path>
              </a:pathLst>
            </a:custGeom>
            <a:solidFill>
              <a:srgbClr val="86C2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2"/>
            <p:cNvSpPr>
              <a:spLocks/>
            </p:cNvSpPr>
            <p:nvPr userDrawn="1"/>
          </p:nvSpPr>
          <p:spPr bwMode="auto">
            <a:xfrm>
              <a:off x="3786188" y="2143125"/>
              <a:ext cx="1474788" cy="1449388"/>
            </a:xfrm>
            <a:custGeom>
              <a:avLst/>
              <a:gdLst>
                <a:gd name="T0" fmla="*/ 927 w 929"/>
                <a:gd name="T1" fmla="*/ 29 h 913"/>
                <a:gd name="T2" fmla="*/ 929 w 929"/>
                <a:gd name="T3" fmla="*/ 84 h 913"/>
                <a:gd name="T4" fmla="*/ 923 w 929"/>
                <a:gd name="T5" fmla="*/ 124 h 913"/>
                <a:gd name="T6" fmla="*/ 922 w 929"/>
                <a:gd name="T7" fmla="*/ 138 h 913"/>
                <a:gd name="T8" fmla="*/ 840 w 929"/>
                <a:gd name="T9" fmla="*/ 152 h 913"/>
                <a:gd name="T10" fmla="*/ 735 w 929"/>
                <a:gd name="T11" fmla="*/ 173 h 913"/>
                <a:gd name="T12" fmla="*/ 616 w 929"/>
                <a:gd name="T13" fmla="*/ 199 h 913"/>
                <a:gd name="T14" fmla="*/ 493 w 929"/>
                <a:gd name="T15" fmla="*/ 231 h 913"/>
                <a:gd name="T16" fmla="*/ 380 w 929"/>
                <a:gd name="T17" fmla="*/ 267 h 913"/>
                <a:gd name="T18" fmla="*/ 282 w 929"/>
                <a:gd name="T19" fmla="*/ 309 h 913"/>
                <a:gd name="T20" fmla="*/ 214 w 929"/>
                <a:gd name="T21" fmla="*/ 353 h 913"/>
                <a:gd name="T22" fmla="*/ 182 w 929"/>
                <a:gd name="T23" fmla="*/ 402 h 913"/>
                <a:gd name="T24" fmla="*/ 186 w 929"/>
                <a:gd name="T25" fmla="*/ 456 h 913"/>
                <a:gd name="T26" fmla="*/ 207 w 929"/>
                <a:gd name="T27" fmla="*/ 523 h 913"/>
                <a:gd name="T28" fmla="*/ 238 w 929"/>
                <a:gd name="T29" fmla="*/ 593 h 913"/>
                <a:gd name="T30" fmla="*/ 277 w 929"/>
                <a:gd name="T31" fmla="*/ 659 h 913"/>
                <a:gd name="T32" fmla="*/ 313 w 929"/>
                <a:gd name="T33" fmla="*/ 719 h 913"/>
                <a:gd name="T34" fmla="*/ 345 w 929"/>
                <a:gd name="T35" fmla="*/ 763 h 913"/>
                <a:gd name="T36" fmla="*/ 360 w 929"/>
                <a:gd name="T37" fmla="*/ 787 h 913"/>
                <a:gd name="T38" fmla="*/ 360 w 929"/>
                <a:gd name="T39" fmla="*/ 794 h 913"/>
                <a:gd name="T40" fmla="*/ 322 w 929"/>
                <a:gd name="T41" fmla="*/ 843 h 913"/>
                <a:gd name="T42" fmla="*/ 284 w 929"/>
                <a:gd name="T43" fmla="*/ 882 h 913"/>
                <a:gd name="T44" fmla="*/ 252 w 929"/>
                <a:gd name="T45" fmla="*/ 906 h 913"/>
                <a:gd name="T46" fmla="*/ 240 w 929"/>
                <a:gd name="T47" fmla="*/ 913 h 913"/>
                <a:gd name="T48" fmla="*/ 238 w 929"/>
                <a:gd name="T49" fmla="*/ 912 h 913"/>
                <a:gd name="T50" fmla="*/ 228 w 929"/>
                <a:gd name="T51" fmla="*/ 898 h 913"/>
                <a:gd name="T52" fmla="*/ 198 w 929"/>
                <a:gd name="T53" fmla="*/ 859 h 913"/>
                <a:gd name="T54" fmla="*/ 159 w 929"/>
                <a:gd name="T55" fmla="*/ 803 h 913"/>
                <a:gd name="T56" fmla="*/ 116 w 929"/>
                <a:gd name="T57" fmla="*/ 738 h 913"/>
                <a:gd name="T58" fmla="*/ 77 w 929"/>
                <a:gd name="T59" fmla="*/ 672 h 913"/>
                <a:gd name="T60" fmla="*/ 46 w 929"/>
                <a:gd name="T61" fmla="*/ 612 h 913"/>
                <a:gd name="T62" fmla="*/ 7 w 929"/>
                <a:gd name="T63" fmla="*/ 502 h 913"/>
                <a:gd name="T64" fmla="*/ 2 w 929"/>
                <a:gd name="T65" fmla="*/ 409 h 913"/>
                <a:gd name="T66" fmla="*/ 23 w 929"/>
                <a:gd name="T67" fmla="*/ 330 h 913"/>
                <a:gd name="T68" fmla="*/ 68 w 929"/>
                <a:gd name="T69" fmla="*/ 264 h 913"/>
                <a:gd name="T70" fmla="*/ 131 w 929"/>
                <a:gd name="T71" fmla="*/ 210 h 913"/>
                <a:gd name="T72" fmla="*/ 212 w 929"/>
                <a:gd name="T73" fmla="*/ 166 h 913"/>
                <a:gd name="T74" fmla="*/ 301 w 929"/>
                <a:gd name="T75" fmla="*/ 131 h 913"/>
                <a:gd name="T76" fmla="*/ 399 w 929"/>
                <a:gd name="T77" fmla="*/ 103 h 913"/>
                <a:gd name="T78" fmla="*/ 563 w 929"/>
                <a:gd name="T79" fmla="*/ 64 h 913"/>
                <a:gd name="T80" fmla="*/ 703 w 929"/>
                <a:gd name="T81" fmla="*/ 36 h 913"/>
                <a:gd name="T82" fmla="*/ 817 w 929"/>
                <a:gd name="T83" fmla="*/ 17 h 913"/>
                <a:gd name="T84" fmla="*/ 895 w 929"/>
                <a:gd name="T85" fmla="*/ 5 h 913"/>
                <a:gd name="T86" fmla="*/ 922 w 929"/>
                <a:gd name="T87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29" h="913">
                  <a:moveTo>
                    <a:pt x="922" y="0"/>
                  </a:moveTo>
                  <a:lnTo>
                    <a:pt x="927" y="29"/>
                  </a:lnTo>
                  <a:lnTo>
                    <a:pt x="929" y="57"/>
                  </a:lnTo>
                  <a:lnTo>
                    <a:pt x="929" y="84"/>
                  </a:lnTo>
                  <a:lnTo>
                    <a:pt x="927" y="106"/>
                  </a:lnTo>
                  <a:lnTo>
                    <a:pt x="923" y="124"/>
                  </a:lnTo>
                  <a:lnTo>
                    <a:pt x="922" y="134"/>
                  </a:lnTo>
                  <a:lnTo>
                    <a:pt x="922" y="138"/>
                  </a:lnTo>
                  <a:lnTo>
                    <a:pt x="885" y="145"/>
                  </a:lnTo>
                  <a:lnTo>
                    <a:pt x="840" y="152"/>
                  </a:lnTo>
                  <a:lnTo>
                    <a:pt x="789" y="162"/>
                  </a:lnTo>
                  <a:lnTo>
                    <a:pt x="735" y="173"/>
                  </a:lnTo>
                  <a:lnTo>
                    <a:pt x="677" y="185"/>
                  </a:lnTo>
                  <a:lnTo>
                    <a:pt x="616" y="199"/>
                  </a:lnTo>
                  <a:lnTo>
                    <a:pt x="555" y="215"/>
                  </a:lnTo>
                  <a:lnTo>
                    <a:pt x="493" y="231"/>
                  </a:lnTo>
                  <a:lnTo>
                    <a:pt x="436" y="248"/>
                  </a:lnTo>
                  <a:lnTo>
                    <a:pt x="380" y="267"/>
                  </a:lnTo>
                  <a:lnTo>
                    <a:pt x="327" y="288"/>
                  </a:lnTo>
                  <a:lnTo>
                    <a:pt x="282" y="309"/>
                  </a:lnTo>
                  <a:lnTo>
                    <a:pt x="243" y="330"/>
                  </a:lnTo>
                  <a:lnTo>
                    <a:pt x="214" y="353"/>
                  </a:lnTo>
                  <a:lnTo>
                    <a:pt x="193" y="378"/>
                  </a:lnTo>
                  <a:lnTo>
                    <a:pt x="182" y="402"/>
                  </a:lnTo>
                  <a:lnTo>
                    <a:pt x="180" y="428"/>
                  </a:lnTo>
                  <a:lnTo>
                    <a:pt x="186" y="456"/>
                  </a:lnTo>
                  <a:lnTo>
                    <a:pt x="193" y="490"/>
                  </a:lnTo>
                  <a:lnTo>
                    <a:pt x="207" y="523"/>
                  </a:lnTo>
                  <a:lnTo>
                    <a:pt x="221" y="558"/>
                  </a:lnTo>
                  <a:lnTo>
                    <a:pt x="238" y="593"/>
                  </a:lnTo>
                  <a:lnTo>
                    <a:pt x="257" y="626"/>
                  </a:lnTo>
                  <a:lnTo>
                    <a:pt x="277" y="659"/>
                  </a:lnTo>
                  <a:lnTo>
                    <a:pt x="296" y="691"/>
                  </a:lnTo>
                  <a:lnTo>
                    <a:pt x="313" y="719"/>
                  </a:lnTo>
                  <a:lnTo>
                    <a:pt x="331" y="743"/>
                  </a:lnTo>
                  <a:lnTo>
                    <a:pt x="345" y="763"/>
                  </a:lnTo>
                  <a:lnTo>
                    <a:pt x="355" y="778"/>
                  </a:lnTo>
                  <a:lnTo>
                    <a:pt x="360" y="787"/>
                  </a:lnTo>
                  <a:lnTo>
                    <a:pt x="362" y="789"/>
                  </a:lnTo>
                  <a:lnTo>
                    <a:pt x="360" y="794"/>
                  </a:lnTo>
                  <a:lnTo>
                    <a:pt x="341" y="821"/>
                  </a:lnTo>
                  <a:lnTo>
                    <a:pt x="322" y="843"/>
                  </a:lnTo>
                  <a:lnTo>
                    <a:pt x="303" y="864"/>
                  </a:lnTo>
                  <a:lnTo>
                    <a:pt x="284" y="882"/>
                  </a:lnTo>
                  <a:lnTo>
                    <a:pt x="266" y="896"/>
                  </a:lnTo>
                  <a:lnTo>
                    <a:pt x="252" y="906"/>
                  </a:lnTo>
                  <a:lnTo>
                    <a:pt x="243" y="912"/>
                  </a:lnTo>
                  <a:lnTo>
                    <a:pt x="240" y="913"/>
                  </a:lnTo>
                  <a:lnTo>
                    <a:pt x="238" y="913"/>
                  </a:lnTo>
                  <a:lnTo>
                    <a:pt x="238" y="912"/>
                  </a:lnTo>
                  <a:lnTo>
                    <a:pt x="236" y="910"/>
                  </a:lnTo>
                  <a:lnTo>
                    <a:pt x="228" y="898"/>
                  </a:lnTo>
                  <a:lnTo>
                    <a:pt x="214" y="880"/>
                  </a:lnTo>
                  <a:lnTo>
                    <a:pt x="198" y="859"/>
                  </a:lnTo>
                  <a:lnTo>
                    <a:pt x="179" y="833"/>
                  </a:lnTo>
                  <a:lnTo>
                    <a:pt x="159" y="803"/>
                  </a:lnTo>
                  <a:lnTo>
                    <a:pt x="138" y="771"/>
                  </a:lnTo>
                  <a:lnTo>
                    <a:pt x="116" y="738"/>
                  </a:lnTo>
                  <a:lnTo>
                    <a:pt x="95" y="705"/>
                  </a:lnTo>
                  <a:lnTo>
                    <a:pt x="77" y="672"/>
                  </a:lnTo>
                  <a:lnTo>
                    <a:pt x="60" y="640"/>
                  </a:lnTo>
                  <a:lnTo>
                    <a:pt x="46" y="612"/>
                  </a:lnTo>
                  <a:lnTo>
                    <a:pt x="23" y="554"/>
                  </a:lnTo>
                  <a:lnTo>
                    <a:pt x="7" y="502"/>
                  </a:lnTo>
                  <a:lnTo>
                    <a:pt x="0" y="453"/>
                  </a:lnTo>
                  <a:lnTo>
                    <a:pt x="2" y="409"/>
                  </a:lnTo>
                  <a:lnTo>
                    <a:pt x="9" y="367"/>
                  </a:lnTo>
                  <a:lnTo>
                    <a:pt x="23" y="330"/>
                  </a:lnTo>
                  <a:lnTo>
                    <a:pt x="42" y="295"/>
                  </a:lnTo>
                  <a:lnTo>
                    <a:pt x="68" y="264"/>
                  </a:lnTo>
                  <a:lnTo>
                    <a:pt x="98" y="236"/>
                  </a:lnTo>
                  <a:lnTo>
                    <a:pt x="131" y="210"/>
                  </a:lnTo>
                  <a:lnTo>
                    <a:pt x="170" y="187"/>
                  </a:lnTo>
                  <a:lnTo>
                    <a:pt x="212" y="166"/>
                  </a:lnTo>
                  <a:lnTo>
                    <a:pt x="256" y="147"/>
                  </a:lnTo>
                  <a:lnTo>
                    <a:pt x="301" y="131"/>
                  </a:lnTo>
                  <a:lnTo>
                    <a:pt x="350" y="115"/>
                  </a:lnTo>
                  <a:lnTo>
                    <a:pt x="399" y="103"/>
                  </a:lnTo>
                  <a:lnTo>
                    <a:pt x="483" y="82"/>
                  </a:lnTo>
                  <a:lnTo>
                    <a:pt x="563" y="64"/>
                  </a:lnTo>
                  <a:lnTo>
                    <a:pt x="637" y="49"/>
                  </a:lnTo>
                  <a:lnTo>
                    <a:pt x="703" y="36"/>
                  </a:lnTo>
                  <a:lnTo>
                    <a:pt x="764" y="26"/>
                  </a:lnTo>
                  <a:lnTo>
                    <a:pt x="817" y="17"/>
                  </a:lnTo>
                  <a:lnTo>
                    <a:pt x="861" y="10"/>
                  </a:lnTo>
                  <a:lnTo>
                    <a:pt x="895" y="5"/>
                  </a:lnTo>
                  <a:lnTo>
                    <a:pt x="922" y="0"/>
                  </a:lnTo>
                  <a:lnTo>
                    <a:pt x="92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3"/>
            <p:cNvSpPr>
              <a:spLocks/>
            </p:cNvSpPr>
            <p:nvPr userDrawn="1"/>
          </p:nvSpPr>
          <p:spPr bwMode="auto">
            <a:xfrm>
              <a:off x="2128838" y="1058863"/>
              <a:ext cx="1546225" cy="974725"/>
            </a:xfrm>
            <a:custGeom>
              <a:avLst/>
              <a:gdLst>
                <a:gd name="T0" fmla="*/ 974 w 974"/>
                <a:gd name="T1" fmla="*/ 0 h 614"/>
                <a:gd name="T2" fmla="*/ 948 w 974"/>
                <a:gd name="T3" fmla="*/ 79 h 614"/>
                <a:gd name="T4" fmla="*/ 920 w 974"/>
                <a:gd name="T5" fmla="*/ 159 h 614"/>
                <a:gd name="T6" fmla="*/ 894 w 974"/>
                <a:gd name="T7" fmla="*/ 231 h 614"/>
                <a:gd name="T8" fmla="*/ 866 w 974"/>
                <a:gd name="T9" fmla="*/ 301 h 614"/>
                <a:gd name="T10" fmla="*/ 838 w 974"/>
                <a:gd name="T11" fmla="*/ 368 h 614"/>
                <a:gd name="T12" fmla="*/ 806 w 974"/>
                <a:gd name="T13" fmla="*/ 431 h 614"/>
                <a:gd name="T14" fmla="*/ 785 w 974"/>
                <a:gd name="T15" fmla="*/ 469 h 614"/>
                <a:gd name="T16" fmla="*/ 761 w 974"/>
                <a:gd name="T17" fmla="*/ 506 h 614"/>
                <a:gd name="T18" fmla="*/ 733 w 974"/>
                <a:gd name="T19" fmla="*/ 539 h 614"/>
                <a:gd name="T20" fmla="*/ 703 w 974"/>
                <a:gd name="T21" fmla="*/ 569 h 614"/>
                <a:gd name="T22" fmla="*/ 668 w 974"/>
                <a:gd name="T23" fmla="*/ 593 h 614"/>
                <a:gd name="T24" fmla="*/ 633 w 974"/>
                <a:gd name="T25" fmla="*/ 607 h 614"/>
                <a:gd name="T26" fmla="*/ 598 w 974"/>
                <a:gd name="T27" fmla="*/ 614 h 614"/>
                <a:gd name="T28" fmla="*/ 562 w 974"/>
                <a:gd name="T29" fmla="*/ 613 h 614"/>
                <a:gd name="T30" fmla="*/ 527 w 974"/>
                <a:gd name="T31" fmla="*/ 604 h 614"/>
                <a:gd name="T32" fmla="*/ 490 w 974"/>
                <a:gd name="T33" fmla="*/ 588 h 614"/>
                <a:gd name="T34" fmla="*/ 445 w 974"/>
                <a:gd name="T35" fmla="*/ 560 h 614"/>
                <a:gd name="T36" fmla="*/ 403 w 974"/>
                <a:gd name="T37" fmla="*/ 529 h 614"/>
                <a:gd name="T38" fmla="*/ 345 w 974"/>
                <a:gd name="T39" fmla="*/ 478 h 614"/>
                <a:gd name="T40" fmla="*/ 285 w 974"/>
                <a:gd name="T41" fmla="*/ 418 h 614"/>
                <a:gd name="T42" fmla="*/ 226 w 974"/>
                <a:gd name="T43" fmla="*/ 354 h 614"/>
                <a:gd name="T44" fmla="*/ 177 w 974"/>
                <a:gd name="T45" fmla="*/ 299 h 614"/>
                <a:gd name="T46" fmla="*/ 133 w 974"/>
                <a:gd name="T47" fmla="*/ 249 h 614"/>
                <a:gd name="T48" fmla="*/ 95 w 974"/>
                <a:gd name="T49" fmla="*/ 201 h 614"/>
                <a:gd name="T50" fmla="*/ 60 w 974"/>
                <a:gd name="T51" fmla="*/ 159 h 614"/>
                <a:gd name="T52" fmla="*/ 28 w 974"/>
                <a:gd name="T53" fmla="*/ 123 h 614"/>
                <a:gd name="T54" fmla="*/ 4 w 974"/>
                <a:gd name="T55" fmla="*/ 91 h 614"/>
                <a:gd name="T56" fmla="*/ 2 w 974"/>
                <a:gd name="T57" fmla="*/ 89 h 614"/>
                <a:gd name="T58" fmla="*/ 0 w 974"/>
                <a:gd name="T59" fmla="*/ 88 h 614"/>
                <a:gd name="T60" fmla="*/ 0 w 974"/>
                <a:gd name="T61" fmla="*/ 86 h 614"/>
                <a:gd name="T62" fmla="*/ 2 w 974"/>
                <a:gd name="T63" fmla="*/ 88 h 614"/>
                <a:gd name="T64" fmla="*/ 4 w 974"/>
                <a:gd name="T65" fmla="*/ 91 h 614"/>
                <a:gd name="T66" fmla="*/ 63 w 974"/>
                <a:gd name="T67" fmla="*/ 161 h 614"/>
                <a:gd name="T68" fmla="*/ 126 w 974"/>
                <a:gd name="T69" fmla="*/ 231 h 614"/>
                <a:gd name="T70" fmla="*/ 188 w 974"/>
                <a:gd name="T71" fmla="*/ 296 h 614"/>
                <a:gd name="T72" fmla="*/ 242 w 974"/>
                <a:gd name="T73" fmla="*/ 347 h 614"/>
                <a:gd name="T74" fmla="*/ 296 w 974"/>
                <a:gd name="T75" fmla="*/ 394 h 614"/>
                <a:gd name="T76" fmla="*/ 350 w 974"/>
                <a:gd name="T77" fmla="*/ 434 h 614"/>
                <a:gd name="T78" fmla="*/ 394 w 974"/>
                <a:gd name="T79" fmla="*/ 459 h 614"/>
                <a:gd name="T80" fmla="*/ 436 w 974"/>
                <a:gd name="T81" fmla="*/ 480 h 614"/>
                <a:gd name="T82" fmla="*/ 481 w 974"/>
                <a:gd name="T83" fmla="*/ 494 h 614"/>
                <a:gd name="T84" fmla="*/ 530 w 974"/>
                <a:gd name="T85" fmla="*/ 499 h 614"/>
                <a:gd name="T86" fmla="*/ 549 w 974"/>
                <a:gd name="T87" fmla="*/ 497 h 614"/>
                <a:gd name="T88" fmla="*/ 602 w 974"/>
                <a:gd name="T89" fmla="*/ 488 h 614"/>
                <a:gd name="T90" fmla="*/ 651 w 974"/>
                <a:gd name="T91" fmla="*/ 469 h 614"/>
                <a:gd name="T92" fmla="*/ 695 w 974"/>
                <a:gd name="T93" fmla="*/ 445 h 614"/>
                <a:gd name="T94" fmla="*/ 733 w 974"/>
                <a:gd name="T95" fmla="*/ 415 h 614"/>
                <a:gd name="T96" fmla="*/ 775 w 974"/>
                <a:gd name="T97" fmla="*/ 375 h 614"/>
                <a:gd name="T98" fmla="*/ 812 w 974"/>
                <a:gd name="T99" fmla="*/ 329 h 614"/>
                <a:gd name="T100" fmla="*/ 843 w 974"/>
                <a:gd name="T101" fmla="*/ 280 h 614"/>
                <a:gd name="T102" fmla="*/ 873 w 974"/>
                <a:gd name="T103" fmla="*/ 229 h 614"/>
                <a:gd name="T104" fmla="*/ 899 w 974"/>
                <a:gd name="T105" fmla="*/ 177 h 614"/>
                <a:gd name="T106" fmla="*/ 939 w 974"/>
                <a:gd name="T107" fmla="*/ 88 h 614"/>
                <a:gd name="T108" fmla="*/ 974 w 974"/>
                <a:gd name="T109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4" h="614">
                  <a:moveTo>
                    <a:pt x="974" y="0"/>
                  </a:moveTo>
                  <a:lnTo>
                    <a:pt x="948" y="79"/>
                  </a:lnTo>
                  <a:lnTo>
                    <a:pt x="920" y="159"/>
                  </a:lnTo>
                  <a:lnTo>
                    <a:pt x="894" y="231"/>
                  </a:lnTo>
                  <a:lnTo>
                    <a:pt x="866" y="301"/>
                  </a:lnTo>
                  <a:lnTo>
                    <a:pt x="838" y="368"/>
                  </a:lnTo>
                  <a:lnTo>
                    <a:pt x="806" y="431"/>
                  </a:lnTo>
                  <a:lnTo>
                    <a:pt x="785" y="469"/>
                  </a:lnTo>
                  <a:lnTo>
                    <a:pt x="761" y="506"/>
                  </a:lnTo>
                  <a:lnTo>
                    <a:pt x="733" y="539"/>
                  </a:lnTo>
                  <a:lnTo>
                    <a:pt x="703" y="569"/>
                  </a:lnTo>
                  <a:lnTo>
                    <a:pt x="668" y="593"/>
                  </a:lnTo>
                  <a:lnTo>
                    <a:pt x="633" y="607"/>
                  </a:lnTo>
                  <a:lnTo>
                    <a:pt x="598" y="614"/>
                  </a:lnTo>
                  <a:lnTo>
                    <a:pt x="562" y="613"/>
                  </a:lnTo>
                  <a:lnTo>
                    <a:pt x="527" y="604"/>
                  </a:lnTo>
                  <a:lnTo>
                    <a:pt x="490" y="588"/>
                  </a:lnTo>
                  <a:lnTo>
                    <a:pt x="445" y="560"/>
                  </a:lnTo>
                  <a:lnTo>
                    <a:pt x="403" y="529"/>
                  </a:lnTo>
                  <a:lnTo>
                    <a:pt x="345" y="478"/>
                  </a:lnTo>
                  <a:lnTo>
                    <a:pt x="285" y="418"/>
                  </a:lnTo>
                  <a:lnTo>
                    <a:pt x="226" y="354"/>
                  </a:lnTo>
                  <a:lnTo>
                    <a:pt x="177" y="299"/>
                  </a:lnTo>
                  <a:lnTo>
                    <a:pt x="133" y="249"/>
                  </a:lnTo>
                  <a:lnTo>
                    <a:pt x="95" y="201"/>
                  </a:lnTo>
                  <a:lnTo>
                    <a:pt x="60" y="159"/>
                  </a:lnTo>
                  <a:lnTo>
                    <a:pt x="28" y="123"/>
                  </a:lnTo>
                  <a:lnTo>
                    <a:pt x="4" y="91"/>
                  </a:lnTo>
                  <a:lnTo>
                    <a:pt x="2" y="89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4" y="91"/>
                  </a:lnTo>
                  <a:lnTo>
                    <a:pt x="63" y="161"/>
                  </a:lnTo>
                  <a:lnTo>
                    <a:pt x="126" y="231"/>
                  </a:lnTo>
                  <a:lnTo>
                    <a:pt x="188" y="296"/>
                  </a:lnTo>
                  <a:lnTo>
                    <a:pt x="242" y="347"/>
                  </a:lnTo>
                  <a:lnTo>
                    <a:pt x="296" y="394"/>
                  </a:lnTo>
                  <a:lnTo>
                    <a:pt x="350" y="434"/>
                  </a:lnTo>
                  <a:lnTo>
                    <a:pt x="394" y="459"/>
                  </a:lnTo>
                  <a:lnTo>
                    <a:pt x="436" y="480"/>
                  </a:lnTo>
                  <a:lnTo>
                    <a:pt x="481" y="494"/>
                  </a:lnTo>
                  <a:lnTo>
                    <a:pt x="530" y="499"/>
                  </a:lnTo>
                  <a:lnTo>
                    <a:pt x="549" y="497"/>
                  </a:lnTo>
                  <a:lnTo>
                    <a:pt x="602" y="488"/>
                  </a:lnTo>
                  <a:lnTo>
                    <a:pt x="651" y="469"/>
                  </a:lnTo>
                  <a:lnTo>
                    <a:pt x="695" y="445"/>
                  </a:lnTo>
                  <a:lnTo>
                    <a:pt x="733" y="415"/>
                  </a:lnTo>
                  <a:lnTo>
                    <a:pt x="775" y="375"/>
                  </a:lnTo>
                  <a:lnTo>
                    <a:pt x="812" y="329"/>
                  </a:lnTo>
                  <a:lnTo>
                    <a:pt x="843" y="280"/>
                  </a:lnTo>
                  <a:lnTo>
                    <a:pt x="873" y="229"/>
                  </a:lnTo>
                  <a:lnTo>
                    <a:pt x="899" y="177"/>
                  </a:lnTo>
                  <a:lnTo>
                    <a:pt x="939" y="88"/>
                  </a:lnTo>
                  <a:lnTo>
                    <a:pt x="974" y="0"/>
                  </a:lnTo>
                  <a:close/>
                </a:path>
              </a:pathLst>
            </a:custGeom>
            <a:solidFill>
              <a:srgbClr val="EEED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4"/>
            <p:cNvSpPr>
              <a:spLocks/>
            </p:cNvSpPr>
            <p:nvPr userDrawn="1"/>
          </p:nvSpPr>
          <p:spPr bwMode="auto">
            <a:xfrm>
              <a:off x="2079626" y="1006475"/>
              <a:ext cx="1609725" cy="844550"/>
            </a:xfrm>
            <a:custGeom>
              <a:avLst/>
              <a:gdLst>
                <a:gd name="T0" fmla="*/ 885 w 1014"/>
                <a:gd name="T1" fmla="*/ 0 h 532"/>
                <a:gd name="T2" fmla="*/ 941 w 1014"/>
                <a:gd name="T3" fmla="*/ 0 h 532"/>
                <a:gd name="T4" fmla="*/ 1002 w 1014"/>
                <a:gd name="T5" fmla="*/ 9 h 532"/>
                <a:gd name="T6" fmla="*/ 1014 w 1014"/>
                <a:gd name="T7" fmla="*/ 10 h 532"/>
                <a:gd name="T8" fmla="*/ 1012 w 1014"/>
                <a:gd name="T9" fmla="*/ 16 h 532"/>
                <a:gd name="T10" fmla="*/ 1011 w 1014"/>
                <a:gd name="T11" fmla="*/ 21 h 532"/>
                <a:gd name="T12" fmla="*/ 1009 w 1014"/>
                <a:gd name="T13" fmla="*/ 24 h 532"/>
                <a:gd name="T14" fmla="*/ 1007 w 1014"/>
                <a:gd name="T15" fmla="*/ 28 h 532"/>
                <a:gd name="T16" fmla="*/ 1005 w 1014"/>
                <a:gd name="T17" fmla="*/ 33 h 532"/>
                <a:gd name="T18" fmla="*/ 970 w 1014"/>
                <a:gd name="T19" fmla="*/ 121 h 532"/>
                <a:gd name="T20" fmla="*/ 930 w 1014"/>
                <a:gd name="T21" fmla="*/ 210 h 532"/>
                <a:gd name="T22" fmla="*/ 904 w 1014"/>
                <a:gd name="T23" fmla="*/ 262 h 532"/>
                <a:gd name="T24" fmla="*/ 874 w 1014"/>
                <a:gd name="T25" fmla="*/ 313 h 532"/>
                <a:gd name="T26" fmla="*/ 843 w 1014"/>
                <a:gd name="T27" fmla="*/ 362 h 532"/>
                <a:gd name="T28" fmla="*/ 806 w 1014"/>
                <a:gd name="T29" fmla="*/ 408 h 532"/>
                <a:gd name="T30" fmla="*/ 764 w 1014"/>
                <a:gd name="T31" fmla="*/ 448 h 532"/>
                <a:gd name="T32" fmla="*/ 726 w 1014"/>
                <a:gd name="T33" fmla="*/ 478 h 532"/>
                <a:gd name="T34" fmla="*/ 682 w 1014"/>
                <a:gd name="T35" fmla="*/ 502 h 532"/>
                <a:gd name="T36" fmla="*/ 633 w 1014"/>
                <a:gd name="T37" fmla="*/ 521 h 532"/>
                <a:gd name="T38" fmla="*/ 580 w 1014"/>
                <a:gd name="T39" fmla="*/ 530 h 532"/>
                <a:gd name="T40" fmla="*/ 561 w 1014"/>
                <a:gd name="T41" fmla="*/ 532 h 532"/>
                <a:gd name="T42" fmla="*/ 512 w 1014"/>
                <a:gd name="T43" fmla="*/ 527 h 532"/>
                <a:gd name="T44" fmla="*/ 467 w 1014"/>
                <a:gd name="T45" fmla="*/ 513 h 532"/>
                <a:gd name="T46" fmla="*/ 425 w 1014"/>
                <a:gd name="T47" fmla="*/ 492 h 532"/>
                <a:gd name="T48" fmla="*/ 381 w 1014"/>
                <a:gd name="T49" fmla="*/ 467 h 532"/>
                <a:gd name="T50" fmla="*/ 327 w 1014"/>
                <a:gd name="T51" fmla="*/ 427 h 532"/>
                <a:gd name="T52" fmla="*/ 273 w 1014"/>
                <a:gd name="T53" fmla="*/ 380 h 532"/>
                <a:gd name="T54" fmla="*/ 219 w 1014"/>
                <a:gd name="T55" fmla="*/ 329 h 532"/>
                <a:gd name="T56" fmla="*/ 145 w 1014"/>
                <a:gd name="T57" fmla="*/ 252 h 532"/>
                <a:gd name="T58" fmla="*/ 73 w 1014"/>
                <a:gd name="T59" fmla="*/ 170 h 532"/>
                <a:gd name="T60" fmla="*/ 3 w 1014"/>
                <a:gd name="T61" fmla="*/ 86 h 532"/>
                <a:gd name="T62" fmla="*/ 2 w 1014"/>
                <a:gd name="T63" fmla="*/ 84 h 532"/>
                <a:gd name="T64" fmla="*/ 2 w 1014"/>
                <a:gd name="T65" fmla="*/ 82 h 532"/>
                <a:gd name="T66" fmla="*/ 0 w 1014"/>
                <a:gd name="T67" fmla="*/ 82 h 532"/>
                <a:gd name="T68" fmla="*/ 0 w 1014"/>
                <a:gd name="T69" fmla="*/ 80 h 532"/>
                <a:gd name="T70" fmla="*/ 28 w 1014"/>
                <a:gd name="T71" fmla="*/ 63 h 532"/>
                <a:gd name="T72" fmla="*/ 59 w 1014"/>
                <a:gd name="T73" fmla="*/ 47 h 532"/>
                <a:gd name="T74" fmla="*/ 94 w 1014"/>
                <a:gd name="T75" fmla="*/ 33 h 532"/>
                <a:gd name="T76" fmla="*/ 126 w 1014"/>
                <a:gd name="T77" fmla="*/ 23 h 532"/>
                <a:gd name="T78" fmla="*/ 170 w 1014"/>
                <a:gd name="T79" fmla="*/ 75 h 532"/>
                <a:gd name="T80" fmla="*/ 212 w 1014"/>
                <a:gd name="T81" fmla="*/ 124 h 532"/>
                <a:gd name="T82" fmla="*/ 253 w 1014"/>
                <a:gd name="T83" fmla="*/ 171 h 532"/>
                <a:gd name="T84" fmla="*/ 295 w 1014"/>
                <a:gd name="T85" fmla="*/ 217 h 532"/>
                <a:gd name="T86" fmla="*/ 337 w 1014"/>
                <a:gd name="T87" fmla="*/ 259 h 532"/>
                <a:gd name="T88" fmla="*/ 378 w 1014"/>
                <a:gd name="T89" fmla="*/ 296 h 532"/>
                <a:gd name="T90" fmla="*/ 418 w 1014"/>
                <a:gd name="T91" fmla="*/ 327 h 532"/>
                <a:gd name="T92" fmla="*/ 455 w 1014"/>
                <a:gd name="T93" fmla="*/ 352 h 532"/>
                <a:gd name="T94" fmla="*/ 493 w 1014"/>
                <a:gd name="T95" fmla="*/ 369 h 532"/>
                <a:gd name="T96" fmla="*/ 528 w 1014"/>
                <a:gd name="T97" fmla="*/ 378 h 532"/>
                <a:gd name="T98" fmla="*/ 561 w 1014"/>
                <a:gd name="T99" fmla="*/ 378 h 532"/>
                <a:gd name="T100" fmla="*/ 594 w 1014"/>
                <a:gd name="T101" fmla="*/ 367 h 532"/>
                <a:gd name="T102" fmla="*/ 628 w 1014"/>
                <a:gd name="T103" fmla="*/ 348 h 532"/>
                <a:gd name="T104" fmla="*/ 657 w 1014"/>
                <a:gd name="T105" fmla="*/ 322 h 532"/>
                <a:gd name="T106" fmla="*/ 687 w 1014"/>
                <a:gd name="T107" fmla="*/ 290 h 532"/>
                <a:gd name="T108" fmla="*/ 713 w 1014"/>
                <a:gd name="T109" fmla="*/ 254 h 532"/>
                <a:gd name="T110" fmla="*/ 738 w 1014"/>
                <a:gd name="T111" fmla="*/ 213 h 532"/>
                <a:gd name="T112" fmla="*/ 761 w 1014"/>
                <a:gd name="T113" fmla="*/ 173 h 532"/>
                <a:gd name="T114" fmla="*/ 780 w 1014"/>
                <a:gd name="T115" fmla="*/ 133 h 532"/>
                <a:gd name="T116" fmla="*/ 797 w 1014"/>
                <a:gd name="T117" fmla="*/ 94 h 532"/>
                <a:gd name="T118" fmla="*/ 811 w 1014"/>
                <a:gd name="T119" fmla="*/ 59 h 532"/>
                <a:gd name="T120" fmla="*/ 823 w 1014"/>
                <a:gd name="T121" fmla="*/ 30 h 532"/>
                <a:gd name="T122" fmla="*/ 832 w 1014"/>
                <a:gd name="T123" fmla="*/ 7 h 532"/>
                <a:gd name="T124" fmla="*/ 885 w 1014"/>
                <a:gd name="T125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14" h="532">
                  <a:moveTo>
                    <a:pt x="885" y="0"/>
                  </a:moveTo>
                  <a:lnTo>
                    <a:pt x="941" y="0"/>
                  </a:lnTo>
                  <a:lnTo>
                    <a:pt x="1002" y="9"/>
                  </a:lnTo>
                  <a:lnTo>
                    <a:pt x="1014" y="10"/>
                  </a:lnTo>
                  <a:lnTo>
                    <a:pt x="1012" y="16"/>
                  </a:lnTo>
                  <a:lnTo>
                    <a:pt x="1011" y="21"/>
                  </a:lnTo>
                  <a:lnTo>
                    <a:pt x="1009" y="24"/>
                  </a:lnTo>
                  <a:lnTo>
                    <a:pt x="1007" y="28"/>
                  </a:lnTo>
                  <a:lnTo>
                    <a:pt x="1005" y="33"/>
                  </a:lnTo>
                  <a:lnTo>
                    <a:pt x="970" y="121"/>
                  </a:lnTo>
                  <a:lnTo>
                    <a:pt x="930" y="210"/>
                  </a:lnTo>
                  <a:lnTo>
                    <a:pt x="904" y="262"/>
                  </a:lnTo>
                  <a:lnTo>
                    <a:pt x="874" y="313"/>
                  </a:lnTo>
                  <a:lnTo>
                    <a:pt x="843" y="362"/>
                  </a:lnTo>
                  <a:lnTo>
                    <a:pt x="806" y="408"/>
                  </a:lnTo>
                  <a:lnTo>
                    <a:pt x="764" y="448"/>
                  </a:lnTo>
                  <a:lnTo>
                    <a:pt x="726" y="478"/>
                  </a:lnTo>
                  <a:lnTo>
                    <a:pt x="682" y="502"/>
                  </a:lnTo>
                  <a:lnTo>
                    <a:pt x="633" y="521"/>
                  </a:lnTo>
                  <a:lnTo>
                    <a:pt x="580" y="530"/>
                  </a:lnTo>
                  <a:lnTo>
                    <a:pt x="561" y="532"/>
                  </a:lnTo>
                  <a:lnTo>
                    <a:pt x="512" y="527"/>
                  </a:lnTo>
                  <a:lnTo>
                    <a:pt x="467" y="513"/>
                  </a:lnTo>
                  <a:lnTo>
                    <a:pt x="425" y="492"/>
                  </a:lnTo>
                  <a:lnTo>
                    <a:pt x="381" y="467"/>
                  </a:lnTo>
                  <a:lnTo>
                    <a:pt x="327" y="427"/>
                  </a:lnTo>
                  <a:lnTo>
                    <a:pt x="273" y="380"/>
                  </a:lnTo>
                  <a:lnTo>
                    <a:pt x="219" y="329"/>
                  </a:lnTo>
                  <a:lnTo>
                    <a:pt x="145" y="252"/>
                  </a:lnTo>
                  <a:lnTo>
                    <a:pt x="73" y="170"/>
                  </a:lnTo>
                  <a:lnTo>
                    <a:pt x="3" y="86"/>
                  </a:lnTo>
                  <a:lnTo>
                    <a:pt x="2" y="84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28" y="63"/>
                  </a:lnTo>
                  <a:lnTo>
                    <a:pt x="59" y="47"/>
                  </a:lnTo>
                  <a:lnTo>
                    <a:pt x="94" y="33"/>
                  </a:lnTo>
                  <a:lnTo>
                    <a:pt x="126" y="23"/>
                  </a:lnTo>
                  <a:lnTo>
                    <a:pt x="170" y="75"/>
                  </a:lnTo>
                  <a:lnTo>
                    <a:pt x="212" y="124"/>
                  </a:lnTo>
                  <a:lnTo>
                    <a:pt x="253" y="171"/>
                  </a:lnTo>
                  <a:lnTo>
                    <a:pt x="295" y="217"/>
                  </a:lnTo>
                  <a:lnTo>
                    <a:pt x="337" y="259"/>
                  </a:lnTo>
                  <a:lnTo>
                    <a:pt x="378" y="296"/>
                  </a:lnTo>
                  <a:lnTo>
                    <a:pt x="418" y="327"/>
                  </a:lnTo>
                  <a:lnTo>
                    <a:pt x="455" y="352"/>
                  </a:lnTo>
                  <a:lnTo>
                    <a:pt x="493" y="369"/>
                  </a:lnTo>
                  <a:lnTo>
                    <a:pt x="528" y="378"/>
                  </a:lnTo>
                  <a:lnTo>
                    <a:pt x="561" y="378"/>
                  </a:lnTo>
                  <a:lnTo>
                    <a:pt x="594" y="367"/>
                  </a:lnTo>
                  <a:lnTo>
                    <a:pt x="628" y="348"/>
                  </a:lnTo>
                  <a:lnTo>
                    <a:pt x="657" y="322"/>
                  </a:lnTo>
                  <a:lnTo>
                    <a:pt x="687" y="290"/>
                  </a:lnTo>
                  <a:lnTo>
                    <a:pt x="713" y="254"/>
                  </a:lnTo>
                  <a:lnTo>
                    <a:pt x="738" y="213"/>
                  </a:lnTo>
                  <a:lnTo>
                    <a:pt x="761" y="173"/>
                  </a:lnTo>
                  <a:lnTo>
                    <a:pt x="780" y="133"/>
                  </a:lnTo>
                  <a:lnTo>
                    <a:pt x="797" y="94"/>
                  </a:lnTo>
                  <a:lnTo>
                    <a:pt x="811" y="59"/>
                  </a:lnTo>
                  <a:lnTo>
                    <a:pt x="823" y="30"/>
                  </a:lnTo>
                  <a:lnTo>
                    <a:pt x="832" y="7"/>
                  </a:lnTo>
                  <a:lnTo>
                    <a:pt x="885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5"/>
            <p:cNvSpPr>
              <a:spLocks/>
            </p:cNvSpPr>
            <p:nvPr userDrawn="1"/>
          </p:nvSpPr>
          <p:spPr bwMode="auto">
            <a:xfrm>
              <a:off x="1520826" y="1173163"/>
              <a:ext cx="1233488" cy="1449388"/>
            </a:xfrm>
            <a:custGeom>
              <a:avLst/>
              <a:gdLst>
                <a:gd name="T0" fmla="*/ 320 w 777"/>
                <a:gd name="T1" fmla="*/ 0 h 913"/>
                <a:gd name="T2" fmla="*/ 320 w 777"/>
                <a:gd name="T3" fmla="*/ 0 h 913"/>
                <a:gd name="T4" fmla="*/ 373 w 777"/>
                <a:gd name="T5" fmla="*/ 58 h 913"/>
                <a:gd name="T6" fmla="*/ 481 w 777"/>
                <a:gd name="T7" fmla="*/ 182 h 913"/>
                <a:gd name="T8" fmla="*/ 584 w 777"/>
                <a:gd name="T9" fmla="*/ 311 h 913"/>
                <a:gd name="T10" fmla="*/ 632 w 777"/>
                <a:gd name="T11" fmla="*/ 373 h 913"/>
                <a:gd name="T12" fmla="*/ 675 w 777"/>
                <a:gd name="T13" fmla="*/ 436 h 913"/>
                <a:gd name="T14" fmla="*/ 705 w 777"/>
                <a:gd name="T15" fmla="*/ 483 h 913"/>
                <a:gd name="T16" fmla="*/ 733 w 777"/>
                <a:gd name="T17" fmla="*/ 530 h 913"/>
                <a:gd name="T18" fmla="*/ 758 w 777"/>
                <a:gd name="T19" fmla="*/ 579 h 913"/>
                <a:gd name="T20" fmla="*/ 768 w 777"/>
                <a:gd name="T21" fmla="*/ 609 h 913"/>
                <a:gd name="T22" fmla="*/ 775 w 777"/>
                <a:gd name="T23" fmla="*/ 640 h 913"/>
                <a:gd name="T24" fmla="*/ 777 w 777"/>
                <a:gd name="T25" fmla="*/ 674 h 913"/>
                <a:gd name="T26" fmla="*/ 768 w 777"/>
                <a:gd name="T27" fmla="*/ 707 h 913"/>
                <a:gd name="T28" fmla="*/ 751 w 777"/>
                <a:gd name="T29" fmla="*/ 735 h 913"/>
                <a:gd name="T30" fmla="*/ 726 w 777"/>
                <a:gd name="T31" fmla="*/ 759 h 913"/>
                <a:gd name="T32" fmla="*/ 695 w 777"/>
                <a:gd name="T33" fmla="*/ 782 h 913"/>
                <a:gd name="T34" fmla="*/ 660 w 777"/>
                <a:gd name="T35" fmla="*/ 800 h 913"/>
                <a:gd name="T36" fmla="*/ 621 w 777"/>
                <a:gd name="T37" fmla="*/ 812 h 913"/>
                <a:gd name="T38" fmla="*/ 583 w 777"/>
                <a:gd name="T39" fmla="*/ 822 h 913"/>
                <a:gd name="T40" fmla="*/ 544 w 777"/>
                <a:gd name="T41" fmla="*/ 833 h 913"/>
                <a:gd name="T42" fmla="*/ 432 w 777"/>
                <a:gd name="T43" fmla="*/ 856 h 913"/>
                <a:gd name="T44" fmla="*/ 319 w 777"/>
                <a:gd name="T45" fmla="*/ 873 h 913"/>
                <a:gd name="T46" fmla="*/ 160 w 777"/>
                <a:gd name="T47" fmla="*/ 894 h 913"/>
                <a:gd name="T48" fmla="*/ 0 w 777"/>
                <a:gd name="T49" fmla="*/ 913 h 913"/>
                <a:gd name="T50" fmla="*/ 69 w 777"/>
                <a:gd name="T51" fmla="*/ 903 h 913"/>
                <a:gd name="T52" fmla="*/ 137 w 777"/>
                <a:gd name="T53" fmla="*/ 892 h 913"/>
                <a:gd name="T54" fmla="*/ 203 w 777"/>
                <a:gd name="T55" fmla="*/ 880 h 913"/>
                <a:gd name="T56" fmla="*/ 270 w 777"/>
                <a:gd name="T57" fmla="*/ 868 h 913"/>
                <a:gd name="T58" fmla="*/ 333 w 777"/>
                <a:gd name="T59" fmla="*/ 854 h 913"/>
                <a:gd name="T60" fmla="*/ 394 w 777"/>
                <a:gd name="T61" fmla="*/ 836 h 913"/>
                <a:gd name="T62" fmla="*/ 450 w 777"/>
                <a:gd name="T63" fmla="*/ 817 h 913"/>
                <a:gd name="T64" fmla="*/ 501 w 777"/>
                <a:gd name="T65" fmla="*/ 794 h 913"/>
                <a:gd name="T66" fmla="*/ 548 w 777"/>
                <a:gd name="T67" fmla="*/ 768 h 913"/>
                <a:gd name="T68" fmla="*/ 586 w 777"/>
                <a:gd name="T69" fmla="*/ 738 h 913"/>
                <a:gd name="T70" fmla="*/ 614 w 777"/>
                <a:gd name="T71" fmla="*/ 709 h 913"/>
                <a:gd name="T72" fmla="*/ 633 w 777"/>
                <a:gd name="T73" fmla="*/ 677 h 913"/>
                <a:gd name="T74" fmla="*/ 646 w 777"/>
                <a:gd name="T75" fmla="*/ 646 h 913"/>
                <a:gd name="T76" fmla="*/ 653 w 777"/>
                <a:gd name="T77" fmla="*/ 612 h 913"/>
                <a:gd name="T78" fmla="*/ 654 w 777"/>
                <a:gd name="T79" fmla="*/ 579 h 913"/>
                <a:gd name="T80" fmla="*/ 651 w 777"/>
                <a:gd name="T81" fmla="*/ 546 h 913"/>
                <a:gd name="T82" fmla="*/ 646 w 777"/>
                <a:gd name="T83" fmla="*/ 516 h 913"/>
                <a:gd name="T84" fmla="*/ 637 w 777"/>
                <a:gd name="T85" fmla="*/ 486 h 913"/>
                <a:gd name="T86" fmla="*/ 628 w 777"/>
                <a:gd name="T87" fmla="*/ 462 h 913"/>
                <a:gd name="T88" fmla="*/ 619 w 777"/>
                <a:gd name="T89" fmla="*/ 439 h 913"/>
                <a:gd name="T90" fmla="*/ 612 w 777"/>
                <a:gd name="T91" fmla="*/ 422 h 913"/>
                <a:gd name="T92" fmla="*/ 571 w 777"/>
                <a:gd name="T93" fmla="*/ 341 h 913"/>
                <a:gd name="T94" fmla="*/ 529 w 777"/>
                <a:gd name="T95" fmla="*/ 268 h 913"/>
                <a:gd name="T96" fmla="*/ 483 w 777"/>
                <a:gd name="T97" fmla="*/ 201 h 913"/>
                <a:gd name="T98" fmla="*/ 438 w 777"/>
                <a:gd name="T99" fmla="*/ 140 h 913"/>
                <a:gd name="T100" fmla="*/ 396 w 777"/>
                <a:gd name="T101" fmla="*/ 86 h 913"/>
                <a:gd name="T102" fmla="*/ 355 w 777"/>
                <a:gd name="T103" fmla="*/ 38 h 913"/>
                <a:gd name="T104" fmla="*/ 320 w 777"/>
                <a:gd name="T105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7" h="913">
                  <a:moveTo>
                    <a:pt x="320" y="0"/>
                  </a:moveTo>
                  <a:lnTo>
                    <a:pt x="320" y="0"/>
                  </a:lnTo>
                  <a:lnTo>
                    <a:pt x="373" y="58"/>
                  </a:lnTo>
                  <a:lnTo>
                    <a:pt x="481" y="182"/>
                  </a:lnTo>
                  <a:lnTo>
                    <a:pt x="584" y="311"/>
                  </a:lnTo>
                  <a:lnTo>
                    <a:pt x="632" y="373"/>
                  </a:lnTo>
                  <a:lnTo>
                    <a:pt x="675" y="436"/>
                  </a:lnTo>
                  <a:lnTo>
                    <a:pt x="705" y="483"/>
                  </a:lnTo>
                  <a:lnTo>
                    <a:pt x="733" y="530"/>
                  </a:lnTo>
                  <a:lnTo>
                    <a:pt x="758" y="579"/>
                  </a:lnTo>
                  <a:lnTo>
                    <a:pt x="768" y="609"/>
                  </a:lnTo>
                  <a:lnTo>
                    <a:pt x="775" y="640"/>
                  </a:lnTo>
                  <a:lnTo>
                    <a:pt x="777" y="674"/>
                  </a:lnTo>
                  <a:lnTo>
                    <a:pt x="768" y="707"/>
                  </a:lnTo>
                  <a:lnTo>
                    <a:pt x="751" y="735"/>
                  </a:lnTo>
                  <a:lnTo>
                    <a:pt x="726" y="759"/>
                  </a:lnTo>
                  <a:lnTo>
                    <a:pt x="695" y="782"/>
                  </a:lnTo>
                  <a:lnTo>
                    <a:pt x="660" y="800"/>
                  </a:lnTo>
                  <a:lnTo>
                    <a:pt x="621" y="812"/>
                  </a:lnTo>
                  <a:lnTo>
                    <a:pt x="583" y="822"/>
                  </a:lnTo>
                  <a:lnTo>
                    <a:pt x="544" y="833"/>
                  </a:lnTo>
                  <a:lnTo>
                    <a:pt x="432" y="856"/>
                  </a:lnTo>
                  <a:lnTo>
                    <a:pt x="319" y="873"/>
                  </a:lnTo>
                  <a:lnTo>
                    <a:pt x="160" y="894"/>
                  </a:lnTo>
                  <a:lnTo>
                    <a:pt x="0" y="913"/>
                  </a:lnTo>
                  <a:lnTo>
                    <a:pt x="69" y="903"/>
                  </a:lnTo>
                  <a:lnTo>
                    <a:pt x="137" y="892"/>
                  </a:lnTo>
                  <a:lnTo>
                    <a:pt x="203" y="880"/>
                  </a:lnTo>
                  <a:lnTo>
                    <a:pt x="270" y="868"/>
                  </a:lnTo>
                  <a:lnTo>
                    <a:pt x="333" y="854"/>
                  </a:lnTo>
                  <a:lnTo>
                    <a:pt x="394" y="836"/>
                  </a:lnTo>
                  <a:lnTo>
                    <a:pt x="450" y="817"/>
                  </a:lnTo>
                  <a:lnTo>
                    <a:pt x="501" y="794"/>
                  </a:lnTo>
                  <a:lnTo>
                    <a:pt x="548" y="768"/>
                  </a:lnTo>
                  <a:lnTo>
                    <a:pt x="586" y="738"/>
                  </a:lnTo>
                  <a:lnTo>
                    <a:pt x="614" y="709"/>
                  </a:lnTo>
                  <a:lnTo>
                    <a:pt x="633" y="677"/>
                  </a:lnTo>
                  <a:lnTo>
                    <a:pt x="646" y="646"/>
                  </a:lnTo>
                  <a:lnTo>
                    <a:pt x="653" y="612"/>
                  </a:lnTo>
                  <a:lnTo>
                    <a:pt x="654" y="579"/>
                  </a:lnTo>
                  <a:lnTo>
                    <a:pt x="651" y="546"/>
                  </a:lnTo>
                  <a:lnTo>
                    <a:pt x="646" y="516"/>
                  </a:lnTo>
                  <a:lnTo>
                    <a:pt x="637" y="486"/>
                  </a:lnTo>
                  <a:lnTo>
                    <a:pt x="628" y="462"/>
                  </a:lnTo>
                  <a:lnTo>
                    <a:pt x="619" y="439"/>
                  </a:lnTo>
                  <a:lnTo>
                    <a:pt x="612" y="422"/>
                  </a:lnTo>
                  <a:lnTo>
                    <a:pt x="571" y="341"/>
                  </a:lnTo>
                  <a:lnTo>
                    <a:pt x="529" y="268"/>
                  </a:lnTo>
                  <a:lnTo>
                    <a:pt x="483" y="201"/>
                  </a:lnTo>
                  <a:lnTo>
                    <a:pt x="438" y="140"/>
                  </a:lnTo>
                  <a:lnTo>
                    <a:pt x="396" y="86"/>
                  </a:lnTo>
                  <a:lnTo>
                    <a:pt x="355" y="38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CCC8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6"/>
            <p:cNvSpPr>
              <a:spLocks/>
            </p:cNvSpPr>
            <p:nvPr userDrawn="1"/>
          </p:nvSpPr>
          <p:spPr bwMode="auto">
            <a:xfrm>
              <a:off x="1516063" y="1169988"/>
              <a:ext cx="1042988" cy="1452563"/>
            </a:xfrm>
            <a:custGeom>
              <a:avLst/>
              <a:gdLst>
                <a:gd name="T0" fmla="*/ 322 w 657"/>
                <a:gd name="T1" fmla="*/ 0 h 915"/>
                <a:gd name="T2" fmla="*/ 358 w 657"/>
                <a:gd name="T3" fmla="*/ 40 h 915"/>
                <a:gd name="T4" fmla="*/ 441 w 657"/>
                <a:gd name="T5" fmla="*/ 142 h 915"/>
                <a:gd name="T6" fmla="*/ 532 w 657"/>
                <a:gd name="T7" fmla="*/ 270 h 915"/>
                <a:gd name="T8" fmla="*/ 615 w 657"/>
                <a:gd name="T9" fmla="*/ 424 h 915"/>
                <a:gd name="T10" fmla="*/ 631 w 657"/>
                <a:gd name="T11" fmla="*/ 464 h 915"/>
                <a:gd name="T12" fmla="*/ 649 w 657"/>
                <a:gd name="T13" fmla="*/ 518 h 915"/>
                <a:gd name="T14" fmla="*/ 657 w 657"/>
                <a:gd name="T15" fmla="*/ 581 h 915"/>
                <a:gd name="T16" fmla="*/ 649 w 657"/>
                <a:gd name="T17" fmla="*/ 648 h 915"/>
                <a:gd name="T18" fmla="*/ 617 w 657"/>
                <a:gd name="T19" fmla="*/ 711 h 915"/>
                <a:gd name="T20" fmla="*/ 551 w 657"/>
                <a:gd name="T21" fmla="*/ 770 h 915"/>
                <a:gd name="T22" fmla="*/ 453 w 657"/>
                <a:gd name="T23" fmla="*/ 819 h 915"/>
                <a:gd name="T24" fmla="*/ 336 w 657"/>
                <a:gd name="T25" fmla="*/ 856 h 915"/>
                <a:gd name="T26" fmla="*/ 206 w 657"/>
                <a:gd name="T27" fmla="*/ 882 h 915"/>
                <a:gd name="T28" fmla="*/ 72 w 657"/>
                <a:gd name="T29" fmla="*/ 905 h 915"/>
                <a:gd name="T30" fmla="*/ 3 w 657"/>
                <a:gd name="T31" fmla="*/ 915 h 915"/>
                <a:gd name="T32" fmla="*/ 3 w 657"/>
                <a:gd name="T33" fmla="*/ 816 h 915"/>
                <a:gd name="T34" fmla="*/ 16 w 657"/>
                <a:gd name="T35" fmla="*/ 774 h 915"/>
                <a:gd name="T36" fmla="*/ 37 w 657"/>
                <a:gd name="T37" fmla="*/ 770 h 915"/>
                <a:gd name="T38" fmla="*/ 89 w 657"/>
                <a:gd name="T39" fmla="*/ 760 h 915"/>
                <a:gd name="T40" fmla="*/ 164 w 657"/>
                <a:gd name="T41" fmla="*/ 746 h 915"/>
                <a:gd name="T42" fmla="*/ 243 w 657"/>
                <a:gd name="T43" fmla="*/ 730 h 915"/>
                <a:gd name="T44" fmla="*/ 316 w 657"/>
                <a:gd name="T45" fmla="*/ 712 h 915"/>
                <a:gd name="T46" fmla="*/ 371 w 657"/>
                <a:gd name="T47" fmla="*/ 697 h 915"/>
                <a:gd name="T48" fmla="*/ 418 w 657"/>
                <a:gd name="T49" fmla="*/ 676 h 915"/>
                <a:gd name="T50" fmla="*/ 456 w 657"/>
                <a:gd name="T51" fmla="*/ 651 h 915"/>
                <a:gd name="T52" fmla="*/ 483 w 657"/>
                <a:gd name="T53" fmla="*/ 620 h 915"/>
                <a:gd name="T54" fmla="*/ 493 w 657"/>
                <a:gd name="T55" fmla="*/ 578 h 915"/>
                <a:gd name="T56" fmla="*/ 483 w 657"/>
                <a:gd name="T57" fmla="*/ 522 h 915"/>
                <a:gd name="T58" fmla="*/ 441 w 657"/>
                <a:gd name="T59" fmla="*/ 434 h 915"/>
                <a:gd name="T60" fmla="*/ 390 w 657"/>
                <a:gd name="T61" fmla="*/ 350 h 915"/>
                <a:gd name="T62" fmla="*/ 341 w 657"/>
                <a:gd name="T63" fmla="*/ 282 h 915"/>
                <a:gd name="T64" fmla="*/ 285 w 657"/>
                <a:gd name="T65" fmla="*/ 215 h 915"/>
                <a:gd name="T66" fmla="*/ 217 w 657"/>
                <a:gd name="T67" fmla="*/ 137 h 915"/>
                <a:gd name="T68" fmla="*/ 220 w 657"/>
                <a:gd name="T69" fmla="*/ 126 h 915"/>
                <a:gd name="T70" fmla="*/ 241 w 657"/>
                <a:gd name="T71" fmla="*/ 91 h 915"/>
                <a:gd name="T72" fmla="*/ 282 w 657"/>
                <a:gd name="T73" fmla="*/ 40 h 915"/>
                <a:gd name="T74" fmla="*/ 322 w 657"/>
                <a:gd name="T75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7" h="915">
                  <a:moveTo>
                    <a:pt x="322" y="0"/>
                  </a:moveTo>
                  <a:lnTo>
                    <a:pt x="322" y="0"/>
                  </a:lnTo>
                  <a:lnTo>
                    <a:pt x="323" y="2"/>
                  </a:lnTo>
                  <a:lnTo>
                    <a:pt x="358" y="40"/>
                  </a:lnTo>
                  <a:lnTo>
                    <a:pt x="399" y="88"/>
                  </a:lnTo>
                  <a:lnTo>
                    <a:pt x="441" y="142"/>
                  </a:lnTo>
                  <a:lnTo>
                    <a:pt x="486" y="203"/>
                  </a:lnTo>
                  <a:lnTo>
                    <a:pt x="532" y="270"/>
                  </a:lnTo>
                  <a:lnTo>
                    <a:pt x="574" y="343"/>
                  </a:lnTo>
                  <a:lnTo>
                    <a:pt x="615" y="424"/>
                  </a:lnTo>
                  <a:lnTo>
                    <a:pt x="622" y="441"/>
                  </a:lnTo>
                  <a:lnTo>
                    <a:pt x="631" y="464"/>
                  </a:lnTo>
                  <a:lnTo>
                    <a:pt x="640" y="488"/>
                  </a:lnTo>
                  <a:lnTo>
                    <a:pt x="649" y="518"/>
                  </a:lnTo>
                  <a:lnTo>
                    <a:pt x="654" y="548"/>
                  </a:lnTo>
                  <a:lnTo>
                    <a:pt x="657" y="581"/>
                  </a:lnTo>
                  <a:lnTo>
                    <a:pt x="656" y="614"/>
                  </a:lnTo>
                  <a:lnTo>
                    <a:pt x="649" y="648"/>
                  </a:lnTo>
                  <a:lnTo>
                    <a:pt x="636" y="679"/>
                  </a:lnTo>
                  <a:lnTo>
                    <a:pt x="617" y="711"/>
                  </a:lnTo>
                  <a:lnTo>
                    <a:pt x="589" y="740"/>
                  </a:lnTo>
                  <a:lnTo>
                    <a:pt x="551" y="770"/>
                  </a:lnTo>
                  <a:lnTo>
                    <a:pt x="504" y="796"/>
                  </a:lnTo>
                  <a:lnTo>
                    <a:pt x="453" y="819"/>
                  </a:lnTo>
                  <a:lnTo>
                    <a:pt x="397" y="838"/>
                  </a:lnTo>
                  <a:lnTo>
                    <a:pt x="336" y="856"/>
                  </a:lnTo>
                  <a:lnTo>
                    <a:pt x="273" y="870"/>
                  </a:lnTo>
                  <a:lnTo>
                    <a:pt x="206" y="882"/>
                  </a:lnTo>
                  <a:lnTo>
                    <a:pt x="140" y="894"/>
                  </a:lnTo>
                  <a:lnTo>
                    <a:pt x="72" y="905"/>
                  </a:lnTo>
                  <a:lnTo>
                    <a:pt x="3" y="915"/>
                  </a:lnTo>
                  <a:lnTo>
                    <a:pt x="3" y="915"/>
                  </a:lnTo>
                  <a:lnTo>
                    <a:pt x="0" y="863"/>
                  </a:lnTo>
                  <a:lnTo>
                    <a:pt x="3" y="816"/>
                  </a:lnTo>
                  <a:lnTo>
                    <a:pt x="14" y="774"/>
                  </a:lnTo>
                  <a:lnTo>
                    <a:pt x="16" y="774"/>
                  </a:lnTo>
                  <a:lnTo>
                    <a:pt x="21" y="772"/>
                  </a:lnTo>
                  <a:lnTo>
                    <a:pt x="37" y="770"/>
                  </a:lnTo>
                  <a:lnTo>
                    <a:pt x="59" y="765"/>
                  </a:lnTo>
                  <a:lnTo>
                    <a:pt x="89" y="760"/>
                  </a:lnTo>
                  <a:lnTo>
                    <a:pt x="126" y="754"/>
                  </a:lnTo>
                  <a:lnTo>
                    <a:pt x="164" y="746"/>
                  </a:lnTo>
                  <a:lnTo>
                    <a:pt x="205" y="739"/>
                  </a:lnTo>
                  <a:lnTo>
                    <a:pt x="243" y="730"/>
                  </a:lnTo>
                  <a:lnTo>
                    <a:pt x="282" y="721"/>
                  </a:lnTo>
                  <a:lnTo>
                    <a:pt x="316" y="712"/>
                  </a:lnTo>
                  <a:lnTo>
                    <a:pt x="346" y="705"/>
                  </a:lnTo>
                  <a:lnTo>
                    <a:pt x="371" y="697"/>
                  </a:lnTo>
                  <a:lnTo>
                    <a:pt x="395" y="686"/>
                  </a:lnTo>
                  <a:lnTo>
                    <a:pt x="418" y="676"/>
                  </a:lnTo>
                  <a:lnTo>
                    <a:pt x="437" y="665"/>
                  </a:lnTo>
                  <a:lnTo>
                    <a:pt x="456" y="651"/>
                  </a:lnTo>
                  <a:lnTo>
                    <a:pt x="472" y="637"/>
                  </a:lnTo>
                  <a:lnTo>
                    <a:pt x="483" y="620"/>
                  </a:lnTo>
                  <a:lnTo>
                    <a:pt x="491" y="600"/>
                  </a:lnTo>
                  <a:lnTo>
                    <a:pt x="493" y="578"/>
                  </a:lnTo>
                  <a:lnTo>
                    <a:pt x="491" y="551"/>
                  </a:lnTo>
                  <a:lnTo>
                    <a:pt x="483" y="522"/>
                  </a:lnTo>
                  <a:lnTo>
                    <a:pt x="467" y="487"/>
                  </a:lnTo>
                  <a:lnTo>
                    <a:pt x="441" y="434"/>
                  </a:lnTo>
                  <a:lnTo>
                    <a:pt x="414" y="389"/>
                  </a:lnTo>
                  <a:lnTo>
                    <a:pt x="390" y="350"/>
                  </a:lnTo>
                  <a:lnTo>
                    <a:pt x="365" y="313"/>
                  </a:lnTo>
                  <a:lnTo>
                    <a:pt x="341" y="282"/>
                  </a:lnTo>
                  <a:lnTo>
                    <a:pt x="315" y="249"/>
                  </a:lnTo>
                  <a:lnTo>
                    <a:pt x="285" y="215"/>
                  </a:lnTo>
                  <a:lnTo>
                    <a:pt x="254" y="179"/>
                  </a:lnTo>
                  <a:lnTo>
                    <a:pt x="217" y="137"/>
                  </a:lnTo>
                  <a:lnTo>
                    <a:pt x="217" y="137"/>
                  </a:lnTo>
                  <a:lnTo>
                    <a:pt x="220" y="126"/>
                  </a:lnTo>
                  <a:lnTo>
                    <a:pt x="229" y="110"/>
                  </a:lnTo>
                  <a:lnTo>
                    <a:pt x="241" y="91"/>
                  </a:lnTo>
                  <a:lnTo>
                    <a:pt x="257" y="68"/>
                  </a:lnTo>
                  <a:lnTo>
                    <a:pt x="282" y="40"/>
                  </a:lnTo>
                  <a:lnTo>
                    <a:pt x="302" y="18"/>
                  </a:lnTo>
                  <a:lnTo>
                    <a:pt x="322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7"/>
            <p:cNvSpPr>
              <a:spLocks/>
            </p:cNvSpPr>
            <p:nvPr userDrawn="1"/>
          </p:nvSpPr>
          <p:spPr bwMode="auto">
            <a:xfrm>
              <a:off x="1530351" y="2603500"/>
              <a:ext cx="1246188" cy="1592263"/>
            </a:xfrm>
            <a:custGeom>
              <a:avLst/>
              <a:gdLst>
                <a:gd name="T0" fmla="*/ 482 w 785"/>
                <a:gd name="T1" fmla="*/ 0 h 1003"/>
                <a:gd name="T2" fmla="*/ 551 w 785"/>
                <a:gd name="T3" fmla="*/ 2 h 1003"/>
                <a:gd name="T4" fmla="*/ 619 w 785"/>
                <a:gd name="T5" fmla="*/ 7 h 1003"/>
                <a:gd name="T6" fmla="*/ 654 w 785"/>
                <a:gd name="T7" fmla="*/ 16 h 1003"/>
                <a:gd name="T8" fmla="*/ 687 w 785"/>
                <a:gd name="T9" fmla="*/ 26 h 1003"/>
                <a:gd name="T10" fmla="*/ 718 w 785"/>
                <a:gd name="T11" fmla="*/ 42 h 1003"/>
                <a:gd name="T12" fmla="*/ 746 w 785"/>
                <a:gd name="T13" fmla="*/ 65 h 1003"/>
                <a:gd name="T14" fmla="*/ 766 w 785"/>
                <a:gd name="T15" fmla="*/ 91 h 1003"/>
                <a:gd name="T16" fmla="*/ 776 w 785"/>
                <a:gd name="T17" fmla="*/ 119 h 1003"/>
                <a:gd name="T18" fmla="*/ 783 w 785"/>
                <a:gd name="T19" fmla="*/ 151 h 1003"/>
                <a:gd name="T20" fmla="*/ 785 w 785"/>
                <a:gd name="T21" fmla="*/ 182 h 1003"/>
                <a:gd name="T22" fmla="*/ 780 w 785"/>
                <a:gd name="T23" fmla="*/ 235 h 1003"/>
                <a:gd name="T24" fmla="*/ 773 w 785"/>
                <a:gd name="T25" fmla="*/ 287 h 1003"/>
                <a:gd name="T26" fmla="*/ 760 w 785"/>
                <a:gd name="T27" fmla="*/ 338 h 1003"/>
                <a:gd name="T28" fmla="*/ 729 w 785"/>
                <a:gd name="T29" fmla="*/ 455 h 1003"/>
                <a:gd name="T30" fmla="*/ 692 w 785"/>
                <a:gd name="T31" fmla="*/ 571 h 1003"/>
                <a:gd name="T32" fmla="*/ 652 w 785"/>
                <a:gd name="T33" fmla="*/ 685 h 1003"/>
                <a:gd name="T34" fmla="*/ 592 w 785"/>
                <a:gd name="T35" fmla="*/ 844 h 1003"/>
                <a:gd name="T36" fmla="*/ 530 w 785"/>
                <a:gd name="T37" fmla="*/ 1003 h 1003"/>
                <a:gd name="T38" fmla="*/ 561 w 785"/>
                <a:gd name="T39" fmla="*/ 912 h 1003"/>
                <a:gd name="T40" fmla="*/ 592 w 785"/>
                <a:gd name="T41" fmla="*/ 812 h 1003"/>
                <a:gd name="T42" fmla="*/ 622 w 785"/>
                <a:gd name="T43" fmla="*/ 709 h 1003"/>
                <a:gd name="T44" fmla="*/ 643 w 785"/>
                <a:gd name="T45" fmla="*/ 623 h 1003"/>
                <a:gd name="T46" fmla="*/ 662 w 785"/>
                <a:gd name="T47" fmla="*/ 539 h 1003"/>
                <a:gd name="T48" fmla="*/ 676 w 785"/>
                <a:gd name="T49" fmla="*/ 459 h 1003"/>
                <a:gd name="T50" fmla="*/ 687 w 785"/>
                <a:gd name="T51" fmla="*/ 382 h 1003"/>
                <a:gd name="T52" fmla="*/ 690 w 785"/>
                <a:gd name="T53" fmla="*/ 312 h 1003"/>
                <a:gd name="T54" fmla="*/ 689 w 785"/>
                <a:gd name="T55" fmla="*/ 268 h 1003"/>
                <a:gd name="T56" fmla="*/ 682 w 785"/>
                <a:gd name="T57" fmla="*/ 228 h 1003"/>
                <a:gd name="T58" fmla="*/ 673 w 785"/>
                <a:gd name="T59" fmla="*/ 191 h 1003"/>
                <a:gd name="T60" fmla="*/ 657 w 785"/>
                <a:gd name="T61" fmla="*/ 156 h 1003"/>
                <a:gd name="T62" fmla="*/ 638 w 785"/>
                <a:gd name="T63" fmla="*/ 124 h 1003"/>
                <a:gd name="T64" fmla="*/ 612 w 785"/>
                <a:gd name="T65" fmla="*/ 96 h 1003"/>
                <a:gd name="T66" fmla="*/ 578 w 785"/>
                <a:gd name="T67" fmla="*/ 72 h 1003"/>
                <a:gd name="T68" fmla="*/ 538 w 785"/>
                <a:gd name="T69" fmla="*/ 53 h 1003"/>
                <a:gd name="T70" fmla="*/ 535 w 785"/>
                <a:gd name="T71" fmla="*/ 53 h 1003"/>
                <a:gd name="T72" fmla="*/ 530 w 785"/>
                <a:gd name="T73" fmla="*/ 49 h 1003"/>
                <a:gd name="T74" fmla="*/ 519 w 785"/>
                <a:gd name="T75" fmla="*/ 46 h 1003"/>
                <a:gd name="T76" fmla="*/ 481 w 785"/>
                <a:gd name="T77" fmla="*/ 35 h 1003"/>
                <a:gd name="T78" fmla="*/ 435 w 785"/>
                <a:gd name="T79" fmla="*/ 28 h 1003"/>
                <a:gd name="T80" fmla="*/ 383 w 785"/>
                <a:gd name="T81" fmla="*/ 23 h 1003"/>
                <a:gd name="T82" fmla="*/ 323 w 785"/>
                <a:gd name="T83" fmla="*/ 21 h 1003"/>
                <a:gd name="T84" fmla="*/ 271 w 785"/>
                <a:gd name="T85" fmla="*/ 23 h 1003"/>
                <a:gd name="T86" fmla="*/ 213 w 785"/>
                <a:gd name="T87" fmla="*/ 25 h 1003"/>
                <a:gd name="T88" fmla="*/ 150 w 785"/>
                <a:gd name="T89" fmla="*/ 30 h 1003"/>
                <a:gd name="T90" fmla="*/ 78 w 785"/>
                <a:gd name="T91" fmla="*/ 37 h 1003"/>
                <a:gd name="T92" fmla="*/ 0 w 785"/>
                <a:gd name="T93" fmla="*/ 46 h 1003"/>
                <a:gd name="T94" fmla="*/ 0 w 785"/>
                <a:gd name="T95" fmla="*/ 46 h 1003"/>
                <a:gd name="T96" fmla="*/ 161 w 785"/>
                <a:gd name="T97" fmla="*/ 25 h 1003"/>
                <a:gd name="T98" fmla="*/ 321 w 785"/>
                <a:gd name="T99" fmla="*/ 9 h 1003"/>
                <a:gd name="T100" fmla="*/ 482 w 785"/>
                <a:gd name="T101" fmla="*/ 0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5" h="1003">
                  <a:moveTo>
                    <a:pt x="482" y="0"/>
                  </a:moveTo>
                  <a:lnTo>
                    <a:pt x="551" y="2"/>
                  </a:lnTo>
                  <a:lnTo>
                    <a:pt x="619" y="7"/>
                  </a:lnTo>
                  <a:lnTo>
                    <a:pt x="654" y="16"/>
                  </a:lnTo>
                  <a:lnTo>
                    <a:pt x="687" y="26"/>
                  </a:lnTo>
                  <a:lnTo>
                    <a:pt x="718" y="42"/>
                  </a:lnTo>
                  <a:lnTo>
                    <a:pt x="746" y="65"/>
                  </a:lnTo>
                  <a:lnTo>
                    <a:pt x="766" y="91"/>
                  </a:lnTo>
                  <a:lnTo>
                    <a:pt x="776" y="119"/>
                  </a:lnTo>
                  <a:lnTo>
                    <a:pt x="783" y="151"/>
                  </a:lnTo>
                  <a:lnTo>
                    <a:pt x="785" y="182"/>
                  </a:lnTo>
                  <a:lnTo>
                    <a:pt x="780" y="235"/>
                  </a:lnTo>
                  <a:lnTo>
                    <a:pt x="773" y="287"/>
                  </a:lnTo>
                  <a:lnTo>
                    <a:pt x="760" y="338"/>
                  </a:lnTo>
                  <a:lnTo>
                    <a:pt x="729" y="455"/>
                  </a:lnTo>
                  <a:lnTo>
                    <a:pt x="692" y="571"/>
                  </a:lnTo>
                  <a:lnTo>
                    <a:pt x="652" y="685"/>
                  </a:lnTo>
                  <a:lnTo>
                    <a:pt x="592" y="844"/>
                  </a:lnTo>
                  <a:lnTo>
                    <a:pt x="530" y="1003"/>
                  </a:lnTo>
                  <a:lnTo>
                    <a:pt x="561" y="912"/>
                  </a:lnTo>
                  <a:lnTo>
                    <a:pt x="592" y="812"/>
                  </a:lnTo>
                  <a:lnTo>
                    <a:pt x="622" y="709"/>
                  </a:lnTo>
                  <a:lnTo>
                    <a:pt x="643" y="623"/>
                  </a:lnTo>
                  <a:lnTo>
                    <a:pt x="662" y="539"/>
                  </a:lnTo>
                  <a:lnTo>
                    <a:pt x="676" y="459"/>
                  </a:lnTo>
                  <a:lnTo>
                    <a:pt x="687" y="382"/>
                  </a:lnTo>
                  <a:lnTo>
                    <a:pt x="690" y="312"/>
                  </a:lnTo>
                  <a:lnTo>
                    <a:pt x="689" y="268"/>
                  </a:lnTo>
                  <a:lnTo>
                    <a:pt x="682" y="228"/>
                  </a:lnTo>
                  <a:lnTo>
                    <a:pt x="673" y="191"/>
                  </a:lnTo>
                  <a:lnTo>
                    <a:pt x="657" y="156"/>
                  </a:lnTo>
                  <a:lnTo>
                    <a:pt x="638" y="124"/>
                  </a:lnTo>
                  <a:lnTo>
                    <a:pt x="612" y="96"/>
                  </a:lnTo>
                  <a:lnTo>
                    <a:pt x="578" y="72"/>
                  </a:lnTo>
                  <a:lnTo>
                    <a:pt x="538" y="53"/>
                  </a:lnTo>
                  <a:lnTo>
                    <a:pt x="535" y="53"/>
                  </a:lnTo>
                  <a:lnTo>
                    <a:pt x="530" y="49"/>
                  </a:lnTo>
                  <a:lnTo>
                    <a:pt x="519" y="46"/>
                  </a:lnTo>
                  <a:lnTo>
                    <a:pt x="481" y="35"/>
                  </a:lnTo>
                  <a:lnTo>
                    <a:pt x="435" y="28"/>
                  </a:lnTo>
                  <a:lnTo>
                    <a:pt x="383" y="23"/>
                  </a:lnTo>
                  <a:lnTo>
                    <a:pt x="323" y="21"/>
                  </a:lnTo>
                  <a:lnTo>
                    <a:pt x="271" y="23"/>
                  </a:lnTo>
                  <a:lnTo>
                    <a:pt x="213" y="25"/>
                  </a:lnTo>
                  <a:lnTo>
                    <a:pt x="150" y="30"/>
                  </a:lnTo>
                  <a:lnTo>
                    <a:pt x="78" y="3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61" y="25"/>
                  </a:lnTo>
                  <a:lnTo>
                    <a:pt x="321" y="9"/>
                  </a:lnTo>
                  <a:lnTo>
                    <a:pt x="482" y="0"/>
                  </a:lnTo>
                  <a:close/>
                </a:path>
              </a:pathLst>
            </a:custGeom>
            <a:solidFill>
              <a:srgbClr val="F3997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8"/>
            <p:cNvSpPr>
              <a:spLocks/>
            </p:cNvSpPr>
            <p:nvPr userDrawn="1"/>
          </p:nvSpPr>
          <p:spPr bwMode="auto">
            <a:xfrm>
              <a:off x="1530351" y="2636838"/>
              <a:ext cx="1095375" cy="1558925"/>
            </a:xfrm>
            <a:custGeom>
              <a:avLst/>
              <a:gdLst>
                <a:gd name="T0" fmla="*/ 383 w 690"/>
                <a:gd name="T1" fmla="*/ 2 h 982"/>
                <a:gd name="T2" fmla="*/ 481 w 690"/>
                <a:gd name="T3" fmla="*/ 14 h 982"/>
                <a:gd name="T4" fmla="*/ 530 w 690"/>
                <a:gd name="T5" fmla="*/ 28 h 982"/>
                <a:gd name="T6" fmla="*/ 538 w 690"/>
                <a:gd name="T7" fmla="*/ 32 h 982"/>
                <a:gd name="T8" fmla="*/ 612 w 690"/>
                <a:gd name="T9" fmla="*/ 75 h 982"/>
                <a:gd name="T10" fmla="*/ 657 w 690"/>
                <a:gd name="T11" fmla="*/ 135 h 982"/>
                <a:gd name="T12" fmla="*/ 682 w 690"/>
                <a:gd name="T13" fmla="*/ 207 h 982"/>
                <a:gd name="T14" fmla="*/ 690 w 690"/>
                <a:gd name="T15" fmla="*/ 291 h 982"/>
                <a:gd name="T16" fmla="*/ 676 w 690"/>
                <a:gd name="T17" fmla="*/ 438 h 982"/>
                <a:gd name="T18" fmla="*/ 643 w 690"/>
                <a:gd name="T19" fmla="*/ 602 h 982"/>
                <a:gd name="T20" fmla="*/ 592 w 690"/>
                <a:gd name="T21" fmla="*/ 791 h 982"/>
                <a:gd name="T22" fmla="*/ 530 w 690"/>
                <a:gd name="T23" fmla="*/ 982 h 982"/>
                <a:gd name="T24" fmla="*/ 524 w 690"/>
                <a:gd name="T25" fmla="*/ 980 h 982"/>
                <a:gd name="T26" fmla="*/ 496 w 690"/>
                <a:gd name="T27" fmla="*/ 968 h 982"/>
                <a:gd name="T28" fmla="*/ 458 w 690"/>
                <a:gd name="T29" fmla="*/ 947 h 982"/>
                <a:gd name="T30" fmla="*/ 432 w 690"/>
                <a:gd name="T31" fmla="*/ 928 h 982"/>
                <a:gd name="T32" fmla="*/ 414 w 690"/>
                <a:gd name="T33" fmla="*/ 914 h 982"/>
                <a:gd name="T34" fmla="*/ 421 w 690"/>
                <a:gd name="T35" fmla="*/ 893 h 982"/>
                <a:gd name="T36" fmla="*/ 444 w 690"/>
                <a:gd name="T37" fmla="*/ 833 h 982"/>
                <a:gd name="T38" fmla="*/ 475 w 690"/>
                <a:gd name="T39" fmla="*/ 751 h 982"/>
                <a:gd name="T40" fmla="*/ 505 w 690"/>
                <a:gd name="T41" fmla="*/ 657 h 982"/>
                <a:gd name="T42" fmla="*/ 533 w 690"/>
                <a:gd name="T43" fmla="*/ 559 h 982"/>
                <a:gd name="T44" fmla="*/ 551 w 690"/>
                <a:gd name="T45" fmla="*/ 467 h 982"/>
                <a:gd name="T46" fmla="*/ 558 w 690"/>
                <a:gd name="T47" fmla="*/ 382 h 982"/>
                <a:gd name="T48" fmla="*/ 558 w 690"/>
                <a:gd name="T49" fmla="*/ 306 h 982"/>
                <a:gd name="T50" fmla="*/ 545 w 690"/>
                <a:gd name="T51" fmla="*/ 249 h 982"/>
                <a:gd name="T52" fmla="*/ 516 w 690"/>
                <a:gd name="T53" fmla="*/ 208 h 982"/>
                <a:gd name="T54" fmla="*/ 461 w 690"/>
                <a:gd name="T55" fmla="*/ 182 h 982"/>
                <a:gd name="T56" fmla="*/ 377 w 690"/>
                <a:gd name="T57" fmla="*/ 172 h 982"/>
                <a:gd name="T58" fmla="*/ 271 w 690"/>
                <a:gd name="T59" fmla="*/ 172 h 982"/>
                <a:gd name="T60" fmla="*/ 143 w 690"/>
                <a:gd name="T61" fmla="*/ 179 h 982"/>
                <a:gd name="T62" fmla="*/ 52 w 690"/>
                <a:gd name="T63" fmla="*/ 172 h 982"/>
                <a:gd name="T64" fmla="*/ 24 w 690"/>
                <a:gd name="T65" fmla="*/ 114 h 982"/>
                <a:gd name="T66" fmla="*/ 0 w 690"/>
                <a:gd name="T67" fmla="*/ 25 h 982"/>
                <a:gd name="T68" fmla="*/ 150 w 690"/>
                <a:gd name="T69" fmla="*/ 9 h 982"/>
                <a:gd name="T70" fmla="*/ 271 w 690"/>
                <a:gd name="T71" fmla="*/ 2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0" h="982">
                  <a:moveTo>
                    <a:pt x="323" y="0"/>
                  </a:moveTo>
                  <a:lnTo>
                    <a:pt x="383" y="2"/>
                  </a:lnTo>
                  <a:lnTo>
                    <a:pt x="435" y="7"/>
                  </a:lnTo>
                  <a:lnTo>
                    <a:pt x="481" y="14"/>
                  </a:lnTo>
                  <a:lnTo>
                    <a:pt x="519" y="25"/>
                  </a:lnTo>
                  <a:lnTo>
                    <a:pt x="530" y="28"/>
                  </a:lnTo>
                  <a:lnTo>
                    <a:pt x="535" y="32"/>
                  </a:lnTo>
                  <a:lnTo>
                    <a:pt x="538" y="32"/>
                  </a:lnTo>
                  <a:lnTo>
                    <a:pt x="578" y="51"/>
                  </a:lnTo>
                  <a:lnTo>
                    <a:pt x="612" y="75"/>
                  </a:lnTo>
                  <a:lnTo>
                    <a:pt x="638" y="103"/>
                  </a:lnTo>
                  <a:lnTo>
                    <a:pt x="657" y="135"/>
                  </a:lnTo>
                  <a:lnTo>
                    <a:pt x="673" y="170"/>
                  </a:lnTo>
                  <a:lnTo>
                    <a:pt x="682" y="207"/>
                  </a:lnTo>
                  <a:lnTo>
                    <a:pt x="689" y="247"/>
                  </a:lnTo>
                  <a:lnTo>
                    <a:pt x="690" y="291"/>
                  </a:lnTo>
                  <a:lnTo>
                    <a:pt x="687" y="361"/>
                  </a:lnTo>
                  <a:lnTo>
                    <a:pt x="676" y="438"/>
                  </a:lnTo>
                  <a:lnTo>
                    <a:pt x="662" y="518"/>
                  </a:lnTo>
                  <a:lnTo>
                    <a:pt x="643" y="602"/>
                  </a:lnTo>
                  <a:lnTo>
                    <a:pt x="622" y="688"/>
                  </a:lnTo>
                  <a:lnTo>
                    <a:pt x="592" y="791"/>
                  </a:lnTo>
                  <a:lnTo>
                    <a:pt x="561" y="891"/>
                  </a:lnTo>
                  <a:lnTo>
                    <a:pt x="530" y="982"/>
                  </a:lnTo>
                  <a:lnTo>
                    <a:pt x="530" y="982"/>
                  </a:lnTo>
                  <a:lnTo>
                    <a:pt x="524" y="980"/>
                  </a:lnTo>
                  <a:lnTo>
                    <a:pt x="512" y="975"/>
                  </a:lnTo>
                  <a:lnTo>
                    <a:pt x="496" y="968"/>
                  </a:lnTo>
                  <a:lnTo>
                    <a:pt x="477" y="958"/>
                  </a:lnTo>
                  <a:lnTo>
                    <a:pt x="458" y="947"/>
                  </a:lnTo>
                  <a:lnTo>
                    <a:pt x="444" y="937"/>
                  </a:lnTo>
                  <a:lnTo>
                    <a:pt x="432" y="928"/>
                  </a:lnTo>
                  <a:lnTo>
                    <a:pt x="421" y="919"/>
                  </a:lnTo>
                  <a:lnTo>
                    <a:pt x="414" y="914"/>
                  </a:lnTo>
                  <a:lnTo>
                    <a:pt x="412" y="912"/>
                  </a:lnTo>
                  <a:lnTo>
                    <a:pt x="421" y="893"/>
                  </a:lnTo>
                  <a:lnTo>
                    <a:pt x="432" y="867"/>
                  </a:lnTo>
                  <a:lnTo>
                    <a:pt x="444" y="833"/>
                  </a:lnTo>
                  <a:lnTo>
                    <a:pt x="460" y="795"/>
                  </a:lnTo>
                  <a:lnTo>
                    <a:pt x="475" y="751"/>
                  </a:lnTo>
                  <a:lnTo>
                    <a:pt x="489" y="706"/>
                  </a:lnTo>
                  <a:lnTo>
                    <a:pt x="505" y="657"/>
                  </a:lnTo>
                  <a:lnTo>
                    <a:pt x="519" y="608"/>
                  </a:lnTo>
                  <a:lnTo>
                    <a:pt x="533" y="559"/>
                  </a:lnTo>
                  <a:lnTo>
                    <a:pt x="544" y="511"/>
                  </a:lnTo>
                  <a:lnTo>
                    <a:pt x="551" y="467"/>
                  </a:lnTo>
                  <a:lnTo>
                    <a:pt x="556" y="425"/>
                  </a:lnTo>
                  <a:lnTo>
                    <a:pt x="558" y="382"/>
                  </a:lnTo>
                  <a:lnTo>
                    <a:pt x="559" y="341"/>
                  </a:lnTo>
                  <a:lnTo>
                    <a:pt x="558" y="306"/>
                  </a:lnTo>
                  <a:lnTo>
                    <a:pt x="554" y="275"/>
                  </a:lnTo>
                  <a:lnTo>
                    <a:pt x="545" y="249"/>
                  </a:lnTo>
                  <a:lnTo>
                    <a:pt x="533" y="228"/>
                  </a:lnTo>
                  <a:lnTo>
                    <a:pt x="516" y="208"/>
                  </a:lnTo>
                  <a:lnTo>
                    <a:pt x="493" y="194"/>
                  </a:lnTo>
                  <a:lnTo>
                    <a:pt x="461" y="182"/>
                  </a:lnTo>
                  <a:lnTo>
                    <a:pt x="425" y="175"/>
                  </a:lnTo>
                  <a:lnTo>
                    <a:pt x="377" y="172"/>
                  </a:lnTo>
                  <a:lnTo>
                    <a:pt x="323" y="170"/>
                  </a:lnTo>
                  <a:lnTo>
                    <a:pt x="271" y="172"/>
                  </a:lnTo>
                  <a:lnTo>
                    <a:pt x="211" y="173"/>
                  </a:lnTo>
                  <a:lnTo>
                    <a:pt x="143" y="179"/>
                  </a:lnTo>
                  <a:lnTo>
                    <a:pt x="64" y="187"/>
                  </a:lnTo>
                  <a:lnTo>
                    <a:pt x="52" y="172"/>
                  </a:lnTo>
                  <a:lnTo>
                    <a:pt x="38" y="147"/>
                  </a:lnTo>
                  <a:lnTo>
                    <a:pt x="24" y="114"/>
                  </a:lnTo>
                  <a:lnTo>
                    <a:pt x="10" y="74"/>
                  </a:lnTo>
                  <a:lnTo>
                    <a:pt x="0" y="25"/>
                  </a:lnTo>
                  <a:lnTo>
                    <a:pt x="78" y="16"/>
                  </a:lnTo>
                  <a:lnTo>
                    <a:pt x="150" y="9"/>
                  </a:lnTo>
                  <a:lnTo>
                    <a:pt x="213" y="4"/>
                  </a:lnTo>
                  <a:lnTo>
                    <a:pt x="271" y="2"/>
                  </a:lnTo>
                  <a:lnTo>
                    <a:pt x="323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9"/>
            <p:cNvSpPr>
              <a:spLocks/>
            </p:cNvSpPr>
            <p:nvPr userDrawn="1"/>
          </p:nvSpPr>
          <p:spPr bwMode="auto">
            <a:xfrm>
              <a:off x="5127626" y="5248275"/>
              <a:ext cx="290513" cy="325438"/>
            </a:xfrm>
            <a:custGeom>
              <a:avLst/>
              <a:gdLst>
                <a:gd name="T0" fmla="*/ 148 w 183"/>
                <a:gd name="T1" fmla="*/ 6 h 205"/>
                <a:gd name="T2" fmla="*/ 162 w 183"/>
                <a:gd name="T3" fmla="*/ 35 h 205"/>
                <a:gd name="T4" fmla="*/ 164 w 183"/>
                <a:gd name="T5" fmla="*/ 70 h 205"/>
                <a:gd name="T6" fmla="*/ 168 w 183"/>
                <a:gd name="T7" fmla="*/ 121 h 205"/>
                <a:gd name="T8" fmla="*/ 169 w 183"/>
                <a:gd name="T9" fmla="*/ 158 h 205"/>
                <a:gd name="T10" fmla="*/ 173 w 183"/>
                <a:gd name="T11" fmla="*/ 174 h 205"/>
                <a:gd name="T12" fmla="*/ 180 w 183"/>
                <a:gd name="T13" fmla="*/ 186 h 205"/>
                <a:gd name="T14" fmla="*/ 183 w 183"/>
                <a:gd name="T15" fmla="*/ 191 h 205"/>
                <a:gd name="T16" fmla="*/ 182 w 183"/>
                <a:gd name="T17" fmla="*/ 200 h 205"/>
                <a:gd name="T18" fmla="*/ 173 w 183"/>
                <a:gd name="T19" fmla="*/ 205 h 205"/>
                <a:gd name="T20" fmla="*/ 164 w 183"/>
                <a:gd name="T21" fmla="*/ 203 h 205"/>
                <a:gd name="T22" fmla="*/ 155 w 183"/>
                <a:gd name="T23" fmla="*/ 198 h 205"/>
                <a:gd name="T24" fmla="*/ 147 w 183"/>
                <a:gd name="T25" fmla="*/ 179 h 205"/>
                <a:gd name="T26" fmla="*/ 143 w 183"/>
                <a:gd name="T27" fmla="*/ 139 h 205"/>
                <a:gd name="T28" fmla="*/ 138 w 183"/>
                <a:gd name="T29" fmla="*/ 81 h 205"/>
                <a:gd name="T30" fmla="*/ 131 w 183"/>
                <a:gd name="T31" fmla="*/ 49 h 205"/>
                <a:gd name="T32" fmla="*/ 126 w 183"/>
                <a:gd name="T33" fmla="*/ 42 h 205"/>
                <a:gd name="T34" fmla="*/ 120 w 183"/>
                <a:gd name="T35" fmla="*/ 42 h 205"/>
                <a:gd name="T36" fmla="*/ 115 w 183"/>
                <a:gd name="T37" fmla="*/ 49 h 205"/>
                <a:gd name="T38" fmla="*/ 103 w 183"/>
                <a:gd name="T39" fmla="*/ 70 h 205"/>
                <a:gd name="T40" fmla="*/ 82 w 183"/>
                <a:gd name="T41" fmla="*/ 109 h 205"/>
                <a:gd name="T42" fmla="*/ 68 w 183"/>
                <a:gd name="T43" fmla="*/ 140 h 205"/>
                <a:gd name="T44" fmla="*/ 63 w 183"/>
                <a:gd name="T45" fmla="*/ 151 h 205"/>
                <a:gd name="T46" fmla="*/ 57 w 183"/>
                <a:gd name="T47" fmla="*/ 160 h 205"/>
                <a:gd name="T48" fmla="*/ 49 w 183"/>
                <a:gd name="T49" fmla="*/ 165 h 205"/>
                <a:gd name="T50" fmla="*/ 30 w 183"/>
                <a:gd name="T51" fmla="*/ 163 h 205"/>
                <a:gd name="T52" fmla="*/ 14 w 183"/>
                <a:gd name="T53" fmla="*/ 137 h 205"/>
                <a:gd name="T54" fmla="*/ 0 w 183"/>
                <a:gd name="T55" fmla="*/ 62 h 205"/>
                <a:gd name="T56" fmla="*/ 5 w 183"/>
                <a:gd name="T57" fmla="*/ 13 h 205"/>
                <a:gd name="T58" fmla="*/ 10 w 183"/>
                <a:gd name="T59" fmla="*/ 7 h 205"/>
                <a:gd name="T60" fmla="*/ 19 w 183"/>
                <a:gd name="T61" fmla="*/ 4 h 205"/>
                <a:gd name="T62" fmla="*/ 28 w 183"/>
                <a:gd name="T63" fmla="*/ 6 h 205"/>
                <a:gd name="T64" fmla="*/ 35 w 183"/>
                <a:gd name="T65" fmla="*/ 13 h 205"/>
                <a:gd name="T66" fmla="*/ 35 w 183"/>
                <a:gd name="T67" fmla="*/ 25 h 205"/>
                <a:gd name="T68" fmla="*/ 33 w 183"/>
                <a:gd name="T69" fmla="*/ 56 h 205"/>
                <a:gd name="T70" fmla="*/ 38 w 183"/>
                <a:gd name="T71" fmla="*/ 104 h 205"/>
                <a:gd name="T72" fmla="*/ 59 w 183"/>
                <a:gd name="T73" fmla="*/ 95 h 205"/>
                <a:gd name="T74" fmla="*/ 85 w 183"/>
                <a:gd name="T75" fmla="*/ 42 h 205"/>
                <a:gd name="T76" fmla="*/ 103 w 183"/>
                <a:gd name="T77" fmla="*/ 16 h 205"/>
                <a:gd name="T78" fmla="*/ 124 w 183"/>
                <a:gd name="T79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3" h="205">
                  <a:moveTo>
                    <a:pt x="134" y="0"/>
                  </a:moveTo>
                  <a:lnTo>
                    <a:pt x="148" y="6"/>
                  </a:lnTo>
                  <a:lnTo>
                    <a:pt x="157" y="18"/>
                  </a:lnTo>
                  <a:lnTo>
                    <a:pt x="162" y="35"/>
                  </a:lnTo>
                  <a:lnTo>
                    <a:pt x="162" y="48"/>
                  </a:lnTo>
                  <a:lnTo>
                    <a:pt x="164" y="70"/>
                  </a:lnTo>
                  <a:lnTo>
                    <a:pt x="166" y="95"/>
                  </a:lnTo>
                  <a:lnTo>
                    <a:pt x="168" y="121"/>
                  </a:lnTo>
                  <a:lnTo>
                    <a:pt x="169" y="144"/>
                  </a:lnTo>
                  <a:lnTo>
                    <a:pt x="169" y="158"/>
                  </a:lnTo>
                  <a:lnTo>
                    <a:pt x="171" y="167"/>
                  </a:lnTo>
                  <a:lnTo>
                    <a:pt x="173" y="174"/>
                  </a:lnTo>
                  <a:lnTo>
                    <a:pt x="176" y="181"/>
                  </a:lnTo>
                  <a:lnTo>
                    <a:pt x="180" y="186"/>
                  </a:lnTo>
                  <a:lnTo>
                    <a:pt x="182" y="188"/>
                  </a:lnTo>
                  <a:lnTo>
                    <a:pt x="183" y="191"/>
                  </a:lnTo>
                  <a:lnTo>
                    <a:pt x="183" y="196"/>
                  </a:lnTo>
                  <a:lnTo>
                    <a:pt x="182" y="200"/>
                  </a:lnTo>
                  <a:lnTo>
                    <a:pt x="178" y="203"/>
                  </a:lnTo>
                  <a:lnTo>
                    <a:pt x="173" y="205"/>
                  </a:lnTo>
                  <a:lnTo>
                    <a:pt x="169" y="205"/>
                  </a:lnTo>
                  <a:lnTo>
                    <a:pt x="164" y="203"/>
                  </a:lnTo>
                  <a:lnTo>
                    <a:pt x="159" y="202"/>
                  </a:lnTo>
                  <a:lnTo>
                    <a:pt x="155" y="198"/>
                  </a:lnTo>
                  <a:lnTo>
                    <a:pt x="152" y="195"/>
                  </a:lnTo>
                  <a:lnTo>
                    <a:pt x="147" y="179"/>
                  </a:lnTo>
                  <a:lnTo>
                    <a:pt x="143" y="161"/>
                  </a:lnTo>
                  <a:lnTo>
                    <a:pt x="143" y="139"/>
                  </a:lnTo>
                  <a:lnTo>
                    <a:pt x="141" y="111"/>
                  </a:lnTo>
                  <a:lnTo>
                    <a:pt x="138" y="81"/>
                  </a:lnTo>
                  <a:lnTo>
                    <a:pt x="133" y="55"/>
                  </a:lnTo>
                  <a:lnTo>
                    <a:pt x="131" y="49"/>
                  </a:lnTo>
                  <a:lnTo>
                    <a:pt x="129" y="46"/>
                  </a:lnTo>
                  <a:lnTo>
                    <a:pt x="126" y="42"/>
                  </a:lnTo>
                  <a:lnTo>
                    <a:pt x="124" y="42"/>
                  </a:lnTo>
                  <a:lnTo>
                    <a:pt x="120" y="42"/>
                  </a:lnTo>
                  <a:lnTo>
                    <a:pt x="119" y="46"/>
                  </a:lnTo>
                  <a:lnTo>
                    <a:pt x="115" y="49"/>
                  </a:lnTo>
                  <a:lnTo>
                    <a:pt x="112" y="55"/>
                  </a:lnTo>
                  <a:lnTo>
                    <a:pt x="103" y="70"/>
                  </a:lnTo>
                  <a:lnTo>
                    <a:pt x="92" y="88"/>
                  </a:lnTo>
                  <a:lnTo>
                    <a:pt x="82" y="109"/>
                  </a:lnTo>
                  <a:lnTo>
                    <a:pt x="75" y="126"/>
                  </a:lnTo>
                  <a:lnTo>
                    <a:pt x="68" y="140"/>
                  </a:lnTo>
                  <a:lnTo>
                    <a:pt x="66" y="146"/>
                  </a:lnTo>
                  <a:lnTo>
                    <a:pt x="63" y="151"/>
                  </a:lnTo>
                  <a:lnTo>
                    <a:pt x="61" y="156"/>
                  </a:lnTo>
                  <a:lnTo>
                    <a:pt x="57" y="160"/>
                  </a:lnTo>
                  <a:lnTo>
                    <a:pt x="52" y="163"/>
                  </a:lnTo>
                  <a:lnTo>
                    <a:pt x="49" y="165"/>
                  </a:lnTo>
                  <a:lnTo>
                    <a:pt x="42" y="167"/>
                  </a:lnTo>
                  <a:lnTo>
                    <a:pt x="30" y="163"/>
                  </a:lnTo>
                  <a:lnTo>
                    <a:pt x="21" y="153"/>
                  </a:lnTo>
                  <a:lnTo>
                    <a:pt x="14" y="137"/>
                  </a:lnTo>
                  <a:lnTo>
                    <a:pt x="5" y="100"/>
                  </a:lnTo>
                  <a:lnTo>
                    <a:pt x="0" y="62"/>
                  </a:lnTo>
                  <a:lnTo>
                    <a:pt x="3" y="20"/>
                  </a:lnTo>
                  <a:lnTo>
                    <a:pt x="5" y="13"/>
                  </a:lnTo>
                  <a:lnTo>
                    <a:pt x="7" y="9"/>
                  </a:lnTo>
                  <a:lnTo>
                    <a:pt x="10" y="7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23" y="4"/>
                  </a:lnTo>
                  <a:lnTo>
                    <a:pt x="28" y="6"/>
                  </a:lnTo>
                  <a:lnTo>
                    <a:pt x="33" y="9"/>
                  </a:lnTo>
                  <a:lnTo>
                    <a:pt x="35" y="13"/>
                  </a:lnTo>
                  <a:lnTo>
                    <a:pt x="36" y="18"/>
                  </a:lnTo>
                  <a:lnTo>
                    <a:pt x="35" y="25"/>
                  </a:lnTo>
                  <a:lnTo>
                    <a:pt x="35" y="37"/>
                  </a:lnTo>
                  <a:lnTo>
                    <a:pt x="33" y="56"/>
                  </a:lnTo>
                  <a:lnTo>
                    <a:pt x="35" y="79"/>
                  </a:lnTo>
                  <a:lnTo>
                    <a:pt x="38" y="104"/>
                  </a:lnTo>
                  <a:lnTo>
                    <a:pt x="43" y="126"/>
                  </a:lnTo>
                  <a:lnTo>
                    <a:pt x="59" y="95"/>
                  </a:lnTo>
                  <a:lnTo>
                    <a:pt x="73" y="65"/>
                  </a:lnTo>
                  <a:lnTo>
                    <a:pt x="85" y="42"/>
                  </a:lnTo>
                  <a:lnTo>
                    <a:pt x="96" y="27"/>
                  </a:lnTo>
                  <a:lnTo>
                    <a:pt x="103" y="16"/>
                  </a:lnTo>
                  <a:lnTo>
                    <a:pt x="113" y="6"/>
                  </a:lnTo>
                  <a:lnTo>
                    <a:pt x="124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0"/>
            <p:cNvSpPr>
              <a:spLocks/>
            </p:cNvSpPr>
            <p:nvPr userDrawn="1"/>
          </p:nvSpPr>
          <p:spPr bwMode="auto">
            <a:xfrm>
              <a:off x="5440363" y="5235575"/>
              <a:ext cx="244475" cy="307975"/>
            </a:xfrm>
            <a:custGeom>
              <a:avLst/>
              <a:gdLst>
                <a:gd name="T0" fmla="*/ 77 w 154"/>
                <a:gd name="T1" fmla="*/ 0 h 194"/>
                <a:gd name="T2" fmla="*/ 90 w 154"/>
                <a:gd name="T3" fmla="*/ 0 h 194"/>
                <a:gd name="T4" fmla="*/ 95 w 154"/>
                <a:gd name="T5" fmla="*/ 1 h 194"/>
                <a:gd name="T6" fmla="*/ 97 w 154"/>
                <a:gd name="T7" fmla="*/ 3 h 194"/>
                <a:gd name="T8" fmla="*/ 98 w 154"/>
                <a:gd name="T9" fmla="*/ 7 h 194"/>
                <a:gd name="T10" fmla="*/ 98 w 154"/>
                <a:gd name="T11" fmla="*/ 10 h 194"/>
                <a:gd name="T12" fmla="*/ 97 w 154"/>
                <a:gd name="T13" fmla="*/ 15 h 194"/>
                <a:gd name="T14" fmla="*/ 93 w 154"/>
                <a:gd name="T15" fmla="*/ 19 h 194"/>
                <a:gd name="T16" fmla="*/ 90 w 154"/>
                <a:gd name="T17" fmla="*/ 22 h 194"/>
                <a:gd name="T18" fmla="*/ 84 w 154"/>
                <a:gd name="T19" fmla="*/ 24 h 194"/>
                <a:gd name="T20" fmla="*/ 72 w 154"/>
                <a:gd name="T21" fmla="*/ 31 h 194"/>
                <a:gd name="T22" fmla="*/ 60 w 154"/>
                <a:gd name="T23" fmla="*/ 43 h 194"/>
                <a:gd name="T24" fmla="*/ 49 w 154"/>
                <a:gd name="T25" fmla="*/ 63 h 194"/>
                <a:gd name="T26" fmla="*/ 39 w 154"/>
                <a:gd name="T27" fmla="*/ 91 h 194"/>
                <a:gd name="T28" fmla="*/ 34 w 154"/>
                <a:gd name="T29" fmla="*/ 112 h 194"/>
                <a:gd name="T30" fmla="*/ 34 w 154"/>
                <a:gd name="T31" fmla="*/ 131 h 194"/>
                <a:gd name="T32" fmla="*/ 37 w 154"/>
                <a:gd name="T33" fmla="*/ 147 h 194"/>
                <a:gd name="T34" fmla="*/ 42 w 154"/>
                <a:gd name="T35" fmla="*/ 161 h 194"/>
                <a:gd name="T36" fmla="*/ 53 w 154"/>
                <a:gd name="T37" fmla="*/ 168 h 194"/>
                <a:gd name="T38" fmla="*/ 67 w 154"/>
                <a:gd name="T39" fmla="*/ 169 h 194"/>
                <a:gd name="T40" fmla="*/ 81 w 154"/>
                <a:gd name="T41" fmla="*/ 166 h 194"/>
                <a:gd name="T42" fmla="*/ 97 w 154"/>
                <a:gd name="T43" fmla="*/ 157 h 194"/>
                <a:gd name="T44" fmla="*/ 109 w 154"/>
                <a:gd name="T45" fmla="*/ 140 h 194"/>
                <a:gd name="T46" fmla="*/ 119 w 154"/>
                <a:gd name="T47" fmla="*/ 117 h 194"/>
                <a:gd name="T48" fmla="*/ 126 w 154"/>
                <a:gd name="T49" fmla="*/ 94 h 194"/>
                <a:gd name="T50" fmla="*/ 125 w 154"/>
                <a:gd name="T51" fmla="*/ 75 h 194"/>
                <a:gd name="T52" fmla="*/ 121 w 154"/>
                <a:gd name="T53" fmla="*/ 59 h 194"/>
                <a:gd name="T54" fmla="*/ 112 w 154"/>
                <a:gd name="T55" fmla="*/ 49 h 194"/>
                <a:gd name="T56" fmla="*/ 104 w 154"/>
                <a:gd name="T57" fmla="*/ 43 h 194"/>
                <a:gd name="T58" fmla="*/ 98 w 154"/>
                <a:gd name="T59" fmla="*/ 42 h 194"/>
                <a:gd name="T60" fmla="*/ 95 w 154"/>
                <a:gd name="T61" fmla="*/ 38 h 194"/>
                <a:gd name="T62" fmla="*/ 93 w 154"/>
                <a:gd name="T63" fmla="*/ 35 h 194"/>
                <a:gd name="T64" fmla="*/ 93 w 154"/>
                <a:gd name="T65" fmla="*/ 31 h 194"/>
                <a:gd name="T66" fmla="*/ 93 w 154"/>
                <a:gd name="T67" fmla="*/ 29 h 194"/>
                <a:gd name="T68" fmla="*/ 95 w 154"/>
                <a:gd name="T69" fmla="*/ 26 h 194"/>
                <a:gd name="T70" fmla="*/ 97 w 154"/>
                <a:gd name="T71" fmla="*/ 24 h 194"/>
                <a:gd name="T72" fmla="*/ 100 w 154"/>
                <a:gd name="T73" fmla="*/ 22 h 194"/>
                <a:gd name="T74" fmla="*/ 104 w 154"/>
                <a:gd name="T75" fmla="*/ 21 h 194"/>
                <a:gd name="T76" fmla="*/ 109 w 154"/>
                <a:gd name="T77" fmla="*/ 22 h 194"/>
                <a:gd name="T78" fmla="*/ 128 w 154"/>
                <a:gd name="T79" fmla="*/ 31 h 194"/>
                <a:gd name="T80" fmla="*/ 144 w 154"/>
                <a:gd name="T81" fmla="*/ 47 h 194"/>
                <a:gd name="T82" fmla="*/ 152 w 154"/>
                <a:gd name="T83" fmla="*/ 70 h 194"/>
                <a:gd name="T84" fmla="*/ 154 w 154"/>
                <a:gd name="T85" fmla="*/ 98 h 194"/>
                <a:gd name="T86" fmla="*/ 147 w 154"/>
                <a:gd name="T87" fmla="*/ 129 h 194"/>
                <a:gd name="T88" fmla="*/ 133 w 154"/>
                <a:gd name="T89" fmla="*/ 154 h 194"/>
                <a:gd name="T90" fmla="*/ 116 w 154"/>
                <a:gd name="T91" fmla="*/ 175 h 194"/>
                <a:gd name="T92" fmla="*/ 95 w 154"/>
                <a:gd name="T93" fmla="*/ 189 h 194"/>
                <a:gd name="T94" fmla="*/ 69 w 154"/>
                <a:gd name="T95" fmla="*/ 194 h 194"/>
                <a:gd name="T96" fmla="*/ 41 w 154"/>
                <a:gd name="T97" fmla="*/ 190 h 194"/>
                <a:gd name="T98" fmla="*/ 23 w 154"/>
                <a:gd name="T99" fmla="*/ 180 h 194"/>
                <a:gd name="T100" fmla="*/ 11 w 154"/>
                <a:gd name="T101" fmla="*/ 164 h 194"/>
                <a:gd name="T102" fmla="*/ 2 w 154"/>
                <a:gd name="T103" fmla="*/ 145 h 194"/>
                <a:gd name="T104" fmla="*/ 0 w 154"/>
                <a:gd name="T105" fmla="*/ 124 h 194"/>
                <a:gd name="T106" fmla="*/ 2 w 154"/>
                <a:gd name="T107" fmla="*/ 101 h 194"/>
                <a:gd name="T108" fmla="*/ 7 w 154"/>
                <a:gd name="T109" fmla="*/ 77 h 194"/>
                <a:gd name="T110" fmla="*/ 20 w 154"/>
                <a:gd name="T111" fmla="*/ 50 h 194"/>
                <a:gd name="T112" fmla="*/ 32 w 154"/>
                <a:gd name="T113" fmla="*/ 31 h 194"/>
                <a:gd name="T114" fmla="*/ 46 w 154"/>
                <a:gd name="T115" fmla="*/ 15 h 194"/>
                <a:gd name="T116" fmla="*/ 62 w 154"/>
                <a:gd name="T117" fmla="*/ 5 h 194"/>
                <a:gd name="T118" fmla="*/ 77 w 154"/>
                <a:gd name="T1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94">
                  <a:moveTo>
                    <a:pt x="77" y="0"/>
                  </a:moveTo>
                  <a:lnTo>
                    <a:pt x="90" y="0"/>
                  </a:lnTo>
                  <a:lnTo>
                    <a:pt x="95" y="1"/>
                  </a:lnTo>
                  <a:lnTo>
                    <a:pt x="97" y="3"/>
                  </a:lnTo>
                  <a:lnTo>
                    <a:pt x="98" y="7"/>
                  </a:lnTo>
                  <a:lnTo>
                    <a:pt x="98" y="10"/>
                  </a:lnTo>
                  <a:lnTo>
                    <a:pt x="97" y="15"/>
                  </a:lnTo>
                  <a:lnTo>
                    <a:pt x="93" y="19"/>
                  </a:lnTo>
                  <a:lnTo>
                    <a:pt x="90" y="22"/>
                  </a:lnTo>
                  <a:lnTo>
                    <a:pt x="84" y="24"/>
                  </a:lnTo>
                  <a:lnTo>
                    <a:pt x="72" y="31"/>
                  </a:lnTo>
                  <a:lnTo>
                    <a:pt x="60" y="43"/>
                  </a:lnTo>
                  <a:lnTo>
                    <a:pt x="49" y="63"/>
                  </a:lnTo>
                  <a:lnTo>
                    <a:pt x="39" y="91"/>
                  </a:lnTo>
                  <a:lnTo>
                    <a:pt x="34" y="112"/>
                  </a:lnTo>
                  <a:lnTo>
                    <a:pt x="34" y="131"/>
                  </a:lnTo>
                  <a:lnTo>
                    <a:pt x="37" y="147"/>
                  </a:lnTo>
                  <a:lnTo>
                    <a:pt x="42" y="161"/>
                  </a:lnTo>
                  <a:lnTo>
                    <a:pt x="53" y="168"/>
                  </a:lnTo>
                  <a:lnTo>
                    <a:pt x="67" y="169"/>
                  </a:lnTo>
                  <a:lnTo>
                    <a:pt x="81" y="166"/>
                  </a:lnTo>
                  <a:lnTo>
                    <a:pt x="97" y="157"/>
                  </a:lnTo>
                  <a:lnTo>
                    <a:pt x="109" y="140"/>
                  </a:lnTo>
                  <a:lnTo>
                    <a:pt x="119" y="117"/>
                  </a:lnTo>
                  <a:lnTo>
                    <a:pt x="126" y="94"/>
                  </a:lnTo>
                  <a:lnTo>
                    <a:pt x="125" y="75"/>
                  </a:lnTo>
                  <a:lnTo>
                    <a:pt x="121" y="59"/>
                  </a:lnTo>
                  <a:lnTo>
                    <a:pt x="112" y="49"/>
                  </a:lnTo>
                  <a:lnTo>
                    <a:pt x="104" y="43"/>
                  </a:lnTo>
                  <a:lnTo>
                    <a:pt x="98" y="42"/>
                  </a:lnTo>
                  <a:lnTo>
                    <a:pt x="95" y="38"/>
                  </a:lnTo>
                  <a:lnTo>
                    <a:pt x="93" y="35"/>
                  </a:lnTo>
                  <a:lnTo>
                    <a:pt x="93" y="31"/>
                  </a:lnTo>
                  <a:lnTo>
                    <a:pt x="93" y="29"/>
                  </a:lnTo>
                  <a:lnTo>
                    <a:pt x="95" y="26"/>
                  </a:lnTo>
                  <a:lnTo>
                    <a:pt x="97" y="24"/>
                  </a:lnTo>
                  <a:lnTo>
                    <a:pt x="100" y="22"/>
                  </a:lnTo>
                  <a:lnTo>
                    <a:pt x="104" y="21"/>
                  </a:lnTo>
                  <a:lnTo>
                    <a:pt x="109" y="22"/>
                  </a:lnTo>
                  <a:lnTo>
                    <a:pt x="128" y="31"/>
                  </a:lnTo>
                  <a:lnTo>
                    <a:pt x="144" y="47"/>
                  </a:lnTo>
                  <a:lnTo>
                    <a:pt x="152" y="70"/>
                  </a:lnTo>
                  <a:lnTo>
                    <a:pt x="154" y="98"/>
                  </a:lnTo>
                  <a:lnTo>
                    <a:pt x="147" y="129"/>
                  </a:lnTo>
                  <a:lnTo>
                    <a:pt x="133" y="154"/>
                  </a:lnTo>
                  <a:lnTo>
                    <a:pt x="116" y="175"/>
                  </a:lnTo>
                  <a:lnTo>
                    <a:pt x="95" y="189"/>
                  </a:lnTo>
                  <a:lnTo>
                    <a:pt x="69" y="194"/>
                  </a:lnTo>
                  <a:lnTo>
                    <a:pt x="41" y="190"/>
                  </a:lnTo>
                  <a:lnTo>
                    <a:pt x="23" y="180"/>
                  </a:lnTo>
                  <a:lnTo>
                    <a:pt x="11" y="164"/>
                  </a:lnTo>
                  <a:lnTo>
                    <a:pt x="2" y="145"/>
                  </a:lnTo>
                  <a:lnTo>
                    <a:pt x="0" y="124"/>
                  </a:lnTo>
                  <a:lnTo>
                    <a:pt x="2" y="101"/>
                  </a:lnTo>
                  <a:lnTo>
                    <a:pt x="7" y="77"/>
                  </a:lnTo>
                  <a:lnTo>
                    <a:pt x="20" y="50"/>
                  </a:lnTo>
                  <a:lnTo>
                    <a:pt x="32" y="31"/>
                  </a:lnTo>
                  <a:lnTo>
                    <a:pt x="46" y="15"/>
                  </a:lnTo>
                  <a:lnTo>
                    <a:pt x="62" y="5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1"/>
            <p:cNvSpPr>
              <a:spLocks/>
            </p:cNvSpPr>
            <p:nvPr userDrawn="1"/>
          </p:nvSpPr>
          <p:spPr bwMode="auto">
            <a:xfrm>
              <a:off x="5703888" y="5240338"/>
              <a:ext cx="277813" cy="292100"/>
            </a:xfrm>
            <a:custGeom>
              <a:avLst/>
              <a:gdLst>
                <a:gd name="T0" fmla="*/ 21 w 175"/>
                <a:gd name="T1" fmla="*/ 0 h 184"/>
                <a:gd name="T2" fmla="*/ 30 w 175"/>
                <a:gd name="T3" fmla="*/ 5 h 184"/>
                <a:gd name="T4" fmla="*/ 35 w 175"/>
                <a:gd name="T5" fmla="*/ 16 h 184"/>
                <a:gd name="T6" fmla="*/ 39 w 175"/>
                <a:gd name="T7" fmla="*/ 44 h 184"/>
                <a:gd name="T8" fmla="*/ 51 w 175"/>
                <a:gd name="T9" fmla="*/ 86 h 184"/>
                <a:gd name="T10" fmla="*/ 63 w 175"/>
                <a:gd name="T11" fmla="*/ 116 h 184"/>
                <a:gd name="T12" fmla="*/ 69 w 175"/>
                <a:gd name="T13" fmla="*/ 126 h 184"/>
                <a:gd name="T14" fmla="*/ 74 w 175"/>
                <a:gd name="T15" fmla="*/ 130 h 184"/>
                <a:gd name="T16" fmla="*/ 79 w 175"/>
                <a:gd name="T17" fmla="*/ 128 h 184"/>
                <a:gd name="T18" fmla="*/ 88 w 175"/>
                <a:gd name="T19" fmla="*/ 117 h 184"/>
                <a:gd name="T20" fmla="*/ 105 w 175"/>
                <a:gd name="T21" fmla="*/ 91 h 184"/>
                <a:gd name="T22" fmla="*/ 126 w 175"/>
                <a:gd name="T23" fmla="*/ 49 h 184"/>
                <a:gd name="T24" fmla="*/ 137 w 175"/>
                <a:gd name="T25" fmla="*/ 21 h 184"/>
                <a:gd name="T26" fmla="*/ 140 w 175"/>
                <a:gd name="T27" fmla="*/ 11 h 184"/>
                <a:gd name="T28" fmla="*/ 147 w 175"/>
                <a:gd name="T29" fmla="*/ 4 h 184"/>
                <a:gd name="T30" fmla="*/ 156 w 175"/>
                <a:gd name="T31" fmla="*/ 2 h 184"/>
                <a:gd name="T32" fmla="*/ 165 w 175"/>
                <a:gd name="T33" fmla="*/ 5 h 184"/>
                <a:gd name="T34" fmla="*/ 168 w 175"/>
                <a:gd name="T35" fmla="*/ 16 h 184"/>
                <a:gd name="T36" fmla="*/ 168 w 175"/>
                <a:gd name="T37" fmla="*/ 28 h 184"/>
                <a:gd name="T38" fmla="*/ 167 w 175"/>
                <a:gd name="T39" fmla="*/ 72 h 184"/>
                <a:gd name="T40" fmla="*/ 168 w 175"/>
                <a:gd name="T41" fmla="*/ 116 h 184"/>
                <a:gd name="T42" fmla="*/ 175 w 175"/>
                <a:gd name="T43" fmla="*/ 168 h 184"/>
                <a:gd name="T44" fmla="*/ 175 w 175"/>
                <a:gd name="T45" fmla="*/ 179 h 184"/>
                <a:gd name="T46" fmla="*/ 170 w 175"/>
                <a:gd name="T47" fmla="*/ 184 h 184"/>
                <a:gd name="T48" fmla="*/ 163 w 175"/>
                <a:gd name="T49" fmla="*/ 184 h 184"/>
                <a:gd name="T50" fmla="*/ 158 w 175"/>
                <a:gd name="T51" fmla="*/ 182 h 184"/>
                <a:gd name="T52" fmla="*/ 151 w 175"/>
                <a:gd name="T53" fmla="*/ 177 h 184"/>
                <a:gd name="T54" fmla="*/ 147 w 175"/>
                <a:gd name="T55" fmla="*/ 166 h 184"/>
                <a:gd name="T56" fmla="*/ 140 w 175"/>
                <a:gd name="T57" fmla="*/ 110 h 184"/>
                <a:gd name="T58" fmla="*/ 130 w 175"/>
                <a:gd name="T59" fmla="*/ 96 h 184"/>
                <a:gd name="T60" fmla="*/ 112 w 175"/>
                <a:gd name="T61" fmla="*/ 135 h 184"/>
                <a:gd name="T62" fmla="*/ 90 w 175"/>
                <a:gd name="T63" fmla="*/ 159 h 184"/>
                <a:gd name="T64" fmla="*/ 60 w 175"/>
                <a:gd name="T65" fmla="*/ 154 h 184"/>
                <a:gd name="T66" fmla="*/ 34 w 175"/>
                <a:gd name="T67" fmla="*/ 123 h 184"/>
                <a:gd name="T68" fmla="*/ 14 w 175"/>
                <a:gd name="T69" fmla="*/ 75 h 184"/>
                <a:gd name="T70" fmla="*/ 2 w 175"/>
                <a:gd name="T71" fmla="*/ 30 h 184"/>
                <a:gd name="T72" fmla="*/ 0 w 175"/>
                <a:gd name="T73" fmla="*/ 11 h 184"/>
                <a:gd name="T74" fmla="*/ 14 w 175"/>
                <a:gd name="T7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5" h="184">
                  <a:moveTo>
                    <a:pt x="18" y="0"/>
                  </a:moveTo>
                  <a:lnTo>
                    <a:pt x="21" y="0"/>
                  </a:lnTo>
                  <a:lnTo>
                    <a:pt x="27" y="2"/>
                  </a:lnTo>
                  <a:lnTo>
                    <a:pt x="30" y="5"/>
                  </a:lnTo>
                  <a:lnTo>
                    <a:pt x="32" y="9"/>
                  </a:lnTo>
                  <a:lnTo>
                    <a:pt x="35" y="16"/>
                  </a:lnTo>
                  <a:lnTo>
                    <a:pt x="35" y="23"/>
                  </a:lnTo>
                  <a:lnTo>
                    <a:pt x="39" y="44"/>
                  </a:lnTo>
                  <a:lnTo>
                    <a:pt x="44" y="65"/>
                  </a:lnTo>
                  <a:lnTo>
                    <a:pt x="51" y="86"/>
                  </a:lnTo>
                  <a:lnTo>
                    <a:pt x="58" y="103"/>
                  </a:lnTo>
                  <a:lnTo>
                    <a:pt x="63" y="116"/>
                  </a:lnTo>
                  <a:lnTo>
                    <a:pt x="65" y="121"/>
                  </a:lnTo>
                  <a:lnTo>
                    <a:pt x="69" y="126"/>
                  </a:lnTo>
                  <a:lnTo>
                    <a:pt x="70" y="130"/>
                  </a:lnTo>
                  <a:lnTo>
                    <a:pt x="74" y="130"/>
                  </a:lnTo>
                  <a:lnTo>
                    <a:pt x="76" y="130"/>
                  </a:lnTo>
                  <a:lnTo>
                    <a:pt x="79" y="128"/>
                  </a:lnTo>
                  <a:lnTo>
                    <a:pt x="83" y="124"/>
                  </a:lnTo>
                  <a:lnTo>
                    <a:pt x="88" y="117"/>
                  </a:lnTo>
                  <a:lnTo>
                    <a:pt x="95" y="107"/>
                  </a:lnTo>
                  <a:lnTo>
                    <a:pt x="105" y="91"/>
                  </a:lnTo>
                  <a:lnTo>
                    <a:pt x="116" y="72"/>
                  </a:lnTo>
                  <a:lnTo>
                    <a:pt x="126" y="49"/>
                  </a:lnTo>
                  <a:lnTo>
                    <a:pt x="135" y="26"/>
                  </a:lnTo>
                  <a:lnTo>
                    <a:pt x="137" y="21"/>
                  </a:lnTo>
                  <a:lnTo>
                    <a:pt x="139" y="16"/>
                  </a:lnTo>
                  <a:lnTo>
                    <a:pt x="140" y="11"/>
                  </a:lnTo>
                  <a:lnTo>
                    <a:pt x="142" y="7"/>
                  </a:lnTo>
                  <a:lnTo>
                    <a:pt x="147" y="4"/>
                  </a:lnTo>
                  <a:lnTo>
                    <a:pt x="151" y="2"/>
                  </a:lnTo>
                  <a:lnTo>
                    <a:pt x="156" y="2"/>
                  </a:lnTo>
                  <a:lnTo>
                    <a:pt x="161" y="2"/>
                  </a:lnTo>
                  <a:lnTo>
                    <a:pt x="165" y="5"/>
                  </a:lnTo>
                  <a:lnTo>
                    <a:pt x="167" y="11"/>
                  </a:lnTo>
                  <a:lnTo>
                    <a:pt x="168" y="16"/>
                  </a:lnTo>
                  <a:lnTo>
                    <a:pt x="168" y="21"/>
                  </a:lnTo>
                  <a:lnTo>
                    <a:pt x="168" y="28"/>
                  </a:lnTo>
                  <a:lnTo>
                    <a:pt x="168" y="51"/>
                  </a:lnTo>
                  <a:lnTo>
                    <a:pt x="167" y="72"/>
                  </a:lnTo>
                  <a:lnTo>
                    <a:pt x="167" y="89"/>
                  </a:lnTo>
                  <a:lnTo>
                    <a:pt x="168" y="116"/>
                  </a:lnTo>
                  <a:lnTo>
                    <a:pt x="172" y="145"/>
                  </a:lnTo>
                  <a:lnTo>
                    <a:pt x="175" y="168"/>
                  </a:lnTo>
                  <a:lnTo>
                    <a:pt x="175" y="173"/>
                  </a:lnTo>
                  <a:lnTo>
                    <a:pt x="175" y="179"/>
                  </a:lnTo>
                  <a:lnTo>
                    <a:pt x="174" y="182"/>
                  </a:lnTo>
                  <a:lnTo>
                    <a:pt x="170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60" y="184"/>
                  </a:lnTo>
                  <a:lnTo>
                    <a:pt x="158" y="182"/>
                  </a:lnTo>
                  <a:lnTo>
                    <a:pt x="153" y="180"/>
                  </a:lnTo>
                  <a:lnTo>
                    <a:pt x="151" y="177"/>
                  </a:lnTo>
                  <a:lnTo>
                    <a:pt x="149" y="172"/>
                  </a:lnTo>
                  <a:lnTo>
                    <a:pt x="147" y="166"/>
                  </a:lnTo>
                  <a:lnTo>
                    <a:pt x="144" y="142"/>
                  </a:lnTo>
                  <a:lnTo>
                    <a:pt x="140" y="110"/>
                  </a:lnTo>
                  <a:lnTo>
                    <a:pt x="139" y="79"/>
                  </a:lnTo>
                  <a:lnTo>
                    <a:pt x="130" y="96"/>
                  </a:lnTo>
                  <a:lnTo>
                    <a:pt x="121" y="116"/>
                  </a:lnTo>
                  <a:lnTo>
                    <a:pt x="112" y="135"/>
                  </a:lnTo>
                  <a:lnTo>
                    <a:pt x="100" y="149"/>
                  </a:lnTo>
                  <a:lnTo>
                    <a:pt x="90" y="159"/>
                  </a:lnTo>
                  <a:lnTo>
                    <a:pt x="76" y="161"/>
                  </a:lnTo>
                  <a:lnTo>
                    <a:pt x="60" y="154"/>
                  </a:lnTo>
                  <a:lnTo>
                    <a:pt x="46" y="140"/>
                  </a:lnTo>
                  <a:lnTo>
                    <a:pt x="34" y="123"/>
                  </a:lnTo>
                  <a:lnTo>
                    <a:pt x="23" y="100"/>
                  </a:lnTo>
                  <a:lnTo>
                    <a:pt x="14" y="75"/>
                  </a:lnTo>
                  <a:lnTo>
                    <a:pt x="7" y="51"/>
                  </a:lnTo>
                  <a:lnTo>
                    <a:pt x="2" y="30"/>
                  </a:lnTo>
                  <a:lnTo>
                    <a:pt x="0" y="19"/>
                  </a:lnTo>
                  <a:lnTo>
                    <a:pt x="0" y="11"/>
                  </a:lnTo>
                  <a:lnTo>
                    <a:pt x="4" y="4"/>
                  </a:lnTo>
                  <a:lnTo>
                    <a:pt x="14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2"/>
            <p:cNvSpPr>
              <a:spLocks/>
            </p:cNvSpPr>
            <p:nvPr userDrawn="1"/>
          </p:nvSpPr>
          <p:spPr bwMode="auto">
            <a:xfrm>
              <a:off x="6043613" y="5221288"/>
              <a:ext cx="227013" cy="296863"/>
            </a:xfrm>
            <a:custGeom>
              <a:avLst/>
              <a:gdLst>
                <a:gd name="T0" fmla="*/ 136 w 143"/>
                <a:gd name="T1" fmla="*/ 5 h 187"/>
                <a:gd name="T2" fmla="*/ 143 w 143"/>
                <a:gd name="T3" fmla="*/ 28 h 187"/>
                <a:gd name="T4" fmla="*/ 134 w 143"/>
                <a:gd name="T5" fmla="*/ 51 h 187"/>
                <a:gd name="T6" fmla="*/ 127 w 143"/>
                <a:gd name="T7" fmla="*/ 61 h 187"/>
                <a:gd name="T8" fmla="*/ 119 w 143"/>
                <a:gd name="T9" fmla="*/ 63 h 187"/>
                <a:gd name="T10" fmla="*/ 112 w 143"/>
                <a:gd name="T11" fmla="*/ 61 h 187"/>
                <a:gd name="T12" fmla="*/ 110 w 143"/>
                <a:gd name="T13" fmla="*/ 58 h 187"/>
                <a:gd name="T14" fmla="*/ 112 w 143"/>
                <a:gd name="T15" fmla="*/ 51 h 187"/>
                <a:gd name="T16" fmla="*/ 112 w 143"/>
                <a:gd name="T17" fmla="*/ 44 h 187"/>
                <a:gd name="T18" fmla="*/ 108 w 143"/>
                <a:gd name="T19" fmla="*/ 40 h 187"/>
                <a:gd name="T20" fmla="*/ 94 w 143"/>
                <a:gd name="T21" fmla="*/ 44 h 187"/>
                <a:gd name="T22" fmla="*/ 71 w 143"/>
                <a:gd name="T23" fmla="*/ 87 h 187"/>
                <a:gd name="T24" fmla="*/ 56 w 143"/>
                <a:gd name="T25" fmla="*/ 149 h 187"/>
                <a:gd name="T26" fmla="*/ 52 w 143"/>
                <a:gd name="T27" fmla="*/ 178 h 187"/>
                <a:gd name="T28" fmla="*/ 49 w 143"/>
                <a:gd name="T29" fmla="*/ 185 h 187"/>
                <a:gd name="T30" fmla="*/ 42 w 143"/>
                <a:gd name="T31" fmla="*/ 187 h 187"/>
                <a:gd name="T32" fmla="*/ 31 w 143"/>
                <a:gd name="T33" fmla="*/ 187 h 187"/>
                <a:gd name="T34" fmla="*/ 24 w 143"/>
                <a:gd name="T35" fmla="*/ 182 h 187"/>
                <a:gd name="T36" fmla="*/ 19 w 143"/>
                <a:gd name="T37" fmla="*/ 171 h 187"/>
                <a:gd name="T38" fmla="*/ 14 w 143"/>
                <a:gd name="T39" fmla="*/ 138 h 187"/>
                <a:gd name="T40" fmla="*/ 9 w 143"/>
                <a:gd name="T41" fmla="*/ 100 h 187"/>
                <a:gd name="T42" fmla="*/ 3 w 143"/>
                <a:gd name="T43" fmla="*/ 52 h 187"/>
                <a:gd name="T44" fmla="*/ 0 w 143"/>
                <a:gd name="T45" fmla="*/ 23 h 187"/>
                <a:gd name="T46" fmla="*/ 0 w 143"/>
                <a:gd name="T47" fmla="*/ 12 h 187"/>
                <a:gd name="T48" fmla="*/ 3 w 143"/>
                <a:gd name="T49" fmla="*/ 7 h 187"/>
                <a:gd name="T50" fmla="*/ 12 w 143"/>
                <a:gd name="T51" fmla="*/ 3 h 187"/>
                <a:gd name="T52" fmla="*/ 23 w 143"/>
                <a:gd name="T53" fmla="*/ 7 h 187"/>
                <a:gd name="T54" fmla="*/ 28 w 143"/>
                <a:gd name="T55" fmla="*/ 14 h 187"/>
                <a:gd name="T56" fmla="*/ 33 w 143"/>
                <a:gd name="T57" fmla="*/ 38 h 187"/>
                <a:gd name="T58" fmla="*/ 38 w 143"/>
                <a:gd name="T59" fmla="*/ 91 h 187"/>
                <a:gd name="T60" fmla="*/ 49 w 143"/>
                <a:gd name="T61" fmla="*/ 82 h 187"/>
                <a:gd name="T62" fmla="*/ 75 w 143"/>
                <a:gd name="T63" fmla="*/ 26 h 187"/>
                <a:gd name="T64" fmla="*/ 106 w 143"/>
                <a:gd name="T6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3" h="187">
                  <a:moveTo>
                    <a:pt x="126" y="0"/>
                  </a:moveTo>
                  <a:lnTo>
                    <a:pt x="136" y="5"/>
                  </a:lnTo>
                  <a:lnTo>
                    <a:pt x="141" y="16"/>
                  </a:lnTo>
                  <a:lnTo>
                    <a:pt x="143" y="28"/>
                  </a:lnTo>
                  <a:lnTo>
                    <a:pt x="140" y="42"/>
                  </a:lnTo>
                  <a:lnTo>
                    <a:pt x="134" y="51"/>
                  </a:lnTo>
                  <a:lnTo>
                    <a:pt x="131" y="56"/>
                  </a:lnTo>
                  <a:lnTo>
                    <a:pt x="127" y="61"/>
                  </a:lnTo>
                  <a:lnTo>
                    <a:pt x="122" y="63"/>
                  </a:lnTo>
                  <a:lnTo>
                    <a:pt x="119" y="63"/>
                  </a:lnTo>
                  <a:lnTo>
                    <a:pt x="113" y="63"/>
                  </a:lnTo>
                  <a:lnTo>
                    <a:pt x="112" y="61"/>
                  </a:lnTo>
                  <a:lnTo>
                    <a:pt x="110" y="59"/>
                  </a:lnTo>
                  <a:lnTo>
                    <a:pt x="110" y="58"/>
                  </a:lnTo>
                  <a:lnTo>
                    <a:pt x="112" y="54"/>
                  </a:lnTo>
                  <a:lnTo>
                    <a:pt x="112" y="51"/>
                  </a:lnTo>
                  <a:lnTo>
                    <a:pt x="112" y="47"/>
                  </a:lnTo>
                  <a:lnTo>
                    <a:pt x="112" y="44"/>
                  </a:lnTo>
                  <a:lnTo>
                    <a:pt x="112" y="42"/>
                  </a:lnTo>
                  <a:lnTo>
                    <a:pt x="108" y="40"/>
                  </a:lnTo>
                  <a:lnTo>
                    <a:pt x="105" y="38"/>
                  </a:lnTo>
                  <a:lnTo>
                    <a:pt x="94" y="44"/>
                  </a:lnTo>
                  <a:lnTo>
                    <a:pt x="84" y="59"/>
                  </a:lnTo>
                  <a:lnTo>
                    <a:pt x="71" y="87"/>
                  </a:lnTo>
                  <a:lnTo>
                    <a:pt x="63" y="121"/>
                  </a:lnTo>
                  <a:lnTo>
                    <a:pt x="56" y="149"/>
                  </a:lnTo>
                  <a:lnTo>
                    <a:pt x="54" y="173"/>
                  </a:lnTo>
                  <a:lnTo>
                    <a:pt x="52" y="178"/>
                  </a:lnTo>
                  <a:lnTo>
                    <a:pt x="50" y="184"/>
                  </a:lnTo>
                  <a:lnTo>
                    <a:pt x="49" y="185"/>
                  </a:lnTo>
                  <a:lnTo>
                    <a:pt x="45" y="187"/>
                  </a:lnTo>
                  <a:lnTo>
                    <a:pt x="42" y="187"/>
                  </a:lnTo>
                  <a:lnTo>
                    <a:pt x="38" y="187"/>
                  </a:lnTo>
                  <a:lnTo>
                    <a:pt x="31" y="187"/>
                  </a:lnTo>
                  <a:lnTo>
                    <a:pt x="28" y="184"/>
                  </a:lnTo>
                  <a:lnTo>
                    <a:pt x="24" y="182"/>
                  </a:lnTo>
                  <a:lnTo>
                    <a:pt x="23" y="178"/>
                  </a:lnTo>
                  <a:lnTo>
                    <a:pt x="19" y="171"/>
                  </a:lnTo>
                  <a:lnTo>
                    <a:pt x="16" y="159"/>
                  </a:lnTo>
                  <a:lnTo>
                    <a:pt x="14" y="138"/>
                  </a:lnTo>
                  <a:lnTo>
                    <a:pt x="12" y="121"/>
                  </a:lnTo>
                  <a:lnTo>
                    <a:pt x="9" y="100"/>
                  </a:lnTo>
                  <a:lnTo>
                    <a:pt x="7" y="75"/>
                  </a:lnTo>
                  <a:lnTo>
                    <a:pt x="3" y="52"/>
                  </a:lnTo>
                  <a:lnTo>
                    <a:pt x="2" y="35"/>
                  </a:lnTo>
                  <a:lnTo>
                    <a:pt x="0" y="23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2" y="9"/>
                  </a:lnTo>
                  <a:lnTo>
                    <a:pt x="3" y="7"/>
                  </a:lnTo>
                  <a:lnTo>
                    <a:pt x="7" y="5"/>
                  </a:lnTo>
                  <a:lnTo>
                    <a:pt x="12" y="3"/>
                  </a:lnTo>
                  <a:lnTo>
                    <a:pt x="19" y="5"/>
                  </a:lnTo>
                  <a:lnTo>
                    <a:pt x="23" y="7"/>
                  </a:lnTo>
                  <a:lnTo>
                    <a:pt x="26" y="10"/>
                  </a:lnTo>
                  <a:lnTo>
                    <a:pt x="28" y="14"/>
                  </a:lnTo>
                  <a:lnTo>
                    <a:pt x="30" y="19"/>
                  </a:lnTo>
                  <a:lnTo>
                    <a:pt x="33" y="38"/>
                  </a:lnTo>
                  <a:lnTo>
                    <a:pt x="36" y="63"/>
                  </a:lnTo>
                  <a:lnTo>
                    <a:pt x="38" y="91"/>
                  </a:lnTo>
                  <a:lnTo>
                    <a:pt x="42" y="119"/>
                  </a:lnTo>
                  <a:lnTo>
                    <a:pt x="49" y="82"/>
                  </a:lnTo>
                  <a:lnTo>
                    <a:pt x="61" y="51"/>
                  </a:lnTo>
                  <a:lnTo>
                    <a:pt x="75" y="26"/>
                  </a:lnTo>
                  <a:lnTo>
                    <a:pt x="89" y="9"/>
                  </a:lnTo>
                  <a:lnTo>
                    <a:pt x="106" y="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3"/>
            <p:cNvSpPr>
              <a:spLocks/>
            </p:cNvSpPr>
            <p:nvPr userDrawn="1"/>
          </p:nvSpPr>
          <p:spPr bwMode="auto">
            <a:xfrm>
              <a:off x="6329363" y="5248275"/>
              <a:ext cx="85725" cy="261938"/>
            </a:xfrm>
            <a:custGeom>
              <a:avLst/>
              <a:gdLst>
                <a:gd name="T0" fmla="*/ 21 w 54"/>
                <a:gd name="T1" fmla="*/ 0 h 165"/>
                <a:gd name="T2" fmla="*/ 26 w 54"/>
                <a:gd name="T3" fmla="*/ 2 h 165"/>
                <a:gd name="T4" fmla="*/ 31 w 54"/>
                <a:gd name="T5" fmla="*/ 4 h 165"/>
                <a:gd name="T6" fmla="*/ 33 w 54"/>
                <a:gd name="T7" fmla="*/ 6 h 165"/>
                <a:gd name="T8" fmla="*/ 35 w 54"/>
                <a:gd name="T9" fmla="*/ 11 h 165"/>
                <a:gd name="T10" fmla="*/ 37 w 54"/>
                <a:gd name="T11" fmla="*/ 14 h 165"/>
                <a:gd name="T12" fmla="*/ 37 w 54"/>
                <a:gd name="T13" fmla="*/ 20 h 165"/>
                <a:gd name="T14" fmla="*/ 37 w 54"/>
                <a:gd name="T15" fmla="*/ 35 h 165"/>
                <a:gd name="T16" fmla="*/ 37 w 54"/>
                <a:gd name="T17" fmla="*/ 62 h 165"/>
                <a:gd name="T18" fmla="*/ 38 w 54"/>
                <a:gd name="T19" fmla="*/ 93 h 165"/>
                <a:gd name="T20" fmla="*/ 40 w 54"/>
                <a:gd name="T21" fmla="*/ 119 h 165"/>
                <a:gd name="T22" fmla="*/ 44 w 54"/>
                <a:gd name="T23" fmla="*/ 137 h 165"/>
                <a:gd name="T24" fmla="*/ 51 w 54"/>
                <a:gd name="T25" fmla="*/ 149 h 165"/>
                <a:gd name="T26" fmla="*/ 52 w 54"/>
                <a:gd name="T27" fmla="*/ 151 h 165"/>
                <a:gd name="T28" fmla="*/ 52 w 54"/>
                <a:gd name="T29" fmla="*/ 154 h 165"/>
                <a:gd name="T30" fmla="*/ 54 w 54"/>
                <a:gd name="T31" fmla="*/ 158 h 165"/>
                <a:gd name="T32" fmla="*/ 52 w 54"/>
                <a:gd name="T33" fmla="*/ 160 h 165"/>
                <a:gd name="T34" fmla="*/ 51 w 54"/>
                <a:gd name="T35" fmla="*/ 163 h 165"/>
                <a:gd name="T36" fmla="*/ 47 w 54"/>
                <a:gd name="T37" fmla="*/ 165 h 165"/>
                <a:gd name="T38" fmla="*/ 38 w 54"/>
                <a:gd name="T39" fmla="*/ 165 h 165"/>
                <a:gd name="T40" fmla="*/ 30 w 54"/>
                <a:gd name="T41" fmla="*/ 163 h 165"/>
                <a:gd name="T42" fmla="*/ 21 w 54"/>
                <a:gd name="T43" fmla="*/ 156 h 165"/>
                <a:gd name="T44" fmla="*/ 16 w 54"/>
                <a:gd name="T45" fmla="*/ 144 h 165"/>
                <a:gd name="T46" fmla="*/ 9 w 54"/>
                <a:gd name="T47" fmla="*/ 121 h 165"/>
                <a:gd name="T48" fmla="*/ 5 w 54"/>
                <a:gd name="T49" fmla="*/ 95 h 165"/>
                <a:gd name="T50" fmla="*/ 2 w 54"/>
                <a:gd name="T51" fmla="*/ 67 h 165"/>
                <a:gd name="T52" fmla="*/ 0 w 54"/>
                <a:gd name="T53" fmla="*/ 44 h 165"/>
                <a:gd name="T54" fmla="*/ 0 w 54"/>
                <a:gd name="T55" fmla="*/ 25 h 165"/>
                <a:gd name="T56" fmla="*/ 0 w 54"/>
                <a:gd name="T57" fmla="*/ 18 h 165"/>
                <a:gd name="T58" fmla="*/ 2 w 54"/>
                <a:gd name="T59" fmla="*/ 11 h 165"/>
                <a:gd name="T60" fmla="*/ 5 w 54"/>
                <a:gd name="T61" fmla="*/ 6 h 165"/>
                <a:gd name="T62" fmla="*/ 9 w 54"/>
                <a:gd name="T63" fmla="*/ 2 h 165"/>
                <a:gd name="T64" fmla="*/ 14 w 54"/>
                <a:gd name="T65" fmla="*/ 0 h 165"/>
                <a:gd name="T66" fmla="*/ 21 w 54"/>
                <a:gd name="T67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165">
                  <a:moveTo>
                    <a:pt x="21" y="0"/>
                  </a:moveTo>
                  <a:lnTo>
                    <a:pt x="26" y="2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5" y="11"/>
                  </a:lnTo>
                  <a:lnTo>
                    <a:pt x="37" y="14"/>
                  </a:lnTo>
                  <a:lnTo>
                    <a:pt x="37" y="20"/>
                  </a:lnTo>
                  <a:lnTo>
                    <a:pt x="37" y="35"/>
                  </a:lnTo>
                  <a:lnTo>
                    <a:pt x="37" y="62"/>
                  </a:lnTo>
                  <a:lnTo>
                    <a:pt x="38" y="93"/>
                  </a:lnTo>
                  <a:lnTo>
                    <a:pt x="40" y="119"/>
                  </a:lnTo>
                  <a:lnTo>
                    <a:pt x="44" y="137"/>
                  </a:lnTo>
                  <a:lnTo>
                    <a:pt x="51" y="149"/>
                  </a:lnTo>
                  <a:lnTo>
                    <a:pt x="52" y="151"/>
                  </a:lnTo>
                  <a:lnTo>
                    <a:pt x="52" y="154"/>
                  </a:lnTo>
                  <a:lnTo>
                    <a:pt x="54" y="158"/>
                  </a:lnTo>
                  <a:lnTo>
                    <a:pt x="52" y="160"/>
                  </a:lnTo>
                  <a:lnTo>
                    <a:pt x="51" y="163"/>
                  </a:lnTo>
                  <a:lnTo>
                    <a:pt x="47" y="165"/>
                  </a:lnTo>
                  <a:lnTo>
                    <a:pt x="38" y="165"/>
                  </a:lnTo>
                  <a:lnTo>
                    <a:pt x="30" y="163"/>
                  </a:lnTo>
                  <a:lnTo>
                    <a:pt x="21" y="156"/>
                  </a:lnTo>
                  <a:lnTo>
                    <a:pt x="16" y="144"/>
                  </a:lnTo>
                  <a:lnTo>
                    <a:pt x="9" y="121"/>
                  </a:lnTo>
                  <a:lnTo>
                    <a:pt x="5" y="95"/>
                  </a:lnTo>
                  <a:lnTo>
                    <a:pt x="2" y="67"/>
                  </a:lnTo>
                  <a:lnTo>
                    <a:pt x="0" y="44"/>
                  </a:lnTo>
                  <a:lnTo>
                    <a:pt x="0" y="25"/>
                  </a:lnTo>
                  <a:lnTo>
                    <a:pt x="0" y="18"/>
                  </a:lnTo>
                  <a:lnTo>
                    <a:pt x="2" y="11"/>
                  </a:lnTo>
                  <a:lnTo>
                    <a:pt x="5" y="6"/>
                  </a:lnTo>
                  <a:lnTo>
                    <a:pt x="9" y="2"/>
                  </a:lnTo>
                  <a:lnTo>
                    <a:pt x="14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4"/>
            <p:cNvSpPr>
              <a:spLocks/>
            </p:cNvSpPr>
            <p:nvPr userDrawn="1"/>
          </p:nvSpPr>
          <p:spPr bwMode="auto">
            <a:xfrm>
              <a:off x="6334126" y="5121275"/>
              <a:ext cx="61913" cy="38100"/>
            </a:xfrm>
            <a:custGeom>
              <a:avLst/>
              <a:gdLst>
                <a:gd name="T0" fmla="*/ 20 w 39"/>
                <a:gd name="T1" fmla="*/ 0 h 24"/>
                <a:gd name="T2" fmla="*/ 27 w 39"/>
                <a:gd name="T3" fmla="*/ 0 h 24"/>
                <a:gd name="T4" fmla="*/ 32 w 39"/>
                <a:gd name="T5" fmla="*/ 3 h 24"/>
                <a:gd name="T6" fmla="*/ 35 w 39"/>
                <a:gd name="T7" fmla="*/ 7 h 24"/>
                <a:gd name="T8" fmla="*/ 39 w 39"/>
                <a:gd name="T9" fmla="*/ 10 h 24"/>
                <a:gd name="T10" fmla="*/ 39 w 39"/>
                <a:gd name="T11" fmla="*/ 14 h 24"/>
                <a:gd name="T12" fmla="*/ 37 w 39"/>
                <a:gd name="T13" fmla="*/ 17 h 24"/>
                <a:gd name="T14" fmla="*/ 35 w 39"/>
                <a:gd name="T15" fmla="*/ 19 h 24"/>
                <a:gd name="T16" fmla="*/ 30 w 39"/>
                <a:gd name="T17" fmla="*/ 21 h 24"/>
                <a:gd name="T18" fmla="*/ 27 w 39"/>
                <a:gd name="T19" fmla="*/ 23 h 24"/>
                <a:gd name="T20" fmla="*/ 20 w 39"/>
                <a:gd name="T21" fmla="*/ 24 h 24"/>
                <a:gd name="T22" fmla="*/ 16 w 39"/>
                <a:gd name="T23" fmla="*/ 24 h 24"/>
                <a:gd name="T24" fmla="*/ 13 w 39"/>
                <a:gd name="T25" fmla="*/ 23 h 24"/>
                <a:gd name="T26" fmla="*/ 7 w 39"/>
                <a:gd name="T27" fmla="*/ 23 h 24"/>
                <a:gd name="T28" fmla="*/ 4 w 39"/>
                <a:gd name="T29" fmla="*/ 21 h 24"/>
                <a:gd name="T30" fmla="*/ 2 w 39"/>
                <a:gd name="T31" fmla="*/ 17 h 24"/>
                <a:gd name="T32" fmla="*/ 0 w 39"/>
                <a:gd name="T33" fmla="*/ 14 h 24"/>
                <a:gd name="T34" fmla="*/ 0 w 39"/>
                <a:gd name="T35" fmla="*/ 10 h 24"/>
                <a:gd name="T36" fmla="*/ 2 w 39"/>
                <a:gd name="T37" fmla="*/ 7 h 24"/>
                <a:gd name="T38" fmla="*/ 4 w 39"/>
                <a:gd name="T39" fmla="*/ 3 h 24"/>
                <a:gd name="T40" fmla="*/ 6 w 39"/>
                <a:gd name="T41" fmla="*/ 2 h 24"/>
                <a:gd name="T42" fmla="*/ 9 w 39"/>
                <a:gd name="T43" fmla="*/ 0 h 24"/>
                <a:gd name="T44" fmla="*/ 14 w 39"/>
                <a:gd name="T45" fmla="*/ 0 h 24"/>
                <a:gd name="T46" fmla="*/ 20 w 39"/>
                <a:gd name="T4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24">
                  <a:moveTo>
                    <a:pt x="20" y="0"/>
                  </a:moveTo>
                  <a:lnTo>
                    <a:pt x="27" y="0"/>
                  </a:lnTo>
                  <a:lnTo>
                    <a:pt x="32" y="3"/>
                  </a:lnTo>
                  <a:lnTo>
                    <a:pt x="35" y="7"/>
                  </a:lnTo>
                  <a:lnTo>
                    <a:pt x="39" y="10"/>
                  </a:lnTo>
                  <a:lnTo>
                    <a:pt x="39" y="14"/>
                  </a:lnTo>
                  <a:lnTo>
                    <a:pt x="37" y="17"/>
                  </a:lnTo>
                  <a:lnTo>
                    <a:pt x="35" y="19"/>
                  </a:lnTo>
                  <a:lnTo>
                    <a:pt x="30" y="21"/>
                  </a:lnTo>
                  <a:lnTo>
                    <a:pt x="27" y="23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7"/>
                  </a:lnTo>
                  <a:lnTo>
                    <a:pt x="4" y="3"/>
                  </a:lnTo>
                  <a:lnTo>
                    <a:pt x="6" y="2"/>
                  </a:lnTo>
                  <a:lnTo>
                    <a:pt x="9" y="0"/>
                  </a:lnTo>
                  <a:lnTo>
                    <a:pt x="14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5"/>
            <p:cNvSpPr>
              <a:spLocks/>
            </p:cNvSpPr>
            <p:nvPr userDrawn="1"/>
          </p:nvSpPr>
          <p:spPr bwMode="auto">
            <a:xfrm>
              <a:off x="6440488" y="5170488"/>
              <a:ext cx="211138" cy="414338"/>
            </a:xfrm>
            <a:custGeom>
              <a:avLst/>
              <a:gdLst>
                <a:gd name="T0" fmla="*/ 72 w 133"/>
                <a:gd name="T1" fmla="*/ 2 h 261"/>
                <a:gd name="T2" fmla="*/ 99 w 133"/>
                <a:gd name="T3" fmla="*/ 14 h 261"/>
                <a:gd name="T4" fmla="*/ 112 w 133"/>
                <a:gd name="T5" fmla="*/ 39 h 261"/>
                <a:gd name="T6" fmla="*/ 99 w 133"/>
                <a:gd name="T7" fmla="*/ 55 h 261"/>
                <a:gd name="T8" fmla="*/ 89 w 133"/>
                <a:gd name="T9" fmla="*/ 55 h 261"/>
                <a:gd name="T10" fmla="*/ 82 w 133"/>
                <a:gd name="T11" fmla="*/ 49 h 261"/>
                <a:gd name="T12" fmla="*/ 73 w 133"/>
                <a:gd name="T13" fmla="*/ 34 h 261"/>
                <a:gd name="T14" fmla="*/ 54 w 133"/>
                <a:gd name="T15" fmla="*/ 27 h 261"/>
                <a:gd name="T16" fmla="*/ 38 w 133"/>
                <a:gd name="T17" fmla="*/ 30 h 261"/>
                <a:gd name="T18" fmla="*/ 33 w 133"/>
                <a:gd name="T19" fmla="*/ 39 h 261"/>
                <a:gd name="T20" fmla="*/ 35 w 133"/>
                <a:gd name="T21" fmla="*/ 49 h 261"/>
                <a:gd name="T22" fmla="*/ 45 w 133"/>
                <a:gd name="T23" fmla="*/ 65 h 261"/>
                <a:gd name="T24" fmla="*/ 72 w 133"/>
                <a:gd name="T25" fmla="*/ 90 h 261"/>
                <a:gd name="T26" fmla="*/ 105 w 133"/>
                <a:gd name="T27" fmla="*/ 123 h 261"/>
                <a:gd name="T28" fmla="*/ 129 w 133"/>
                <a:gd name="T29" fmla="*/ 158 h 261"/>
                <a:gd name="T30" fmla="*/ 127 w 133"/>
                <a:gd name="T31" fmla="*/ 198 h 261"/>
                <a:gd name="T32" fmla="*/ 99 w 133"/>
                <a:gd name="T33" fmla="*/ 235 h 261"/>
                <a:gd name="T34" fmla="*/ 66 w 133"/>
                <a:gd name="T35" fmla="*/ 256 h 261"/>
                <a:gd name="T36" fmla="*/ 35 w 133"/>
                <a:gd name="T37" fmla="*/ 261 h 261"/>
                <a:gd name="T38" fmla="*/ 16 w 133"/>
                <a:gd name="T39" fmla="*/ 251 h 261"/>
                <a:gd name="T40" fmla="*/ 3 w 133"/>
                <a:gd name="T41" fmla="*/ 235 h 261"/>
                <a:gd name="T42" fmla="*/ 2 w 133"/>
                <a:gd name="T43" fmla="*/ 217 h 261"/>
                <a:gd name="T44" fmla="*/ 7 w 133"/>
                <a:gd name="T45" fmla="*/ 214 h 261"/>
                <a:gd name="T46" fmla="*/ 12 w 133"/>
                <a:gd name="T47" fmla="*/ 216 h 261"/>
                <a:gd name="T48" fmla="*/ 21 w 133"/>
                <a:gd name="T49" fmla="*/ 226 h 261"/>
                <a:gd name="T50" fmla="*/ 44 w 133"/>
                <a:gd name="T51" fmla="*/ 237 h 261"/>
                <a:gd name="T52" fmla="*/ 82 w 133"/>
                <a:gd name="T53" fmla="*/ 219 h 261"/>
                <a:gd name="T54" fmla="*/ 101 w 133"/>
                <a:gd name="T55" fmla="*/ 181 h 261"/>
                <a:gd name="T56" fmla="*/ 87 w 133"/>
                <a:gd name="T57" fmla="*/ 146 h 261"/>
                <a:gd name="T58" fmla="*/ 47 w 133"/>
                <a:gd name="T59" fmla="*/ 107 h 261"/>
                <a:gd name="T60" fmla="*/ 12 w 133"/>
                <a:gd name="T61" fmla="*/ 70 h 261"/>
                <a:gd name="T62" fmla="*/ 0 w 133"/>
                <a:gd name="T63" fmla="*/ 39 h 261"/>
                <a:gd name="T64" fmla="*/ 12 w 133"/>
                <a:gd name="T65" fmla="*/ 13 h 261"/>
                <a:gd name="T66" fmla="*/ 51 w 133"/>
                <a:gd name="T6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3" h="261">
                  <a:moveTo>
                    <a:pt x="51" y="0"/>
                  </a:moveTo>
                  <a:lnTo>
                    <a:pt x="72" y="2"/>
                  </a:lnTo>
                  <a:lnTo>
                    <a:pt x="87" y="7"/>
                  </a:lnTo>
                  <a:lnTo>
                    <a:pt x="99" y="14"/>
                  </a:lnTo>
                  <a:lnTo>
                    <a:pt x="108" y="25"/>
                  </a:lnTo>
                  <a:lnTo>
                    <a:pt x="112" y="39"/>
                  </a:lnTo>
                  <a:lnTo>
                    <a:pt x="108" y="49"/>
                  </a:lnTo>
                  <a:lnTo>
                    <a:pt x="99" y="55"/>
                  </a:lnTo>
                  <a:lnTo>
                    <a:pt x="92" y="56"/>
                  </a:lnTo>
                  <a:lnTo>
                    <a:pt x="89" y="55"/>
                  </a:lnTo>
                  <a:lnTo>
                    <a:pt x="85" y="53"/>
                  </a:lnTo>
                  <a:lnTo>
                    <a:pt x="82" y="49"/>
                  </a:lnTo>
                  <a:lnTo>
                    <a:pt x="80" y="44"/>
                  </a:lnTo>
                  <a:lnTo>
                    <a:pt x="73" y="34"/>
                  </a:lnTo>
                  <a:lnTo>
                    <a:pt x="65" y="28"/>
                  </a:lnTo>
                  <a:lnTo>
                    <a:pt x="54" y="27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5" y="34"/>
                  </a:lnTo>
                  <a:lnTo>
                    <a:pt x="33" y="39"/>
                  </a:lnTo>
                  <a:lnTo>
                    <a:pt x="33" y="44"/>
                  </a:lnTo>
                  <a:lnTo>
                    <a:pt x="35" y="49"/>
                  </a:lnTo>
                  <a:lnTo>
                    <a:pt x="38" y="55"/>
                  </a:lnTo>
                  <a:lnTo>
                    <a:pt x="45" y="65"/>
                  </a:lnTo>
                  <a:lnTo>
                    <a:pt x="58" y="77"/>
                  </a:lnTo>
                  <a:lnTo>
                    <a:pt x="72" y="90"/>
                  </a:lnTo>
                  <a:lnTo>
                    <a:pt x="84" y="104"/>
                  </a:lnTo>
                  <a:lnTo>
                    <a:pt x="105" y="123"/>
                  </a:lnTo>
                  <a:lnTo>
                    <a:pt x="120" y="142"/>
                  </a:lnTo>
                  <a:lnTo>
                    <a:pt x="129" y="158"/>
                  </a:lnTo>
                  <a:lnTo>
                    <a:pt x="133" y="175"/>
                  </a:lnTo>
                  <a:lnTo>
                    <a:pt x="127" y="198"/>
                  </a:lnTo>
                  <a:lnTo>
                    <a:pt x="115" y="219"/>
                  </a:lnTo>
                  <a:lnTo>
                    <a:pt x="99" y="235"/>
                  </a:lnTo>
                  <a:lnTo>
                    <a:pt x="82" y="249"/>
                  </a:lnTo>
                  <a:lnTo>
                    <a:pt x="66" y="256"/>
                  </a:lnTo>
                  <a:lnTo>
                    <a:pt x="49" y="261"/>
                  </a:lnTo>
                  <a:lnTo>
                    <a:pt x="35" y="261"/>
                  </a:lnTo>
                  <a:lnTo>
                    <a:pt x="23" y="258"/>
                  </a:lnTo>
                  <a:lnTo>
                    <a:pt x="16" y="251"/>
                  </a:lnTo>
                  <a:lnTo>
                    <a:pt x="9" y="244"/>
                  </a:lnTo>
                  <a:lnTo>
                    <a:pt x="3" y="235"/>
                  </a:lnTo>
                  <a:lnTo>
                    <a:pt x="2" y="223"/>
                  </a:lnTo>
                  <a:lnTo>
                    <a:pt x="2" y="217"/>
                  </a:lnTo>
                  <a:lnTo>
                    <a:pt x="3" y="216"/>
                  </a:lnTo>
                  <a:lnTo>
                    <a:pt x="7" y="214"/>
                  </a:lnTo>
                  <a:lnTo>
                    <a:pt x="10" y="214"/>
                  </a:lnTo>
                  <a:lnTo>
                    <a:pt x="12" y="216"/>
                  </a:lnTo>
                  <a:lnTo>
                    <a:pt x="16" y="217"/>
                  </a:lnTo>
                  <a:lnTo>
                    <a:pt x="21" y="226"/>
                  </a:lnTo>
                  <a:lnTo>
                    <a:pt x="31" y="233"/>
                  </a:lnTo>
                  <a:lnTo>
                    <a:pt x="44" y="237"/>
                  </a:lnTo>
                  <a:lnTo>
                    <a:pt x="65" y="231"/>
                  </a:lnTo>
                  <a:lnTo>
                    <a:pt x="82" y="219"/>
                  </a:lnTo>
                  <a:lnTo>
                    <a:pt x="96" y="200"/>
                  </a:lnTo>
                  <a:lnTo>
                    <a:pt x="101" y="181"/>
                  </a:lnTo>
                  <a:lnTo>
                    <a:pt x="99" y="163"/>
                  </a:lnTo>
                  <a:lnTo>
                    <a:pt x="87" y="146"/>
                  </a:lnTo>
                  <a:lnTo>
                    <a:pt x="70" y="128"/>
                  </a:lnTo>
                  <a:lnTo>
                    <a:pt x="47" y="107"/>
                  </a:lnTo>
                  <a:lnTo>
                    <a:pt x="26" y="88"/>
                  </a:lnTo>
                  <a:lnTo>
                    <a:pt x="12" y="70"/>
                  </a:lnTo>
                  <a:lnTo>
                    <a:pt x="3" y="53"/>
                  </a:lnTo>
                  <a:lnTo>
                    <a:pt x="0" y="39"/>
                  </a:lnTo>
                  <a:lnTo>
                    <a:pt x="3" y="25"/>
                  </a:lnTo>
                  <a:lnTo>
                    <a:pt x="12" y="13"/>
                  </a:lnTo>
                  <a:lnTo>
                    <a:pt x="28" y="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6"/>
            <p:cNvSpPr>
              <a:spLocks/>
            </p:cNvSpPr>
            <p:nvPr userDrawn="1"/>
          </p:nvSpPr>
          <p:spPr bwMode="auto">
            <a:xfrm>
              <a:off x="6692901" y="5076825"/>
              <a:ext cx="233363" cy="504825"/>
            </a:xfrm>
            <a:custGeom>
              <a:avLst/>
              <a:gdLst>
                <a:gd name="T0" fmla="*/ 26 w 147"/>
                <a:gd name="T1" fmla="*/ 2 h 318"/>
                <a:gd name="T2" fmla="*/ 35 w 147"/>
                <a:gd name="T3" fmla="*/ 9 h 318"/>
                <a:gd name="T4" fmla="*/ 38 w 147"/>
                <a:gd name="T5" fmla="*/ 21 h 318"/>
                <a:gd name="T6" fmla="*/ 31 w 147"/>
                <a:gd name="T7" fmla="*/ 66 h 318"/>
                <a:gd name="T8" fmla="*/ 26 w 147"/>
                <a:gd name="T9" fmla="*/ 163 h 318"/>
                <a:gd name="T10" fmla="*/ 47 w 147"/>
                <a:gd name="T11" fmla="*/ 178 h 318"/>
                <a:gd name="T12" fmla="*/ 77 w 147"/>
                <a:gd name="T13" fmla="*/ 131 h 318"/>
                <a:gd name="T14" fmla="*/ 107 w 147"/>
                <a:gd name="T15" fmla="*/ 119 h 318"/>
                <a:gd name="T16" fmla="*/ 129 w 147"/>
                <a:gd name="T17" fmla="*/ 136 h 318"/>
                <a:gd name="T18" fmla="*/ 143 w 147"/>
                <a:gd name="T19" fmla="*/ 182 h 318"/>
                <a:gd name="T20" fmla="*/ 147 w 147"/>
                <a:gd name="T21" fmla="*/ 255 h 318"/>
                <a:gd name="T22" fmla="*/ 142 w 147"/>
                <a:gd name="T23" fmla="*/ 310 h 318"/>
                <a:gd name="T24" fmla="*/ 135 w 147"/>
                <a:gd name="T25" fmla="*/ 318 h 318"/>
                <a:gd name="T26" fmla="*/ 126 w 147"/>
                <a:gd name="T27" fmla="*/ 318 h 318"/>
                <a:gd name="T28" fmla="*/ 121 w 147"/>
                <a:gd name="T29" fmla="*/ 315 h 318"/>
                <a:gd name="T30" fmla="*/ 117 w 147"/>
                <a:gd name="T31" fmla="*/ 308 h 318"/>
                <a:gd name="T32" fmla="*/ 119 w 147"/>
                <a:gd name="T33" fmla="*/ 262 h 318"/>
                <a:gd name="T34" fmla="*/ 115 w 147"/>
                <a:gd name="T35" fmla="*/ 198 h 318"/>
                <a:gd name="T36" fmla="*/ 107 w 147"/>
                <a:gd name="T37" fmla="*/ 163 h 318"/>
                <a:gd name="T38" fmla="*/ 100 w 147"/>
                <a:gd name="T39" fmla="*/ 156 h 318"/>
                <a:gd name="T40" fmla="*/ 93 w 147"/>
                <a:gd name="T41" fmla="*/ 157 h 318"/>
                <a:gd name="T42" fmla="*/ 84 w 147"/>
                <a:gd name="T43" fmla="*/ 164 h 318"/>
                <a:gd name="T44" fmla="*/ 58 w 147"/>
                <a:gd name="T45" fmla="*/ 213 h 318"/>
                <a:gd name="T46" fmla="*/ 38 w 147"/>
                <a:gd name="T47" fmla="*/ 254 h 318"/>
                <a:gd name="T48" fmla="*/ 31 w 147"/>
                <a:gd name="T49" fmla="*/ 259 h 318"/>
                <a:gd name="T50" fmla="*/ 26 w 147"/>
                <a:gd name="T51" fmla="*/ 261 h 318"/>
                <a:gd name="T52" fmla="*/ 19 w 147"/>
                <a:gd name="T53" fmla="*/ 261 h 318"/>
                <a:gd name="T54" fmla="*/ 12 w 147"/>
                <a:gd name="T55" fmla="*/ 257 h 318"/>
                <a:gd name="T56" fmla="*/ 7 w 147"/>
                <a:gd name="T57" fmla="*/ 248 h 318"/>
                <a:gd name="T58" fmla="*/ 5 w 147"/>
                <a:gd name="T59" fmla="*/ 226 h 318"/>
                <a:gd name="T60" fmla="*/ 2 w 147"/>
                <a:gd name="T61" fmla="*/ 170 h 318"/>
                <a:gd name="T62" fmla="*/ 2 w 147"/>
                <a:gd name="T63" fmla="*/ 96 h 318"/>
                <a:gd name="T64" fmla="*/ 7 w 147"/>
                <a:gd name="T65" fmla="*/ 23 h 318"/>
                <a:gd name="T66" fmla="*/ 9 w 147"/>
                <a:gd name="T67" fmla="*/ 10 h 318"/>
                <a:gd name="T68" fmla="*/ 12 w 147"/>
                <a:gd name="T69" fmla="*/ 3 h 318"/>
                <a:gd name="T70" fmla="*/ 19 w 147"/>
                <a:gd name="T7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7" h="318">
                  <a:moveTo>
                    <a:pt x="19" y="0"/>
                  </a:moveTo>
                  <a:lnTo>
                    <a:pt x="26" y="2"/>
                  </a:lnTo>
                  <a:lnTo>
                    <a:pt x="31" y="3"/>
                  </a:lnTo>
                  <a:lnTo>
                    <a:pt x="35" y="9"/>
                  </a:lnTo>
                  <a:lnTo>
                    <a:pt x="38" y="14"/>
                  </a:lnTo>
                  <a:lnTo>
                    <a:pt x="38" y="21"/>
                  </a:lnTo>
                  <a:lnTo>
                    <a:pt x="38" y="28"/>
                  </a:lnTo>
                  <a:lnTo>
                    <a:pt x="31" y="66"/>
                  </a:lnTo>
                  <a:lnTo>
                    <a:pt x="28" y="112"/>
                  </a:lnTo>
                  <a:lnTo>
                    <a:pt x="26" y="163"/>
                  </a:lnTo>
                  <a:lnTo>
                    <a:pt x="30" y="215"/>
                  </a:lnTo>
                  <a:lnTo>
                    <a:pt x="47" y="178"/>
                  </a:lnTo>
                  <a:lnTo>
                    <a:pt x="63" y="150"/>
                  </a:lnTo>
                  <a:lnTo>
                    <a:pt x="77" y="131"/>
                  </a:lnTo>
                  <a:lnTo>
                    <a:pt x="93" y="121"/>
                  </a:lnTo>
                  <a:lnTo>
                    <a:pt x="107" y="119"/>
                  </a:lnTo>
                  <a:lnTo>
                    <a:pt x="119" y="124"/>
                  </a:lnTo>
                  <a:lnTo>
                    <a:pt x="129" y="136"/>
                  </a:lnTo>
                  <a:lnTo>
                    <a:pt x="138" y="156"/>
                  </a:lnTo>
                  <a:lnTo>
                    <a:pt x="143" y="182"/>
                  </a:lnTo>
                  <a:lnTo>
                    <a:pt x="147" y="215"/>
                  </a:lnTo>
                  <a:lnTo>
                    <a:pt x="147" y="255"/>
                  </a:lnTo>
                  <a:lnTo>
                    <a:pt x="143" y="303"/>
                  </a:lnTo>
                  <a:lnTo>
                    <a:pt x="142" y="310"/>
                  </a:lnTo>
                  <a:lnTo>
                    <a:pt x="140" y="315"/>
                  </a:lnTo>
                  <a:lnTo>
                    <a:pt x="135" y="318"/>
                  </a:lnTo>
                  <a:lnTo>
                    <a:pt x="129" y="318"/>
                  </a:lnTo>
                  <a:lnTo>
                    <a:pt x="126" y="318"/>
                  </a:lnTo>
                  <a:lnTo>
                    <a:pt x="124" y="317"/>
                  </a:lnTo>
                  <a:lnTo>
                    <a:pt x="121" y="315"/>
                  </a:lnTo>
                  <a:lnTo>
                    <a:pt x="119" y="311"/>
                  </a:lnTo>
                  <a:lnTo>
                    <a:pt x="117" y="308"/>
                  </a:lnTo>
                  <a:lnTo>
                    <a:pt x="117" y="303"/>
                  </a:lnTo>
                  <a:lnTo>
                    <a:pt x="119" y="262"/>
                  </a:lnTo>
                  <a:lnTo>
                    <a:pt x="117" y="227"/>
                  </a:lnTo>
                  <a:lnTo>
                    <a:pt x="115" y="198"/>
                  </a:lnTo>
                  <a:lnTo>
                    <a:pt x="110" y="170"/>
                  </a:lnTo>
                  <a:lnTo>
                    <a:pt x="107" y="163"/>
                  </a:lnTo>
                  <a:lnTo>
                    <a:pt x="103" y="157"/>
                  </a:lnTo>
                  <a:lnTo>
                    <a:pt x="100" y="156"/>
                  </a:lnTo>
                  <a:lnTo>
                    <a:pt x="96" y="156"/>
                  </a:lnTo>
                  <a:lnTo>
                    <a:pt x="93" y="157"/>
                  </a:lnTo>
                  <a:lnTo>
                    <a:pt x="89" y="161"/>
                  </a:lnTo>
                  <a:lnTo>
                    <a:pt x="84" y="164"/>
                  </a:lnTo>
                  <a:lnTo>
                    <a:pt x="72" y="185"/>
                  </a:lnTo>
                  <a:lnTo>
                    <a:pt x="58" y="213"/>
                  </a:lnTo>
                  <a:lnTo>
                    <a:pt x="42" y="248"/>
                  </a:lnTo>
                  <a:lnTo>
                    <a:pt x="38" y="254"/>
                  </a:lnTo>
                  <a:lnTo>
                    <a:pt x="35" y="257"/>
                  </a:lnTo>
                  <a:lnTo>
                    <a:pt x="31" y="259"/>
                  </a:lnTo>
                  <a:lnTo>
                    <a:pt x="28" y="261"/>
                  </a:lnTo>
                  <a:lnTo>
                    <a:pt x="26" y="261"/>
                  </a:lnTo>
                  <a:lnTo>
                    <a:pt x="23" y="261"/>
                  </a:lnTo>
                  <a:lnTo>
                    <a:pt x="19" y="261"/>
                  </a:lnTo>
                  <a:lnTo>
                    <a:pt x="16" y="259"/>
                  </a:lnTo>
                  <a:lnTo>
                    <a:pt x="12" y="257"/>
                  </a:lnTo>
                  <a:lnTo>
                    <a:pt x="10" y="254"/>
                  </a:lnTo>
                  <a:lnTo>
                    <a:pt x="7" y="248"/>
                  </a:lnTo>
                  <a:lnTo>
                    <a:pt x="7" y="241"/>
                  </a:lnTo>
                  <a:lnTo>
                    <a:pt x="5" y="226"/>
                  </a:lnTo>
                  <a:lnTo>
                    <a:pt x="3" y="201"/>
                  </a:lnTo>
                  <a:lnTo>
                    <a:pt x="2" y="170"/>
                  </a:lnTo>
                  <a:lnTo>
                    <a:pt x="0" y="135"/>
                  </a:lnTo>
                  <a:lnTo>
                    <a:pt x="2" y="96"/>
                  </a:lnTo>
                  <a:lnTo>
                    <a:pt x="3" y="59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9" y="10"/>
                  </a:lnTo>
                  <a:lnTo>
                    <a:pt x="10" y="7"/>
                  </a:lnTo>
                  <a:lnTo>
                    <a:pt x="12" y="3"/>
                  </a:lnTo>
                  <a:lnTo>
                    <a:pt x="1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7"/>
            <p:cNvSpPr>
              <a:spLocks/>
            </p:cNvSpPr>
            <p:nvPr userDrawn="1"/>
          </p:nvSpPr>
          <p:spPr bwMode="auto">
            <a:xfrm>
              <a:off x="6978651" y="5259388"/>
              <a:ext cx="71438" cy="303213"/>
            </a:xfrm>
            <a:custGeom>
              <a:avLst/>
              <a:gdLst>
                <a:gd name="T0" fmla="*/ 14 w 45"/>
                <a:gd name="T1" fmla="*/ 0 h 191"/>
                <a:gd name="T2" fmla="*/ 19 w 45"/>
                <a:gd name="T3" fmla="*/ 0 h 191"/>
                <a:gd name="T4" fmla="*/ 24 w 45"/>
                <a:gd name="T5" fmla="*/ 2 h 191"/>
                <a:gd name="T6" fmla="*/ 28 w 45"/>
                <a:gd name="T7" fmla="*/ 4 h 191"/>
                <a:gd name="T8" fmla="*/ 31 w 45"/>
                <a:gd name="T9" fmla="*/ 6 h 191"/>
                <a:gd name="T10" fmla="*/ 35 w 45"/>
                <a:gd name="T11" fmla="*/ 9 h 191"/>
                <a:gd name="T12" fmla="*/ 37 w 45"/>
                <a:gd name="T13" fmla="*/ 14 h 191"/>
                <a:gd name="T14" fmla="*/ 38 w 45"/>
                <a:gd name="T15" fmla="*/ 20 h 191"/>
                <a:gd name="T16" fmla="*/ 38 w 45"/>
                <a:gd name="T17" fmla="*/ 28 h 191"/>
                <a:gd name="T18" fmla="*/ 37 w 45"/>
                <a:gd name="T19" fmla="*/ 65 h 191"/>
                <a:gd name="T20" fmla="*/ 35 w 45"/>
                <a:gd name="T21" fmla="*/ 102 h 191"/>
                <a:gd name="T22" fmla="*/ 37 w 45"/>
                <a:gd name="T23" fmla="*/ 132 h 191"/>
                <a:gd name="T24" fmla="*/ 38 w 45"/>
                <a:gd name="T25" fmla="*/ 158 h 191"/>
                <a:gd name="T26" fmla="*/ 44 w 45"/>
                <a:gd name="T27" fmla="*/ 177 h 191"/>
                <a:gd name="T28" fmla="*/ 45 w 45"/>
                <a:gd name="T29" fmla="*/ 181 h 191"/>
                <a:gd name="T30" fmla="*/ 45 w 45"/>
                <a:gd name="T31" fmla="*/ 186 h 191"/>
                <a:gd name="T32" fmla="*/ 44 w 45"/>
                <a:gd name="T33" fmla="*/ 188 h 191"/>
                <a:gd name="T34" fmla="*/ 40 w 45"/>
                <a:gd name="T35" fmla="*/ 191 h 191"/>
                <a:gd name="T36" fmla="*/ 37 w 45"/>
                <a:gd name="T37" fmla="*/ 191 h 191"/>
                <a:gd name="T38" fmla="*/ 31 w 45"/>
                <a:gd name="T39" fmla="*/ 191 h 191"/>
                <a:gd name="T40" fmla="*/ 28 w 45"/>
                <a:gd name="T41" fmla="*/ 189 h 191"/>
                <a:gd name="T42" fmla="*/ 23 w 45"/>
                <a:gd name="T43" fmla="*/ 188 h 191"/>
                <a:gd name="T44" fmla="*/ 19 w 45"/>
                <a:gd name="T45" fmla="*/ 184 h 191"/>
                <a:gd name="T46" fmla="*/ 16 w 45"/>
                <a:gd name="T47" fmla="*/ 177 h 191"/>
                <a:gd name="T48" fmla="*/ 12 w 45"/>
                <a:gd name="T49" fmla="*/ 170 h 191"/>
                <a:gd name="T50" fmla="*/ 9 w 45"/>
                <a:gd name="T51" fmla="*/ 149 h 191"/>
                <a:gd name="T52" fmla="*/ 4 w 45"/>
                <a:gd name="T53" fmla="*/ 121 h 191"/>
                <a:gd name="T54" fmla="*/ 2 w 45"/>
                <a:gd name="T55" fmla="*/ 90 h 191"/>
                <a:gd name="T56" fmla="*/ 0 w 45"/>
                <a:gd name="T57" fmla="*/ 55 h 191"/>
                <a:gd name="T58" fmla="*/ 2 w 45"/>
                <a:gd name="T59" fmla="*/ 23 h 191"/>
                <a:gd name="T60" fmla="*/ 2 w 45"/>
                <a:gd name="T61" fmla="*/ 16 h 191"/>
                <a:gd name="T62" fmla="*/ 4 w 45"/>
                <a:gd name="T63" fmla="*/ 9 h 191"/>
                <a:gd name="T64" fmla="*/ 7 w 45"/>
                <a:gd name="T65" fmla="*/ 6 h 191"/>
                <a:gd name="T66" fmla="*/ 11 w 45"/>
                <a:gd name="T67" fmla="*/ 2 h 191"/>
                <a:gd name="T68" fmla="*/ 14 w 45"/>
                <a:gd name="T6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" h="191">
                  <a:moveTo>
                    <a:pt x="14" y="0"/>
                  </a:moveTo>
                  <a:lnTo>
                    <a:pt x="19" y="0"/>
                  </a:lnTo>
                  <a:lnTo>
                    <a:pt x="24" y="2"/>
                  </a:lnTo>
                  <a:lnTo>
                    <a:pt x="28" y="4"/>
                  </a:lnTo>
                  <a:lnTo>
                    <a:pt x="31" y="6"/>
                  </a:lnTo>
                  <a:lnTo>
                    <a:pt x="35" y="9"/>
                  </a:lnTo>
                  <a:lnTo>
                    <a:pt x="37" y="14"/>
                  </a:lnTo>
                  <a:lnTo>
                    <a:pt x="38" y="20"/>
                  </a:lnTo>
                  <a:lnTo>
                    <a:pt x="38" y="28"/>
                  </a:lnTo>
                  <a:lnTo>
                    <a:pt x="37" y="65"/>
                  </a:lnTo>
                  <a:lnTo>
                    <a:pt x="35" y="102"/>
                  </a:lnTo>
                  <a:lnTo>
                    <a:pt x="37" y="132"/>
                  </a:lnTo>
                  <a:lnTo>
                    <a:pt x="38" y="158"/>
                  </a:lnTo>
                  <a:lnTo>
                    <a:pt x="44" y="177"/>
                  </a:lnTo>
                  <a:lnTo>
                    <a:pt x="45" y="181"/>
                  </a:lnTo>
                  <a:lnTo>
                    <a:pt x="45" y="186"/>
                  </a:lnTo>
                  <a:lnTo>
                    <a:pt x="44" y="188"/>
                  </a:lnTo>
                  <a:lnTo>
                    <a:pt x="40" y="191"/>
                  </a:lnTo>
                  <a:lnTo>
                    <a:pt x="37" y="191"/>
                  </a:lnTo>
                  <a:lnTo>
                    <a:pt x="31" y="191"/>
                  </a:lnTo>
                  <a:lnTo>
                    <a:pt x="28" y="189"/>
                  </a:lnTo>
                  <a:lnTo>
                    <a:pt x="23" y="188"/>
                  </a:lnTo>
                  <a:lnTo>
                    <a:pt x="19" y="184"/>
                  </a:lnTo>
                  <a:lnTo>
                    <a:pt x="16" y="177"/>
                  </a:lnTo>
                  <a:lnTo>
                    <a:pt x="12" y="170"/>
                  </a:lnTo>
                  <a:lnTo>
                    <a:pt x="9" y="149"/>
                  </a:lnTo>
                  <a:lnTo>
                    <a:pt x="4" y="121"/>
                  </a:lnTo>
                  <a:lnTo>
                    <a:pt x="2" y="90"/>
                  </a:lnTo>
                  <a:lnTo>
                    <a:pt x="0" y="55"/>
                  </a:lnTo>
                  <a:lnTo>
                    <a:pt x="2" y="23"/>
                  </a:lnTo>
                  <a:lnTo>
                    <a:pt x="2" y="16"/>
                  </a:lnTo>
                  <a:lnTo>
                    <a:pt x="4" y="9"/>
                  </a:lnTo>
                  <a:lnTo>
                    <a:pt x="7" y="6"/>
                  </a:lnTo>
                  <a:lnTo>
                    <a:pt x="11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8"/>
            <p:cNvSpPr>
              <a:spLocks/>
            </p:cNvSpPr>
            <p:nvPr userDrawn="1"/>
          </p:nvSpPr>
          <p:spPr bwMode="auto">
            <a:xfrm>
              <a:off x="7011988" y="5137150"/>
              <a:ext cx="63500" cy="44450"/>
            </a:xfrm>
            <a:custGeom>
              <a:avLst/>
              <a:gdLst>
                <a:gd name="T0" fmla="*/ 10 w 40"/>
                <a:gd name="T1" fmla="*/ 0 h 28"/>
                <a:gd name="T2" fmla="*/ 17 w 40"/>
                <a:gd name="T3" fmla="*/ 0 h 28"/>
                <a:gd name="T4" fmla="*/ 23 w 40"/>
                <a:gd name="T5" fmla="*/ 2 h 28"/>
                <a:gd name="T6" fmla="*/ 30 w 40"/>
                <a:gd name="T7" fmla="*/ 6 h 28"/>
                <a:gd name="T8" fmla="*/ 35 w 40"/>
                <a:gd name="T9" fmla="*/ 9 h 28"/>
                <a:gd name="T10" fmla="*/ 38 w 40"/>
                <a:gd name="T11" fmla="*/ 13 h 28"/>
                <a:gd name="T12" fmla="*/ 40 w 40"/>
                <a:gd name="T13" fmla="*/ 18 h 28"/>
                <a:gd name="T14" fmla="*/ 38 w 40"/>
                <a:gd name="T15" fmla="*/ 21 h 28"/>
                <a:gd name="T16" fmla="*/ 37 w 40"/>
                <a:gd name="T17" fmla="*/ 25 h 28"/>
                <a:gd name="T18" fmla="*/ 35 w 40"/>
                <a:gd name="T19" fmla="*/ 27 h 28"/>
                <a:gd name="T20" fmla="*/ 30 w 40"/>
                <a:gd name="T21" fmla="*/ 28 h 28"/>
                <a:gd name="T22" fmla="*/ 26 w 40"/>
                <a:gd name="T23" fmla="*/ 28 h 28"/>
                <a:gd name="T24" fmla="*/ 21 w 40"/>
                <a:gd name="T25" fmla="*/ 28 h 28"/>
                <a:gd name="T26" fmla="*/ 16 w 40"/>
                <a:gd name="T27" fmla="*/ 27 h 28"/>
                <a:gd name="T28" fmla="*/ 10 w 40"/>
                <a:gd name="T29" fmla="*/ 25 h 28"/>
                <a:gd name="T30" fmla="*/ 5 w 40"/>
                <a:gd name="T31" fmla="*/ 21 h 28"/>
                <a:gd name="T32" fmla="*/ 2 w 40"/>
                <a:gd name="T33" fmla="*/ 18 h 28"/>
                <a:gd name="T34" fmla="*/ 0 w 40"/>
                <a:gd name="T35" fmla="*/ 14 h 28"/>
                <a:gd name="T36" fmla="*/ 0 w 40"/>
                <a:gd name="T37" fmla="*/ 9 h 28"/>
                <a:gd name="T38" fmla="*/ 2 w 40"/>
                <a:gd name="T39" fmla="*/ 6 h 28"/>
                <a:gd name="T40" fmla="*/ 3 w 40"/>
                <a:gd name="T41" fmla="*/ 4 h 28"/>
                <a:gd name="T42" fmla="*/ 7 w 40"/>
                <a:gd name="T43" fmla="*/ 2 h 28"/>
                <a:gd name="T44" fmla="*/ 10 w 40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28">
                  <a:moveTo>
                    <a:pt x="10" y="0"/>
                  </a:moveTo>
                  <a:lnTo>
                    <a:pt x="17" y="0"/>
                  </a:lnTo>
                  <a:lnTo>
                    <a:pt x="23" y="2"/>
                  </a:lnTo>
                  <a:lnTo>
                    <a:pt x="30" y="6"/>
                  </a:lnTo>
                  <a:lnTo>
                    <a:pt x="35" y="9"/>
                  </a:lnTo>
                  <a:lnTo>
                    <a:pt x="38" y="13"/>
                  </a:lnTo>
                  <a:lnTo>
                    <a:pt x="40" y="18"/>
                  </a:lnTo>
                  <a:lnTo>
                    <a:pt x="38" y="21"/>
                  </a:lnTo>
                  <a:lnTo>
                    <a:pt x="37" y="25"/>
                  </a:lnTo>
                  <a:lnTo>
                    <a:pt x="35" y="27"/>
                  </a:lnTo>
                  <a:lnTo>
                    <a:pt x="30" y="28"/>
                  </a:lnTo>
                  <a:lnTo>
                    <a:pt x="26" y="28"/>
                  </a:lnTo>
                  <a:lnTo>
                    <a:pt x="21" y="28"/>
                  </a:lnTo>
                  <a:lnTo>
                    <a:pt x="16" y="27"/>
                  </a:lnTo>
                  <a:lnTo>
                    <a:pt x="10" y="25"/>
                  </a:lnTo>
                  <a:lnTo>
                    <a:pt x="5" y="21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4"/>
                  </a:lnTo>
                  <a:lnTo>
                    <a:pt x="7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9"/>
            <p:cNvSpPr>
              <a:spLocks/>
            </p:cNvSpPr>
            <p:nvPr userDrawn="1"/>
          </p:nvSpPr>
          <p:spPr bwMode="auto">
            <a:xfrm>
              <a:off x="7105651" y="5262563"/>
              <a:ext cx="261938" cy="330200"/>
            </a:xfrm>
            <a:custGeom>
              <a:avLst/>
              <a:gdLst>
                <a:gd name="T0" fmla="*/ 156 w 165"/>
                <a:gd name="T1" fmla="*/ 4 h 208"/>
                <a:gd name="T2" fmla="*/ 165 w 165"/>
                <a:gd name="T3" fmla="*/ 28 h 208"/>
                <a:gd name="T4" fmla="*/ 163 w 165"/>
                <a:gd name="T5" fmla="*/ 72 h 208"/>
                <a:gd name="T6" fmla="*/ 158 w 165"/>
                <a:gd name="T7" fmla="*/ 124 h 208"/>
                <a:gd name="T8" fmla="*/ 156 w 165"/>
                <a:gd name="T9" fmla="*/ 163 h 208"/>
                <a:gd name="T10" fmla="*/ 161 w 165"/>
                <a:gd name="T11" fmla="*/ 193 h 208"/>
                <a:gd name="T12" fmla="*/ 163 w 165"/>
                <a:gd name="T13" fmla="*/ 198 h 208"/>
                <a:gd name="T14" fmla="*/ 160 w 165"/>
                <a:gd name="T15" fmla="*/ 203 h 208"/>
                <a:gd name="T16" fmla="*/ 154 w 165"/>
                <a:gd name="T17" fmla="*/ 207 h 208"/>
                <a:gd name="T18" fmla="*/ 147 w 165"/>
                <a:gd name="T19" fmla="*/ 207 h 208"/>
                <a:gd name="T20" fmla="*/ 139 w 165"/>
                <a:gd name="T21" fmla="*/ 203 h 208"/>
                <a:gd name="T22" fmla="*/ 132 w 165"/>
                <a:gd name="T23" fmla="*/ 187 h 208"/>
                <a:gd name="T24" fmla="*/ 133 w 165"/>
                <a:gd name="T25" fmla="*/ 131 h 208"/>
                <a:gd name="T26" fmla="*/ 133 w 165"/>
                <a:gd name="T27" fmla="*/ 49 h 208"/>
                <a:gd name="T28" fmla="*/ 130 w 165"/>
                <a:gd name="T29" fmla="*/ 42 h 208"/>
                <a:gd name="T30" fmla="*/ 125 w 165"/>
                <a:gd name="T31" fmla="*/ 40 h 208"/>
                <a:gd name="T32" fmla="*/ 118 w 165"/>
                <a:gd name="T33" fmla="*/ 47 h 208"/>
                <a:gd name="T34" fmla="*/ 91 w 165"/>
                <a:gd name="T35" fmla="*/ 89 h 208"/>
                <a:gd name="T36" fmla="*/ 70 w 165"/>
                <a:gd name="T37" fmla="*/ 130 h 208"/>
                <a:gd name="T38" fmla="*/ 55 w 165"/>
                <a:gd name="T39" fmla="*/ 152 h 208"/>
                <a:gd name="T40" fmla="*/ 34 w 165"/>
                <a:gd name="T41" fmla="*/ 158 h 208"/>
                <a:gd name="T42" fmla="*/ 16 w 165"/>
                <a:gd name="T43" fmla="*/ 149 h 208"/>
                <a:gd name="T44" fmla="*/ 7 w 165"/>
                <a:gd name="T45" fmla="*/ 138 h 208"/>
                <a:gd name="T46" fmla="*/ 4 w 165"/>
                <a:gd name="T47" fmla="*/ 107 h 208"/>
                <a:gd name="T48" fmla="*/ 0 w 165"/>
                <a:gd name="T49" fmla="*/ 49 h 208"/>
                <a:gd name="T50" fmla="*/ 4 w 165"/>
                <a:gd name="T51" fmla="*/ 18 h 208"/>
                <a:gd name="T52" fmla="*/ 7 w 165"/>
                <a:gd name="T53" fmla="*/ 11 h 208"/>
                <a:gd name="T54" fmla="*/ 16 w 165"/>
                <a:gd name="T55" fmla="*/ 11 h 208"/>
                <a:gd name="T56" fmla="*/ 27 w 165"/>
                <a:gd name="T57" fmla="*/ 12 h 208"/>
                <a:gd name="T58" fmla="*/ 32 w 165"/>
                <a:gd name="T59" fmla="*/ 16 h 208"/>
                <a:gd name="T60" fmla="*/ 35 w 165"/>
                <a:gd name="T61" fmla="*/ 21 h 208"/>
                <a:gd name="T62" fmla="*/ 35 w 165"/>
                <a:gd name="T63" fmla="*/ 30 h 208"/>
                <a:gd name="T64" fmla="*/ 32 w 165"/>
                <a:gd name="T65" fmla="*/ 63 h 208"/>
                <a:gd name="T66" fmla="*/ 34 w 165"/>
                <a:gd name="T67" fmla="*/ 102 h 208"/>
                <a:gd name="T68" fmla="*/ 35 w 165"/>
                <a:gd name="T69" fmla="*/ 119 h 208"/>
                <a:gd name="T70" fmla="*/ 37 w 165"/>
                <a:gd name="T71" fmla="*/ 121 h 208"/>
                <a:gd name="T72" fmla="*/ 41 w 165"/>
                <a:gd name="T73" fmla="*/ 117 h 208"/>
                <a:gd name="T74" fmla="*/ 63 w 165"/>
                <a:gd name="T75" fmla="*/ 88 h 208"/>
                <a:gd name="T76" fmla="*/ 90 w 165"/>
                <a:gd name="T77" fmla="*/ 46 h 208"/>
                <a:gd name="T78" fmla="*/ 116 w 165"/>
                <a:gd name="T79" fmla="*/ 12 h 208"/>
                <a:gd name="T80" fmla="*/ 147 w 165"/>
                <a:gd name="T8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208">
                  <a:moveTo>
                    <a:pt x="147" y="0"/>
                  </a:moveTo>
                  <a:lnTo>
                    <a:pt x="156" y="4"/>
                  </a:lnTo>
                  <a:lnTo>
                    <a:pt x="163" y="14"/>
                  </a:lnTo>
                  <a:lnTo>
                    <a:pt x="165" y="28"/>
                  </a:lnTo>
                  <a:lnTo>
                    <a:pt x="165" y="47"/>
                  </a:lnTo>
                  <a:lnTo>
                    <a:pt x="163" y="72"/>
                  </a:lnTo>
                  <a:lnTo>
                    <a:pt x="161" y="100"/>
                  </a:lnTo>
                  <a:lnTo>
                    <a:pt x="158" y="124"/>
                  </a:lnTo>
                  <a:lnTo>
                    <a:pt x="156" y="144"/>
                  </a:lnTo>
                  <a:lnTo>
                    <a:pt x="156" y="163"/>
                  </a:lnTo>
                  <a:lnTo>
                    <a:pt x="158" y="180"/>
                  </a:lnTo>
                  <a:lnTo>
                    <a:pt x="161" y="193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1" y="200"/>
                  </a:lnTo>
                  <a:lnTo>
                    <a:pt x="160" y="203"/>
                  </a:lnTo>
                  <a:lnTo>
                    <a:pt x="158" y="205"/>
                  </a:lnTo>
                  <a:lnTo>
                    <a:pt x="154" y="207"/>
                  </a:lnTo>
                  <a:lnTo>
                    <a:pt x="151" y="208"/>
                  </a:lnTo>
                  <a:lnTo>
                    <a:pt x="147" y="207"/>
                  </a:lnTo>
                  <a:lnTo>
                    <a:pt x="144" y="205"/>
                  </a:lnTo>
                  <a:lnTo>
                    <a:pt x="139" y="203"/>
                  </a:lnTo>
                  <a:lnTo>
                    <a:pt x="135" y="196"/>
                  </a:lnTo>
                  <a:lnTo>
                    <a:pt x="132" y="187"/>
                  </a:lnTo>
                  <a:lnTo>
                    <a:pt x="130" y="175"/>
                  </a:lnTo>
                  <a:lnTo>
                    <a:pt x="133" y="131"/>
                  </a:lnTo>
                  <a:lnTo>
                    <a:pt x="133" y="89"/>
                  </a:lnTo>
                  <a:lnTo>
                    <a:pt x="133" y="49"/>
                  </a:lnTo>
                  <a:lnTo>
                    <a:pt x="132" y="44"/>
                  </a:lnTo>
                  <a:lnTo>
                    <a:pt x="130" y="42"/>
                  </a:lnTo>
                  <a:lnTo>
                    <a:pt x="128" y="40"/>
                  </a:lnTo>
                  <a:lnTo>
                    <a:pt x="125" y="40"/>
                  </a:lnTo>
                  <a:lnTo>
                    <a:pt x="121" y="44"/>
                  </a:lnTo>
                  <a:lnTo>
                    <a:pt x="118" y="47"/>
                  </a:lnTo>
                  <a:lnTo>
                    <a:pt x="105" y="68"/>
                  </a:lnTo>
                  <a:lnTo>
                    <a:pt x="91" y="89"/>
                  </a:lnTo>
                  <a:lnTo>
                    <a:pt x="81" y="110"/>
                  </a:lnTo>
                  <a:lnTo>
                    <a:pt x="70" y="130"/>
                  </a:lnTo>
                  <a:lnTo>
                    <a:pt x="62" y="144"/>
                  </a:lnTo>
                  <a:lnTo>
                    <a:pt x="55" y="152"/>
                  </a:lnTo>
                  <a:lnTo>
                    <a:pt x="46" y="159"/>
                  </a:lnTo>
                  <a:lnTo>
                    <a:pt x="34" y="158"/>
                  </a:lnTo>
                  <a:lnTo>
                    <a:pt x="23" y="154"/>
                  </a:lnTo>
                  <a:lnTo>
                    <a:pt x="16" y="149"/>
                  </a:lnTo>
                  <a:lnTo>
                    <a:pt x="11" y="144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4" y="107"/>
                  </a:lnTo>
                  <a:lnTo>
                    <a:pt x="2" y="79"/>
                  </a:lnTo>
                  <a:lnTo>
                    <a:pt x="0" y="49"/>
                  </a:lnTo>
                  <a:lnTo>
                    <a:pt x="2" y="23"/>
                  </a:lnTo>
                  <a:lnTo>
                    <a:pt x="4" y="18"/>
                  </a:lnTo>
                  <a:lnTo>
                    <a:pt x="6" y="14"/>
                  </a:lnTo>
                  <a:lnTo>
                    <a:pt x="7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23" y="11"/>
                  </a:lnTo>
                  <a:lnTo>
                    <a:pt x="27" y="12"/>
                  </a:lnTo>
                  <a:lnTo>
                    <a:pt x="30" y="14"/>
                  </a:lnTo>
                  <a:lnTo>
                    <a:pt x="32" y="16"/>
                  </a:lnTo>
                  <a:lnTo>
                    <a:pt x="34" y="18"/>
                  </a:lnTo>
                  <a:lnTo>
                    <a:pt x="35" y="21"/>
                  </a:lnTo>
                  <a:lnTo>
                    <a:pt x="35" y="25"/>
                  </a:lnTo>
                  <a:lnTo>
                    <a:pt x="35" y="30"/>
                  </a:lnTo>
                  <a:lnTo>
                    <a:pt x="34" y="44"/>
                  </a:lnTo>
                  <a:lnTo>
                    <a:pt x="32" y="63"/>
                  </a:lnTo>
                  <a:lnTo>
                    <a:pt x="32" y="84"/>
                  </a:lnTo>
                  <a:lnTo>
                    <a:pt x="34" y="102"/>
                  </a:lnTo>
                  <a:lnTo>
                    <a:pt x="35" y="116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7" y="121"/>
                  </a:lnTo>
                  <a:lnTo>
                    <a:pt x="39" y="119"/>
                  </a:lnTo>
                  <a:lnTo>
                    <a:pt x="41" y="117"/>
                  </a:lnTo>
                  <a:lnTo>
                    <a:pt x="51" y="105"/>
                  </a:lnTo>
                  <a:lnTo>
                    <a:pt x="63" y="88"/>
                  </a:lnTo>
                  <a:lnTo>
                    <a:pt x="76" y="67"/>
                  </a:lnTo>
                  <a:lnTo>
                    <a:pt x="90" y="46"/>
                  </a:lnTo>
                  <a:lnTo>
                    <a:pt x="100" y="30"/>
                  </a:lnTo>
                  <a:lnTo>
                    <a:pt x="116" y="12"/>
                  </a:lnTo>
                  <a:lnTo>
                    <a:pt x="130" y="4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0"/>
            <p:cNvSpPr>
              <a:spLocks/>
            </p:cNvSpPr>
            <p:nvPr userDrawn="1"/>
          </p:nvSpPr>
          <p:spPr bwMode="auto">
            <a:xfrm>
              <a:off x="7416801" y="5257800"/>
              <a:ext cx="284163" cy="596900"/>
            </a:xfrm>
            <a:custGeom>
              <a:avLst/>
              <a:gdLst>
                <a:gd name="T0" fmla="*/ 119 w 179"/>
                <a:gd name="T1" fmla="*/ 1 h 376"/>
                <a:gd name="T2" fmla="*/ 130 w 179"/>
                <a:gd name="T3" fmla="*/ 8 h 376"/>
                <a:gd name="T4" fmla="*/ 128 w 179"/>
                <a:gd name="T5" fmla="*/ 15 h 376"/>
                <a:gd name="T6" fmla="*/ 123 w 179"/>
                <a:gd name="T7" fmla="*/ 17 h 376"/>
                <a:gd name="T8" fmla="*/ 114 w 179"/>
                <a:gd name="T9" fmla="*/ 19 h 376"/>
                <a:gd name="T10" fmla="*/ 88 w 179"/>
                <a:gd name="T11" fmla="*/ 29 h 376"/>
                <a:gd name="T12" fmla="*/ 49 w 179"/>
                <a:gd name="T13" fmla="*/ 59 h 376"/>
                <a:gd name="T14" fmla="*/ 30 w 179"/>
                <a:gd name="T15" fmla="*/ 98 h 376"/>
                <a:gd name="T16" fmla="*/ 44 w 179"/>
                <a:gd name="T17" fmla="*/ 136 h 376"/>
                <a:gd name="T18" fmla="*/ 67 w 179"/>
                <a:gd name="T19" fmla="*/ 145 h 376"/>
                <a:gd name="T20" fmla="*/ 89 w 179"/>
                <a:gd name="T21" fmla="*/ 129 h 376"/>
                <a:gd name="T22" fmla="*/ 109 w 179"/>
                <a:gd name="T23" fmla="*/ 110 h 376"/>
                <a:gd name="T24" fmla="*/ 117 w 179"/>
                <a:gd name="T25" fmla="*/ 99 h 376"/>
                <a:gd name="T26" fmla="*/ 123 w 179"/>
                <a:gd name="T27" fmla="*/ 92 h 376"/>
                <a:gd name="T28" fmla="*/ 126 w 179"/>
                <a:gd name="T29" fmla="*/ 85 h 376"/>
                <a:gd name="T30" fmla="*/ 128 w 179"/>
                <a:gd name="T31" fmla="*/ 75 h 376"/>
                <a:gd name="T32" fmla="*/ 128 w 179"/>
                <a:gd name="T33" fmla="*/ 66 h 376"/>
                <a:gd name="T34" fmla="*/ 131 w 179"/>
                <a:gd name="T35" fmla="*/ 61 h 376"/>
                <a:gd name="T36" fmla="*/ 140 w 179"/>
                <a:gd name="T37" fmla="*/ 57 h 376"/>
                <a:gd name="T38" fmla="*/ 151 w 179"/>
                <a:gd name="T39" fmla="*/ 59 h 376"/>
                <a:gd name="T40" fmla="*/ 158 w 179"/>
                <a:gd name="T41" fmla="*/ 64 h 376"/>
                <a:gd name="T42" fmla="*/ 161 w 179"/>
                <a:gd name="T43" fmla="*/ 75 h 376"/>
                <a:gd name="T44" fmla="*/ 166 w 179"/>
                <a:gd name="T45" fmla="*/ 124 h 376"/>
                <a:gd name="T46" fmla="*/ 172 w 179"/>
                <a:gd name="T47" fmla="*/ 185 h 376"/>
                <a:gd name="T48" fmla="*/ 177 w 179"/>
                <a:gd name="T49" fmla="*/ 232 h 376"/>
                <a:gd name="T50" fmla="*/ 179 w 179"/>
                <a:gd name="T51" fmla="*/ 287 h 376"/>
                <a:gd name="T52" fmla="*/ 170 w 179"/>
                <a:gd name="T53" fmla="*/ 336 h 376"/>
                <a:gd name="T54" fmla="*/ 145 w 179"/>
                <a:gd name="T55" fmla="*/ 369 h 376"/>
                <a:gd name="T56" fmla="*/ 107 w 179"/>
                <a:gd name="T57" fmla="*/ 376 h 376"/>
                <a:gd name="T58" fmla="*/ 95 w 179"/>
                <a:gd name="T59" fmla="*/ 367 h 376"/>
                <a:gd name="T60" fmla="*/ 95 w 179"/>
                <a:gd name="T61" fmla="*/ 360 h 376"/>
                <a:gd name="T62" fmla="*/ 100 w 179"/>
                <a:gd name="T63" fmla="*/ 358 h 376"/>
                <a:gd name="T64" fmla="*/ 117 w 179"/>
                <a:gd name="T65" fmla="*/ 358 h 376"/>
                <a:gd name="T66" fmla="*/ 142 w 179"/>
                <a:gd name="T67" fmla="*/ 334 h 376"/>
                <a:gd name="T68" fmla="*/ 151 w 179"/>
                <a:gd name="T69" fmla="*/ 281 h 376"/>
                <a:gd name="T70" fmla="*/ 147 w 179"/>
                <a:gd name="T71" fmla="*/ 220 h 376"/>
                <a:gd name="T72" fmla="*/ 140 w 179"/>
                <a:gd name="T73" fmla="*/ 164 h 376"/>
                <a:gd name="T74" fmla="*/ 135 w 179"/>
                <a:gd name="T75" fmla="*/ 119 h 376"/>
                <a:gd name="T76" fmla="*/ 103 w 179"/>
                <a:gd name="T77" fmla="*/ 152 h 376"/>
                <a:gd name="T78" fmla="*/ 65 w 179"/>
                <a:gd name="T79" fmla="*/ 164 h 376"/>
                <a:gd name="T80" fmla="*/ 23 w 179"/>
                <a:gd name="T81" fmla="*/ 152 h 376"/>
                <a:gd name="T82" fmla="*/ 2 w 179"/>
                <a:gd name="T83" fmla="*/ 119 h 376"/>
                <a:gd name="T84" fmla="*/ 4 w 179"/>
                <a:gd name="T85" fmla="*/ 82 h 376"/>
                <a:gd name="T86" fmla="*/ 28 w 179"/>
                <a:gd name="T87" fmla="*/ 42 h 376"/>
                <a:gd name="T88" fmla="*/ 65 w 179"/>
                <a:gd name="T89" fmla="*/ 10 h 376"/>
                <a:gd name="T90" fmla="*/ 107 w 179"/>
                <a:gd name="T91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9" h="376">
                  <a:moveTo>
                    <a:pt x="107" y="0"/>
                  </a:moveTo>
                  <a:lnTo>
                    <a:pt x="119" y="1"/>
                  </a:lnTo>
                  <a:lnTo>
                    <a:pt x="128" y="5"/>
                  </a:lnTo>
                  <a:lnTo>
                    <a:pt x="130" y="8"/>
                  </a:lnTo>
                  <a:lnTo>
                    <a:pt x="130" y="12"/>
                  </a:lnTo>
                  <a:lnTo>
                    <a:pt x="128" y="15"/>
                  </a:lnTo>
                  <a:lnTo>
                    <a:pt x="126" y="17"/>
                  </a:lnTo>
                  <a:lnTo>
                    <a:pt x="123" y="17"/>
                  </a:lnTo>
                  <a:lnTo>
                    <a:pt x="119" y="19"/>
                  </a:lnTo>
                  <a:lnTo>
                    <a:pt x="114" y="19"/>
                  </a:lnTo>
                  <a:lnTo>
                    <a:pt x="107" y="21"/>
                  </a:lnTo>
                  <a:lnTo>
                    <a:pt x="88" y="29"/>
                  </a:lnTo>
                  <a:lnTo>
                    <a:pt x="67" y="42"/>
                  </a:lnTo>
                  <a:lnTo>
                    <a:pt x="49" y="59"/>
                  </a:lnTo>
                  <a:lnTo>
                    <a:pt x="35" y="77"/>
                  </a:lnTo>
                  <a:lnTo>
                    <a:pt x="30" y="98"/>
                  </a:lnTo>
                  <a:lnTo>
                    <a:pt x="34" y="120"/>
                  </a:lnTo>
                  <a:lnTo>
                    <a:pt x="44" y="136"/>
                  </a:lnTo>
                  <a:lnTo>
                    <a:pt x="54" y="143"/>
                  </a:lnTo>
                  <a:lnTo>
                    <a:pt x="67" y="145"/>
                  </a:lnTo>
                  <a:lnTo>
                    <a:pt x="77" y="138"/>
                  </a:lnTo>
                  <a:lnTo>
                    <a:pt x="89" y="129"/>
                  </a:lnTo>
                  <a:lnTo>
                    <a:pt x="102" y="117"/>
                  </a:lnTo>
                  <a:lnTo>
                    <a:pt x="109" y="110"/>
                  </a:lnTo>
                  <a:lnTo>
                    <a:pt x="114" y="103"/>
                  </a:lnTo>
                  <a:lnTo>
                    <a:pt x="117" y="99"/>
                  </a:lnTo>
                  <a:lnTo>
                    <a:pt x="121" y="96"/>
                  </a:lnTo>
                  <a:lnTo>
                    <a:pt x="123" y="92"/>
                  </a:lnTo>
                  <a:lnTo>
                    <a:pt x="124" y="91"/>
                  </a:lnTo>
                  <a:lnTo>
                    <a:pt x="126" y="85"/>
                  </a:lnTo>
                  <a:lnTo>
                    <a:pt x="128" y="80"/>
                  </a:lnTo>
                  <a:lnTo>
                    <a:pt x="128" y="75"/>
                  </a:lnTo>
                  <a:lnTo>
                    <a:pt x="128" y="71"/>
                  </a:lnTo>
                  <a:lnTo>
                    <a:pt x="128" y="66"/>
                  </a:lnTo>
                  <a:lnTo>
                    <a:pt x="130" y="63"/>
                  </a:lnTo>
                  <a:lnTo>
                    <a:pt x="131" y="61"/>
                  </a:lnTo>
                  <a:lnTo>
                    <a:pt x="135" y="59"/>
                  </a:lnTo>
                  <a:lnTo>
                    <a:pt x="140" y="57"/>
                  </a:lnTo>
                  <a:lnTo>
                    <a:pt x="145" y="59"/>
                  </a:lnTo>
                  <a:lnTo>
                    <a:pt x="151" y="59"/>
                  </a:lnTo>
                  <a:lnTo>
                    <a:pt x="154" y="61"/>
                  </a:lnTo>
                  <a:lnTo>
                    <a:pt x="158" y="64"/>
                  </a:lnTo>
                  <a:lnTo>
                    <a:pt x="159" y="70"/>
                  </a:lnTo>
                  <a:lnTo>
                    <a:pt x="161" y="75"/>
                  </a:lnTo>
                  <a:lnTo>
                    <a:pt x="163" y="94"/>
                  </a:lnTo>
                  <a:lnTo>
                    <a:pt x="166" y="124"/>
                  </a:lnTo>
                  <a:lnTo>
                    <a:pt x="170" y="166"/>
                  </a:lnTo>
                  <a:lnTo>
                    <a:pt x="172" y="185"/>
                  </a:lnTo>
                  <a:lnTo>
                    <a:pt x="173" y="208"/>
                  </a:lnTo>
                  <a:lnTo>
                    <a:pt x="177" y="232"/>
                  </a:lnTo>
                  <a:lnTo>
                    <a:pt x="179" y="260"/>
                  </a:lnTo>
                  <a:lnTo>
                    <a:pt x="179" y="287"/>
                  </a:lnTo>
                  <a:lnTo>
                    <a:pt x="175" y="313"/>
                  </a:lnTo>
                  <a:lnTo>
                    <a:pt x="170" y="336"/>
                  </a:lnTo>
                  <a:lnTo>
                    <a:pt x="161" y="355"/>
                  </a:lnTo>
                  <a:lnTo>
                    <a:pt x="145" y="369"/>
                  </a:lnTo>
                  <a:lnTo>
                    <a:pt x="124" y="376"/>
                  </a:lnTo>
                  <a:lnTo>
                    <a:pt x="107" y="376"/>
                  </a:lnTo>
                  <a:lnTo>
                    <a:pt x="96" y="371"/>
                  </a:lnTo>
                  <a:lnTo>
                    <a:pt x="95" y="367"/>
                  </a:lnTo>
                  <a:lnTo>
                    <a:pt x="95" y="364"/>
                  </a:lnTo>
                  <a:lnTo>
                    <a:pt x="95" y="360"/>
                  </a:lnTo>
                  <a:lnTo>
                    <a:pt x="96" y="358"/>
                  </a:lnTo>
                  <a:lnTo>
                    <a:pt x="100" y="358"/>
                  </a:lnTo>
                  <a:lnTo>
                    <a:pt x="103" y="358"/>
                  </a:lnTo>
                  <a:lnTo>
                    <a:pt x="117" y="358"/>
                  </a:lnTo>
                  <a:lnTo>
                    <a:pt x="131" y="351"/>
                  </a:lnTo>
                  <a:lnTo>
                    <a:pt x="142" y="334"/>
                  </a:lnTo>
                  <a:lnTo>
                    <a:pt x="149" y="309"/>
                  </a:lnTo>
                  <a:lnTo>
                    <a:pt x="151" y="281"/>
                  </a:lnTo>
                  <a:lnTo>
                    <a:pt x="149" y="246"/>
                  </a:lnTo>
                  <a:lnTo>
                    <a:pt x="147" y="220"/>
                  </a:lnTo>
                  <a:lnTo>
                    <a:pt x="144" y="192"/>
                  </a:lnTo>
                  <a:lnTo>
                    <a:pt x="140" y="164"/>
                  </a:lnTo>
                  <a:lnTo>
                    <a:pt x="138" y="138"/>
                  </a:lnTo>
                  <a:lnTo>
                    <a:pt x="135" y="119"/>
                  </a:lnTo>
                  <a:lnTo>
                    <a:pt x="121" y="138"/>
                  </a:lnTo>
                  <a:lnTo>
                    <a:pt x="103" y="152"/>
                  </a:lnTo>
                  <a:lnTo>
                    <a:pt x="86" y="161"/>
                  </a:lnTo>
                  <a:lnTo>
                    <a:pt x="65" y="164"/>
                  </a:lnTo>
                  <a:lnTo>
                    <a:pt x="42" y="161"/>
                  </a:lnTo>
                  <a:lnTo>
                    <a:pt x="23" y="152"/>
                  </a:lnTo>
                  <a:lnTo>
                    <a:pt x="11" y="136"/>
                  </a:lnTo>
                  <a:lnTo>
                    <a:pt x="2" y="119"/>
                  </a:lnTo>
                  <a:lnTo>
                    <a:pt x="0" y="99"/>
                  </a:lnTo>
                  <a:lnTo>
                    <a:pt x="4" y="82"/>
                  </a:lnTo>
                  <a:lnTo>
                    <a:pt x="13" y="63"/>
                  </a:lnTo>
                  <a:lnTo>
                    <a:pt x="28" y="42"/>
                  </a:lnTo>
                  <a:lnTo>
                    <a:pt x="46" y="24"/>
                  </a:lnTo>
                  <a:lnTo>
                    <a:pt x="65" y="10"/>
                  </a:lnTo>
                  <a:lnTo>
                    <a:pt x="86" y="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1"/>
            <p:cNvSpPr>
              <a:spLocks/>
            </p:cNvSpPr>
            <p:nvPr userDrawn="1"/>
          </p:nvSpPr>
          <p:spPr bwMode="auto">
            <a:xfrm>
              <a:off x="7905751" y="5046663"/>
              <a:ext cx="330200" cy="479425"/>
            </a:xfrm>
            <a:custGeom>
              <a:avLst/>
              <a:gdLst>
                <a:gd name="T0" fmla="*/ 21 w 208"/>
                <a:gd name="T1" fmla="*/ 1 h 302"/>
                <a:gd name="T2" fmla="*/ 30 w 208"/>
                <a:gd name="T3" fmla="*/ 7 h 302"/>
                <a:gd name="T4" fmla="*/ 35 w 208"/>
                <a:gd name="T5" fmla="*/ 19 h 302"/>
                <a:gd name="T6" fmla="*/ 44 w 208"/>
                <a:gd name="T7" fmla="*/ 122 h 302"/>
                <a:gd name="T8" fmla="*/ 58 w 208"/>
                <a:gd name="T9" fmla="*/ 210 h 302"/>
                <a:gd name="T10" fmla="*/ 89 w 208"/>
                <a:gd name="T11" fmla="*/ 168 h 302"/>
                <a:gd name="T12" fmla="*/ 131 w 208"/>
                <a:gd name="T13" fmla="*/ 136 h 302"/>
                <a:gd name="T14" fmla="*/ 170 w 208"/>
                <a:gd name="T15" fmla="*/ 129 h 302"/>
                <a:gd name="T16" fmla="*/ 194 w 208"/>
                <a:gd name="T17" fmla="*/ 138 h 302"/>
                <a:gd name="T18" fmla="*/ 208 w 208"/>
                <a:gd name="T19" fmla="*/ 169 h 302"/>
                <a:gd name="T20" fmla="*/ 205 w 208"/>
                <a:gd name="T21" fmla="*/ 215 h 302"/>
                <a:gd name="T22" fmla="*/ 187 w 208"/>
                <a:gd name="T23" fmla="*/ 260 h 302"/>
                <a:gd name="T24" fmla="*/ 154 w 208"/>
                <a:gd name="T25" fmla="*/ 294 h 302"/>
                <a:gd name="T26" fmla="*/ 126 w 208"/>
                <a:gd name="T27" fmla="*/ 302 h 302"/>
                <a:gd name="T28" fmla="*/ 115 w 208"/>
                <a:gd name="T29" fmla="*/ 301 h 302"/>
                <a:gd name="T30" fmla="*/ 108 w 208"/>
                <a:gd name="T31" fmla="*/ 295 h 302"/>
                <a:gd name="T32" fmla="*/ 105 w 208"/>
                <a:gd name="T33" fmla="*/ 288 h 302"/>
                <a:gd name="T34" fmla="*/ 107 w 208"/>
                <a:gd name="T35" fmla="*/ 281 h 302"/>
                <a:gd name="T36" fmla="*/ 112 w 208"/>
                <a:gd name="T37" fmla="*/ 281 h 302"/>
                <a:gd name="T38" fmla="*/ 133 w 208"/>
                <a:gd name="T39" fmla="*/ 283 h 302"/>
                <a:gd name="T40" fmla="*/ 161 w 208"/>
                <a:gd name="T41" fmla="*/ 257 h 302"/>
                <a:gd name="T42" fmla="*/ 177 w 208"/>
                <a:gd name="T43" fmla="*/ 197 h 302"/>
                <a:gd name="T44" fmla="*/ 171 w 208"/>
                <a:gd name="T45" fmla="*/ 157 h 302"/>
                <a:gd name="T46" fmla="*/ 164 w 208"/>
                <a:gd name="T47" fmla="*/ 152 h 302"/>
                <a:gd name="T48" fmla="*/ 154 w 208"/>
                <a:gd name="T49" fmla="*/ 154 h 302"/>
                <a:gd name="T50" fmla="*/ 140 w 208"/>
                <a:gd name="T51" fmla="*/ 161 h 302"/>
                <a:gd name="T52" fmla="*/ 110 w 208"/>
                <a:gd name="T53" fmla="*/ 183 h 302"/>
                <a:gd name="T54" fmla="*/ 79 w 208"/>
                <a:gd name="T55" fmla="*/ 227 h 302"/>
                <a:gd name="T56" fmla="*/ 63 w 208"/>
                <a:gd name="T57" fmla="*/ 266 h 302"/>
                <a:gd name="T58" fmla="*/ 56 w 208"/>
                <a:gd name="T59" fmla="*/ 274 h 302"/>
                <a:gd name="T60" fmla="*/ 45 w 208"/>
                <a:gd name="T61" fmla="*/ 276 h 302"/>
                <a:gd name="T62" fmla="*/ 37 w 208"/>
                <a:gd name="T63" fmla="*/ 274 h 302"/>
                <a:gd name="T64" fmla="*/ 31 w 208"/>
                <a:gd name="T65" fmla="*/ 267 h 302"/>
                <a:gd name="T66" fmla="*/ 31 w 208"/>
                <a:gd name="T67" fmla="*/ 259 h 302"/>
                <a:gd name="T68" fmla="*/ 31 w 208"/>
                <a:gd name="T69" fmla="*/ 224 h 302"/>
                <a:gd name="T70" fmla="*/ 26 w 208"/>
                <a:gd name="T71" fmla="*/ 187 h 302"/>
                <a:gd name="T72" fmla="*/ 17 w 208"/>
                <a:gd name="T73" fmla="*/ 140 h 302"/>
                <a:gd name="T74" fmla="*/ 7 w 208"/>
                <a:gd name="T75" fmla="*/ 78 h 302"/>
                <a:gd name="T76" fmla="*/ 0 w 208"/>
                <a:gd name="T77" fmla="*/ 22 h 302"/>
                <a:gd name="T78" fmla="*/ 2 w 208"/>
                <a:gd name="T79" fmla="*/ 8 h 302"/>
                <a:gd name="T80" fmla="*/ 9 w 208"/>
                <a:gd name="T81" fmla="*/ 1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302">
                  <a:moveTo>
                    <a:pt x="14" y="0"/>
                  </a:moveTo>
                  <a:lnTo>
                    <a:pt x="21" y="1"/>
                  </a:lnTo>
                  <a:lnTo>
                    <a:pt x="26" y="3"/>
                  </a:lnTo>
                  <a:lnTo>
                    <a:pt x="30" y="7"/>
                  </a:lnTo>
                  <a:lnTo>
                    <a:pt x="33" y="12"/>
                  </a:lnTo>
                  <a:lnTo>
                    <a:pt x="35" y="19"/>
                  </a:lnTo>
                  <a:lnTo>
                    <a:pt x="40" y="75"/>
                  </a:lnTo>
                  <a:lnTo>
                    <a:pt x="44" y="122"/>
                  </a:lnTo>
                  <a:lnTo>
                    <a:pt x="49" y="166"/>
                  </a:lnTo>
                  <a:lnTo>
                    <a:pt x="58" y="210"/>
                  </a:lnTo>
                  <a:lnTo>
                    <a:pt x="72" y="189"/>
                  </a:lnTo>
                  <a:lnTo>
                    <a:pt x="89" y="168"/>
                  </a:lnTo>
                  <a:lnTo>
                    <a:pt x="108" y="150"/>
                  </a:lnTo>
                  <a:lnTo>
                    <a:pt x="131" y="136"/>
                  </a:lnTo>
                  <a:lnTo>
                    <a:pt x="157" y="129"/>
                  </a:lnTo>
                  <a:lnTo>
                    <a:pt x="170" y="129"/>
                  </a:lnTo>
                  <a:lnTo>
                    <a:pt x="184" y="133"/>
                  </a:lnTo>
                  <a:lnTo>
                    <a:pt x="194" y="138"/>
                  </a:lnTo>
                  <a:lnTo>
                    <a:pt x="203" y="152"/>
                  </a:lnTo>
                  <a:lnTo>
                    <a:pt x="208" y="169"/>
                  </a:lnTo>
                  <a:lnTo>
                    <a:pt x="208" y="192"/>
                  </a:lnTo>
                  <a:lnTo>
                    <a:pt x="205" y="215"/>
                  </a:lnTo>
                  <a:lnTo>
                    <a:pt x="198" y="239"/>
                  </a:lnTo>
                  <a:lnTo>
                    <a:pt x="187" y="260"/>
                  </a:lnTo>
                  <a:lnTo>
                    <a:pt x="173" y="280"/>
                  </a:lnTo>
                  <a:lnTo>
                    <a:pt x="154" y="294"/>
                  </a:lnTo>
                  <a:lnTo>
                    <a:pt x="133" y="302"/>
                  </a:lnTo>
                  <a:lnTo>
                    <a:pt x="126" y="302"/>
                  </a:lnTo>
                  <a:lnTo>
                    <a:pt x="119" y="301"/>
                  </a:lnTo>
                  <a:lnTo>
                    <a:pt x="115" y="301"/>
                  </a:lnTo>
                  <a:lnTo>
                    <a:pt x="112" y="297"/>
                  </a:lnTo>
                  <a:lnTo>
                    <a:pt x="108" y="295"/>
                  </a:lnTo>
                  <a:lnTo>
                    <a:pt x="107" y="292"/>
                  </a:lnTo>
                  <a:lnTo>
                    <a:pt x="105" y="288"/>
                  </a:lnTo>
                  <a:lnTo>
                    <a:pt x="105" y="285"/>
                  </a:lnTo>
                  <a:lnTo>
                    <a:pt x="107" y="281"/>
                  </a:lnTo>
                  <a:lnTo>
                    <a:pt x="108" y="281"/>
                  </a:lnTo>
                  <a:lnTo>
                    <a:pt x="112" y="281"/>
                  </a:lnTo>
                  <a:lnTo>
                    <a:pt x="122" y="285"/>
                  </a:lnTo>
                  <a:lnTo>
                    <a:pt x="133" y="283"/>
                  </a:lnTo>
                  <a:lnTo>
                    <a:pt x="145" y="276"/>
                  </a:lnTo>
                  <a:lnTo>
                    <a:pt x="161" y="257"/>
                  </a:lnTo>
                  <a:lnTo>
                    <a:pt x="171" y="229"/>
                  </a:lnTo>
                  <a:lnTo>
                    <a:pt x="177" y="197"/>
                  </a:lnTo>
                  <a:lnTo>
                    <a:pt x="173" y="162"/>
                  </a:lnTo>
                  <a:lnTo>
                    <a:pt x="171" y="157"/>
                  </a:lnTo>
                  <a:lnTo>
                    <a:pt x="168" y="154"/>
                  </a:lnTo>
                  <a:lnTo>
                    <a:pt x="164" y="152"/>
                  </a:lnTo>
                  <a:lnTo>
                    <a:pt x="161" y="152"/>
                  </a:lnTo>
                  <a:lnTo>
                    <a:pt x="154" y="154"/>
                  </a:lnTo>
                  <a:lnTo>
                    <a:pt x="149" y="155"/>
                  </a:lnTo>
                  <a:lnTo>
                    <a:pt x="140" y="161"/>
                  </a:lnTo>
                  <a:lnTo>
                    <a:pt x="126" y="169"/>
                  </a:lnTo>
                  <a:lnTo>
                    <a:pt x="110" y="183"/>
                  </a:lnTo>
                  <a:lnTo>
                    <a:pt x="94" y="201"/>
                  </a:lnTo>
                  <a:lnTo>
                    <a:pt x="79" y="227"/>
                  </a:lnTo>
                  <a:lnTo>
                    <a:pt x="66" y="259"/>
                  </a:lnTo>
                  <a:lnTo>
                    <a:pt x="63" y="266"/>
                  </a:lnTo>
                  <a:lnTo>
                    <a:pt x="59" y="271"/>
                  </a:lnTo>
                  <a:lnTo>
                    <a:pt x="56" y="274"/>
                  </a:lnTo>
                  <a:lnTo>
                    <a:pt x="51" y="276"/>
                  </a:lnTo>
                  <a:lnTo>
                    <a:pt x="45" y="276"/>
                  </a:lnTo>
                  <a:lnTo>
                    <a:pt x="40" y="276"/>
                  </a:lnTo>
                  <a:lnTo>
                    <a:pt x="37" y="274"/>
                  </a:lnTo>
                  <a:lnTo>
                    <a:pt x="33" y="271"/>
                  </a:lnTo>
                  <a:lnTo>
                    <a:pt x="31" y="267"/>
                  </a:lnTo>
                  <a:lnTo>
                    <a:pt x="31" y="264"/>
                  </a:lnTo>
                  <a:lnTo>
                    <a:pt x="31" y="259"/>
                  </a:lnTo>
                  <a:lnTo>
                    <a:pt x="33" y="243"/>
                  </a:lnTo>
                  <a:lnTo>
                    <a:pt x="31" y="224"/>
                  </a:lnTo>
                  <a:lnTo>
                    <a:pt x="28" y="201"/>
                  </a:lnTo>
                  <a:lnTo>
                    <a:pt x="26" y="187"/>
                  </a:lnTo>
                  <a:lnTo>
                    <a:pt x="21" y="166"/>
                  </a:lnTo>
                  <a:lnTo>
                    <a:pt x="17" y="140"/>
                  </a:lnTo>
                  <a:lnTo>
                    <a:pt x="12" y="110"/>
                  </a:lnTo>
                  <a:lnTo>
                    <a:pt x="7" y="78"/>
                  </a:lnTo>
                  <a:lnTo>
                    <a:pt x="4" y="49"/>
                  </a:lnTo>
                  <a:lnTo>
                    <a:pt x="0" y="22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5"/>
                  </a:lnTo>
                  <a:lnTo>
                    <a:pt x="9" y="1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2"/>
            <p:cNvSpPr>
              <a:spLocks/>
            </p:cNvSpPr>
            <p:nvPr userDrawn="1"/>
          </p:nvSpPr>
          <p:spPr bwMode="auto">
            <a:xfrm>
              <a:off x="8275638" y="5257800"/>
              <a:ext cx="254000" cy="590550"/>
            </a:xfrm>
            <a:custGeom>
              <a:avLst/>
              <a:gdLst>
                <a:gd name="T0" fmla="*/ 150 w 160"/>
                <a:gd name="T1" fmla="*/ 1 h 372"/>
                <a:gd name="T2" fmla="*/ 159 w 160"/>
                <a:gd name="T3" fmla="*/ 10 h 372"/>
                <a:gd name="T4" fmla="*/ 160 w 160"/>
                <a:gd name="T5" fmla="*/ 45 h 372"/>
                <a:gd name="T6" fmla="*/ 150 w 160"/>
                <a:gd name="T7" fmla="*/ 105 h 372"/>
                <a:gd name="T8" fmla="*/ 131 w 160"/>
                <a:gd name="T9" fmla="*/ 175 h 372"/>
                <a:gd name="T10" fmla="*/ 117 w 160"/>
                <a:gd name="T11" fmla="*/ 241 h 372"/>
                <a:gd name="T12" fmla="*/ 115 w 160"/>
                <a:gd name="T13" fmla="*/ 287 h 372"/>
                <a:gd name="T14" fmla="*/ 118 w 160"/>
                <a:gd name="T15" fmla="*/ 318 h 372"/>
                <a:gd name="T16" fmla="*/ 122 w 160"/>
                <a:gd name="T17" fmla="*/ 350 h 372"/>
                <a:gd name="T18" fmla="*/ 120 w 160"/>
                <a:gd name="T19" fmla="*/ 365 h 372"/>
                <a:gd name="T20" fmla="*/ 115 w 160"/>
                <a:gd name="T21" fmla="*/ 372 h 372"/>
                <a:gd name="T22" fmla="*/ 110 w 160"/>
                <a:gd name="T23" fmla="*/ 372 h 372"/>
                <a:gd name="T24" fmla="*/ 103 w 160"/>
                <a:gd name="T25" fmla="*/ 369 h 372"/>
                <a:gd name="T26" fmla="*/ 97 w 160"/>
                <a:gd name="T27" fmla="*/ 364 h 372"/>
                <a:gd name="T28" fmla="*/ 99 w 160"/>
                <a:gd name="T29" fmla="*/ 357 h 372"/>
                <a:gd name="T30" fmla="*/ 99 w 160"/>
                <a:gd name="T31" fmla="*/ 348 h 372"/>
                <a:gd name="T32" fmla="*/ 97 w 160"/>
                <a:gd name="T33" fmla="*/ 336 h 372"/>
                <a:gd name="T34" fmla="*/ 94 w 160"/>
                <a:gd name="T35" fmla="*/ 262 h 372"/>
                <a:gd name="T36" fmla="*/ 101 w 160"/>
                <a:gd name="T37" fmla="*/ 206 h 372"/>
                <a:gd name="T38" fmla="*/ 113 w 160"/>
                <a:gd name="T39" fmla="*/ 147 h 372"/>
                <a:gd name="T40" fmla="*/ 131 w 160"/>
                <a:gd name="T41" fmla="*/ 66 h 372"/>
                <a:gd name="T42" fmla="*/ 103 w 160"/>
                <a:gd name="T43" fmla="*/ 119 h 372"/>
                <a:gd name="T44" fmla="*/ 80 w 160"/>
                <a:gd name="T45" fmla="*/ 155 h 372"/>
                <a:gd name="T46" fmla="*/ 59 w 160"/>
                <a:gd name="T47" fmla="*/ 168 h 372"/>
                <a:gd name="T48" fmla="*/ 43 w 160"/>
                <a:gd name="T49" fmla="*/ 164 h 372"/>
                <a:gd name="T50" fmla="*/ 31 w 160"/>
                <a:gd name="T51" fmla="*/ 159 h 372"/>
                <a:gd name="T52" fmla="*/ 22 w 160"/>
                <a:gd name="T53" fmla="*/ 150 h 372"/>
                <a:gd name="T54" fmla="*/ 15 w 160"/>
                <a:gd name="T55" fmla="*/ 133 h 372"/>
                <a:gd name="T56" fmla="*/ 5 w 160"/>
                <a:gd name="T57" fmla="*/ 96 h 372"/>
                <a:gd name="T58" fmla="*/ 0 w 160"/>
                <a:gd name="T59" fmla="*/ 61 h 372"/>
                <a:gd name="T60" fmla="*/ 1 w 160"/>
                <a:gd name="T61" fmla="*/ 38 h 372"/>
                <a:gd name="T62" fmla="*/ 14 w 160"/>
                <a:gd name="T63" fmla="*/ 29 h 372"/>
                <a:gd name="T64" fmla="*/ 21 w 160"/>
                <a:gd name="T65" fmla="*/ 33 h 372"/>
                <a:gd name="T66" fmla="*/ 26 w 160"/>
                <a:gd name="T67" fmla="*/ 42 h 372"/>
                <a:gd name="T68" fmla="*/ 28 w 160"/>
                <a:gd name="T69" fmla="*/ 54 h 372"/>
                <a:gd name="T70" fmla="*/ 33 w 160"/>
                <a:gd name="T71" fmla="*/ 98 h 372"/>
                <a:gd name="T72" fmla="*/ 43 w 160"/>
                <a:gd name="T73" fmla="*/ 136 h 372"/>
                <a:gd name="T74" fmla="*/ 59 w 160"/>
                <a:gd name="T75" fmla="*/ 138 h 372"/>
                <a:gd name="T76" fmla="*/ 89 w 160"/>
                <a:gd name="T77" fmla="*/ 98 h 372"/>
                <a:gd name="T78" fmla="*/ 122 w 160"/>
                <a:gd name="T79" fmla="*/ 29 h 372"/>
                <a:gd name="T80" fmla="*/ 136 w 160"/>
                <a:gd name="T81" fmla="*/ 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" h="372">
                  <a:moveTo>
                    <a:pt x="145" y="0"/>
                  </a:moveTo>
                  <a:lnTo>
                    <a:pt x="150" y="1"/>
                  </a:lnTo>
                  <a:lnTo>
                    <a:pt x="155" y="3"/>
                  </a:lnTo>
                  <a:lnTo>
                    <a:pt x="159" y="10"/>
                  </a:lnTo>
                  <a:lnTo>
                    <a:pt x="160" y="24"/>
                  </a:lnTo>
                  <a:lnTo>
                    <a:pt x="160" y="45"/>
                  </a:lnTo>
                  <a:lnTo>
                    <a:pt x="157" y="71"/>
                  </a:lnTo>
                  <a:lnTo>
                    <a:pt x="150" y="105"/>
                  </a:lnTo>
                  <a:lnTo>
                    <a:pt x="139" y="140"/>
                  </a:lnTo>
                  <a:lnTo>
                    <a:pt x="131" y="175"/>
                  </a:lnTo>
                  <a:lnTo>
                    <a:pt x="122" y="211"/>
                  </a:lnTo>
                  <a:lnTo>
                    <a:pt x="117" y="241"/>
                  </a:lnTo>
                  <a:lnTo>
                    <a:pt x="115" y="267"/>
                  </a:lnTo>
                  <a:lnTo>
                    <a:pt x="115" y="287"/>
                  </a:lnTo>
                  <a:lnTo>
                    <a:pt x="117" y="304"/>
                  </a:lnTo>
                  <a:lnTo>
                    <a:pt x="118" y="318"/>
                  </a:lnTo>
                  <a:lnTo>
                    <a:pt x="120" y="337"/>
                  </a:lnTo>
                  <a:lnTo>
                    <a:pt x="122" y="350"/>
                  </a:lnTo>
                  <a:lnTo>
                    <a:pt x="122" y="360"/>
                  </a:lnTo>
                  <a:lnTo>
                    <a:pt x="120" y="365"/>
                  </a:lnTo>
                  <a:lnTo>
                    <a:pt x="118" y="371"/>
                  </a:lnTo>
                  <a:lnTo>
                    <a:pt x="115" y="372"/>
                  </a:lnTo>
                  <a:lnTo>
                    <a:pt x="113" y="372"/>
                  </a:lnTo>
                  <a:lnTo>
                    <a:pt x="110" y="372"/>
                  </a:lnTo>
                  <a:lnTo>
                    <a:pt x="104" y="371"/>
                  </a:lnTo>
                  <a:lnTo>
                    <a:pt x="103" y="369"/>
                  </a:lnTo>
                  <a:lnTo>
                    <a:pt x="99" y="367"/>
                  </a:lnTo>
                  <a:lnTo>
                    <a:pt x="97" y="364"/>
                  </a:lnTo>
                  <a:lnTo>
                    <a:pt x="97" y="360"/>
                  </a:lnTo>
                  <a:lnTo>
                    <a:pt x="99" y="357"/>
                  </a:lnTo>
                  <a:lnTo>
                    <a:pt x="99" y="351"/>
                  </a:lnTo>
                  <a:lnTo>
                    <a:pt x="99" y="348"/>
                  </a:lnTo>
                  <a:lnTo>
                    <a:pt x="97" y="343"/>
                  </a:lnTo>
                  <a:lnTo>
                    <a:pt x="97" y="336"/>
                  </a:lnTo>
                  <a:lnTo>
                    <a:pt x="94" y="295"/>
                  </a:lnTo>
                  <a:lnTo>
                    <a:pt x="94" y="262"/>
                  </a:lnTo>
                  <a:lnTo>
                    <a:pt x="96" y="234"/>
                  </a:lnTo>
                  <a:lnTo>
                    <a:pt x="101" y="206"/>
                  </a:lnTo>
                  <a:lnTo>
                    <a:pt x="106" y="178"/>
                  </a:lnTo>
                  <a:lnTo>
                    <a:pt x="113" y="147"/>
                  </a:lnTo>
                  <a:lnTo>
                    <a:pt x="122" y="110"/>
                  </a:lnTo>
                  <a:lnTo>
                    <a:pt x="131" y="66"/>
                  </a:lnTo>
                  <a:lnTo>
                    <a:pt x="117" y="94"/>
                  </a:lnTo>
                  <a:lnTo>
                    <a:pt x="103" y="119"/>
                  </a:lnTo>
                  <a:lnTo>
                    <a:pt x="90" y="140"/>
                  </a:lnTo>
                  <a:lnTo>
                    <a:pt x="80" y="155"/>
                  </a:lnTo>
                  <a:lnTo>
                    <a:pt x="70" y="164"/>
                  </a:lnTo>
                  <a:lnTo>
                    <a:pt x="59" y="168"/>
                  </a:lnTo>
                  <a:lnTo>
                    <a:pt x="50" y="168"/>
                  </a:lnTo>
                  <a:lnTo>
                    <a:pt x="43" y="164"/>
                  </a:lnTo>
                  <a:lnTo>
                    <a:pt x="36" y="162"/>
                  </a:lnTo>
                  <a:lnTo>
                    <a:pt x="31" y="159"/>
                  </a:lnTo>
                  <a:lnTo>
                    <a:pt x="26" y="155"/>
                  </a:lnTo>
                  <a:lnTo>
                    <a:pt x="22" y="150"/>
                  </a:lnTo>
                  <a:lnTo>
                    <a:pt x="19" y="143"/>
                  </a:lnTo>
                  <a:lnTo>
                    <a:pt x="15" y="133"/>
                  </a:lnTo>
                  <a:lnTo>
                    <a:pt x="10" y="115"/>
                  </a:lnTo>
                  <a:lnTo>
                    <a:pt x="5" y="96"/>
                  </a:lnTo>
                  <a:lnTo>
                    <a:pt x="3" y="77"/>
                  </a:lnTo>
                  <a:lnTo>
                    <a:pt x="0" y="61"/>
                  </a:lnTo>
                  <a:lnTo>
                    <a:pt x="0" y="49"/>
                  </a:lnTo>
                  <a:lnTo>
                    <a:pt x="1" y="38"/>
                  </a:lnTo>
                  <a:lnTo>
                    <a:pt x="7" y="31"/>
                  </a:lnTo>
                  <a:lnTo>
                    <a:pt x="14" y="29"/>
                  </a:lnTo>
                  <a:lnTo>
                    <a:pt x="17" y="31"/>
                  </a:lnTo>
                  <a:lnTo>
                    <a:pt x="21" y="33"/>
                  </a:lnTo>
                  <a:lnTo>
                    <a:pt x="22" y="36"/>
                  </a:lnTo>
                  <a:lnTo>
                    <a:pt x="26" y="42"/>
                  </a:lnTo>
                  <a:lnTo>
                    <a:pt x="28" y="47"/>
                  </a:lnTo>
                  <a:lnTo>
                    <a:pt x="28" y="54"/>
                  </a:lnTo>
                  <a:lnTo>
                    <a:pt x="29" y="73"/>
                  </a:lnTo>
                  <a:lnTo>
                    <a:pt x="33" y="98"/>
                  </a:lnTo>
                  <a:lnTo>
                    <a:pt x="38" y="122"/>
                  </a:lnTo>
                  <a:lnTo>
                    <a:pt x="43" y="136"/>
                  </a:lnTo>
                  <a:lnTo>
                    <a:pt x="50" y="141"/>
                  </a:lnTo>
                  <a:lnTo>
                    <a:pt x="59" y="138"/>
                  </a:lnTo>
                  <a:lnTo>
                    <a:pt x="70" y="126"/>
                  </a:lnTo>
                  <a:lnTo>
                    <a:pt x="89" y="98"/>
                  </a:lnTo>
                  <a:lnTo>
                    <a:pt x="106" y="66"/>
                  </a:lnTo>
                  <a:lnTo>
                    <a:pt x="122" y="29"/>
                  </a:lnTo>
                  <a:lnTo>
                    <a:pt x="129" y="10"/>
                  </a:lnTo>
                  <a:lnTo>
                    <a:pt x="136" y="1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3"/>
            <p:cNvSpPr>
              <a:spLocks/>
            </p:cNvSpPr>
            <p:nvPr userDrawn="1"/>
          </p:nvSpPr>
          <p:spPr bwMode="auto">
            <a:xfrm>
              <a:off x="8743951" y="5254625"/>
              <a:ext cx="280988" cy="344488"/>
            </a:xfrm>
            <a:custGeom>
              <a:avLst/>
              <a:gdLst>
                <a:gd name="T0" fmla="*/ 135 w 177"/>
                <a:gd name="T1" fmla="*/ 2 h 217"/>
                <a:gd name="T2" fmla="*/ 161 w 177"/>
                <a:gd name="T3" fmla="*/ 14 h 217"/>
                <a:gd name="T4" fmla="*/ 164 w 177"/>
                <a:gd name="T5" fmla="*/ 42 h 217"/>
                <a:gd name="T6" fmla="*/ 166 w 177"/>
                <a:gd name="T7" fmla="*/ 96 h 217"/>
                <a:gd name="T8" fmla="*/ 170 w 177"/>
                <a:gd name="T9" fmla="*/ 154 h 217"/>
                <a:gd name="T10" fmla="*/ 177 w 177"/>
                <a:gd name="T11" fmla="*/ 196 h 217"/>
                <a:gd name="T12" fmla="*/ 177 w 177"/>
                <a:gd name="T13" fmla="*/ 210 h 217"/>
                <a:gd name="T14" fmla="*/ 171 w 177"/>
                <a:gd name="T15" fmla="*/ 217 h 217"/>
                <a:gd name="T16" fmla="*/ 161 w 177"/>
                <a:gd name="T17" fmla="*/ 217 h 217"/>
                <a:gd name="T18" fmla="*/ 150 w 177"/>
                <a:gd name="T19" fmla="*/ 213 h 217"/>
                <a:gd name="T20" fmla="*/ 143 w 177"/>
                <a:gd name="T21" fmla="*/ 206 h 217"/>
                <a:gd name="T22" fmla="*/ 142 w 177"/>
                <a:gd name="T23" fmla="*/ 191 h 217"/>
                <a:gd name="T24" fmla="*/ 140 w 177"/>
                <a:gd name="T25" fmla="*/ 150 h 217"/>
                <a:gd name="T26" fmla="*/ 135 w 177"/>
                <a:gd name="T27" fmla="*/ 87 h 217"/>
                <a:gd name="T28" fmla="*/ 129 w 177"/>
                <a:gd name="T29" fmla="*/ 35 h 217"/>
                <a:gd name="T30" fmla="*/ 126 w 177"/>
                <a:gd name="T31" fmla="*/ 28 h 217"/>
                <a:gd name="T32" fmla="*/ 122 w 177"/>
                <a:gd name="T33" fmla="*/ 28 h 217"/>
                <a:gd name="T34" fmla="*/ 115 w 177"/>
                <a:gd name="T35" fmla="*/ 35 h 217"/>
                <a:gd name="T36" fmla="*/ 100 w 177"/>
                <a:gd name="T37" fmla="*/ 56 h 217"/>
                <a:gd name="T38" fmla="*/ 73 w 177"/>
                <a:gd name="T39" fmla="*/ 100 h 217"/>
                <a:gd name="T40" fmla="*/ 47 w 177"/>
                <a:gd name="T41" fmla="*/ 170 h 217"/>
                <a:gd name="T42" fmla="*/ 44 w 177"/>
                <a:gd name="T43" fmla="*/ 177 h 217"/>
                <a:gd name="T44" fmla="*/ 35 w 177"/>
                <a:gd name="T45" fmla="*/ 178 h 217"/>
                <a:gd name="T46" fmla="*/ 23 w 177"/>
                <a:gd name="T47" fmla="*/ 177 h 217"/>
                <a:gd name="T48" fmla="*/ 14 w 177"/>
                <a:gd name="T49" fmla="*/ 171 h 217"/>
                <a:gd name="T50" fmla="*/ 11 w 177"/>
                <a:gd name="T51" fmla="*/ 166 h 217"/>
                <a:gd name="T52" fmla="*/ 7 w 177"/>
                <a:gd name="T53" fmla="*/ 154 h 217"/>
                <a:gd name="T54" fmla="*/ 4 w 177"/>
                <a:gd name="T55" fmla="*/ 126 h 217"/>
                <a:gd name="T56" fmla="*/ 2 w 177"/>
                <a:gd name="T57" fmla="*/ 75 h 217"/>
                <a:gd name="T58" fmla="*/ 0 w 177"/>
                <a:gd name="T59" fmla="*/ 24 h 217"/>
                <a:gd name="T60" fmla="*/ 2 w 177"/>
                <a:gd name="T61" fmla="*/ 10 h 217"/>
                <a:gd name="T62" fmla="*/ 7 w 177"/>
                <a:gd name="T63" fmla="*/ 2 h 217"/>
                <a:gd name="T64" fmla="*/ 16 w 177"/>
                <a:gd name="T65" fmla="*/ 2 h 217"/>
                <a:gd name="T66" fmla="*/ 26 w 177"/>
                <a:gd name="T67" fmla="*/ 14 h 217"/>
                <a:gd name="T68" fmla="*/ 28 w 177"/>
                <a:gd name="T69" fmla="*/ 38 h 217"/>
                <a:gd name="T70" fmla="*/ 30 w 177"/>
                <a:gd name="T71" fmla="*/ 98 h 217"/>
                <a:gd name="T72" fmla="*/ 46 w 177"/>
                <a:gd name="T73" fmla="*/ 101 h 217"/>
                <a:gd name="T74" fmla="*/ 73 w 177"/>
                <a:gd name="T75" fmla="*/ 54 h 217"/>
                <a:gd name="T76" fmla="*/ 96 w 177"/>
                <a:gd name="T77" fmla="*/ 17 h 217"/>
                <a:gd name="T78" fmla="*/ 112 w 177"/>
                <a:gd name="T79" fmla="*/ 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7" h="217">
                  <a:moveTo>
                    <a:pt x="121" y="0"/>
                  </a:moveTo>
                  <a:lnTo>
                    <a:pt x="135" y="2"/>
                  </a:lnTo>
                  <a:lnTo>
                    <a:pt x="152" y="7"/>
                  </a:lnTo>
                  <a:lnTo>
                    <a:pt x="161" y="14"/>
                  </a:lnTo>
                  <a:lnTo>
                    <a:pt x="163" y="24"/>
                  </a:lnTo>
                  <a:lnTo>
                    <a:pt x="164" y="42"/>
                  </a:lnTo>
                  <a:lnTo>
                    <a:pt x="164" y="68"/>
                  </a:lnTo>
                  <a:lnTo>
                    <a:pt x="166" y="96"/>
                  </a:lnTo>
                  <a:lnTo>
                    <a:pt x="168" y="124"/>
                  </a:lnTo>
                  <a:lnTo>
                    <a:pt x="170" y="154"/>
                  </a:lnTo>
                  <a:lnTo>
                    <a:pt x="173" y="177"/>
                  </a:lnTo>
                  <a:lnTo>
                    <a:pt x="177" y="196"/>
                  </a:lnTo>
                  <a:lnTo>
                    <a:pt x="177" y="205"/>
                  </a:lnTo>
                  <a:lnTo>
                    <a:pt x="177" y="210"/>
                  </a:lnTo>
                  <a:lnTo>
                    <a:pt x="175" y="213"/>
                  </a:lnTo>
                  <a:lnTo>
                    <a:pt x="171" y="217"/>
                  </a:lnTo>
                  <a:lnTo>
                    <a:pt x="168" y="217"/>
                  </a:lnTo>
                  <a:lnTo>
                    <a:pt x="161" y="217"/>
                  </a:lnTo>
                  <a:lnTo>
                    <a:pt x="156" y="215"/>
                  </a:lnTo>
                  <a:lnTo>
                    <a:pt x="150" y="213"/>
                  </a:lnTo>
                  <a:lnTo>
                    <a:pt x="147" y="210"/>
                  </a:lnTo>
                  <a:lnTo>
                    <a:pt x="143" y="206"/>
                  </a:lnTo>
                  <a:lnTo>
                    <a:pt x="142" y="199"/>
                  </a:lnTo>
                  <a:lnTo>
                    <a:pt x="142" y="191"/>
                  </a:lnTo>
                  <a:lnTo>
                    <a:pt x="140" y="175"/>
                  </a:lnTo>
                  <a:lnTo>
                    <a:pt x="140" y="150"/>
                  </a:lnTo>
                  <a:lnTo>
                    <a:pt x="138" y="119"/>
                  </a:lnTo>
                  <a:lnTo>
                    <a:pt x="135" y="87"/>
                  </a:lnTo>
                  <a:lnTo>
                    <a:pt x="133" y="58"/>
                  </a:lnTo>
                  <a:lnTo>
                    <a:pt x="129" y="35"/>
                  </a:lnTo>
                  <a:lnTo>
                    <a:pt x="128" y="30"/>
                  </a:lnTo>
                  <a:lnTo>
                    <a:pt x="126" y="28"/>
                  </a:lnTo>
                  <a:lnTo>
                    <a:pt x="124" y="26"/>
                  </a:lnTo>
                  <a:lnTo>
                    <a:pt x="122" y="28"/>
                  </a:lnTo>
                  <a:lnTo>
                    <a:pt x="119" y="30"/>
                  </a:lnTo>
                  <a:lnTo>
                    <a:pt x="115" y="35"/>
                  </a:lnTo>
                  <a:lnTo>
                    <a:pt x="110" y="42"/>
                  </a:lnTo>
                  <a:lnTo>
                    <a:pt x="100" y="56"/>
                  </a:lnTo>
                  <a:lnTo>
                    <a:pt x="87" y="75"/>
                  </a:lnTo>
                  <a:lnTo>
                    <a:pt x="73" y="100"/>
                  </a:lnTo>
                  <a:lnTo>
                    <a:pt x="60" y="131"/>
                  </a:lnTo>
                  <a:lnTo>
                    <a:pt x="47" y="170"/>
                  </a:lnTo>
                  <a:lnTo>
                    <a:pt x="46" y="173"/>
                  </a:lnTo>
                  <a:lnTo>
                    <a:pt x="44" y="177"/>
                  </a:lnTo>
                  <a:lnTo>
                    <a:pt x="40" y="178"/>
                  </a:lnTo>
                  <a:lnTo>
                    <a:pt x="35" y="178"/>
                  </a:lnTo>
                  <a:lnTo>
                    <a:pt x="30" y="178"/>
                  </a:lnTo>
                  <a:lnTo>
                    <a:pt x="23" y="177"/>
                  </a:lnTo>
                  <a:lnTo>
                    <a:pt x="19" y="175"/>
                  </a:lnTo>
                  <a:lnTo>
                    <a:pt x="14" y="171"/>
                  </a:lnTo>
                  <a:lnTo>
                    <a:pt x="12" y="170"/>
                  </a:lnTo>
                  <a:lnTo>
                    <a:pt x="11" y="166"/>
                  </a:lnTo>
                  <a:lnTo>
                    <a:pt x="9" y="161"/>
                  </a:lnTo>
                  <a:lnTo>
                    <a:pt x="7" y="154"/>
                  </a:lnTo>
                  <a:lnTo>
                    <a:pt x="5" y="143"/>
                  </a:lnTo>
                  <a:lnTo>
                    <a:pt x="4" y="126"/>
                  </a:lnTo>
                  <a:lnTo>
                    <a:pt x="2" y="101"/>
                  </a:lnTo>
                  <a:lnTo>
                    <a:pt x="2" y="75"/>
                  </a:lnTo>
                  <a:lnTo>
                    <a:pt x="0" y="49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2" y="10"/>
                  </a:lnTo>
                  <a:lnTo>
                    <a:pt x="4" y="5"/>
                  </a:lnTo>
                  <a:lnTo>
                    <a:pt x="7" y="2"/>
                  </a:lnTo>
                  <a:lnTo>
                    <a:pt x="11" y="2"/>
                  </a:lnTo>
                  <a:lnTo>
                    <a:pt x="16" y="2"/>
                  </a:lnTo>
                  <a:lnTo>
                    <a:pt x="23" y="5"/>
                  </a:lnTo>
                  <a:lnTo>
                    <a:pt x="26" y="14"/>
                  </a:lnTo>
                  <a:lnTo>
                    <a:pt x="28" y="24"/>
                  </a:lnTo>
                  <a:lnTo>
                    <a:pt x="28" y="38"/>
                  </a:lnTo>
                  <a:lnTo>
                    <a:pt x="28" y="68"/>
                  </a:lnTo>
                  <a:lnTo>
                    <a:pt x="30" y="98"/>
                  </a:lnTo>
                  <a:lnTo>
                    <a:pt x="33" y="128"/>
                  </a:lnTo>
                  <a:lnTo>
                    <a:pt x="46" y="101"/>
                  </a:lnTo>
                  <a:lnTo>
                    <a:pt x="60" y="77"/>
                  </a:lnTo>
                  <a:lnTo>
                    <a:pt x="73" y="54"/>
                  </a:lnTo>
                  <a:lnTo>
                    <a:pt x="86" y="33"/>
                  </a:lnTo>
                  <a:lnTo>
                    <a:pt x="96" y="17"/>
                  </a:lnTo>
                  <a:lnTo>
                    <a:pt x="105" y="5"/>
                  </a:lnTo>
                  <a:lnTo>
                    <a:pt x="112" y="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4"/>
            <p:cNvSpPr>
              <a:spLocks/>
            </p:cNvSpPr>
            <p:nvPr userDrawn="1"/>
          </p:nvSpPr>
          <p:spPr bwMode="auto">
            <a:xfrm>
              <a:off x="9043988" y="5251450"/>
              <a:ext cx="271463" cy="330200"/>
            </a:xfrm>
            <a:custGeom>
              <a:avLst/>
              <a:gdLst>
                <a:gd name="T0" fmla="*/ 114 w 171"/>
                <a:gd name="T1" fmla="*/ 2 h 208"/>
                <a:gd name="T2" fmla="*/ 121 w 171"/>
                <a:gd name="T3" fmla="*/ 5 h 208"/>
                <a:gd name="T4" fmla="*/ 124 w 171"/>
                <a:gd name="T5" fmla="*/ 12 h 208"/>
                <a:gd name="T6" fmla="*/ 119 w 171"/>
                <a:gd name="T7" fmla="*/ 23 h 208"/>
                <a:gd name="T8" fmla="*/ 73 w 171"/>
                <a:gd name="T9" fmla="*/ 47 h 208"/>
                <a:gd name="T10" fmla="*/ 42 w 171"/>
                <a:gd name="T11" fmla="*/ 79 h 208"/>
                <a:gd name="T12" fmla="*/ 30 w 171"/>
                <a:gd name="T13" fmla="*/ 109 h 208"/>
                <a:gd name="T14" fmla="*/ 38 w 171"/>
                <a:gd name="T15" fmla="*/ 123 h 208"/>
                <a:gd name="T16" fmla="*/ 65 w 171"/>
                <a:gd name="T17" fmla="*/ 119 h 208"/>
                <a:gd name="T18" fmla="*/ 98 w 171"/>
                <a:gd name="T19" fmla="*/ 105 h 208"/>
                <a:gd name="T20" fmla="*/ 126 w 171"/>
                <a:gd name="T21" fmla="*/ 86 h 208"/>
                <a:gd name="T22" fmla="*/ 128 w 171"/>
                <a:gd name="T23" fmla="*/ 60 h 208"/>
                <a:gd name="T24" fmla="*/ 140 w 171"/>
                <a:gd name="T25" fmla="*/ 49 h 208"/>
                <a:gd name="T26" fmla="*/ 152 w 171"/>
                <a:gd name="T27" fmla="*/ 54 h 208"/>
                <a:gd name="T28" fmla="*/ 157 w 171"/>
                <a:gd name="T29" fmla="*/ 58 h 208"/>
                <a:gd name="T30" fmla="*/ 159 w 171"/>
                <a:gd name="T31" fmla="*/ 63 h 208"/>
                <a:gd name="T32" fmla="*/ 161 w 171"/>
                <a:gd name="T33" fmla="*/ 112 h 208"/>
                <a:gd name="T34" fmla="*/ 166 w 171"/>
                <a:gd name="T35" fmla="*/ 172 h 208"/>
                <a:gd name="T36" fmla="*/ 169 w 171"/>
                <a:gd name="T37" fmla="*/ 200 h 208"/>
                <a:gd name="T38" fmla="*/ 164 w 171"/>
                <a:gd name="T39" fmla="*/ 207 h 208"/>
                <a:gd name="T40" fmla="*/ 156 w 171"/>
                <a:gd name="T41" fmla="*/ 207 h 208"/>
                <a:gd name="T42" fmla="*/ 147 w 171"/>
                <a:gd name="T43" fmla="*/ 198 h 208"/>
                <a:gd name="T44" fmla="*/ 135 w 171"/>
                <a:gd name="T45" fmla="*/ 158 h 208"/>
                <a:gd name="T46" fmla="*/ 129 w 171"/>
                <a:gd name="T47" fmla="*/ 117 h 208"/>
                <a:gd name="T48" fmla="*/ 86 w 171"/>
                <a:gd name="T49" fmla="*/ 140 h 208"/>
                <a:gd name="T50" fmla="*/ 44 w 171"/>
                <a:gd name="T51" fmla="*/ 151 h 208"/>
                <a:gd name="T52" fmla="*/ 12 w 171"/>
                <a:gd name="T53" fmla="*/ 138 h 208"/>
                <a:gd name="T54" fmla="*/ 0 w 171"/>
                <a:gd name="T55" fmla="*/ 102 h 208"/>
                <a:gd name="T56" fmla="*/ 17 w 171"/>
                <a:gd name="T57" fmla="*/ 58 h 208"/>
                <a:gd name="T58" fmla="*/ 58 w 171"/>
                <a:gd name="T59" fmla="*/ 19 h 208"/>
                <a:gd name="T60" fmla="*/ 91 w 171"/>
                <a:gd name="T61" fmla="*/ 2 h 208"/>
                <a:gd name="T62" fmla="*/ 110 w 171"/>
                <a:gd name="T6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1" h="208">
                  <a:moveTo>
                    <a:pt x="110" y="0"/>
                  </a:moveTo>
                  <a:lnTo>
                    <a:pt x="114" y="2"/>
                  </a:lnTo>
                  <a:lnTo>
                    <a:pt x="117" y="4"/>
                  </a:lnTo>
                  <a:lnTo>
                    <a:pt x="121" y="5"/>
                  </a:lnTo>
                  <a:lnTo>
                    <a:pt x="122" y="9"/>
                  </a:lnTo>
                  <a:lnTo>
                    <a:pt x="124" y="12"/>
                  </a:lnTo>
                  <a:lnTo>
                    <a:pt x="122" y="18"/>
                  </a:lnTo>
                  <a:lnTo>
                    <a:pt x="119" y="23"/>
                  </a:lnTo>
                  <a:lnTo>
                    <a:pt x="96" y="33"/>
                  </a:lnTo>
                  <a:lnTo>
                    <a:pt x="73" y="47"/>
                  </a:lnTo>
                  <a:lnTo>
                    <a:pt x="56" y="63"/>
                  </a:lnTo>
                  <a:lnTo>
                    <a:pt x="42" y="79"/>
                  </a:lnTo>
                  <a:lnTo>
                    <a:pt x="33" y="95"/>
                  </a:lnTo>
                  <a:lnTo>
                    <a:pt x="30" y="109"/>
                  </a:lnTo>
                  <a:lnTo>
                    <a:pt x="31" y="119"/>
                  </a:lnTo>
                  <a:lnTo>
                    <a:pt x="38" y="123"/>
                  </a:lnTo>
                  <a:lnTo>
                    <a:pt x="49" y="123"/>
                  </a:lnTo>
                  <a:lnTo>
                    <a:pt x="65" y="119"/>
                  </a:lnTo>
                  <a:lnTo>
                    <a:pt x="82" y="112"/>
                  </a:lnTo>
                  <a:lnTo>
                    <a:pt x="98" y="105"/>
                  </a:lnTo>
                  <a:lnTo>
                    <a:pt x="114" y="95"/>
                  </a:lnTo>
                  <a:lnTo>
                    <a:pt x="126" y="86"/>
                  </a:lnTo>
                  <a:lnTo>
                    <a:pt x="126" y="70"/>
                  </a:lnTo>
                  <a:lnTo>
                    <a:pt x="128" y="60"/>
                  </a:lnTo>
                  <a:lnTo>
                    <a:pt x="131" y="51"/>
                  </a:lnTo>
                  <a:lnTo>
                    <a:pt x="140" y="49"/>
                  </a:lnTo>
                  <a:lnTo>
                    <a:pt x="147" y="51"/>
                  </a:lnTo>
                  <a:lnTo>
                    <a:pt x="152" y="54"/>
                  </a:lnTo>
                  <a:lnTo>
                    <a:pt x="154" y="56"/>
                  </a:lnTo>
                  <a:lnTo>
                    <a:pt x="157" y="58"/>
                  </a:lnTo>
                  <a:lnTo>
                    <a:pt x="157" y="61"/>
                  </a:lnTo>
                  <a:lnTo>
                    <a:pt x="159" y="63"/>
                  </a:lnTo>
                  <a:lnTo>
                    <a:pt x="159" y="84"/>
                  </a:lnTo>
                  <a:lnTo>
                    <a:pt x="161" y="112"/>
                  </a:lnTo>
                  <a:lnTo>
                    <a:pt x="163" y="142"/>
                  </a:lnTo>
                  <a:lnTo>
                    <a:pt x="166" y="172"/>
                  </a:lnTo>
                  <a:lnTo>
                    <a:pt x="171" y="194"/>
                  </a:lnTo>
                  <a:lnTo>
                    <a:pt x="169" y="200"/>
                  </a:lnTo>
                  <a:lnTo>
                    <a:pt x="168" y="205"/>
                  </a:lnTo>
                  <a:lnTo>
                    <a:pt x="164" y="207"/>
                  </a:lnTo>
                  <a:lnTo>
                    <a:pt x="161" y="208"/>
                  </a:lnTo>
                  <a:lnTo>
                    <a:pt x="156" y="207"/>
                  </a:lnTo>
                  <a:lnTo>
                    <a:pt x="150" y="203"/>
                  </a:lnTo>
                  <a:lnTo>
                    <a:pt x="147" y="198"/>
                  </a:lnTo>
                  <a:lnTo>
                    <a:pt x="140" y="179"/>
                  </a:lnTo>
                  <a:lnTo>
                    <a:pt x="135" y="158"/>
                  </a:lnTo>
                  <a:lnTo>
                    <a:pt x="131" y="135"/>
                  </a:lnTo>
                  <a:lnTo>
                    <a:pt x="129" y="117"/>
                  </a:lnTo>
                  <a:lnTo>
                    <a:pt x="108" y="130"/>
                  </a:lnTo>
                  <a:lnTo>
                    <a:pt x="86" y="140"/>
                  </a:lnTo>
                  <a:lnTo>
                    <a:pt x="65" y="147"/>
                  </a:lnTo>
                  <a:lnTo>
                    <a:pt x="44" y="151"/>
                  </a:lnTo>
                  <a:lnTo>
                    <a:pt x="26" y="149"/>
                  </a:lnTo>
                  <a:lnTo>
                    <a:pt x="12" y="138"/>
                  </a:lnTo>
                  <a:lnTo>
                    <a:pt x="2" y="121"/>
                  </a:lnTo>
                  <a:lnTo>
                    <a:pt x="0" y="102"/>
                  </a:lnTo>
                  <a:lnTo>
                    <a:pt x="5" y="81"/>
                  </a:lnTo>
                  <a:lnTo>
                    <a:pt x="17" y="58"/>
                  </a:lnTo>
                  <a:lnTo>
                    <a:pt x="37" y="37"/>
                  </a:lnTo>
                  <a:lnTo>
                    <a:pt x="58" y="19"/>
                  </a:lnTo>
                  <a:lnTo>
                    <a:pt x="75" y="9"/>
                  </a:lnTo>
                  <a:lnTo>
                    <a:pt x="91" y="2"/>
                  </a:lnTo>
                  <a:lnTo>
                    <a:pt x="101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5"/>
            <p:cNvSpPr>
              <a:spLocks/>
            </p:cNvSpPr>
            <p:nvPr userDrawn="1"/>
          </p:nvSpPr>
          <p:spPr bwMode="auto">
            <a:xfrm>
              <a:off x="9356726" y="5065713"/>
              <a:ext cx="120650" cy="503238"/>
            </a:xfrm>
            <a:custGeom>
              <a:avLst/>
              <a:gdLst>
                <a:gd name="T0" fmla="*/ 16 w 76"/>
                <a:gd name="T1" fmla="*/ 0 h 317"/>
                <a:gd name="T2" fmla="*/ 21 w 76"/>
                <a:gd name="T3" fmla="*/ 0 h 317"/>
                <a:gd name="T4" fmla="*/ 28 w 76"/>
                <a:gd name="T5" fmla="*/ 3 h 317"/>
                <a:gd name="T6" fmla="*/ 34 w 76"/>
                <a:gd name="T7" fmla="*/ 10 h 317"/>
                <a:gd name="T8" fmla="*/ 35 w 76"/>
                <a:gd name="T9" fmla="*/ 24 h 317"/>
                <a:gd name="T10" fmla="*/ 35 w 76"/>
                <a:gd name="T11" fmla="*/ 47 h 317"/>
                <a:gd name="T12" fmla="*/ 37 w 76"/>
                <a:gd name="T13" fmla="*/ 72 h 317"/>
                <a:gd name="T14" fmla="*/ 37 w 76"/>
                <a:gd name="T15" fmla="*/ 103 h 317"/>
                <a:gd name="T16" fmla="*/ 39 w 76"/>
                <a:gd name="T17" fmla="*/ 142 h 317"/>
                <a:gd name="T18" fmla="*/ 42 w 76"/>
                <a:gd name="T19" fmla="*/ 180 h 317"/>
                <a:gd name="T20" fmla="*/ 46 w 76"/>
                <a:gd name="T21" fmla="*/ 219 h 317"/>
                <a:gd name="T22" fmla="*/ 51 w 76"/>
                <a:gd name="T23" fmla="*/ 255 h 317"/>
                <a:gd name="T24" fmla="*/ 53 w 76"/>
                <a:gd name="T25" fmla="*/ 254 h 317"/>
                <a:gd name="T26" fmla="*/ 56 w 76"/>
                <a:gd name="T27" fmla="*/ 252 h 317"/>
                <a:gd name="T28" fmla="*/ 60 w 76"/>
                <a:gd name="T29" fmla="*/ 250 h 317"/>
                <a:gd name="T30" fmla="*/ 62 w 76"/>
                <a:gd name="T31" fmla="*/ 248 h 317"/>
                <a:gd name="T32" fmla="*/ 65 w 76"/>
                <a:gd name="T33" fmla="*/ 247 h 317"/>
                <a:gd name="T34" fmla="*/ 69 w 76"/>
                <a:gd name="T35" fmla="*/ 247 h 317"/>
                <a:gd name="T36" fmla="*/ 70 w 76"/>
                <a:gd name="T37" fmla="*/ 248 h 317"/>
                <a:gd name="T38" fmla="*/ 74 w 76"/>
                <a:gd name="T39" fmla="*/ 250 h 317"/>
                <a:gd name="T40" fmla="*/ 74 w 76"/>
                <a:gd name="T41" fmla="*/ 255 h 317"/>
                <a:gd name="T42" fmla="*/ 76 w 76"/>
                <a:gd name="T43" fmla="*/ 261 h 317"/>
                <a:gd name="T44" fmla="*/ 72 w 76"/>
                <a:gd name="T45" fmla="*/ 283 h 317"/>
                <a:gd name="T46" fmla="*/ 63 w 76"/>
                <a:gd name="T47" fmla="*/ 301 h 317"/>
                <a:gd name="T48" fmla="*/ 53 w 76"/>
                <a:gd name="T49" fmla="*/ 313 h 317"/>
                <a:gd name="T50" fmla="*/ 42 w 76"/>
                <a:gd name="T51" fmla="*/ 317 h 317"/>
                <a:gd name="T52" fmla="*/ 35 w 76"/>
                <a:gd name="T53" fmla="*/ 315 h 317"/>
                <a:gd name="T54" fmla="*/ 30 w 76"/>
                <a:gd name="T55" fmla="*/ 306 h 317"/>
                <a:gd name="T56" fmla="*/ 27 w 76"/>
                <a:gd name="T57" fmla="*/ 296 h 317"/>
                <a:gd name="T58" fmla="*/ 23 w 76"/>
                <a:gd name="T59" fmla="*/ 282 h 317"/>
                <a:gd name="T60" fmla="*/ 21 w 76"/>
                <a:gd name="T61" fmla="*/ 264 h 317"/>
                <a:gd name="T62" fmla="*/ 18 w 76"/>
                <a:gd name="T63" fmla="*/ 238 h 317"/>
                <a:gd name="T64" fmla="*/ 14 w 76"/>
                <a:gd name="T65" fmla="*/ 205 h 317"/>
                <a:gd name="T66" fmla="*/ 13 w 76"/>
                <a:gd name="T67" fmla="*/ 168 h 317"/>
                <a:gd name="T68" fmla="*/ 9 w 76"/>
                <a:gd name="T69" fmla="*/ 131 h 317"/>
                <a:gd name="T70" fmla="*/ 6 w 76"/>
                <a:gd name="T71" fmla="*/ 94 h 317"/>
                <a:gd name="T72" fmla="*/ 2 w 76"/>
                <a:gd name="T73" fmla="*/ 65 h 317"/>
                <a:gd name="T74" fmla="*/ 0 w 76"/>
                <a:gd name="T75" fmla="*/ 40 h 317"/>
                <a:gd name="T76" fmla="*/ 0 w 76"/>
                <a:gd name="T77" fmla="*/ 26 h 317"/>
                <a:gd name="T78" fmla="*/ 0 w 76"/>
                <a:gd name="T79" fmla="*/ 19 h 317"/>
                <a:gd name="T80" fmla="*/ 0 w 76"/>
                <a:gd name="T81" fmla="*/ 12 h 317"/>
                <a:gd name="T82" fmla="*/ 4 w 76"/>
                <a:gd name="T83" fmla="*/ 7 h 317"/>
                <a:gd name="T84" fmla="*/ 6 w 76"/>
                <a:gd name="T85" fmla="*/ 3 h 317"/>
                <a:gd name="T86" fmla="*/ 9 w 76"/>
                <a:gd name="T87" fmla="*/ 2 h 317"/>
                <a:gd name="T88" fmla="*/ 13 w 76"/>
                <a:gd name="T89" fmla="*/ 0 h 317"/>
                <a:gd name="T90" fmla="*/ 16 w 76"/>
                <a:gd name="T91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6" h="317">
                  <a:moveTo>
                    <a:pt x="16" y="0"/>
                  </a:moveTo>
                  <a:lnTo>
                    <a:pt x="21" y="0"/>
                  </a:lnTo>
                  <a:lnTo>
                    <a:pt x="28" y="3"/>
                  </a:lnTo>
                  <a:lnTo>
                    <a:pt x="34" y="10"/>
                  </a:lnTo>
                  <a:lnTo>
                    <a:pt x="35" y="24"/>
                  </a:lnTo>
                  <a:lnTo>
                    <a:pt x="35" y="47"/>
                  </a:lnTo>
                  <a:lnTo>
                    <a:pt x="37" y="72"/>
                  </a:lnTo>
                  <a:lnTo>
                    <a:pt x="37" y="103"/>
                  </a:lnTo>
                  <a:lnTo>
                    <a:pt x="39" y="142"/>
                  </a:lnTo>
                  <a:lnTo>
                    <a:pt x="42" y="180"/>
                  </a:lnTo>
                  <a:lnTo>
                    <a:pt x="46" y="219"/>
                  </a:lnTo>
                  <a:lnTo>
                    <a:pt x="51" y="255"/>
                  </a:lnTo>
                  <a:lnTo>
                    <a:pt x="53" y="254"/>
                  </a:lnTo>
                  <a:lnTo>
                    <a:pt x="56" y="252"/>
                  </a:lnTo>
                  <a:lnTo>
                    <a:pt x="60" y="250"/>
                  </a:lnTo>
                  <a:lnTo>
                    <a:pt x="62" y="248"/>
                  </a:lnTo>
                  <a:lnTo>
                    <a:pt x="65" y="247"/>
                  </a:lnTo>
                  <a:lnTo>
                    <a:pt x="69" y="247"/>
                  </a:lnTo>
                  <a:lnTo>
                    <a:pt x="70" y="248"/>
                  </a:lnTo>
                  <a:lnTo>
                    <a:pt x="74" y="250"/>
                  </a:lnTo>
                  <a:lnTo>
                    <a:pt x="74" y="255"/>
                  </a:lnTo>
                  <a:lnTo>
                    <a:pt x="76" y="261"/>
                  </a:lnTo>
                  <a:lnTo>
                    <a:pt x="72" y="283"/>
                  </a:lnTo>
                  <a:lnTo>
                    <a:pt x="63" y="301"/>
                  </a:lnTo>
                  <a:lnTo>
                    <a:pt x="53" y="313"/>
                  </a:lnTo>
                  <a:lnTo>
                    <a:pt x="42" y="317"/>
                  </a:lnTo>
                  <a:lnTo>
                    <a:pt x="35" y="315"/>
                  </a:lnTo>
                  <a:lnTo>
                    <a:pt x="30" y="306"/>
                  </a:lnTo>
                  <a:lnTo>
                    <a:pt x="27" y="296"/>
                  </a:lnTo>
                  <a:lnTo>
                    <a:pt x="23" y="282"/>
                  </a:lnTo>
                  <a:lnTo>
                    <a:pt x="21" y="264"/>
                  </a:lnTo>
                  <a:lnTo>
                    <a:pt x="18" y="238"/>
                  </a:lnTo>
                  <a:lnTo>
                    <a:pt x="14" y="205"/>
                  </a:lnTo>
                  <a:lnTo>
                    <a:pt x="13" y="168"/>
                  </a:lnTo>
                  <a:lnTo>
                    <a:pt x="9" y="131"/>
                  </a:lnTo>
                  <a:lnTo>
                    <a:pt x="6" y="94"/>
                  </a:lnTo>
                  <a:lnTo>
                    <a:pt x="2" y="65"/>
                  </a:lnTo>
                  <a:lnTo>
                    <a:pt x="0" y="40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0" y="12"/>
                  </a:lnTo>
                  <a:lnTo>
                    <a:pt x="4" y="7"/>
                  </a:lnTo>
                  <a:lnTo>
                    <a:pt x="6" y="3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6"/>
            <p:cNvSpPr>
              <a:spLocks/>
            </p:cNvSpPr>
            <p:nvPr userDrawn="1"/>
          </p:nvSpPr>
          <p:spPr bwMode="auto">
            <a:xfrm>
              <a:off x="9299576" y="5176838"/>
              <a:ext cx="312738" cy="74613"/>
            </a:xfrm>
            <a:custGeom>
              <a:avLst/>
              <a:gdLst>
                <a:gd name="T0" fmla="*/ 183 w 197"/>
                <a:gd name="T1" fmla="*/ 0 h 47"/>
                <a:gd name="T2" fmla="*/ 187 w 197"/>
                <a:gd name="T3" fmla="*/ 3 h 47"/>
                <a:gd name="T4" fmla="*/ 192 w 197"/>
                <a:gd name="T5" fmla="*/ 7 h 47"/>
                <a:gd name="T6" fmla="*/ 196 w 197"/>
                <a:gd name="T7" fmla="*/ 10 h 47"/>
                <a:gd name="T8" fmla="*/ 197 w 197"/>
                <a:gd name="T9" fmla="*/ 14 h 47"/>
                <a:gd name="T10" fmla="*/ 196 w 197"/>
                <a:gd name="T11" fmla="*/ 16 h 47"/>
                <a:gd name="T12" fmla="*/ 194 w 197"/>
                <a:gd name="T13" fmla="*/ 19 h 47"/>
                <a:gd name="T14" fmla="*/ 190 w 197"/>
                <a:gd name="T15" fmla="*/ 21 h 47"/>
                <a:gd name="T16" fmla="*/ 183 w 197"/>
                <a:gd name="T17" fmla="*/ 23 h 47"/>
                <a:gd name="T18" fmla="*/ 176 w 197"/>
                <a:gd name="T19" fmla="*/ 24 h 47"/>
                <a:gd name="T20" fmla="*/ 157 w 197"/>
                <a:gd name="T21" fmla="*/ 26 h 47"/>
                <a:gd name="T22" fmla="*/ 131 w 197"/>
                <a:gd name="T23" fmla="*/ 31 h 47"/>
                <a:gd name="T24" fmla="*/ 105 w 197"/>
                <a:gd name="T25" fmla="*/ 37 h 47"/>
                <a:gd name="T26" fmla="*/ 78 w 197"/>
                <a:gd name="T27" fmla="*/ 42 h 47"/>
                <a:gd name="T28" fmla="*/ 52 w 197"/>
                <a:gd name="T29" fmla="*/ 45 h 47"/>
                <a:gd name="T30" fmla="*/ 33 w 197"/>
                <a:gd name="T31" fmla="*/ 47 h 47"/>
                <a:gd name="T32" fmla="*/ 19 w 197"/>
                <a:gd name="T33" fmla="*/ 47 h 47"/>
                <a:gd name="T34" fmla="*/ 8 w 197"/>
                <a:gd name="T35" fmla="*/ 42 h 47"/>
                <a:gd name="T36" fmla="*/ 2 w 197"/>
                <a:gd name="T37" fmla="*/ 35 h 47"/>
                <a:gd name="T38" fmla="*/ 0 w 197"/>
                <a:gd name="T39" fmla="*/ 31 h 47"/>
                <a:gd name="T40" fmla="*/ 2 w 197"/>
                <a:gd name="T41" fmla="*/ 26 h 47"/>
                <a:gd name="T42" fmla="*/ 3 w 197"/>
                <a:gd name="T43" fmla="*/ 23 h 47"/>
                <a:gd name="T44" fmla="*/ 5 w 197"/>
                <a:gd name="T45" fmla="*/ 21 h 47"/>
                <a:gd name="T46" fmla="*/ 10 w 197"/>
                <a:gd name="T47" fmla="*/ 19 h 47"/>
                <a:gd name="T48" fmla="*/ 17 w 197"/>
                <a:gd name="T49" fmla="*/ 17 h 47"/>
                <a:gd name="T50" fmla="*/ 31 w 197"/>
                <a:gd name="T51" fmla="*/ 17 h 47"/>
                <a:gd name="T52" fmla="*/ 47 w 197"/>
                <a:gd name="T53" fmla="*/ 16 h 47"/>
                <a:gd name="T54" fmla="*/ 64 w 197"/>
                <a:gd name="T55" fmla="*/ 12 h 47"/>
                <a:gd name="T56" fmla="*/ 122 w 197"/>
                <a:gd name="T57" fmla="*/ 5 h 47"/>
                <a:gd name="T58" fmla="*/ 183 w 197"/>
                <a:gd name="T5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97" h="47">
                  <a:moveTo>
                    <a:pt x="183" y="0"/>
                  </a:moveTo>
                  <a:lnTo>
                    <a:pt x="187" y="3"/>
                  </a:lnTo>
                  <a:lnTo>
                    <a:pt x="192" y="7"/>
                  </a:lnTo>
                  <a:lnTo>
                    <a:pt x="196" y="10"/>
                  </a:lnTo>
                  <a:lnTo>
                    <a:pt x="197" y="14"/>
                  </a:lnTo>
                  <a:lnTo>
                    <a:pt x="196" y="16"/>
                  </a:lnTo>
                  <a:lnTo>
                    <a:pt x="194" y="19"/>
                  </a:lnTo>
                  <a:lnTo>
                    <a:pt x="190" y="21"/>
                  </a:lnTo>
                  <a:lnTo>
                    <a:pt x="183" y="23"/>
                  </a:lnTo>
                  <a:lnTo>
                    <a:pt x="176" y="24"/>
                  </a:lnTo>
                  <a:lnTo>
                    <a:pt x="157" y="26"/>
                  </a:lnTo>
                  <a:lnTo>
                    <a:pt x="131" y="31"/>
                  </a:lnTo>
                  <a:lnTo>
                    <a:pt x="105" y="37"/>
                  </a:lnTo>
                  <a:lnTo>
                    <a:pt x="78" y="42"/>
                  </a:lnTo>
                  <a:lnTo>
                    <a:pt x="52" y="45"/>
                  </a:lnTo>
                  <a:lnTo>
                    <a:pt x="33" y="47"/>
                  </a:lnTo>
                  <a:lnTo>
                    <a:pt x="19" y="47"/>
                  </a:lnTo>
                  <a:lnTo>
                    <a:pt x="8" y="42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2" y="26"/>
                  </a:lnTo>
                  <a:lnTo>
                    <a:pt x="3" y="23"/>
                  </a:lnTo>
                  <a:lnTo>
                    <a:pt x="5" y="21"/>
                  </a:lnTo>
                  <a:lnTo>
                    <a:pt x="10" y="19"/>
                  </a:lnTo>
                  <a:lnTo>
                    <a:pt x="17" y="17"/>
                  </a:lnTo>
                  <a:lnTo>
                    <a:pt x="31" y="17"/>
                  </a:lnTo>
                  <a:lnTo>
                    <a:pt x="47" y="16"/>
                  </a:lnTo>
                  <a:lnTo>
                    <a:pt x="64" y="12"/>
                  </a:lnTo>
                  <a:lnTo>
                    <a:pt x="122" y="5"/>
                  </a:lnTo>
                  <a:lnTo>
                    <a:pt x="18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7"/>
            <p:cNvSpPr>
              <a:spLocks/>
            </p:cNvSpPr>
            <p:nvPr userDrawn="1"/>
          </p:nvSpPr>
          <p:spPr bwMode="auto">
            <a:xfrm>
              <a:off x="9512301" y="5254625"/>
              <a:ext cx="277813" cy="300038"/>
            </a:xfrm>
            <a:custGeom>
              <a:avLst/>
              <a:gdLst>
                <a:gd name="T0" fmla="*/ 158 w 175"/>
                <a:gd name="T1" fmla="*/ 2 h 189"/>
                <a:gd name="T2" fmla="*/ 163 w 175"/>
                <a:gd name="T3" fmla="*/ 19 h 189"/>
                <a:gd name="T4" fmla="*/ 159 w 175"/>
                <a:gd name="T5" fmla="*/ 65 h 189"/>
                <a:gd name="T6" fmla="*/ 161 w 175"/>
                <a:gd name="T7" fmla="*/ 112 h 189"/>
                <a:gd name="T8" fmla="*/ 168 w 175"/>
                <a:gd name="T9" fmla="*/ 157 h 189"/>
                <a:gd name="T10" fmla="*/ 172 w 175"/>
                <a:gd name="T11" fmla="*/ 163 h 189"/>
                <a:gd name="T12" fmla="*/ 175 w 175"/>
                <a:gd name="T13" fmla="*/ 170 h 189"/>
                <a:gd name="T14" fmla="*/ 173 w 175"/>
                <a:gd name="T15" fmla="*/ 180 h 189"/>
                <a:gd name="T16" fmla="*/ 168 w 175"/>
                <a:gd name="T17" fmla="*/ 189 h 189"/>
                <a:gd name="T18" fmla="*/ 159 w 175"/>
                <a:gd name="T19" fmla="*/ 189 h 189"/>
                <a:gd name="T20" fmla="*/ 153 w 175"/>
                <a:gd name="T21" fmla="*/ 185 h 189"/>
                <a:gd name="T22" fmla="*/ 142 w 175"/>
                <a:gd name="T23" fmla="*/ 166 h 189"/>
                <a:gd name="T24" fmla="*/ 132 w 175"/>
                <a:gd name="T25" fmla="*/ 112 h 189"/>
                <a:gd name="T26" fmla="*/ 104 w 175"/>
                <a:gd name="T27" fmla="*/ 156 h 189"/>
                <a:gd name="T28" fmla="*/ 76 w 175"/>
                <a:gd name="T29" fmla="*/ 173 h 189"/>
                <a:gd name="T30" fmla="*/ 46 w 175"/>
                <a:gd name="T31" fmla="*/ 164 h 189"/>
                <a:gd name="T32" fmla="*/ 23 w 175"/>
                <a:gd name="T33" fmla="*/ 131 h 189"/>
                <a:gd name="T34" fmla="*/ 9 w 175"/>
                <a:gd name="T35" fmla="*/ 87 h 189"/>
                <a:gd name="T36" fmla="*/ 2 w 175"/>
                <a:gd name="T37" fmla="*/ 49 h 189"/>
                <a:gd name="T38" fmla="*/ 0 w 175"/>
                <a:gd name="T39" fmla="*/ 31 h 189"/>
                <a:gd name="T40" fmla="*/ 2 w 175"/>
                <a:gd name="T41" fmla="*/ 23 h 189"/>
                <a:gd name="T42" fmla="*/ 6 w 175"/>
                <a:gd name="T43" fmla="*/ 16 h 189"/>
                <a:gd name="T44" fmla="*/ 13 w 175"/>
                <a:gd name="T45" fmla="*/ 12 h 189"/>
                <a:gd name="T46" fmla="*/ 28 w 175"/>
                <a:gd name="T47" fmla="*/ 14 h 189"/>
                <a:gd name="T48" fmla="*/ 34 w 175"/>
                <a:gd name="T49" fmla="*/ 31 h 189"/>
                <a:gd name="T50" fmla="*/ 41 w 175"/>
                <a:gd name="T51" fmla="*/ 82 h 189"/>
                <a:gd name="T52" fmla="*/ 55 w 175"/>
                <a:gd name="T53" fmla="*/ 135 h 189"/>
                <a:gd name="T54" fmla="*/ 63 w 175"/>
                <a:gd name="T55" fmla="*/ 145 h 189"/>
                <a:gd name="T56" fmla="*/ 72 w 175"/>
                <a:gd name="T57" fmla="*/ 147 h 189"/>
                <a:gd name="T58" fmla="*/ 83 w 175"/>
                <a:gd name="T59" fmla="*/ 140 h 189"/>
                <a:gd name="T60" fmla="*/ 109 w 175"/>
                <a:gd name="T61" fmla="*/ 105 h 189"/>
                <a:gd name="T62" fmla="*/ 133 w 175"/>
                <a:gd name="T63" fmla="*/ 42 h 189"/>
                <a:gd name="T64" fmla="*/ 139 w 175"/>
                <a:gd name="T65" fmla="*/ 9 h 189"/>
                <a:gd name="T66" fmla="*/ 153 w 175"/>
                <a:gd name="T67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5" h="189">
                  <a:moveTo>
                    <a:pt x="153" y="0"/>
                  </a:moveTo>
                  <a:lnTo>
                    <a:pt x="158" y="2"/>
                  </a:lnTo>
                  <a:lnTo>
                    <a:pt x="161" y="9"/>
                  </a:lnTo>
                  <a:lnTo>
                    <a:pt x="163" y="19"/>
                  </a:lnTo>
                  <a:lnTo>
                    <a:pt x="163" y="35"/>
                  </a:lnTo>
                  <a:lnTo>
                    <a:pt x="159" y="65"/>
                  </a:lnTo>
                  <a:lnTo>
                    <a:pt x="159" y="89"/>
                  </a:lnTo>
                  <a:lnTo>
                    <a:pt x="161" y="112"/>
                  </a:lnTo>
                  <a:lnTo>
                    <a:pt x="163" y="133"/>
                  </a:lnTo>
                  <a:lnTo>
                    <a:pt x="168" y="157"/>
                  </a:lnTo>
                  <a:lnTo>
                    <a:pt x="170" y="159"/>
                  </a:lnTo>
                  <a:lnTo>
                    <a:pt x="172" y="163"/>
                  </a:lnTo>
                  <a:lnTo>
                    <a:pt x="173" y="166"/>
                  </a:lnTo>
                  <a:lnTo>
                    <a:pt x="175" y="170"/>
                  </a:lnTo>
                  <a:lnTo>
                    <a:pt x="175" y="175"/>
                  </a:lnTo>
                  <a:lnTo>
                    <a:pt x="173" y="180"/>
                  </a:lnTo>
                  <a:lnTo>
                    <a:pt x="170" y="185"/>
                  </a:lnTo>
                  <a:lnTo>
                    <a:pt x="168" y="189"/>
                  </a:lnTo>
                  <a:lnTo>
                    <a:pt x="163" y="189"/>
                  </a:lnTo>
                  <a:lnTo>
                    <a:pt x="159" y="189"/>
                  </a:lnTo>
                  <a:lnTo>
                    <a:pt x="156" y="189"/>
                  </a:lnTo>
                  <a:lnTo>
                    <a:pt x="153" y="185"/>
                  </a:lnTo>
                  <a:lnTo>
                    <a:pt x="149" y="182"/>
                  </a:lnTo>
                  <a:lnTo>
                    <a:pt x="142" y="166"/>
                  </a:lnTo>
                  <a:lnTo>
                    <a:pt x="137" y="142"/>
                  </a:lnTo>
                  <a:lnTo>
                    <a:pt x="132" y="112"/>
                  </a:lnTo>
                  <a:lnTo>
                    <a:pt x="119" y="135"/>
                  </a:lnTo>
                  <a:lnTo>
                    <a:pt x="104" y="156"/>
                  </a:lnTo>
                  <a:lnTo>
                    <a:pt x="91" y="168"/>
                  </a:lnTo>
                  <a:lnTo>
                    <a:pt x="76" y="173"/>
                  </a:lnTo>
                  <a:lnTo>
                    <a:pt x="62" y="173"/>
                  </a:lnTo>
                  <a:lnTo>
                    <a:pt x="46" y="164"/>
                  </a:lnTo>
                  <a:lnTo>
                    <a:pt x="32" y="149"/>
                  </a:lnTo>
                  <a:lnTo>
                    <a:pt x="23" y="131"/>
                  </a:lnTo>
                  <a:lnTo>
                    <a:pt x="16" y="108"/>
                  </a:lnTo>
                  <a:lnTo>
                    <a:pt x="9" y="87"/>
                  </a:lnTo>
                  <a:lnTo>
                    <a:pt x="6" y="66"/>
                  </a:lnTo>
                  <a:lnTo>
                    <a:pt x="2" y="49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6"/>
                  </a:lnTo>
                  <a:lnTo>
                    <a:pt x="9" y="12"/>
                  </a:lnTo>
                  <a:lnTo>
                    <a:pt x="13" y="12"/>
                  </a:lnTo>
                  <a:lnTo>
                    <a:pt x="20" y="10"/>
                  </a:lnTo>
                  <a:lnTo>
                    <a:pt x="28" y="14"/>
                  </a:lnTo>
                  <a:lnTo>
                    <a:pt x="32" y="19"/>
                  </a:lnTo>
                  <a:lnTo>
                    <a:pt x="34" y="31"/>
                  </a:lnTo>
                  <a:lnTo>
                    <a:pt x="37" y="51"/>
                  </a:lnTo>
                  <a:lnTo>
                    <a:pt x="41" y="82"/>
                  </a:lnTo>
                  <a:lnTo>
                    <a:pt x="48" y="112"/>
                  </a:lnTo>
                  <a:lnTo>
                    <a:pt x="55" y="135"/>
                  </a:lnTo>
                  <a:lnTo>
                    <a:pt x="58" y="142"/>
                  </a:lnTo>
                  <a:lnTo>
                    <a:pt x="63" y="145"/>
                  </a:lnTo>
                  <a:lnTo>
                    <a:pt x="69" y="147"/>
                  </a:lnTo>
                  <a:lnTo>
                    <a:pt x="72" y="147"/>
                  </a:lnTo>
                  <a:lnTo>
                    <a:pt x="77" y="145"/>
                  </a:lnTo>
                  <a:lnTo>
                    <a:pt x="83" y="140"/>
                  </a:lnTo>
                  <a:lnTo>
                    <a:pt x="97" y="126"/>
                  </a:lnTo>
                  <a:lnTo>
                    <a:pt x="109" y="105"/>
                  </a:lnTo>
                  <a:lnTo>
                    <a:pt x="123" y="77"/>
                  </a:lnTo>
                  <a:lnTo>
                    <a:pt x="133" y="42"/>
                  </a:lnTo>
                  <a:lnTo>
                    <a:pt x="135" y="23"/>
                  </a:lnTo>
                  <a:lnTo>
                    <a:pt x="139" y="9"/>
                  </a:lnTo>
                  <a:lnTo>
                    <a:pt x="144" y="0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8"/>
            <p:cNvSpPr>
              <a:spLocks/>
            </p:cNvSpPr>
            <p:nvPr userDrawn="1"/>
          </p:nvSpPr>
          <p:spPr bwMode="auto">
            <a:xfrm>
              <a:off x="9853613" y="5240338"/>
              <a:ext cx="217488" cy="314325"/>
            </a:xfrm>
            <a:custGeom>
              <a:avLst/>
              <a:gdLst>
                <a:gd name="T0" fmla="*/ 105 w 137"/>
                <a:gd name="T1" fmla="*/ 0 h 198"/>
                <a:gd name="T2" fmla="*/ 119 w 137"/>
                <a:gd name="T3" fmla="*/ 0 h 198"/>
                <a:gd name="T4" fmla="*/ 128 w 137"/>
                <a:gd name="T5" fmla="*/ 5 h 198"/>
                <a:gd name="T6" fmla="*/ 135 w 137"/>
                <a:gd name="T7" fmla="*/ 14 h 198"/>
                <a:gd name="T8" fmla="*/ 137 w 137"/>
                <a:gd name="T9" fmla="*/ 32 h 198"/>
                <a:gd name="T10" fmla="*/ 135 w 137"/>
                <a:gd name="T11" fmla="*/ 46 h 198"/>
                <a:gd name="T12" fmla="*/ 132 w 137"/>
                <a:gd name="T13" fmla="*/ 58 h 198"/>
                <a:gd name="T14" fmla="*/ 126 w 137"/>
                <a:gd name="T15" fmla="*/ 68 h 198"/>
                <a:gd name="T16" fmla="*/ 118 w 137"/>
                <a:gd name="T17" fmla="*/ 74 h 198"/>
                <a:gd name="T18" fmla="*/ 107 w 137"/>
                <a:gd name="T19" fmla="*/ 75 h 198"/>
                <a:gd name="T20" fmla="*/ 104 w 137"/>
                <a:gd name="T21" fmla="*/ 74 h 198"/>
                <a:gd name="T22" fmla="*/ 102 w 137"/>
                <a:gd name="T23" fmla="*/ 72 h 198"/>
                <a:gd name="T24" fmla="*/ 102 w 137"/>
                <a:gd name="T25" fmla="*/ 68 h 198"/>
                <a:gd name="T26" fmla="*/ 102 w 137"/>
                <a:gd name="T27" fmla="*/ 67 h 198"/>
                <a:gd name="T28" fmla="*/ 104 w 137"/>
                <a:gd name="T29" fmla="*/ 63 h 198"/>
                <a:gd name="T30" fmla="*/ 105 w 137"/>
                <a:gd name="T31" fmla="*/ 58 h 198"/>
                <a:gd name="T32" fmla="*/ 105 w 137"/>
                <a:gd name="T33" fmla="*/ 49 h 198"/>
                <a:gd name="T34" fmla="*/ 107 w 137"/>
                <a:gd name="T35" fmla="*/ 39 h 198"/>
                <a:gd name="T36" fmla="*/ 104 w 137"/>
                <a:gd name="T37" fmla="*/ 30 h 198"/>
                <a:gd name="T38" fmla="*/ 98 w 137"/>
                <a:gd name="T39" fmla="*/ 26 h 198"/>
                <a:gd name="T40" fmla="*/ 88 w 137"/>
                <a:gd name="T41" fmla="*/ 28 h 198"/>
                <a:gd name="T42" fmla="*/ 77 w 137"/>
                <a:gd name="T43" fmla="*/ 37 h 198"/>
                <a:gd name="T44" fmla="*/ 69 w 137"/>
                <a:gd name="T45" fmla="*/ 54 h 198"/>
                <a:gd name="T46" fmla="*/ 58 w 137"/>
                <a:gd name="T47" fmla="*/ 75 h 198"/>
                <a:gd name="T48" fmla="*/ 53 w 137"/>
                <a:gd name="T49" fmla="*/ 103 h 198"/>
                <a:gd name="T50" fmla="*/ 51 w 137"/>
                <a:gd name="T51" fmla="*/ 117 h 198"/>
                <a:gd name="T52" fmla="*/ 51 w 137"/>
                <a:gd name="T53" fmla="*/ 131 h 198"/>
                <a:gd name="T54" fmla="*/ 51 w 137"/>
                <a:gd name="T55" fmla="*/ 149 h 198"/>
                <a:gd name="T56" fmla="*/ 55 w 137"/>
                <a:gd name="T57" fmla="*/ 175 h 198"/>
                <a:gd name="T58" fmla="*/ 56 w 137"/>
                <a:gd name="T59" fmla="*/ 182 h 198"/>
                <a:gd name="T60" fmla="*/ 56 w 137"/>
                <a:gd name="T61" fmla="*/ 189 h 198"/>
                <a:gd name="T62" fmla="*/ 55 w 137"/>
                <a:gd name="T63" fmla="*/ 193 h 198"/>
                <a:gd name="T64" fmla="*/ 55 w 137"/>
                <a:gd name="T65" fmla="*/ 196 h 198"/>
                <a:gd name="T66" fmla="*/ 53 w 137"/>
                <a:gd name="T67" fmla="*/ 198 h 198"/>
                <a:gd name="T68" fmla="*/ 49 w 137"/>
                <a:gd name="T69" fmla="*/ 198 h 198"/>
                <a:gd name="T70" fmla="*/ 46 w 137"/>
                <a:gd name="T71" fmla="*/ 198 h 198"/>
                <a:gd name="T72" fmla="*/ 41 w 137"/>
                <a:gd name="T73" fmla="*/ 198 h 198"/>
                <a:gd name="T74" fmla="*/ 35 w 137"/>
                <a:gd name="T75" fmla="*/ 196 h 198"/>
                <a:gd name="T76" fmla="*/ 32 w 137"/>
                <a:gd name="T77" fmla="*/ 194 h 198"/>
                <a:gd name="T78" fmla="*/ 28 w 137"/>
                <a:gd name="T79" fmla="*/ 191 h 198"/>
                <a:gd name="T80" fmla="*/ 27 w 137"/>
                <a:gd name="T81" fmla="*/ 186 h 198"/>
                <a:gd name="T82" fmla="*/ 14 w 137"/>
                <a:gd name="T83" fmla="*/ 138 h 198"/>
                <a:gd name="T84" fmla="*/ 7 w 137"/>
                <a:gd name="T85" fmla="*/ 93 h 198"/>
                <a:gd name="T86" fmla="*/ 2 w 137"/>
                <a:gd name="T87" fmla="*/ 49 h 198"/>
                <a:gd name="T88" fmla="*/ 0 w 137"/>
                <a:gd name="T89" fmla="*/ 14 h 198"/>
                <a:gd name="T90" fmla="*/ 0 w 137"/>
                <a:gd name="T91" fmla="*/ 9 h 198"/>
                <a:gd name="T92" fmla="*/ 4 w 137"/>
                <a:gd name="T93" fmla="*/ 5 h 198"/>
                <a:gd name="T94" fmla="*/ 7 w 137"/>
                <a:gd name="T95" fmla="*/ 4 h 198"/>
                <a:gd name="T96" fmla="*/ 11 w 137"/>
                <a:gd name="T97" fmla="*/ 2 h 198"/>
                <a:gd name="T98" fmla="*/ 14 w 137"/>
                <a:gd name="T99" fmla="*/ 2 h 198"/>
                <a:gd name="T100" fmla="*/ 18 w 137"/>
                <a:gd name="T101" fmla="*/ 4 h 198"/>
                <a:gd name="T102" fmla="*/ 21 w 137"/>
                <a:gd name="T103" fmla="*/ 4 h 198"/>
                <a:gd name="T104" fmla="*/ 25 w 137"/>
                <a:gd name="T105" fmla="*/ 7 h 198"/>
                <a:gd name="T106" fmla="*/ 27 w 137"/>
                <a:gd name="T107" fmla="*/ 12 h 198"/>
                <a:gd name="T108" fmla="*/ 30 w 137"/>
                <a:gd name="T109" fmla="*/ 28 h 198"/>
                <a:gd name="T110" fmla="*/ 34 w 137"/>
                <a:gd name="T111" fmla="*/ 47 h 198"/>
                <a:gd name="T112" fmla="*/ 37 w 137"/>
                <a:gd name="T113" fmla="*/ 68 h 198"/>
                <a:gd name="T114" fmla="*/ 44 w 137"/>
                <a:gd name="T115" fmla="*/ 49 h 198"/>
                <a:gd name="T116" fmla="*/ 55 w 137"/>
                <a:gd name="T117" fmla="*/ 32 h 198"/>
                <a:gd name="T118" fmla="*/ 67 w 137"/>
                <a:gd name="T119" fmla="*/ 16 h 198"/>
                <a:gd name="T120" fmla="*/ 84 w 137"/>
                <a:gd name="T121" fmla="*/ 5 h 198"/>
                <a:gd name="T122" fmla="*/ 105 w 137"/>
                <a:gd name="T12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" h="198">
                  <a:moveTo>
                    <a:pt x="105" y="0"/>
                  </a:moveTo>
                  <a:lnTo>
                    <a:pt x="119" y="0"/>
                  </a:lnTo>
                  <a:lnTo>
                    <a:pt x="128" y="5"/>
                  </a:lnTo>
                  <a:lnTo>
                    <a:pt x="135" y="14"/>
                  </a:lnTo>
                  <a:lnTo>
                    <a:pt x="137" y="32"/>
                  </a:lnTo>
                  <a:lnTo>
                    <a:pt x="135" y="46"/>
                  </a:lnTo>
                  <a:lnTo>
                    <a:pt x="132" y="58"/>
                  </a:lnTo>
                  <a:lnTo>
                    <a:pt x="126" y="68"/>
                  </a:lnTo>
                  <a:lnTo>
                    <a:pt x="118" y="74"/>
                  </a:lnTo>
                  <a:lnTo>
                    <a:pt x="107" y="75"/>
                  </a:lnTo>
                  <a:lnTo>
                    <a:pt x="104" y="74"/>
                  </a:lnTo>
                  <a:lnTo>
                    <a:pt x="102" y="72"/>
                  </a:lnTo>
                  <a:lnTo>
                    <a:pt x="102" y="68"/>
                  </a:lnTo>
                  <a:lnTo>
                    <a:pt x="102" y="67"/>
                  </a:lnTo>
                  <a:lnTo>
                    <a:pt x="104" y="63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7" y="39"/>
                  </a:lnTo>
                  <a:lnTo>
                    <a:pt x="104" y="30"/>
                  </a:lnTo>
                  <a:lnTo>
                    <a:pt x="98" y="26"/>
                  </a:lnTo>
                  <a:lnTo>
                    <a:pt x="88" y="28"/>
                  </a:lnTo>
                  <a:lnTo>
                    <a:pt x="77" y="37"/>
                  </a:lnTo>
                  <a:lnTo>
                    <a:pt x="69" y="54"/>
                  </a:lnTo>
                  <a:lnTo>
                    <a:pt x="58" y="75"/>
                  </a:lnTo>
                  <a:lnTo>
                    <a:pt x="53" y="103"/>
                  </a:lnTo>
                  <a:lnTo>
                    <a:pt x="51" y="117"/>
                  </a:lnTo>
                  <a:lnTo>
                    <a:pt x="51" y="131"/>
                  </a:lnTo>
                  <a:lnTo>
                    <a:pt x="51" y="149"/>
                  </a:lnTo>
                  <a:lnTo>
                    <a:pt x="55" y="175"/>
                  </a:lnTo>
                  <a:lnTo>
                    <a:pt x="56" y="182"/>
                  </a:lnTo>
                  <a:lnTo>
                    <a:pt x="56" y="189"/>
                  </a:lnTo>
                  <a:lnTo>
                    <a:pt x="55" y="193"/>
                  </a:lnTo>
                  <a:lnTo>
                    <a:pt x="55" y="196"/>
                  </a:lnTo>
                  <a:lnTo>
                    <a:pt x="53" y="198"/>
                  </a:lnTo>
                  <a:lnTo>
                    <a:pt x="49" y="198"/>
                  </a:lnTo>
                  <a:lnTo>
                    <a:pt x="46" y="198"/>
                  </a:lnTo>
                  <a:lnTo>
                    <a:pt x="41" y="198"/>
                  </a:lnTo>
                  <a:lnTo>
                    <a:pt x="35" y="196"/>
                  </a:lnTo>
                  <a:lnTo>
                    <a:pt x="32" y="194"/>
                  </a:lnTo>
                  <a:lnTo>
                    <a:pt x="28" y="191"/>
                  </a:lnTo>
                  <a:lnTo>
                    <a:pt x="27" y="186"/>
                  </a:lnTo>
                  <a:lnTo>
                    <a:pt x="14" y="138"/>
                  </a:lnTo>
                  <a:lnTo>
                    <a:pt x="7" y="93"/>
                  </a:lnTo>
                  <a:lnTo>
                    <a:pt x="2" y="49"/>
                  </a:lnTo>
                  <a:lnTo>
                    <a:pt x="0" y="14"/>
                  </a:lnTo>
                  <a:lnTo>
                    <a:pt x="0" y="9"/>
                  </a:lnTo>
                  <a:lnTo>
                    <a:pt x="4" y="5"/>
                  </a:lnTo>
                  <a:lnTo>
                    <a:pt x="7" y="4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8" y="4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28"/>
                  </a:lnTo>
                  <a:lnTo>
                    <a:pt x="34" y="47"/>
                  </a:lnTo>
                  <a:lnTo>
                    <a:pt x="37" y="68"/>
                  </a:lnTo>
                  <a:lnTo>
                    <a:pt x="44" y="49"/>
                  </a:lnTo>
                  <a:lnTo>
                    <a:pt x="55" y="32"/>
                  </a:lnTo>
                  <a:lnTo>
                    <a:pt x="67" y="16"/>
                  </a:lnTo>
                  <a:lnTo>
                    <a:pt x="84" y="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59"/>
            <p:cNvSpPr>
              <a:spLocks noEditPoints="1"/>
            </p:cNvSpPr>
            <p:nvPr userDrawn="1"/>
          </p:nvSpPr>
          <p:spPr bwMode="auto">
            <a:xfrm>
              <a:off x="10059988" y="5268913"/>
              <a:ext cx="266700" cy="285750"/>
            </a:xfrm>
            <a:custGeom>
              <a:avLst/>
              <a:gdLst>
                <a:gd name="T0" fmla="*/ 110 w 168"/>
                <a:gd name="T1" fmla="*/ 26 h 180"/>
                <a:gd name="T2" fmla="*/ 84 w 168"/>
                <a:gd name="T3" fmla="*/ 42 h 180"/>
                <a:gd name="T4" fmla="*/ 59 w 168"/>
                <a:gd name="T5" fmla="*/ 68 h 180"/>
                <a:gd name="T6" fmla="*/ 51 w 168"/>
                <a:gd name="T7" fmla="*/ 87 h 180"/>
                <a:gd name="T8" fmla="*/ 86 w 168"/>
                <a:gd name="T9" fmla="*/ 80 h 180"/>
                <a:gd name="T10" fmla="*/ 124 w 168"/>
                <a:gd name="T11" fmla="*/ 59 h 180"/>
                <a:gd name="T12" fmla="*/ 138 w 168"/>
                <a:gd name="T13" fmla="*/ 35 h 180"/>
                <a:gd name="T14" fmla="*/ 124 w 168"/>
                <a:gd name="T15" fmla="*/ 22 h 180"/>
                <a:gd name="T16" fmla="*/ 134 w 168"/>
                <a:gd name="T17" fmla="*/ 1 h 180"/>
                <a:gd name="T18" fmla="*/ 162 w 168"/>
                <a:gd name="T19" fmla="*/ 22 h 180"/>
                <a:gd name="T20" fmla="*/ 164 w 168"/>
                <a:gd name="T21" fmla="*/ 57 h 180"/>
                <a:gd name="T22" fmla="*/ 136 w 168"/>
                <a:gd name="T23" fmla="*/ 87 h 180"/>
                <a:gd name="T24" fmla="*/ 91 w 168"/>
                <a:gd name="T25" fmla="*/ 108 h 180"/>
                <a:gd name="T26" fmla="*/ 51 w 168"/>
                <a:gd name="T27" fmla="*/ 115 h 180"/>
                <a:gd name="T28" fmla="*/ 59 w 168"/>
                <a:gd name="T29" fmla="*/ 138 h 180"/>
                <a:gd name="T30" fmla="*/ 93 w 168"/>
                <a:gd name="T31" fmla="*/ 155 h 180"/>
                <a:gd name="T32" fmla="*/ 138 w 168"/>
                <a:gd name="T33" fmla="*/ 150 h 180"/>
                <a:gd name="T34" fmla="*/ 148 w 168"/>
                <a:gd name="T35" fmla="*/ 147 h 180"/>
                <a:gd name="T36" fmla="*/ 155 w 168"/>
                <a:gd name="T37" fmla="*/ 148 h 180"/>
                <a:gd name="T38" fmla="*/ 157 w 168"/>
                <a:gd name="T39" fmla="*/ 154 h 180"/>
                <a:gd name="T40" fmla="*/ 154 w 168"/>
                <a:gd name="T41" fmla="*/ 162 h 180"/>
                <a:gd name="T42" fmla="*/ 147 w 168"/>
                <a:gd name="T43" fmla="*/ 171 h 180"/>
                <a:gd name="T44" fmla="*/ 117 w 168"/>
                <a:gd name="T45" fmla="*/ 180 h 180"/>
                <a:gd name="T46" fmla="*/ 66 w 168"/>
                <a:gd name="T47" fmla="*/ 175 h 180"/>
                <a:gd name="T48" fmla="*/ 28 w 168"/>
                <a:gd name="T49" fmla="*/ 145 h 180"/>
                <a:gd name="T50" fmla="*/ 19 w 168"/>
                <a:gd name="T51" fmla="*/ 112 h 180"/>
                <a:gd name="T52" fmla="*/ 5 w 168"/>
                <a:gd name="T53" fmla="*/ 105 h 180"/>
                <a:gd name="T54" fmla="*/ 0 w 168"/>
                <a:gd name="T55" fmla="*/ 98 h 180"/>
                <a:gd name="T56" fmla="*/ 2 w 168"/>
                <a:gd name="T57" fmla="*/ 91 h 180"/>
                <a:gd name="T58" fmla="*/ 9 w 168"/>
                <a:gd name="T59" fmla="*/ 84 h 180"/>
                <a:gd name="T60" fmla="*/ 23 w 168"/>
                <a:gd name="T61" fmla="*/ 80 h 180"/>
                <a:gd name="T62" fmla="*/ 51 w 168"/>
                <a:gd name="T63" fmla="*/ 35 h 180"/>
                <a:gd name="T64" fmla="*/ 91 w 168"/>
                <a:gd name="T65" fmla="*/ 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" h="180">
                  <a:moveTo>
                    <a:pt x="124" y="22"/>
                  </a:moveTo>
                  <a:lnTo>
                    <a:pt x="110" y="26"/>
                  </a:lnTo>
                  <a:lnTo>
                    <a:pt x="96" y="33"/>
                  </a:lnTo>
                  <a:lnTo>
                    <a:pt x="84" y="42"/>
                  </a:lnTo>
                  <a:lnTo>
                    <a:pt x="73" y="50"/>
                  </a:lnTo>
                  <a:lnTo>
                    <a:pt x="59" y="68"/>
                  </a:lnTo>
                  <a:lnTo>
                    <a:pt x="51" y="84"/>
                  </a:lnTo>
                  <a:lnTo>
                    <a:pt x="51" y="87"/>
                  </a:lnTo>
                  <a:lnTo>
                    <a:pt x="61" y="85"/>
                  </a:lnTo>
                  <a:lnTo>
                    <a:pt x="86" y="80"/>
                  </a:lnTo>
                  <a:lnTo>
                    <a:pt x="106" y="70"/>
                  </a:lnTo>
                  <a:lnTo>
                    <a:pt x="124" y="59"/>
                  </a:lnTo>
                  <a:lnTo>
                    <a:pt x="134" y="47"/>
                  </a:lnTo>
                  <a:lnTo>
                    <a:pt x="138" y="35"/>
                  </a:lnTo>
                  <a:lnTo>
                    <a:pt x="133" y="26"/>
                  </a:lnTo>
                  <a:lnTo>
                    <a:pt x="124" y="22"/>
                  </a:lnTo>
                  <a:close/>
                  <a:moveTo>
                    <a:pt x="113" y="0"/>
                  </a:moveTo>
                  <a:lnTo>
                    <a:pt x="134" y="1"/>
                  </a:lnTo>
                  <a:lnTo>
                    <a:pt x="154" y="10"/>
                  </a:lnTo>
                  <a:lnTo>
                    <a:pt x="162" y="22"/>
                  </a:lnTo>
                  <a:lnTo>
                    <a:pt x="168" y="38"/>
                  </a:lnTo>
                  <a:lnTo>
                    <a:pt x="164" y="57"/>
                  </a:lnTo>
                  <a:lnTo>
                    <a:pt x="154" y="71"/>
                  </a:lnTo>
                  <a:lnTo>
                    <a:pt x="136" y="87"/>
                  </a:lnTo>
                  <a:lnTo>
                    <a:pt x="115" y="99"/>
                  </a:lnTo>
                  <a:lnTo>
                    <a:pt x="91" y="108"/>
                  </a:lnTo>
                  <a:lnTo>
                    <a:pt x="68" y="113"/>
                  </a:lnTo>
                  <a:lnTo>
                    <a:pt x="51" y="115"/>
                  </a:lnTo>
                  <a:lnTo>
                    <a:pt x="51" y="122"/>
                  </a:lnTo>
                  <a:lnTo>
                    <a:pt x="59" y="138"/>
                  </a:lnTo>
                  <a:lnTo>
                    <a:pt x="73" y="148"/>
                  </a:lnTo>
                  <a:lnTo>
                    <a:pt x="93" y="155"/>
                  </a:lnTo>
                  <a:lnTo>
                    <a:pt x="113" y="155"/>
                  </a:lnTo>
                  <a:lnTo>
                    <a:pt x="138" y="150"/>
                  </a:lnTo>
                  <a:lnTo>
                    <a:pt x="143" y="148"/>
                  </a:lnTo>
                  <a:lnTo>
                    <a:pt x="148" y="147"/>
                  </a:lnTo>
                  <a:lnTo>
                    <a:pt x="152" y="147"/>
                  </a:lnTo>
                  <a:lnTo>
                    <a:pt x="155" y="148"/>
                  </a:lnTo>
                  <a:lnTo>
                    <a:pt x="157" y="150"/>
                  </a:lnTo>
                  <a:lnTo>
                    <a:pt x="157" y="154"/>
                  </a:lnTo>
                  <a:lnTo>
                    <a:pt x="157" y="159"/>
                  </a:lnTo>
                  <a:lnTo>
                    <a:pt x="154" y="162"/>
                  </a:lnTo>
                  <a:lnTo>
                    <a:pt x="152" y="168"/>
                  </a:lnTo>
                  <a:lnTo>
                    <a:pt x="147" y="171"/>
                  </a:lnTo>
                  <a:lnTo>
                    <a:pt x="143" y="173"/>
                  </a:lnTo>
                  <a:lnTo>
                    <a:pt x="117" y="180"/>
                  </a:lnTo>
                  <a:lnTo>
                    <a:pt x="91" y="180"/>
                  </a:lnTo>
                  <a:lnTo>
                    <a:pt x="66" y="175"/>
                  </a:lnTo>
                  <a:lnTo>
                    <a:pt x="45" y="162"/>
                  </a:lnTo>
                  <a:lnTo>
                    <a:pt x="28" y="145"/>
                  </a:lnTo>
                  <a:lnTo>
                    <a:pt x="21" y="126"/>
                  </a:lnTo>
                  <a:lnTo>
                    <a:pt x="19" y="112"/>
                  </a:lnTo>
                  <a:lnTo>
                    <a:pt x="10" y="110"/>
                  </a:lnTo>
                  <a:lnTo>
                    <a:pt x="5" y="105"/>
                  </a:lnTo>
                  <a:lnTo>
                    <a:pt x="2" y="101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2" y="91"/>
                  </a:lnTo>
                  <a:lnTo>
                    <a:pt x="3" y="87"/>
                  </a:lnTo>
                  <a:lnTo>
                    <a:pt x="9" y="84"/>
                  </a:lnTo>
                  <a:lnTo>
                    <a:pt x="21" y="85"/>
                  </a:lnTo>
                  <a:lnTo>
                    <a:pt x="23" y="80"/>
                  </a:lnTo>
                  <a:lnTo>
                    <a:pt x="33" y="57"/>
                  </a:lnTo>
                  <a:lnTo>
                    <a:pt x="51" y="35"/>
                  </a:lnTo>
                  <a:lnTo>
                    <a:pt x="70" y="19"/>
                  </a:lnTo>
                  <a:lnTo>
                    <a:pt x="91" y="7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9" name="Tekstvak 118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Titel dia - INTRO</a:t>
            </a:r>
          </a:p>
        </p:txBody>
      </p:sp>
    </p:spTree>
    <p:extLst>
      <p:ext uri="{BB962C8B-B14F-4D97-AF65-F5344CB8AC3E}">
        <p14:creationId xmlns:p14="http://schemas.microsoft.com/office/powerpoint/2010/main" val="392257695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accel="22000" decel="78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3.7037E-6 L 2.08333E-7 -0.14283 " pathEditMode="relative" rAng="0" ptsTypes="AA">
                                      <p:cBhvr>
                                        <p:cTn id="9" dur="1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153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3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3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25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25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2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25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2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25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25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3" presetClass="entr" presetSubtype="272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2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3" presetClass="entr" presetSubtype="272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750" fill="hold"/>
                                        <p:tgtEl>
                                          <p:spTgt spid="2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750" fill="hold"/>
                                        <p:tgtEl>
                                          <p:spTgt spid="2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50"/>
                                        <p:tgtEl>
                                          <p:spTgt spid="21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50"/>
                                        <p:tgtEl>
                                          <p:spTgt spid="21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21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50"/>
                                        <p:tgtEl>
                                          <p:spTgt spid="21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" presetClass="entr" presetSubtype="2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1000" fill="hold"/>
                                        <p:tgtEl>
                                          <p:spTgt spid="2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1000" fill="hold"/>
                                        <p:tgtEl>
                                          <p:spTgt spid="2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750"/>
                                        <p:tgtEl>
                                          <p:spTgt spid="2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" presetClass="entr" presetSubtype="2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 animBg="1"/>
      <p:bldP spid="118" grpId="1" animBg="1"/>
      <p:bldP spid="8" grpId="0" animBg="1"/>
      <p:bldP spid="8" grpId="1" animBg="1"/>
      <p:bldP spid="2116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nu dia - TRANS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chtergron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2" y="-1"/>
            <a:ext cx="12209543" cy="10210177"/>
          </a:xfrm>
          <a:prstGeom prst="rect">
            <a:avLst/>
          </a:prstGeom>
        </p:spPr>
      </p:pic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4A36C-968D-45C0-975E-C4580D893426}" type="datetime1">
              <a:rPr lang="en-US" smtClean="0"/>
              <a:t>6/10/18</a:t>
            </a:fld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118" name="Ovaal 117"/>
          <p:cNvSpPr/>
          <p:nvPr userDrawn="1"/>
        </p:nvSpPr>
        <p:spPr>
          <a:xfrm>
            <a:off x="-1451082" y="-1719824"/>
            <a:ext cx="5289958" cy="5289958"/>
          </a:xfrm>
          <a:prstGeom prst="ellipse">
            <a:avLst/>
          </a:prstGeom>
          <a:solidFill>
            <a:schemeClr val="bg1">
              <a:alpha val="63000"/>
            </a:schemeClr>
          </a:solidFill>
          <a:ln>
            <a:noFill/>
          </a:ln>
          <a:effectLst>
            <a:softEdge rad="838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6-puntige ster 7"/>
          <p:cNvSpPr/>
          <p:nvPr userDrawn="1"/>
        </p:nvSpPr>
        <p:spPr>
          <a:xfrm rot="20040497">
            <a:off x="-3464863" y="-4112032"/>
            <a:ext cx="9068687" cy="9889645"/>
          </a:xfrm>
          <a:prstGeom prst="star6">
            <a:avLst>
              <a:gd name="adj" fmla="val 7354"/>
              <a:gd name="hf" fmla="val 115470"/>
            </a:avLst>
          </a:prstGeom>
          <a:solidFill>
            <a:schemeClr val="bg1">
              <a:alpha val="80000"/>
            </a:schemeClr>
          </a:solidFill>
          <a:ln>
            <a:noFill/>
          </a:ln>
          <a:effectLst>
            <a:softEdge rad="215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13" name="Lensflare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249" y="-1457264"/>
            <a:ext cx="4008747" cy="6320589"/>
          </a:xfrm>
          <a:prstGeom prst="rect">
            <a:avLst/>
          </a:prstGeom>
        </p:spPr>
      </p:pic>
      <p:grpSp>
        <p:nvGrpSpPr>
          <p:cNvPr id="35" name="Logo"/>
          <p:cNvGrpSpPr/>
          <p:nvPr userDrawn="1"/>
        </p:nvGrpSpPr>
        <p:grpSpPr>
          <a:xfrm>
            <a:off x="536692" y="543619"/>
            <a:ext cx="2189507" cy="1159485"/>
            <a:chOff x="1516063" y="1006475"/>
            <a:chExt cx="9155113" cy="4848225"/>
          </a:xfrm>
        </p:grpSpPr>
        <p:sp>
          <p:nvSpPr>
            <p:cNvPr id="36" name="Freeform 6"/>
            <p:cNvSpPr>
              <a:spLocks/>
            </p:cNvSpPr>
            <p:nvPr userDrawn="1"/>
          </p:nvSpPr>
          <p:spPr bwMode="auto">
            <a:xfrm>
              <a:off x="5629276" y="4187825"/>
              <a:ext cx="406400" cy="471488"/>
            </a:xfrm>
            <a:custGeom>
              <a:avLst/>
              <a:gdLst>
                <a:gd name="T0" fmla="*/ 131 w 256"/>
                <a:gd name="T1" fmla="*/ 0 h 297"/>
                <a:gd name="T2" fmla="*/ 163 w 256"/>
                <a:gd name="T3" fmla="*/ 3 h 297"/>
                <a:gd name="T4" fmla="*/ 191 w 256"/>
                <a:gd name="T5" fmla="*/ 14 h 297"/>
                <a:gd name="T6" fmla="*/ 212 w 256"/>
                <a:gd name="T7" fmla="*/ 28 h 297"/>
                <a:gd name="T8" fmla="*/ 231 w 256"/>
                <a:gd name="T9" fmla="*/ 47 h 297"/>
                <a:gd name="T10" fmla="*/ 243 w 256"/>
                <a:gd name="T11" fmla="*/ 70 h 297"/>
                <a:gd name="T12" fmla="*/ 252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3 w 256"/>
                <a:gd name="T21" fmla="*/ 297 h 297"/>
                <a:gd name="T22" fmla="*/ 173 w 256"/>
                <a:gd name="T23" fmla="*/ 140 h 297"/>
                <a:gd name="T24" fmla="*/ 173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1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1" y="0"/>
                  </a:moveTo>
                  <a:lnTo>
                    <a:pt x="163" y="3"/>
                  </a:lnTo>
                  <a:lnTo>
                    <a:pt x="191" y="14"/>
                  </a:lnTo>
                  <a:lnTo>
                    <a:pt x="212" y="28"/>
                  </a:lnTo>
                  <a:lnTo>
                    <a:pt x="231" y="47"/>
                  </a:lnTo>
                  <a:lnTo>
                    <a:pt x="243" y="70"/>
                  </a:lnTo>
                  <a:lnTo>
                    <a:pt x="252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8863013" y="4187825"/>
              <a:ext cx="406400" cy="471488"/>
            </a:xfrm>
            <a:custGeom>
              <a:avLst/>
              <a:gdLst>
                <a:gd name="T0" fmla="*/ 130 w 256"/>
                <a:gd name="T1" fmla="*/ 0 h 297"/>
                <a:gd name="T2" fmla="*/ 163 w 256"/>
                <a:gd name="T3" fmla="*/ 3 h 297"/>
                <a:gd name="T4" fmla="*/ 189 w 256"/>
                <a:gd name="T5" fmla="*/ 14 h 297"/>
                <a:gd name="T6" fmla="*/ 212 w 256"/>
                <a:gd name="T7" fmla="*/ 28 h 297"/>
                <a:gd name="T8" fmla="*/ 229 w 256"/>
                <a:gd name="T9" fmla="*/ 47 h 297"/>
                <a:gd name="T10" fmla="*/ 243 w 256"/>
                <a:gd name="T11" fmla="*/ 70 h 297"/>
                <a:gd name="T12" fmla="*/ 250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2 w 256"/>
                <a:gd name="T21" fmla="*/ 297 h 297"/>
                <a:gd name="T22" fmla="*/ 173 w 256"/>
                <a:gd name="T23" fmla="*/ 140 h 297"/>
                <a:gd name="T24" fmla="*/ 172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0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0" y="0"/>
                  </a:moveTo>
                  <a:lnTo>
                    <a:pt x="163" y="3"/>
                  </a:lnTo>
                  <a:lnTo>
                    <a:pt x="189" y="14"/>
                  </a:lnTo>
                  <a:lnTo>
                    <a:pt x="212" y="28"/>
                  </a:lnTo>
                  <a:lnTo>
                    <a:pt x="229" y="47"/>
                  </a:lnTo>
                  <a:lnTo>
                    <a:pt x="243" y="70"/>
                  </a:lnTo>
                  <a:lnTo>
                    <a:pt x="250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2" y="297"/>
                  </a:lnTo>
                  <a:lnTo>
                    <a:pt x="173" y="140"/>
                  </a:lnTo>
                  <a:lnTo>
                    <a:pt x="172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/>
            <p:cNvSpPr>
              <a:spLocks noEditPoints="1"/>
            </p:cNvSpPr>
            <p:nvPr userDrawn="1"/>
          </p:nvSpPr>
          <p:spPr bwMode="auto">
            <a:xfrm>
              <a:off x="5153026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2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1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8 w 253"/>
                <a:gd name="T51" fmla="*/ 295 h 299"/>
                <a:gd name="T52" fmla="*/ 188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6 w 253"/>
                <a:gd name="T61" fmla="*/ 280 h 299"/>
                <a:gd name="T62" fmla="*/ 167 w 253"/>
                <a:gd name="T63" fmla="*/ 287 h 299"/>
                <a:gd name="T64" fmla="*/ 155 w 253"/>
                <a:gd name="T65" fmla="*/ 292 h 299"/>
                <a:gd name="T66" fmla="*/ 139 w 253"/>
                <a:gd name="T67" fmla="*/ 297 h 299"/>
                <a:gd name="T68" fmla="*/ 118 w 253"/>
                <a:gd name="T69" fmla="*/ 299 h 299"/>
                <a:gd name="T70" fmla="*/ 87 w 253"/>
                <a:gd name="T71" fmla="*/ 294 h 299"/>
                <a:gd name="T72" fmla="*/ 59 w 253"/>
                <a:gd name="T73" fmla="*/ 278 h 299"/>
                <a:gd name="T74" fmla="*/ 34 w 253"/>
                <a:gd name="T75" fmla="*/ 253 h 299"/>
                <a:gd name="T76" fmla="*/ 15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7 w 253"/>
                <a:gd name="T87" fmla="*/ 57 h 299"/>
                <a:gd name="T88" fmla="*/ 48 w 253"/>
                <a:gd name="T89" fmla="*/ 36 h 299"/>
                <a:gd name="T90" fmla="*/ 71 w 253"/>
                <a:gd name="T91" fmla="*/ 21 h 299"/>
                <a:gd name="T92" fmla="*/ 97 w 253"/>
                <a:gd name="T93" fmla="*/ 8 h 299"/>
                <a:gd name="T94" fmla="*/ 125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2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1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8" y="295"/>
                  </a:lnTo>
                  <a:lnTo>
                    <a:pt x="188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6" y="280"/>
                  </a:lnTo>
                  <a:lnTo>
                    <a:pt x="167" y="287"/>
                  </a:lnTo>
                  <a:lnTo>
                    <a:pt x="155" y="292"/>
                  </a:lnTo>
                  <a:lnTo>
                    <a:pt x="139" y="297"/>
                  </a:lnTo>
                  <a:lnTo>
                    <a:pt x="118" y="299"/>
                  </a:lnTo>
                  <a:lnTo>
                    <a:pt x="87" y="294"/>
                  </a:lnTo>
                  <a:lnTo>
                    <a:pt x="59" y="278"/>
                  </a:lnTo>
                  <a:lnTo>
                    <a:pt x="34" y="253"/>
                  </a:lnTo>
                  <a:lnTo>
                    <a:pt x="15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7" y="57"/>
                  </a:lnTo>
                  <a:lnTo>
                    <a:pt x="48" y="36"/>
                  </a:lnTo>
                  <a:lnTo>
                    <a:pt x="71" y="21"/>
                  </a:lnTo>
                  <a:lnTo>
                    <a:pt x="97" y="8"/>
                  </a:lnTo>
                  <a:lnTo>
                    <a:pt x="125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/>
            <p:cNvSpPr>
              <a:spLocks noEditPoints="1"/>
            </p:cNvSpPr>
            <p:nvPr userDrawn="1"/>
          </p:nvSpPr>
          <p:spPr bwMode="auto">
            <a:xfrm>
              <a:off x="69850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9 w 253"/>
                <a:gd name="T41" fmla="*/ 5 h 299"/>
                <a:gd name="T42" fmla="*/ 234 w 253"/>
                <a:gd name="T43" fmla="*/ 10 h 299"/>
                <a:gd name="T44" fmla="*/ 253 w 253"/>
                <a:gd name="T45" fmla="*/ 15 h 299"/>
                <a:gd name="T46" fmla="*/ 253 w 253"/>
                <a:gd name="T47" fmla="*/ 295 h 299"/>
                <a:gd name="T48" fmla="*/ 190 w 253"/>
                <a:gd name="T49" fmla="*/ 295 h 299"/>
                <a:gd name="T50" fmla="*/ 190 w 253"/>
                <a:gd name="T51" fmla="*/ 295 h 299"/>
                <a:gd name="T52" fmla="*/ 188 w 253"/>
                <a:gd name="T53" fmla="*/ 292 h 299"/>
                <a:gd name="T54" fmla="*/ 187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4 w 253"/>
                <a:gd name="T61" fmla="*/ 281 h 299"/>
                <a:gd name="T62" fmla="*/ 162 w 253"/>
                <a:gd name="T63" fmla="*/ 290 h 299"/>
                <a:gd name="T64" fmla="*/ 145 w 253"/>
                <a:gd name="T65" fmla="*/ 297 h 299"/>
                <a:gd name="T66" fmla="*/ 118 w 253"/>
                <a:gd name="T67" fmla="*/ 299 h 299"/>
                <a:gd name="T68" fmla="*/ 89 w 253"/>
                <a:gd name="T69" fmla="*/ 294 h 299"/>
                <a:gd name="T70" fmla="*/ 61 w 253"/>
                <a:gd name="T71" fmla="*/ 278 h 299"/>
                <a:gd name="T72" fmla="*/ 36 w 253"/>
                <a:gd name="T73" fmla="*/ 253 h 299"/>
                <a:gd name="T74" fmla="*/ 17 w 253"/>
                <a:gd name="T75" fmla="*/ 222 h 299"/>
                <a:gd name="T76" fmla="*/ 5 w 253"/>
                <a:gd name="T77" fmla="*/ 185 h 299"/>
                <a:gd name="T78" fmla="*/ 0 w 253"/>
                <a:gd name="T79" fmla="*/ 147 h 299"/>
                <a:gd name="T80" fmla="*/ 3 w 253"/>
                <a:gd name="T81" fmla="*/ 112 h 299"/>
                <a:gd name="T82" fmla="*/ 14 w 253"/>
                <a:gd name="T83" fmla="*/ 82 h 299"/>
                <a:gd name="T84" fmla="*/ 29 w 253"/>
                <a:gd name="T85" fmla="*/ 57 h 299"/>
                <a:gd name="T86" fmla="*/ 48 w 253"/>
                <a:gd name="T87" fmla="*/ 36 h 299"/>
                <a:gd name="T88" fmla="*/ 73 w 253"/>
                <a:gd name="T89" fmla="*/ 21 h 299"/>
                <a:gd name="T90" fmla="*/ 99 w 253"/>
                <a:gd name="T91" fmla="*/ 8 h 299"/>
                <a:gd name="T92" fmla="*/ 127 w 253"/>
                <a:gd name="T93" fmla="*/ 1 h 299"/>
                <a:gd name="T94" fmla="*/ 155 w 253"/>
                <a:gd name="T95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9" y="5"/>
                  </a:lnTo>
                  <a:lnTo>
                    <a:pt x="234" y="10"/>
                  </a:lnTo>
                  <a:lnTo>
                    <a:pt x="253" y="15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90" y="295"/>
                  </a:lnTo>
                  <a:lnTo>
                    <a:pt x="188" y="292"/>
                  </a:lnTo>
                  <a:lnTo>
                    <a:pt x="187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4" y="281"/>
                  </a:lnTo>
                  <a:lnTo>
                    <a:pt x="162" y="290"/>
                  </a:lnTo>
                  <a:lnTo>
                    <a:pt x="145" y="297"/>
                  </a:lnTo>
                  <a:lnTo>
                    <a:pt x="118" y="299"/>
                  </a:lnTo>
                  <a:lnTo>
                    <a:pt x="89" y="294"/>
                  </a:lnTo>
                  <a:lnTo>
                    <a:pt x="61" y="278"/>
                  </a:lnTo>
                  <a:lnTo>
                    <a:pt x="36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9" y="57"/>
                  </a:lnTo>
                  <a:lnTo>
                    <a:pt x="48" y="36"/>
                  </a:lnTo>
                  <a:lnTo>
                    <a:pt x="73" y="21"/>
                  </a:lnTo>
                  <a:lnTo>
                    <a:pt x="99" y="8"/>
                  </a:lnTo>
                  <a:lnTo>
                    <a:pt x="127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/>
            <p:cNvSpPr>
              <a:spLocks noEditPoints="1"/>
            </p:cNvSpPr>
            <p:nvPr userDrawn="1"/>
          </p:nvSpPr>
          <p:spPr bwMode="auto">
            <a:xfrm>
              <a:off x="93218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6 w 253"/>
                <a:gd name="T21" fmla="*/ 234 h 299"/>
                <a:gd name="T22" fmla="*/ 136 w 253"/>
                <a:gd name="T23" fmla="*/ 236 h 299"/>
                <a:gd name="T24" fmla="*/ 154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2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3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9 w 253"/>
                <a:gd name="T51" fmla="*/ 295 h 299"/>
                <a:gd name="T52" fmla="*/ 189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2 w 253"/>
                <a:gd name="T59" fmla="*/ 276 h 299"/>
                <a:gd name="T60" fmla="*/ 176 w 253"/>
                <a:gd name="T61" fmla="*/ 280 h 299"/>
                <a:gd name="T62" fmla="*/ 168 w 253"/>
                <a:gd name="T63" fmla="*/ 287 h 299"/>
                <a:gd name="T64" fmla="*/ 155 w 253"/>
                <a:gd name="T65" fmla="*/ 292 h 299"/>
                <a:gd name="T66" fmla="*/ 140 w 253"/>
                <a:gd name="T67" fmla="*/ 297 h 299"/>
                <a:gd name="T68" fmla="*/ 119 w 253"/>
                <a:gd name="T69" fmla="*/ 299 h 299"/>
                <a:gd name="T70" fmla="*/ 89 w 253"/>
                <a:gd name="T71" fmla="*/ 294 h 299"/>
                <a:gd name="T72" fmla="*/ 59 w 253"/>
                <a:gd name="T73" fmla="*/ 278 h 299"/>
                <a:gd name="T74" fmla="*/ 35 w 253"/>
                <a:gd name="T75" fmla="*/ 253 h 299"/>
                <a:gd name="T76" fmla="*/ 17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8 w 253"/>
                <a:gd name="T87" fmla="*/ 57 h 299"/>
                <a:gd name="T88" fmla="*/ 49 w 253"/>
                <a:gd name="T89" fmla="*/ 36 h 299"/>
                <a:gd name="T90" fmla="*/ 71 w 253"/>
                <a:gd name="T91" fmla="*/ 21 h 299"/>
                <a:gd name="T92" fmla="*/ 98 w 253"/>
                <a:gd name="T93" fmla="*/ 8 h 299"/>
                <a:gd name="T94" fmla="*/ 126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6" y="234"/>
                  </a:lnTo>
                  <a:lnTo>
                    <a:pt x="136" y="236"/>
                  </a:lnTo>
                  <a:lnTo>
                    <a:pt x="154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2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3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9" y="295"/>
                  </a:lnTo>
                  <a:lnTo>
                    <a:pt x="189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2" y="276"/>
                  </a:lnTo>
                  <a:lnTo>
                    <a:pt x="176" y="280"/>
                  </a:lnTo>
                  <a:lnTo>
                    <a:pt x="168" y="287"/>
                  </a:lnTo>
                  <a:lnTo>
                    <a:pt x="155" y="292"/>
                  </a:lnTo>
                  <a:lnTo>
                    <a:pt x="140" y="297"/>
                  </a:lnTo>
                  <a:lnTo>
                    <a:pt x="119" y="299"/>
                  </a:lnTo>
                  <a:lnTo>
                    <a:pt x="89" y="294"/>
                  </a:lnTo>
                  <a:lnTo>
                    <a:pt x="59" y="278"/>
                  </a:lnTo>
                  <a:lnTo>
                    <a:pt x="35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8" y="57"/>
                  </a:lnTo>
                  <a:lnTo>
                    <a:pt x="49" y="36"/>
                  </a:lnTo>
                  <a:lnTo>
                    <a:pt x="71" y="21"/>
                  </a:lnTo>
                  <a:lnTo>
                    <a:pt x="98" y="8"/>
                  </a:lnTo>
                  <a:lnTo>
                    <a:pt x="126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/>
            <p:cNvSpPr>
              <a:spLocks/>
            </p:cNvSpPr>
            <p:nvPr userDrawn="1"/>
          </p:nvSpPr>
          <p:spPr bwMode="auto">
            <a:xfrm>
              <a:off x="7461251" y="4187825"/>
              <a:ext cx="681038" cy="471488"/>
            </a:xfrm>
            <a:custGeom>
              <a:avLst/>
              <a:gdLst>
                <a:gd name="T0" fmla="*/ 131 w 429"/>
                <a:gd name="T1" fmla="*/ 0 h 297"/>
                <a:gd name="T2" fmla="*/ 161 w 429"/>
                <a:gd name="T3" fmla="*/ 3 h 297"/>
                <a:gd name="T4" fmla="*/ 186 w 429"/>
                <a:gd name="T5" fmla="*/ 10 h 297"/>
                <a:gd name="T6" fmla="*/ 207 w 429"/>
                <a:gd name="T7" fmla="*/ 23 h 297"/>
                <a:gd name="T8" fmla="*/ 235 w 429"/>
                <a:gd name="T9" fmla="*/ 12 h 297"/>
                <a:gd name="T10" fmla="*/ 268 w 429"/>
                <a:gd name="T11" fmla="*/ 3 h 297"/>
                <a:gd name="T12" fmla="*/ 304 w 429"/>
                <a:gd name="T13" fmla="*/ 0 h 297"/>
                <a:gd name="T14" fmla="*/ 336 w 429"/>
                <a:gd name="T15" fmla="*/ 3 h 297"/>
                <a:gd name="T16" fmla="*/ 364 w 429"/>
                <a:gd name="T17" fmla="*/ 14 h 297"/>
                <a:gd name="T18" fmla="*/ 385 w 429"/>
                <a:gd name="T19" fmla="*/ 28 h 297"/>
                <a:gd name="T20" fmla="*/ 404 w 429"/>
                <a:gd name="T21" fmla="*/ 47 h 297"/>
                <a:gd name="T22" fmla="*/ 416 w 429"/>
                <a:gd name="T23" fmla="*/ 70 h 297"/>
                <a:gd name="T24" fmla="*/ 425 w 429"/>
                <a:gd name="T25" fmla="*/ 98 h 297"/>
                <a:gd name="T26" fmla="*/ 427 w 429"/>
                <a:gd name="T27" fmla="*/ 122 h 297"/>
                <a:gd name="T28" fmla="*/ 429 w 429"/>
                <a:gd name="T29" fmla="*/ 156 h 297"/>
                <a:gd name="T30" fmla="*/ 429 w 429"/>
                <a:gd name="T31" fmla="*/ 297 h 297"/>
                <a:gd name="T32" fmla="*/ 346 w 429"/>
                <a:gd name="T33" fmla="*/ 297 h 297"/>
                <a:gd name="T34" fmla="*/ 346 w 429"/>
                <a:gd name="T35" fmla="*/ 140 h 297"/>
                <a:gd name="T36" fmla="*/ 346 w 429"/>
                <a:gd name="T37" fmla="*/ 119 h 297"/>
                <a:gd name="T38" fmla="*/ 345 w 429"/>
                <a:gd name="T39" fmla="*/ 100 h 297"/>
                <a:gd name="T40" fmla="*/ 339 w 429"/>
                <a:gd name="T41" fmla="*/ 84 h 297"/>
                <a:gd name="T42" fmla="*/ 329 w 429"/>
                <a:gd name="T43" fmla="*/ 73 h 297"/>
                <a:gd name="T44" fmla="*/ 315 w 429"/>
                <a:gd name="T45" fmla="*/ 66 h 297"/>
                <a:gd name="T46" fmla="*/ 296 w 429"/>
                <a:gd name="T47" fmla="*/ 63 h 297"/>
                <a:gd name="T48" fmla="*/ 280 w 429"/>
                <a:gd name="T49" fmla="*/ 65 h 297"/>
                <a:gd name="T50" fmla="*/ 263 w 429"/>
                <a:gd name="T51" fmla="*/ 68 h 297"/>
                <a:gd name="T52" fmla="*/ 247 w 429"/>
                <a:gd name="T53" fmla="*/ 75 h 297"/>
                <a:gd name="T54" fmla="*/ 249 w 429"/>
                <a:gd name="T55" fmla="*/ 80 h 297"/>
                <a:gd name="T56" fmla="*/ 252 w 429"/>
                <a:gd name="T57" fmla="*/ 94 h 297"/>
                <a:gd name="T58" fmla="*/ 256 w 429"/>
                <a:gd name="T59" fmla="*/ 114 h 297"/>
                <a:gd name="T60" fmla="*/ 257 w 429"/>
                <a:gd name="T61" fmla="*/ 138 h 297"/>
                <a:gd name="T62" fmla="*/ 257 w 429"/>
                <a:gd name="T63" fmla="*/ 297 h 297"/>
                <a:gd name="T64" fmla="*/ 173 w 429"/>
                <a:gd name="T65" fmla="*/ 297 h 297"/>
                <a:gd name="T66" fmla="*/ 173 w 429"/>
                <a:gd name="T67" fmla="*/ 140 h 297"/>
                <a:gd name="T68" fmla="*/ 173 w 429"/>
                <a:gd name="T69" fmla="*/ 117 h 297"/>
                <a:gd name="T70" fmla="*/ 170 w 429"/>
                <a:gd name="T71" fmla="*/ 98 h 297"/>
                <a:gd name="T72" fmla="*/ 165 w 429"/>
                <a:gd name="T73" fmla="*/ 84 h 297"/>
                <a:gd name="T74" fmla="*/ 156 w 429"/>
                <a:gd name="T75" fmla="*/ 72 h 297"/>
                <a:gd name="T76" fmla="*/ 142 w 429"/>
                <a:gd name="T77" fmla="*/ 66 h 297"/>
                <a:gd name="T78" fmla="*/ 123 w 429"/>
                <a:gd name="T79" fmla="*/ 63 h 297"/>
                <a:gd name="T80" fmla="*/ 103 w 429"/>
                <a:gd name="T81" fmla="*/ 65 h 297"/>
                <a:gd name="T82" fmla="*/ 84 w 429"/>
                <a:gd name="T83" fmla="*/ 70 h 297"/>
                <a:gd name="T84" fmla="*/ 84 w 429"/>
                <a:gd name="T85" fmla="*/ 297 h 297"/>
                <a:gd name="T86" fmla="*/ 0 w 429"/>
                <a:gd name="T87" fmla="*/ 297 h 297"/>
                <a:gd name="T88" fmla="*/ 0 w 429"/>
                <a:gd name="T89" fmla="*/ 26 h 297"/>
                <a:gd name="T90" fmla="*/ 39 w 429"/>
                <a:gd name="T91" fmla="*/ 14 h 297"/>
                <a:gd name="T92" fmla="*/ 84 w 429"/>
                <a:gd name="T93" fmla="*/ 5 h 297"/>
                <a:gd name="T94" fmla="*/ 131 w 429"/>
                <a:gd name="T95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9" h="297">
                  <a:moveTo>
                    <a:pt x="131" y="0"/>
                  </a:moveTo>
                  <a:lnTo>
                    <a:pt x="161" y="3"/>
                  </a:lnTo>
                  <a:lnTo>
                    <a:pt x="186" y="10"/>
                  </a:lnTo>
                  <a:lnTo>
                    <a:pt x="207" y="23"/>
                  </a:lnTo>
                  <a:lnTo>
                    <a:pt x="235" y="12"/>
                  </a:lnTo>
                  <a:lnTo>
                    <a:pt x="268" y="3"/>
                  </a:lnTo>
                  <a:lnTo>
                    <a:pt x="304" y="0"/>
                  </a:lnTo>
                  <a:lnTo>
                    <a:pt x="336" y="3"/>
                  </a:lnTo>
                  <a:lnTo>
                    <a:pt x="364" y="14"/>
                  </a:lnTo>
                  <a:lnTo>
                    <a:pt x="385" y="28"/>
                  </a:lnTo>
                  <a:lnTo>
                    <a:pt x="404" y="47"/>
                  </a:lnTo>
                  <a:lnTo>
                    <a:pt x="416" y="70"/>
                  </a:lnTo>
                  <a:lnTo>
                    <a:pt x="425" y="98"/>
                  </a:lnTo>
                  <a:lnTo>
                    <a:pt x="427" y="122"/>
                  </a:lnTo>
                  <a:lnTo>
                    <a:pt x="429" y="156"/>
                  </a:lnTo>
                  <a:lnTo>
                    <a:pt x="429" y="297"/>
                  </a:lnTo>
                  <a:lnTo>
                    <a:pt x="346" y="297"/>
                  </a:lnTo>
                  <a:lnTo>
                    <a:pt x="346" y="140"/>
                  </a:lnTo>
                  <a:lnTo>
                    <a:pt x="346" y="119"/>
                  </a:lnTo>
                  <a:lnTo>
                    <a:pt x="345" y="100"/>
                  </a:lnTo>
                  <a:lnTo>
                    <a:pt x="339" y="84"/>
                  </a:lnTo>
                  <a:lnTo>
                    <a:pt x="329" y="73"/>
                  </a:lnTo>
                  <a:lnTo>
                    <a:pt x="315" y="66"/>
                  </a:lnTo>
                  <a:lnTo>
                    <a:pt x="296" y="63"/>
                  </a:lnTo>
                  <a:lnTo>
                    <a:pt x="280" y="65"/>
                  </a:lnTo>
                  <a:lnTo>
                    <a:pt x="263" y="68"/>
                  </a:lnTo>
                  <a:lnTo>
                    <a:pt x="247" y="75"/>
                  </a:lnTo>
                  <a:lnTo>
                    <a:pt x="249" y="80"/>
                  </a:lnTo>
                  <a:lnTo>
                    <a:pt x="252" y="94"/>
                  </a:lnTo>
                  <a:lnTo>
                    <a:pt x="256" y="114"/>
                  </a:lnTo>
                  <a:lnTo>
                    <a:pt x="257" y="138"/>
                  </a:lnTo>
                  <a:lnTo>
                    <a:pt x="257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7"/>
                  </a:lnTo>
                  <a:lnTo>
                    <a:pt x="170" y="98"/>
                  </a:lnTo>
                  <a:lnTo>
                    <a:pt x="165" y="84"/>
                  </a:lnTo>
                  <a:lnTo>
                    <a:pt x="156" y="72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4" y="70"/>
                  </a:lnTo>
                  <a:lnTo>
                    <a:pt x="84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39" y="14"/>
                  </a:lnTo>
                  <a:lnTo>
                    <a:pt x="84" y="5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"/>
            <p:cNvSpPr>
              <a:spLocks noEditPoints="1"/>
            </p:cNvSpPr>
            <p:nvPr userDrawn="1"/>
          </p:nvSpPr>
          <p:spPr bwMode="auto">
            <a:xfrm>
              <a:off x="8205788" y="4191000"/>
              <a:ext cx="396875" cy="685800"/>
            </a:xfrm>
            <a:custGeom>
              <a:avLst/>
              <a:gdLst>
                <a:gd name="T0" fmla="*/ 105 w 250"/>
                <a:gd name="T1" fmla="*/ 61 h 432"/>
                <a:gd name="T2" fmla="*/ 96 w 250"/>
                <a:gd name="T3" fmla="*/ 61 h 432"/>
                <a:gd name="T4" fmla="*/ 89 w 250"/>
                <a:gd name="T5" fmla="*/ 61 h 432"/>
                <a:gd name="T6" fmla="*/ 82 w 250"/>
                <a:gd name="T7" fmla="*/ 61 h 432"/>
                <a:gd name="T8" fmla="*/ 82 w 250"/>
                <a:gd name="T9" fmla="*/ 234 h 432"/>
                <a:gd name="T10" fmla="*/ 87 w 250"/>
                <a:gd name="T11" fmla="*/ 238 h 432"/>
                <a:gd name="T12" fmla="*/ 96 w 250"/>
                <a:gd name="T13" fmla="*/ 239 h 432"/>
                <a:gd name="T14" fmla="*/ 108 w 250"/>
                <a:gd name="T15" fmla="*/ 239 h 432"/>
                <a:gd name="T16" fmla="*/ 122 w 250"/>
                <a:gd name="T17" fmla="*/ 238 h 432"/>
                <a:gd name="T18" fmla="*/ 136 w 250"/>
                <a:gd name="T19" fmla="*/ 232 h 432"/>
                <a:gd name="T20" fmla="*/ 148 w 250"/>
                <a:gd name="T21" fmla="*/ 222 h 432"/>
                <a:gd name="T22" fmla="*/ 159 w 250"/>
                <a:gd name="T23" fmla="*/ 203 h 432"/>
                <a:gd name="T24" fmla="*/ 166 w 250"/>
                <a:gd name="T25" fmla="*/ 178 h 432"/>
                <a:gd name="T26" fmla="*/ 168 w 250"/>
                <a:gd name="T27" fmla="*/ 143 h 432"/>
                <a:gd name="T28" fmla="*/ 162 w 250"/>
                <a:gd name="T29" fmla="*/ 115 h 432"/>
                <a:gd name="T30" fmla="*/ 152 w 250"/>
                <a:gd name="T31" fmla="*/ 92 h 432"/>
                <a:gd name="T32" fmla="*/ 138 w 250"/>
                <a:gd name="T33" fmla="*/ 75 h 432"/>
                <a:gd name="T34" fmla="*/ 122 w 250"/>
                <a:gd name="T35" fmla="*/ 64 h 432"/>
                <a:gd name="T36" fmla="*/ 105 w 250"/>
                <a:gd name="T37" fmla="*/ 61 h 432"/>
                <a:gd name="T38" fmla="*/ 98 w 250"/>
                <a:gd name="T39" fmla="*/ 0 h 432"/>
                <a:gd name="T40" fmla="*/ 122 w 250"/>
                <a:gd name="T41" fmla="*/ 1 h 432"/>
                <a:gd name="T42" fmla="*/ 147 w 250"/>
                <a:gd name="T43" fmla="*/ 7 h 432"/>
                <a:gd name="T44" fmla="*/ 171 w 250"/>
                <a:gd name="T45" fmla="*/ 15 h 432"/>
                <a:gd name="T46" fmla="*/ 194 w 250"/>
                <a:gd name="T47" fmla="*/ 28 h 432"/>
                <a:gd name="T48" fmla="*/ 213 w 250"/>
                <a:gd name="T49" fmla="*/ 45 h 432"/>
                <a:gd name="T50" fmla="*/ 229 w 250"/>
                <a:gd name="T51" fmla="*/ 66 h 432"/>
                <a:gd name="T52" fmla="*/ 241 w 250"/>
                <a:gd name="T53" fmla="*/ 91 h 432"/>
                <a:gd name="T54" fmla="*/ 248 w 250"/>
                <a:gd name="T55" fmla="*/ 120 h 432"/>
                <a:gd name="T56" fmla="*/ 250 w 250"/>
                <a:gd name="T57" fmla="*/ 155 h 432"/>
                <a:gd name="T58" fmla="*/ 246 w 250"/>
                <a:gd name="T59" fmla="*/ 194 h 432"/>
                <a:gd name="T60" fmla="*/ 238 w 250"/>
                <a:gd name="T61" fmla="*/ 222 h 432"/>
                <a:gd name="T62" fmla="*/ 224 w 250"/>
                <a:gd name="T63" fmla="*/ 248 h 432"/>
                <a:gd name="T64" fmla="*/ 206 w 250"/>
                <a:gd name="T65" fmla="*/ 269 h 432"/>
                <a:gd name="T66" fmla="*/ 185 w 250"/>
                <a:gd name="T67" fmla="*/ 285 h 432"/>
                <a:gd name="T68" fmla="*/ 159 w 250"/>
                <a:gd name="T69" fmla="*/ 295 h 432"/>
                <a:gd name="T70" fmla="*/ 129 w 250"/>
                <a:gd name="T71" fmla="*/ 299 h 432"/>
                <a:gd name="T72" fmla="*/ 112 w 250"/>
                <a:gd name="T73" fmla="*/ 297 h 432"/>
                <a:gd name="T74" fmla="*/ 94 w 250"/>
                <a:gd name="T75" fmla="*/ 294 h 432"/>
                <a:gd name="T76" fmla="*/ 82 w 250"/>
                <a:gd name="T77" fmla="*/ 290 h 432"/>
                <a:gd name="T78" fmla="*/ 82 w 250"/>
                <a:gd name="T79" fmla="*/ 432 h 432"/>
                <a:gd name="T80" fmla="*/ 0 w 250"/>
                <a:gd name="T81" fmla="*/ 432 h 432"/>
                <a:gd name="T82" fmla="*/ 0 w 250"/>
                <a:gd name="T83" fmla="*/ 12 h 432"/>
                <a:gd name="T84" fmla="*/ 28 w 250"/>
                <a:gd name="T85" fmla="*/ 5 h 432"/>
                <a:gd name="T86" fmla="*/ 61 w 250"/>
                <a:gd name="T87" fmla="*/ 1 h 432"/>
                <a:gd name="T88" fmla="*/ 98 w 250"/>
                <a:gd name="T89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0" h="432">
                  <a:moveTo>
                    <a:pt x="105" y="61"/>
                  </a:moveTo>
                  <a:lnTo>
                    <a:pt x="96" y="61"/>
                  </a:lnTo>
                  <a:lnTo>
                    <a:pt x="89" y="61"/>
                  </a:lnTo>
                  <a:lnTo>
                    <a:pt x="82" y="61"/>
                  </a:lnTo>
                  <a:lnTo>
                    <a:pt x="82" y="234"/>
                  </a:lnTo>
                  <a:lnTo>
                    <a:pt x="87" y="238"/>
                  </a:lnTo>
                  <a:lnTo>
                    <a:pt x="96" y="239"/>
                  </a:lnTo>
                  <a:lnTo>
                    <a:pt x="108" y="239"/>
                  </a:lnTo>
                  <a:lnTo>
                    <a:pt x="122" y="238"/>
                  </a:lnTo>
                  <a:lnTo>
                    <a:pt x="136" y="232"/>
                  </a:lnTo>
                  <a:lnTo>
                    <a:pt x="148" y="222"/>
                  </a:lnTo>
                  <a:lnTo>
                    <a:pt x="159" y="203"/>
                  </a:lnTo>
                  <a:lnTo>
                    <a:pt x="166" y="178"/>
                  </a:lnTo>
                  <a:lnTo>
                    <a:pt x="168" y="143"/>
                  </a:lnTo>
                  <a:lnTo>
                    <a:pt x="162" y="115"/>
                  </a:lnTo>
                  <a:lnTo>
                    <a:pt x="152" y="92"/>
                  </a:lnTo>
                  <a:lnTo>
                    <a:pt x="138" y="75"/>
                  </a:lnTo>
                  <a:lnTo>
                    <a:pt x="122" y="64"/>
                  </a:lnTo>
                  <a:lnTo>
                    <a:pt x="105" y="61"/>
                  </a:lnTo>
                  <a:close/>
                  <a:moveTo>
                    <a:pt x="98" y="0"/>
                  </a:moveTo>
                  <a:lnTo>
                    <a:pt x="122" y="1"/>
                  </a:lnTo>
                  <a:lnTo>
                    <a:pt x="147" y="7"/>
                  </a:lnTo>
                  <a:lnTo>
                    <a:pt x="171" y="15"/>
                  </a:lnTo>
                  <a:lnTo>
                    <a:pt x="194" y="28"/>
                  </a:lnTo>
                  <a:lnTo>
                    <a:pt x="213" y="45"/>
                  </a:lnTo>
                  <a:lnTo>
                    <a:pt x="229" y="66"/>
                  </a:lnTo>
                  <a:lnTo>
                    <a:pt x="241" y="91"/>
                  </a:lnTo>
                  <a:lnTo>
                    <a:pt x="248" y="120"/>
                  </a:lnTo>
                  <a:lnTo>
                    <a:pt x="250" y="155"/>
                  </a:lnTo>
                  <a:lnTo>
                    <a:pt x="246" y="194"/>
                  </a:lnTo>
                  <a:lnTo>
                    <a:pt x="238" y="222"/>
                  </a:lnTo>
                  <a:lnTo>
                    <a:pt x="224" y="248"/>
                  </a:lnTo>
                  <a:lnTo>
                    <a:pt x="206" y="269"/>
                  </a:lnTo>
                  <a:lnTo>
                    <a:pt x="185" y="285"/>
                  </a:lnTo>
                  <a:lnTo>
                    <a:pt x="159" y="295"/>
                  </a:lnTo>
                  <a:lnTo>
                    <a:pt x="129" y="299"/>
                  </a:lnTo>
                  <a:lnTo>
                    <a:pt x="112" y="297"/>
                  </a:lnTo>
                  <a:lnTo>
                    <a:pt x="94" y="294"/>
                  </a:lnTo>
                  <a:lnTo>
                    <a:pt x="82" y="290"/>
                  </a:lnTo>
                  <a:lnTo>
                    <a:pt x="82" y="432"/>
                  </a:lnTo>
                  <a:lnTo>
                    <a:pt x="0" y="432"/>
                  </a:lnTo>
                  <a:lnTo>
                    <a:pt x="0" y="12"/>
                  </a:lnTo>
                  <a:lnTo>
                    <a:pt x="28" y="5"/>
                  </a:lnTo>
                  <a:lnTo>
                    <a:pt x="61" y="1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"/>
            <p:cNvSpPr>
              <a:spLocks/>
            </p:cNvSpPr>
            <p:nvPr userDrawn="1"/>
          </p:nvSpPr>
          <p:spPr bwMode="auto">
            <a:xfrm>
              <a:off x="4591051" y="4187825"/>
              <a:ext cx="311150" cy="485775"/>
            </a:xfrm>
            <a:custGeom>
              <a:avLst/>
              <a:gdLst>
                <a:gd name="T0" fmla="*/ 91 w 196"/>
                <a:gd name="T1" fmla="*/ 0 h 306"/>
                <a:gd name="T2" fmla="*/ 110 w 196"/>
                <a:gd name="T3" fmla="*/ 2 h 306"/>
                <a:gd name="T4" fmla="*/ 128 w 196"/>
                <a:gd name="T5" fmla="*/ 3 h 306"/>
                <a:gd name="T6" fmla="*/ 145 w 196"/>
                <a:gd name="T7" fmla="*/ 9 h 306"/>
                <a:gd name="T8" fmla="*/ 168 w 196"/>
                <a:gd name="T9" fmla="*/ 17 h 306"/>
                <a:gd name="T10" fmla="*/ 168 w 196"/>
                <a:gd name="T11" fmla="*/ 79 h 306"/>
                <a:gd name="T12" fmla="*/ 149 w 196"/>
                <a:gd name="T13" fmla="*/ 68 h 306"/>
                <a:gd name="T14" fmla="*/ 131 w 196"/>
                <a:gd name="T15" fmla="*/ 61 h 306"/>
                <a:gd name="T16" fmla="*/ 117 w 196"/>
                <a:gd name="T17" fmla="*/ 58 h 306"/>
                <a:gd name="T18" fmla="*/ 102 w 196"/>
                <a:gd name="T19" fmla="*/ 56 h 306"/>
                <a:gd name="T20" fmla="*/ 89 w 196"/>
                <a:gd name="T21" fmla="*/ 59 h 306"/>
                <a:gd name="T22" fmla="*/ 81 w 196"/>
                <a:gd name="T23" fmla="*/ 65 h 306"/>
                <a:gd name="T24" fmla="*/ 76 w 196"/>
                <a:gd name="T25" fmla="*/ 72 h 306"/>
                <a:gd name="T26" fmla="*/ 74 w 196"/>
                <a:gd name="T27" fmla="*/ 80 h 306"/>
                <a:gd name="T28" fmla="*/ 74 w 196"/>
                <a:gd name="T29" fmla="*/ 87 h 306"/>
                <a:gd name="T30" fmla="*/ 83 w 196"/>
                <a:gd name="T31" fmla="*/ 100 h 306"/>
                <a:gd name="T32" fmla="*/ 100 w 196"/>
                <a:gd name="T33" fmla="*/ 112 h 306"/>
                <a:gd name="T34" fmla="*/ 128 w 196"/>
                <a:gd name="T35" fmla="*/ 128 h 306"/>
                <a:gd name="T36" fmla="*/ 151 w 196"/>
                <a:gd name="T37" fmla="*/ 142 h 306"/>
                <a:gd name="T38" fmla="*/ 170 w 196"/>
                <a:gd name="T39" fmla="*/ 157 h 306"/>
                <a:gd name="T40" fmla="*/ 184 w 196"/>
                <a:gd name="T41" fmla="*/ 178 h 306"/>
                <a:gd name="T42" fmla="*/ 194 w 196"/>
                <a:gd name="T43" fmla="*/ 205 h 306"/>
                <a:gd name="T44" fmla="*/ 196 w 196"/>
                <a:gd name="T45" fmla="*/ 233 h 306"/>
                <a:gd name="T46" fmla="*/ 191 w 196"/>
                <a:gd name="T47" fmla="*/ 255 h 306"/>
                <a:gd name="T48" fmla="*/ 179 w 196"/>
                <a:gd name="T49" fmla="*/ 275 h 306"/>
                <a:gd name="T50" fmla="*/ 161 w 196"/>
                <a:gd name="T51" fmla="*/ 289 h 306"/>
                <a:gd name="T52" fmla="*/ 138 w 196"/>
                <a:gd name="T53" fmla="*/ 299 h 306"/>
                <a:gd name="T54" fmla="*/ 112 w 196"/>
                <a:gd name="T55" fmla="*/ 304 h 306"/>
                <a:gd name="T56" fmla="*/ 83 w 196"/>
                <a:gd name="T57" fmla="*/ 306 h 306"/>
                <a:gd name="T58" fmla="*/ 55 w 196"/>
                <a:gd name="T59" fmla="*/ 304 h 306"/>
                <a:gd name="T60" fmla="*/ 30 w 196"/>
                <a:gd name="T61" fmla="*/ 299 h 306"/>
                <a:gd name="T62" fmla="*/ 7 w 196"/>
                <a:gd name="T63" fmla="*/ 292 h 306"/>
                <a:gd name="T64" fmla="*/ 7 w 196"/>
                <a:gd name="T65" fmla="*/ 229 h 306"/>
                <a:gd name="T66" fmla="*/ 30 w 196"/>
                <a:gd name="T67" fmla="*/ 240 h 306"/>
                <a:gd name="T68" fmla="*/ 51 w 196"/>
                <a:gd name="T69" fmla="*/ 248 h 306"/>
                <a:gd name="T70" fmla="*/ 74 w 196"/>
                <a:gd name="T71" fmla="*/ 254 h 306"/>
                <a:gd name="T72" fmla="*/ 93 w 196"/>
                <a:gd name="T73" fmla="*/ 250 h 306"/>
                <a:gd name="T74" fmla="*/ 107 w 196"/>
                <a:gd name="T75" fmla="*/ 245 h 306"/>
                <a:gd name="T76" fmla="*/ 114 w 196"/>
                <a:gd name="T77" fmla="*/ 236 h 306"/>
                <a:gd name="T78" fmla="*/ 117 w 196"/>
                <a:gd name="T79" fmla="*/ 226 h 306"/>
                <a:gd name="T80" fmla="*/ 117 w 196"/>
                <a:gd name="T81" fmla="*/ 215 h 306"/>
                <a:gd name="T82" fmla="*/ 109 w 196"/>
                <a:gd name="T83" fmla="*/ 201 h 306"/>
                <a:gd name="T84" fmla="*/ 95 w 196"/>
                <a:gd name="T85" fmla="*/ 187 h 306"/>
                <a:gd name="T86" fmla="*/ 76 w 196"/>
                <a:gd name="T87" fmla="*/ 175 h 306"/>
                <a:gd name="T88" fmla="*/ 55 w 196"/>
                <a:gd name="T89" fmla="*/ 161 h 306"/>
                <a:gd name="T90" fmla="*/ 37 w 196"/>
                <a:gd name="T91" fmla="*/ 149 h 306"/>
                <a:gd name="T92" fmla="*/ 21 w 196"/>
                <a:gd name="T93" fmla="*/ 133 h 306"/>
                <a:gd name="T94" fmla="*/ 9 w 196"/>
                <a:gd name="T95" fmla="*/ 115 h 306"/>
                <a:gd name="T96" fmla="*/ 2 w 196"/>
                <a:gd name="T97" fmla="*/ 93 h 306"/>
                <a:gd name="T98" fmla="*/ 0 w 196"/>
                <a:gd name="T99" fmla="*/ 68 h 306"/>
                <a:gd name="T100" fmla="*/ 6 w 196"/>
                <a:gd name="T101" fmla="*/ 47 h 306"/>
                <a:gd name="T102" fmla="*/ 14 w 196"/>
                <a:gd name="T103" fmla="*/ 30 h 306"/>
                <a:gd name="T104" fmla="*/ 30 w 196"/>
                <a:gd name="T105" fmla="*/ 17 h 306"/>
                <a:gd name="T106" fmla="*/ 48 w 196"/>
                <a:gd name="T107" fmla="*/ 9 h 306"/>
                <a:gd name="T108" fmla="*/ 69 w 196"/>
                <a:gd name="T109" fmla="*/ 2 h 306"/>
                <a:gd name="T110" fmla="*/ 91 w 196"/>
                <a:gd name="T111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6" h="306">
                  <a:moveTo>
                    <a:pt x="91" y="0"/>
                  </a:moveTo>
                  <a:lnTo>
                    <a:pt x="110" y="2"/>
                  </a:lnTo>
                  <a:lnTo>
                    <a:pt x="128" y="3"/>
                  </a:lnTo>
                  <a:lnTo>
                    <a:pt x="145" y="9"/>
                  </a:lnTo>
                  <a:lnTo>
                    <a:pt x="168" y="17"/>
                  </a:lnTo>
                  <a:lnTo>
                    <a:pt x="168" y="79"/>
                  </a:lnTo>
                  <a:lnTo>
                    <a:pt x="149" y="68"/>
                  </a:lnTo>
                  <a:lnTo>
                    <a:pt x="131" y="61"/>
                  </a:lnTo>
                  <a:lnTo>
                    <a:pt x="117" y="58"/>
                  </a:lnTo>
                  <a:lnTo>
                    <a:pt x="102" y="56"/>
                  </a:lnTo>
                  <a:lnTo>
                    <a:pt x="89" y="59"/>
                  </a:lnTo>
                  <a:lnTo>
                    <a:pt x="81" y="65"/>
                  </a:lnTo>
                  <a:lnTo>
                    <a:pt x="76" y="72"/>
                  </a:lnTo>
                  <a:lnTo>
                    <a:pt x="74" y="80"/>
                  </a:lnTo>
                  <a:lnTo>
                    <a:pt x="74" y="87"/>
                  </a:lnTo>
                  <a:lnTo>
                    <a:pt x="83" y="100"/>
                  </a:lnTo>
                  <a:lnTo>
                    <a:pt x="100" y="112"/>
                  </a:lnTo>
                  <a:lnTo>
                    <a:pt x="128" y="128"/>
                  </a:lnTo>
                  <a:lnTo>
                    <a:pt x="151" y="142"/>
                  </a:lnTo>
                  <a:lnTo>
                    <a:pt x="170" y="157"/>
                  </a:lnTo>
                  <a:lnTo>
                    <a:pt x="184" y="178"/>
                  </a:lnTo>
                  <a:lnTo>
                    <a:pt x="194" y="205"/>
                  </a:lnTo>
                  <a:lnTo>
                    <a:pt x="196" y="233"/>
                  </a:lnTo>
                  <a:lnTo>
                    <a:pt x="191" y="255"/>
                  </a:lnTo>
                  <a:lnTo>
                    <a:pt x="179" y="275"/>
                  </a:lnTo>
                  <a:lnTo>
                    <a:pt x="161" y="289"/>
                  </a:lnTo>
                  <a:lnTo>
                    <a:pt x="138" y="299"/>
                  </a:lnTo>
                  <a:lnTo>
                    <a:pt x="112" y="304"/>
                  </a:lnTo>
                  <a:lnTo>
                    <a:pt x="83" y="306"/>
                  </a:lnTo>
                  <a:lnTo>
                    <a:pt x="55" y="304"/>
                  </a:lnTo>
                  <a:lnTo>
                    <a:pt x="30" y="299"/>
                  </a:lnTo>
                  <a:lnTo>
                    <a:pt x="7" y="292"/>
                  </a:lnTo>
                  <a:lnTo>
                    <a:pt x="7" y="229"/>
                  </a:lnTo>
                  <a:lnTo>
                    <a:pt x="30" y="240"/>
                  </a:lnTo>
                  <a:lnTo>
                    <a:pt x="51" y="248"/>
                  </a:lnTo>
                  <a:lnTo>
                    <a:pt x="74" y="254"/>
                  </a:lnTo>
                  <a:lnTo>
                    <a:pt x="93" y="250"/>
                  </a:lnTo>
                  <a:lnTo>
                    <a:pt x="107" y="245"/>
                  </a:lnTo>
                  <a:lnTo>
                    <a:pt x="114" y="236"/>
                  </a:lnTo>
                  <a:lnTo>
                    <a:pt x="117" y="226"/>
                  </a:lnTo>
                  <a:lnTo>
                    <a:pt x="117" y="215"/>
                  </a:lnTo>
                  <a:lnTo>
                    <a:pt x="109" y="201"/>
                  </a:lnTo>
                  <a:lnTo>
                    <a:pt x="95" y="187"/>
                  </a:lnTo>
                  <a:lnTo>
                    <a:pt x="76" y="175"/>
                  </a:lnTo>
                  <a:lnTo>
                    <a:pt x="55" y="161"/>
                  </a:lnTo>
                  <a:lnTo>
                    <a:pt x="37" y="149"/>
                  </a:lnTo>
                  <a:lnTo>
                    <a:pt x="21" y="133"/>
                  </a:lnTo>
                  <a:lnTo>
                    <a:pt x="9" y="115"/>
                  </a:lnTo>
                  <a:lnTo>
                    <a:pt x="2" y="93"/>
                  </a:lnTo>
                  <a:lnTo>
                    <a:pt x="0" y="68"/>
                  </a:lnTo>
                  <a:lnTo>
                    <a:pt x="6" y="47"/>
                  </a:lnTo>
                  <a:lnTo>
                    <a:pt x="14" y="30"/>
                  </a:lnTo>
                  <a:lnTo>
                    <a:pt x="30" y="17"/>
                  </a:lnTo>
                  <a:lnTo>
                    <a:pt x="48" y="9"/>
                  </a:lnTo>
                  <a:lnTo>
                    <a:pt x="69" y="2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4"/>
            <p:cNvSpPr>
              <a:spLocks/>
            </p:cNvSpPr>
            <p:nvPr userDrawn="1"/>
          </p:nvSpPr>
          <p:spPr bwMode="auto">
            <a:xfrm>
              <a:off x="3719513" y="4195763"/>
              <a:ext cx="230188" cy="463550"/>
            </a:xfrm>
            <a:custGeom>
              <a:avLst/>
              <a:gdLst>
                <a:gd name="T0" fmla="*/ 140 w 145"/>
                <a:gd name="T1" fmla="*/ 0 h 292"/>
                <a:gd name="T2" fmla="*/ 145 w 145"/>
                <a:gd name="T3" fmla="*/ 0 h 292"/>
                <a:gd name="T4" fmla="*/ 145 w 145"/>
                <a:gd name="T5" fmla="*/ 61 h 292"/>
                <a:gd name="T6" fmla="*/ 138 w 145"/>
                <a:gd name="T7" fmla="*/ 61 h 292"/>
                <a:gd name="T8" fmla="*/ 133 w 145"/>
                <a:gd name="T9" fmla="*/ 61 h 292"/>
                <a:gd name="T10" fmla="*/ 117 w 145"/>
                <a:gd name="T11" fmla="*/ 61 h 292"/>
                <a:gd name="T12" fmla="*/ 98 w 145"/>
                <a:gd name="T13" fmla="*/ 63 h 292"/>
                <a:gd name="T14" fmla="*/ 82 w 145"/>
                <a:gd name="T15" fmla="*/ 68 h 292"/>
                <a:gd name="T16" fmla="*/ 84 w 145"/>
                <a:gd name="T17" fmla="*/ 292 h 292"/>
                <a:gd name="T18" fmla="*/ 0 w 145"/>
                <a:gd name="T19" fmla="*/ 292 h 292"/>
                <a:gd name="T20" fmla="*/ 0 w 145"/>
                <a:gd name="T21" fmla="*/ 25 h 292"/>
                <a:gd name="T22" fmla="*/ 21 w 145"/>
                <a:gd name="T23" fmla="*/ 18 h 292"/>
                <a:gd name="T24" fmla="*/ 44 w 145"/>
                <a:gd name="T25" fmla="*/ 11 h 292"/>
                <a:gd name="T26" fmla="*/ 72 w 145"/>
                <a:gd name="T27" fmla="*/ 5 h 292"/>
                <a:gd name="T28" fmla="*/ 103 w 145"/>
                <a:gd name="T29" fmla="*/ 2 h 292"/>
                <a:gd name="T30" fmla="*/ 140 w 145"/>
                <a:gd name="T3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92">
                  <a:moveTo>
                    <a:pt x="140" y="0"/>
                  </a:moveTo>
                  <a:lnTo>
                    <a:pt x="145" y="0"/>
                  </a:lnTo>
                  <a:lnTo>
                    <a:pt x="145" y="61"/>
                  </a:lnTo>
                  <a:lnTo>
                    <a:pt x="138" y="61"/>
                  </a:lnTo>
                  <a:lnTo>
                    <a:pt x="133" y="61"/>
                  </a:lnTo>
                  <a:lnTo>
                    <a:pt x="117" y="61"/>
                  </a:lnTo>
                  <a:lnTo>
                    <a:pt x="98" y="63"/>
                  </a:lnTo>
                  <a:lnTo>
                    <a:pt x="82" y="68"/>
                  </a:lnTo>
                  <a:lnTo>
                    <a:pt x="84" y="292"/>
                  </a:lnTo>
                  <a:lnTo>
                    <a:pt x="0" y="292"/>
                  </a:lnTo>
                  <a:lnTo>
                    <a:pt x="0" y="25"/>
                  </a:lnTo>
                  <a:lnTo>
                    <a:pt x="21" y="18"/>
                  </a:lnTo>
                  <a:lnTo>
                    <a:pt x="44" y="11"/>
                  </a:lnTo>
                  <a:lnTo>
                    <a:pt x="72" y="5"/>
                  </a:lnTo>
                  <a:lnTo>
                    <a:pt x="103" y="2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 userDrawn="1"/>
          </p:nvSpPr>
          <p:spPr bwMode="auto">
            <a:xfrm>
              <a:off x="4003676" y="4191000"/>
              <a:ext cx="127000" cy="468313"/>
            </a:xfrm>
            <a:custGeom>
              <a:avLst/>
              <a:gdLst>
                <a:gd name="T0" fmla="*/ 40 w 80"/>
                <a:gd name="T1" fmla="*/ 0 h 295"/>
                <a:gd name="T2" fmla="*/ 61 w 80"/>
                <a:gd name="T3" fmla="*/ 1 h 295"/>
                <a:gd name="T4" fmla="*/ 73 w 80"/>
                <a:gd name="T5" fmla="*/ 1 h 295"/>
                <a:gd name="T6" fmla="*/ 78 w 80"/>
                <a:gd name="T7" fmla="*/ 3 h 295"/>
                <a:gd name="T8" fmla="*/ 80 w 80"/>
                <a:gd name="T9" fmla="*/ 3 h 295"/>
                <a:gd name="T10" fmla="*/ 80 w 80"/>
                <a:gd name="T11" fmla="*/ 295 h 295"/>
                <a:gd name="T12" fmla="*/ 0 w 80"/>
                <a:gd name="T13" fmla="*/ 295 h 295"/>
                <a:gd name="T14" fmla="*/ 0 w 80"/>
                <a:gd name="T15" fmla="*/ 3 h 295"/>
                <a:gd name="T16" fmla="*/ 1 w 80"/>
                <a:gd name="T17" fmla="*/ 3 h 295"/>
                <a:gd name="T18" fmla="*/ 8 w 80"/>
                <a:gd name="T19" fmla="*/ 1 h 295"/>
                <a:gd name="T20" fmla="*/ 21 w 80"/>
                <a:gd name="T21" fmla="*/ 1 h 295"/>
                <a:gd name="T22" fmla="*/ 40 w 80"/>
                <a:gd name="T23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295">
                  <a:moveTo>
                    <a:pt x="40" y="0"/>
                  </a:moveTo>
                  <a:lnTo>
                    <a:pt x="61" y="1"/>
                  </a:lnTo>
                  <a:lnTo>
                    <a:pt x="73" y="1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0" y="295"/>
                  </a:lnTo>
                  <a:lnTo>
                    <a:pt x="0" y="295"/>
                  </a:lnTo>
                  <a:lnTo>
                    <a:pt x="0" y="3"/>
                  </a:lnTo>
                  <a:lnTo>
                    <a:pt x="1" y="3"/>
                  </a:lnTo>
                  <a:lnTo>
                    <a:pt x="8" y="1"/>
                  </a:lnTo>
                  <a:lnTo>
                    <a:pt x="21" y="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6"/>
            <p:cNvSpPr>
              <a:spLocks/>
            </p:cNvSpPr>
            <p:nvPr userDrawn="1"/>
          </p:nvSpPr>
          <p:spPr bwMode="auto">
            <a:xfrm>
              <a:off x="4943476" y="4043363"/>
              <a:ext cx="217488" cy="630238"/>
            </a:xfrm>
            <a:custGeom>
              <a:avLst/>
              <a:gdLst>
                <a:gd name="T0" fmla="*/ 42 w 137"/>
                <a:gd name="T1" fmla="*/ 0 h 397"/>
                <a:gd name="T2" fmla="*/ 63 w 137"/>
                <a:gd name="T3" fmla="*/ 0 h 397"/>
                <a:gd name="T4" fmla="*/ 76 w 137"/>
                <a:gd name="T5" fmla="*/ 2 h 397"/>
                <a:gd name="T6" fmla="*/ 83 w 137"/>
                <a:gd name="T7" fmla="*/ 3 h 397"/>
                <a:gd name="T8" fmla="*/ 84 w 137"/>
                <a:gd name="T9" fmla="*/ 3 h 397"/>
                <a:gd name="T10" fmla="*/ 84 w 137"/>
                <a:gd name="T11" fmla="*/ 289 h 397"/>
                <a:gd name="T12" fmla="*/ 86 w 137"/>
                <a:gd name="T13" fmla="*/ 306 h 397"/>
                <a:gd name="T14" fmla="*/ 90 w 137"/>
                <a:gd name="T15" fmla="*/ 317 h 397"/>
                <a:gd name="T16" fmla="*/ 98 w 137"/>
                <a:gd name="T17" fmla="*/ 324 h 397"/>
                <a:gd name="T18" fmla="*/ 109 w 137"/>
                <a:gd name="T19" fmla="*/ 325 h 397"/>
                <a:gd name="T20" fmla="*/ 114 w 137"/>
                <a:gd name="T21" fmla="*/ 325 h 397"/>
                <a:gd name="T22" fmla="*/ 119 w 137"/>
                <a:gd name="T23" fmla="*/ 324 h 397"/>
                <a:gd name="T24" fmla="*/ 137 w 137"/>
                <a:gd name="T25" fmla="*/ 390 h 397"/>
                <a:gd name="T26" fmla="*/ 116 w 137"/>
                <a:gd name="T27" fmla="*/ 395 h 397"/>
                <a:gd name="T28" fmla="*/ 88 w 137"/>
                <a:gd name="T29" fmla="*/ 397 h 397"/>
                <a:gd name="T30" fmla="*/ 74 w 137"/>
                <a:gd name="T31" fmla="*/ 397 h 397"/>
                <a:gd name="T32" fmla="*/ 60 w 137"/>
                <a:gd name="T33" fmla="*/ 394 h 397"/>
                <a:gd name="T34" fmla="*/ 46 w 137"/>
                <a:gd name="T35" fmla="*/ 388 h 397"/>
                <a:gd name="T36" fmla="*/ 32 w 137"/>
                <a:gd name="T37" fmla="*/ 380 h 397"/>
                <a:gd name="T38" fmla="*/ 20 w 137"/>
                <a:gd name="T39" fmla="*/ 366 h 397"/>
                <a:gd name="T40" fmla="*/ 9 w 137"/>
                <a:gd name="T41" fmla="*/ 348 h 397"/>
                <a:gd name="T42" fmla="*/ 4 w 137"/>
                <a:gd name="T43" fmla="*/ 324 h 397"/>
                <a:gd name="T44" fmla="*/ 0 w 137"/>
                <a:gd name="T45" fmla="*/ 292 h 397"/>
                <a:gd name="T46" fmla="*/ 0 w 137"/>
                <a:gd name="T47" fmla="*/ 3 h 397"/>
                <a:gd name="T48" fmla="*/ 2 w 137"/>
                <a:gd name="T49" fmla="*/ 3 h 397"/>
                <a:gd name="T50" fmla="*/ 4 w 137"/>
                <a:gd name="T51" fmla="*/ 3 h 397"/>
                <a:gd name="T52" fmla="*/ 11 w 137"/>
                <a:gd name="T53" fmla="*/ 2 h 397"/>
                <a:gd name="T54" fmla="*/ 23 w 137"/>
                <a:gd name="T55" fmla="*/ 0 h 397"/>
                <a:gd name="T56" fmla="*/ 42 w 137"/>
                <a:gd name="T5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397">
                  <a:moveTo>
                    <a:pt x="42" y="0"/>
                  </a:moveTo>
                  <a:lnTo>
                    <a:pt x="63" y="0"/>
                  </a:lnTo>
                  <a:lnTo>
                    <a:pt x="76" y="2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289"/>
                  </a:lnTo>
                  <a:lnTo>
                    <a:pt x="86" y="306"/>
                  </a:lnTo>
                  <a:lnTo>
                    <a:pt x="90" y="317"/>
                  </a:lnTo>
                  <a:lnTo>
                    <a:pt x="98" y="324"/>
                  </a:lnTo>
                  <a:lnTo>
                    <a:pt x="109" y="325"/>
                  </a:lnTo>
                  <a:lnTo>
                    <a:pt x="114" y="325"/>
                  </a:lnTo>
                  <a:lnTo>
                    <a:pt x="119" y="324"/>
                  </a:lnTo>
                  <a:lnTo>
                    <a:pt x="137" y="390"/>
                  </a:lnTo>
                  <a:lnTo>
                    <a:pt x="116" y="395"/>
                  </a:lnTo>
                  <a:lnTo>
                    <a:pt x="88" y="397"/>
                  </a:lnTo>
                  <a:lnTo>
                    <a:pt x="74" y="397"/>
                  </a:lnTo>
                  <a:lnTo>
                    <a:pt x="60" y="394"/>
                  </a:lnTo>
                  <a:lnTo>
                    <a:pt x="46" y="388"/>
                  </a:lnTo>
                  <a:lnTo>
                    <a:pt x="32" y="380"/>
                  </a:lnTo>
                  <a:lnTo>
                    <a:pt x="20" y="366"/>
                  </a:lnTo>
                  <a:lnTo>
                    <a:pt x="9" y="348"/>
                  </a:lnTo>
                  <a:lnTo>
                    <a:pt x="4" y="324"/>
                  </a:lnTo>
                  <a:lnTo>
                    <a:pt x="0" y="292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7"/>
            <p:cNvSpPr>
              <a:spLocks/>
            </p:cNvSpPr>
            <p:nvPr userDrawn="1"/>
          </p:nvSpPr>
          <p:spPr bwMode="auto">
            <a:xfrm>
              <a:off x="8655051" y="4195763"/>
              <a:ext cx="130175" cy="463550"/>
            </a:xfrm>
            <a:custGeom>
              <a:avLst/>
              <a:gdLst>
                <a:gd name="T0" fmla="*/ 42 w 82"/>
                <a:gd name="T1" fmla="*/ 0 h 292"/>
                <a:gd name="T2" fmla="*/ 63 w 82"/>
                <a:gd name="T3" fmla="*/ 0 h 292"/>
                <a:gd name="T4" fmla="*/ 75 w 82"/>
                <a:gd name="T5" fmla="*/ 2 h 292"/>
                <a:gd name="T6" fmla="*/ 81 w 82"/>
                <a:gd name="T7" fmla="*/ 5 h 292"/>
                <a:gd name="T8" fmla="*/ 82 w 82"/>
                <a:gd name="T9" fmla="*/ 5 h 292"/>
                <a:gd name="T10" fmla="*/ 82 w 82"/>
                <a:gd name="T11" fmla="*/ 292 h 292"/>
                <a:gd name="T12" fmla="*/ 0 w 82"/>
                <a:gd name="T13" fmla="*/ 292 h 292"/>
                <a:gd name="T14" fmla="*/ 2 w 82"/>
                <a:gd name="T15" fmla="*/ 5 h 292"/>
                <a:gd name="T16" fmla="*/ 4 w 82"/>
                <a:gd name="T17" fmla="*/ 5 h 292"/>
                <a:gd name="T18" fmla="*/ 11 w 82"/>
                <a:gd name="T19" fmla="*/ 2 h 292"/>
                <a:gd name="T20" fmla="*/ 23 w 82"/>
                <a:gd name="T21" fmla="*/ 0 h 292"/>
                <a:gd name="T22" fmla="*/ 42 w 82"/>
                <a:gd name="T2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292">
                  <a:moveTo>
                    <a:pt x="42" y="0"/>
                  </a:moveTo>
                  <a:lnTo>
                    <a:pt x="63" y="0"/>
                  </a:lnTo>
                  <a:lnTo>
                    <a:pt x="75" y="2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292"/>
                  </a:lnTo>
                  <a:lnTo>
                    <a:pt x="0" y="292"/>
                  </a:lnTo>
                  <a:lnTo>
                    <a:pt x="2" y="5"/>
                  </a:lnTo>
                  <a:lnTo>
                    <a:pt x="4" y="5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8"/>
            <p:cNvSpPr>
              <a:spLocks/>
            </p:cNvSpPr>
            <p:nvPr userDrawn="1"/>
          </p:nvSpPr>
          <p:spPr bwMode="auto">
            <a:xfrm>
              <a:off x="6584951" y="4043363"/>
              <a:ext cx="422275" cy="636588"/>
            </a:xfrm>
            <a:custGeom>
              <a:avLst/>
              <a:gdLst>
                <a:gd name="T0" fmla="*/ 166 w 266"/>
                <a:gd name="T1" fmla="*/ 0 h 401"/>
                <a:gd name="T2" fmla="*/ 199 w 266"/>
                <a:gd name="T3" fmla="*/ 3 h 401"/>
                <a:gd name="T4" fmla="*/ 225 w 266"/>
                <a:gd name="T5" fmla="*/ 10 h 401"/>
                <a:gd name="T6" fmla="*/ 248 w 266"/>
                <a:gd name="T7" fmla="*/ 21 h 401"/>
                <a:gd name="T8" fmla="*/ 266 w 266"/>
                <a:gd name="T9" fmla="*/ 35 h 401"/>
                <a:gd name="T10" fmla="*/ 224 w 266"/>
                <a:gd name="T11" fmla="*/ 91 h 401"/>
                <a:gd name="T12" fmla="*/ 204 w 266"/>
                <a:gd name="T13" fmla="*/ 77 h 401"/>
                <a:gd name="T14" fmla="*/ 183 w 266"/>
                <a:gd name="T15" fmla="*/ 72 h 401"/>
                <a:gd name="T16" fmla="*/ 166 w 266"/>
                <a:gd name="T17" fmla="*/ 70 h 401"/>
                <a:gd name="T18" fmla="*/ 143 w 266"/>
                <a:gd name="T19" fmla="*/ 73 h 401"/>
                <a:gd name="T20" fmla="*/ 124 w 266"/>
                <a:gd name="T21" fmla="*/ 84 h 401"/>
                <a:gd name="T22" fmla="*/ 110 w 266"/>
                <a:gd name="T23" fmla="*/ 100 h 401"/>
                <a:gd name="T24" fmla="*/ 101 w 266"/>
                <a:gd name="T25" fmla="*/ 121 h 401"/>
                <a:gd name="T26" fmla="*/ 94 w 266"/>
                <a:gd name="T27" fmla="*/ 145 h 401"/>
                <a:gd name="T28" fmla="*/ 91 w 266"/>
                <a:gd name="T29" fmla="*/ 171 h 401"/>
                <a:gd name="T30" fmla="*/ 89 w 266"/>
                <a:gd name="T31" fmla="*/ 199 h 401"/>
                <a:gd name="T32" fmla="*/ 91 w 266"/>
                <a:gd name="T33" fmla="*/ 229 h 401"/>
                <a:gd name="T34" fmla="*/ 94 w 266"/>
                <a:gd name="T35" fmla="*/ 257 h 401"/>
                <a:gd name="T36" fmla="*/ 103 w 266"/>
                <a:gd name="T37" fmla="*/ 282 h 401"/>
                <a:gd name="T38" fmla="*/ 113 w 266"/>
                <a:gd name="T39" fmla="*/ 301 h 401"/>
                <a:gd name="T40" fmla="*/ 127 w 266"/>
                <a:gd name="T41" fmla="*/ 317 h 401"/>
                <a:gd name="T42" fmla="*/ 147 w 266"/>
                <a:gd name="T43" fmla="*/ 327 h 401"/>
                <a:gd name="T44" fmla="*/ 168 w 266"/>
                <a:gd name="T45" fmla="*/ 329 h 401"/>
                <a:gd name="T46" fmla="*/ 199 w 266"/>
                <a:gd name="T47" fmla="*/ 325 h 401"/>
                <a:gd name="T48" fmla="*/ 227 w 266"/>
                <a:gd name="T49" fmla="*/ 318 h 401"/>
                <a:gd name="T50" fmla="*/ 260 w 266"/>
                <a:gd name="T51" fmla="*/ 383 h 401"/>
                <a:gd name="T52" fmla="*/ 239 w 266"/>
                <a:gd name="T53" fmla="*/ 388 h 401"/>
                <a:gd name="T54" fmla="*/ 215 w 266"/>
                <a:gd name="T55" fmla="*/ 394 h 401"/>
                <a:gd name="T56" fmla="*/ 190 w 266"/>
                <a:gd name="T57" fmla="*/ 399 h 401"/>
                <a:gd name="T58" fmla="*/ 166 w 266"/>
                <a:gd name="T59" fmla="*/ 401 h 401"/>
                <a:gd name="T60" fmla="*/ 134 w 266"/>
                <a:gd name="T61" fmla="*/ 397 h 401"/>
                <a:gd name="T62" fmla="*/ 105 w 266"/>
                <a:gd name="T63" fmla="*/ 392 h 401"/>
                <a:gd name="T64" fmla="*/ 78 w 266"/>
                <a:gd name="T65" fmla="*/ 380 h 401"/>
                <a:gd name="T66" fmla="*/ 56 w 266"/>
                <a:gd name="T67" fmla="*/ 364 h 401"/>
                <a:gd name="T68" fmla="*/ 36 w 266"/>
                <a:gd name="T69" fmla="*/ 343 h 401"/>
                <a:gd name="T70" fmla="*/ 21 w 266"/>
                <a:gd name="T71" fmla="*/ 315 h 401"/>
                <a:gd name="T72" fmla="*/ 8 w 266"/>
                <a:gd name="T73" fmla="*/ 283 h 401"/>
                <a:gd name="T74" fmla="*/ 1 w 266"/>
                <a:gd name="T75" fmla="*/ 245 h 401"/>
                <a:gd name="T76" fmla="*/ 0 w 266"/>
                <a:gd name="T77" fmla="*/ 199 h 401"/>
                <a:gd name="T78" fmla="*/ 1 w 266"/>
                <a:gd name="T79" fmla="*/ 156 h 401"/>
                <a:gd name="T80" fmla="*/ 10 w 266"/>
                <a:gd name="T81" fmla="*/ 119 h 401"/>
                <a:gd name="T82" fmla="*/ 22 w 266"/>
                <a:gd name="T83" fmla="*/ 86 h 401"/>
                <a:gd name="T84" fmla="*/ 38 w 266"/>
                <a:gd name="T85" fmla="*/ 59 h 401"/>
                <a:gd name="T86" fmla="*/ 59 w 266"/>
                <a:gd name="T87" fmla="*/ 38 h 401"/>
                <a:gd name="T88" fmla="*/ 82 w 266"/>
                <a:gd name="T89" fmla="*/ 21 h 401"/>
                <a:gd name="T90" fmla="*/ 108 w 266"/>
                <a:gd name="T91" fmla="*/ 9 h 401"/>
                <a:gd name="T92" fmla="*/ 136 w 266"/>
                <a:gd name="T93" fmla="*/ 3 h 401"/>
                <a:gd name="T94" fmla="*/ 166 w 266"/>
                <a:gd name="T95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6" h="401">
                  <a:moveTo>
                    <a:pt x="166" y="0"/>
                  </a:moveTo>
                  <a:lnTo>
                    <a:pt x="199" y="3"/>
                  </a:lnTo>
                  <a:lnTo>
                    <a:pt x="225" y="10"/>
                  </a:lnTo>
                  <a:lnTo>
                    <a:pt x="248" y="21"/>
                  </a:lnTo>
                  <a:lnTo>
                    <a:pt x="266" y="35"/>
                  </a:lnTo>
                  <a:lnTo>
                    <a:pt x="224" y="91"/>
                  </a:lnTo>
                  <a:lnTo>
                    <a:pt x="204" y="77"/>
                  </a:lnTo>
                  <a:lnTo>
                    <a:pt x="183" y="72"/>
                  </a:lnTo>
                  <a:lnTo>
                    <a:pt x="166" y="70"/>
                  </a:lnTo>
                  <a:lnTo>
                    <a:pt x="143" y="73"/>
                  </a:lnTo>
                  <a:lnTo>
                    <a:pt x="124" y="84"/>
                  </a:lnTo>
                  <a:lnTo>
                    <a:pt x="110" y="100"/>
                  </a:lnTo>
                  <a:lnTo>
                    <a:pt x="101" y="121"/>
                  </a:lnTo>
                  <a:lnTo>
                    <a:pt x="94" y="145"/>
                  </a:lnTo>
                  <a:lnTo>
                    <a:pt x="91" y="171"/>
                  </a:lnTo>
                  <a:lnTo>
                    <a:pt x="89" y="199"/>
                  </a:lnTo>
                  <a:lnTo>
                    <a:pt x="91" y="229"/>
                  </a:lnTo>
                  <a:lnTo>
                    <a:pt x="94" y="257"/>
                  </a:lnTo>
                  <a:lnTo>
                    <a:pt x="103" y="282"/>
                  </a:lnTo>
                  <a:lnTo>
                    <a:pt x="113" y="301"/>
                  </a:lnTo>
                  <a:lnTo>
                    <a:pt x="127" y="317"/>
                  </a:lnTo>
                  <a:lnTo>
                    <a:pt x="147" y="327"/>
                  </a:lnTo>
                  <a:lnTo>
                    <a:pt x="168" y="329"/>
                  </a:lnTo>
                  <a:lnTo>
                    <a:pt x="199" y="325"/>
                  </a:lnTo>
                  <a:lnTo>
                    <a:pt x="227" y="318"/>
                  </a:lnTo>
                  <a:lnTo>
                    <a:pt x="260" y="383"/>
                  </a:lnTo>
                  <a:lnTo>
                    <a:pt x="239" y="388"/>
                  </a:lnTo>
                  <a:lnTo>
                    <a:pt x="215" y="394"/>
                  </a:lnTo>
                  <a:lnTo>
                    <a:pt x="190" y="399"/>
                  </a:lnTo>
                  <a:lnTo>
                    <a:pt x="166" y="401"/>
                  </a:lnTo>
                  <a:lnTo>
                    <a:pt x="134" y="397"/>
                  </a:lnTo>
                  <a:lnTo>
                    <a:pt x="105" y="392"/>
                  </a:lnTo>
                  <a:lnTo>
                    <a:pt x="78" y="380"/>
                  </a:lnTo>
                  <a:lnTo>
                    <a:pt x="56" y="364"/>
                  </a:lnTo>
                  <a:lnTo>
                    <a:pt x="36" y="343"/>
                  </a:lnTo>
                  <a:lnTo>
                    <a:pt x="21" y="315"/>
                  </a:lnTo>
                  <a:lnTo>
                    <a:pt x="8" y="283"/>
                  </a:lnTo>
                  <a:lnTo>
                    <a:pt x="1" y="245"/>
                  </a:lnTo>
                  <a:lnTo>
                    <a:pt x="0" y="199"/>
                  </a:lnTo>
                  <a:lnTo>
                    <a:pt x="1" y="156"/>
                  </a:lnTo>
                  <a:lnTo>
                    <a:pt x="10" y="119"/>
                  </a:lnTo>
                  <a:lnTo>
                    <a:pt x="22" y="86"/>
                  </a:lnTo>
                  <a:lnTo>
                    <a:pt x="38" y="59"/>
                  </a:lnTo>
                  <a:lnTo>
                    <a:pt x="59" y="38"/>
                  </a:lnTo>
                  <a:lnTo>
                    <a:pt x="82" y="21"/>
                  </a:lnTo>
                  <a:lnTo>
                    <a:pt x="108" y="9"/>
                  </a:lnTo>
                  <a:lnTo>
                    <a:pt x="136" y="3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9"/>
            <p:cNvSpPr>
              <a:spLocks noEditPoints="1"/>
            </p:cNvSpPr>
            <p:nvPr userDrawn="1"/>
          </p:nvSpPr>
          <p:spPr bwMode="auto">
            <a:xfrm>
              <a:off x="6092826" y="4043363"/>
              <a:ext cx="406400" cy="630238"/>
            </a:xfrm>
            <a:custGeom>
              <a:avLst/>
              <a:gdLst>
                <a:gd name="T0" fmla="*/ 156 w 256"/>
                <a:gd name="T1" fmla="*/ 152 h 397"/>
                <a:gd name="T2" fmla="*/ 137 w 256"/>
                <a:gd name="T3" fmla="*/ 152 h 397"/>
                <a:gd name="T4" fmla="*/ 117 w 256"/>
                <a:gd name="T5" fmla="*/ 159 h 397"/>
                <a:gd name="T6" fmla="*/ 103 w 256"/>
                <a:gd name="T7" fmla="*/ 175 h 397"/>
                <a:gd name="T8" fmla="*/ 93 w 256"/>
                <a:gd name="T9" fmla="*/ 196 h 397"/>
                <a:gd name="T10" fmla="*/ 86 w 256"/>
                <a:gd name="T11" fmla="*/ 220 h 397"/>
                <a:gd name="T12" fmla="*/ 84 w 256"/>
                <a:gd name="T13" fmla="*/ 247 h 397"/>
                <a:gd name="T14" fmla="*/ 86 w 256"/>
                <a:gd name="T15" fmla="*/ 273 h 397"/>
                <a:gd name="T16" fmla="*/ 93 w 256"/>
                <a:gd name="T17" fmla="*/ 297 h 397"/>
                <a:gd name="T18" fmla="*/ 102 w 256"/>
                <a:gd name="T19" fmla="*/ 313 h 397"/>
                <a:gd name="T20" fmla="*/ 112 w 256"/>
                <a:gd name="T21" fmla="*/ 324 h 397"/>
                <a:gd name="T22" fmla="*/ 124 w 256"/>
                <a:gd name="T23" fmla="*/ 331 h 397"/>
                <a:gd name="T24" fmla="*/ 135 w 256"/>
                <a:gd name="T25" fmla="*/ 332 h 397"/>
                <a:gd name="T26" fmla="*/ 154 w 256"/>
                <a:gd name="T27" fmla="*/ 329 h 397"/>
                <a:gd name="T28" fmla="*/ 172 w 256"/>
                <a:gd name="T29" fmla="*/ 317 h 397"/>
                <a:gd name="T30" fmla="*/ 172 w 256"/>
                <a:gd name="T31" fmla="*/ 156 h 397"/>
                <a:gd name="T32" fmla="*/ 156 w 256"/>
                <a:gd name="T33" fmla="*/ 152 h 397"/>
                <a:gd name="T34" fmla="*/ 214 w 256"/>
                <a:gd name="T35" fmla="*/ 0 h 397"/>
                <a:gd name="T36" fmla="*/ 235 w 256"/>
                <a:gd name="T37" fmla="*/ 0 h 397"/>
                <a:gd name="T38" fmla="*/ 247 w 256"/>
                <a:gd name="T39" fmla="*/ 2 h 397"/>
                <a:gd name="T40" fmla="*/ 254 w 256"/>
                <a:gd name="T41" fmla="*/ 3 h 397"/>
                <a:gd name="T42" fmla="*/ 256 w 256"/>
                <a:gd name="T43" fmla="*/ 3 h 397"/>
                <a:gd name="T44" fmla="*/ 256 w 256"/>
                <a:gd name="T45" fmla="*/ 388 h 397"/>
                <a:gd name="T46" fmla="*/ 193 w 256"/>
                <a:gd name="T47" fmla="*/ 388 h 397"/>
                <a:gd name="T48" fmla="*/ 184 w 256"/>
                <a:gd name="T49" fmla="*/ 373 h 397"/>
                <a:gd name="T50" fmla="*/ 165 w 256"/>
                <a:gd name="T51" fmla="*/ 385 h 397"/>
                <a:gd name="T52" fmla="*/ 145 w 256"/>
                <a:gd name="T53" fmla="*/ 394 h 397"/>
                <a:gd name="T54" fmla="*/ 124 w 256"/>
                <a:gd name="T55" fmla="*/ 397 h 397"/>
                <a:gd name="T56" fmla="*/ 91 w 256"/>
                <a:gd name="T57" fmla="*/ 390 h 397"/>
                <a:gd name="T58" fmla="*/ 61 w 256"/>
                <a:gd name="T59" fmla="*/ 374 h 397"/>
                <a:gd name="T60" fmla="*/ 35 w 256"/>
                <a:gd name="T61" fmla="*/ 352 h 397"/>
                <a:gd name="T62" fmla="*/ 16 w 256"/>
                <a:gd name="T63" fmla="*/ 318 h 397"/>
                <a:gd name="T64" fmla="*/ 4 w 256"/>
                <a:gd name="T65" fmla="*/ 282 h 397"/>
                <a:gd name="T66" fmla="*/ 0 w 256"/>
                <a:gd name="T67" fmla="*/ 243 h 397"/>
                <a:gd name="T68" fmla="*/ 0 w 256"/>
                <a:gd name="T69" fmla="*/ 210 h 397"/>
                <a:gd name="T70" fmla="*/ 7 w 256"/>
                <a:gd name="T71" fmla="*/ 180 h 397"/>
                <a:gd name="T72" fmla="*/ 19 w 256"/>
                <a:gd name="T73" fmla="*/ 156 h 397"/>
                <a:gd name="T74" fmla="*/ 35 w 256"/>
                <a:gd name="T75" fmla="*/ 136 h 397"/>
                <a:gd name="T76" fmla="*/ 54 w 256"/>
                <a:gd name="T77" fmla="*/ 119 h 397"/>
                <a:gd name="T78" fmla="*/ 75 w 256"/>
                <a:gd name="T79" fmla="*/ 107 h 397"/>
                <a:gd name="T80" fmla="*/ 100 w 256"/>
                <a:gd name="T81" fmla="*/ 98 h 397"/>
                <a:gd name="T82" fmla="*/ 124 w 256"/>
                <a:gd name="T83" fmla="*/ 93 h 397"/>
                <a:gd name="T84" fmla="*/ 149 w 256"/>
                <a:gd name="T85" fmla="*/ 91 h 397"/>
                <a:gd name="T86" fmla="*/ 158 w 256"/>
                <a:gd name="T87" fmla="*/ 93 h 397"/>
                <a:gd name="T88" fmla="*/ 165 w 256"/>
                <a:gd name="T89" fmla="*/ 93 h 397"/>
                <a:gd name="T90" fmla="*/ 172 w 256"/>
                <a:gd name="T91" fmla="*/ 94 h 397"/>
                <a:gd name="T92" fmla="*/ 172 w 256"/>
                <a:gd name="T93" fmla="*/ 3 h 397"/>
                <a:gd name="T94" fmla="*/ 173 w 256"/>
                <a:gd name="T95" fmla="*/ 3 h 397"/>
                <a:gd name="T96" fmla="*/ 180 w 256"/>
                <a:gd name="T97" fmla="*/ 2 h 397"/>
                <a:gd name="T98" fmla="*/ 194 w 256"/>
                <a:gd name="T99" fmla="*/ 0 h 397"/>
                <a:gd name="T100" fmla="*/ 214 w 256"/>
                <a:gd name="T10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6" h="397">
                  <a:moveTo>
                    <a:pt x="156" y="152"/>
                  </a:moveTo>
                  <a:lnTo>
                    <a:pt x="137" y="152"/>
                  </a:lnTo>
                  <a:lnTo>
                    <a:pt x="117" y="159"/>
                  </a:lnTo>
                  <a:lnTo>
                    <a:pt x="103" y="175"/>
                  </a:lnTo>
                  <a:lnTo>
                    <a:pt x="93" y="196"/>
                  </a:lnTo>
                  <a:lnTo>
                    <a:pt x="86" y="220"/>
                  </a:lnTo>
                  <a:lnTo>
                    <a:pt x="84" y="247"/>
                  </a:lnTo>
                  <a:lnTo>
                    <a:pt x="86" y="273"/>
                  </a:lnTo>
                  <a:lnTo>
                    <a:pt x="93" y="297"/>
                  </a:lnTo>
                  <a:lnTo>
                    <a:pt x="102" y="313"/>
                  </a:lnTo>
                  <a:lnTo>
                    <a:pt x="112" y="324"/>
                  </a:lnTo>
                  <a:lnTo>
                    <a:pt x="124" y="331"/>
                  </a:lnTo>
                  <a:lnTo>
                    <a:pt x="135" y="332"/>
                  </a:lnTo>
                  <a:lnTo>
                    <a:pt x="154" y="329"/>
                  </a:lnTo>
                  <a:lnTo>
                    <a:pt x="172" y="317"/>
                  </a:lnTo>
                  <a:lnTo>
                    <a:pt x="172" y="156"/>
                  </a:lnTo>
                  <a:lnTo>
                    <a:pt x="156" y="152"/>
                  </a:lnTo>
                  <a:close/>
                  <a:moveTo>
                    <a:pt x="214" y="0"/>
                  </a:moveTo>
                  <a:lnTo>
                    <a:pt x="235" y="0"/>
                  </a:lnTo>
                  <a:lnTo>
                    <a:pt x="247" y="2"/>
                  </a:lnTo>
                  <a:lnTo>
                    <a:pt x="254" y="3"/>
                  </a:lnTo>
                  <a:lnTo>
                    <a:pt x="256" y="3"/>
                  </a:lnTo>
                  <a:lnTo>
                    <a:pt x="256" y="388"/>
                  </a:lnTo>
                  <a:lnTo>
                    <a:pt x="193" y="388"/>
                  </a:lnTo>
                  <a:lnTo>
                    <a:pt x="184" y="373"/>
                  </a:lnTo>
                  <a:lnTo>
                    <a:pt x="165" y="385"/>
                  </a:lnTo>
                  <a:lnTo>
                    <a:pt x="145" y="394"/>
                  </a:lnTo>
                  <a:lnTo>
                    <a:pt x="124" y="397"/>
                  </a:lnTo>
                  <a:lnTo>
                    <a:pt x="91" y="390"/>
                  </a:lnTo>
                  <a:lnTo>
                    <a:pt x="61" y="374"/>
                  </a:lnTo>
                  <a:lnTo>
                    <a:pt x="35" y="352"/>
                  </a:lnTo>
                  <a:lnTo>
                    <a:pt x="16" y="318"/>
                  </a:lnTo>
                  <a:lnTo>
                    <a:pt x="4" y="282"/>
                  </a:lnTo>
                  <a:lnTo>
                    <a:pt x="0" y="243"/>
                  </a:lnTo>
                  <a:lnTo>
                    <a:pt x="0" y="210"/>
                  </a:lnTo>
                  <a:lnTo>
                    <a:pt x="7" y="180"/>
                  </a:lnTo>
                  <a:lnTo>
                    <a:pt x="19" y="156"/>
                  </a:lnTo>
                  <a:lnTo>
                    <a:pt x="35" y="136"/>
                  </a:lnTo>
                  <a:lnTo>
                    <a:pt x="54" y="119"/>
                  </a:lnTo>
                  <a:lnTo>
                    <a:pt x="75" y="107"/>
                  </a:lnTo>
                  <a:lnTo>
                    <a:pt x="100" y="98"/>
                  </a:lnTo>
                  <a:lnTo>
                    <a:pt x="124" y="93"/>
                  </a:lnTo>
                  <a:lnTo>
                    <a:pt x="149" y="91"/>
                  </a:lnTo>
                  <a:lnTo>
                    <a:pt x="158" y="93"/>
                  </a:lnTo>
                  <a:lnTo>
                    <a:pt x="165" y="93"/>
                  </a:lnTo>
                  <a:lnTo>
                    <a:pt x="172" y="94"/>
                  </a:lnTo>
                  <a:lnTo>
                    <a:pt x="172" y="3"/>
                  </a:lnTo>
                  <a:lnTo>
                    <a:pt x="173" y="3"/>
                  </a:lnTo>
                  <a:lnTo>
                    <a:pt x="180" y="2"/>
                  </a:lnTo>
                  <a:lnTo>
                    <a:pt x="194" y="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0"/>
            <p:cNvSpPr>
              <a:spLocks noEditPoints="1"/>
            </p:cNvSpPr>
            <p:nvPr userDrawn="1"/>
          </p:nvSpPr>
          <p:spPr bwMode="auto">
            <a:xfrm>
              <a:off x="4181476" y="4187825"/>
              <a:ext cx="371475" cy="488950"/>
            </a:xfrm>
            <a:custGeom>
              <a:avLst/>
              <a:gdLst>
                <a:gd name="T0" fmla="*/ 111 w 234"/>
                <a:gd name="T1" fmla="*/ 61 h 308"/>
                <a:gd name="T2" fmla="*/ 90 w 234"/>
                <a:gd name="T3" fmla="*/ 84 h 308"/>
                <a:gd name="T4" fmla="*/ 82 w 234"/>
                <a:gd name="T5" fmla="*/ 112 h 308"/>
                <a:gd name="T6" fmla="*/ 80 w 234"/>
                <a:gd name="T7" fmla="*/ 131 h 308"/>
                <a:gd name="T8" fmla="*/ 171 w 234"/>
                <a:gd name="T9" fmla="*/ 135 h 308"/>
                <a:gd name="T10" fmla="*/ 167 w 234"/>
                <a:gd name="T11" fmla="*/ 93 h 308"/>
                <a:gd name="T12" fmla="*/ 146 w 234"/>
                <a:gd name="T13" fmla="*/ 61 h 308"/>
                <a:gd name="T14" fmla="*/ 131 w 234"/>
                <a:gd name="T15" fmla="*/ 58 h 308"/>
                <a:gd name="T16" fmla="*/ 127 w 234"/>
                <a:gd name="T17" fmla="*/ 0 h 308"/>
                <a:gd name="T18" fmla="*/ 167 w 234"/>
                <a:gd name="T19" fmla="*/ 7 h 308"/>
                <a:gd name="T20" fmla="*/ 202 w 234"/>
                <a:gd name="T21" fmla="*/ 28 h 308"/>
                <a:gd name="T22" fmla="*/ 225 w 234"/>
                <a:gd name="T23" fmla="*/ 66 h 308"/>
                <a:gd name="T24" fmla="*/ 234 w 234"/>
                <a:gd name="T25" fmla="*/ 128 h 308"/>
                <a:gd name="T26" fmla="*/ 232 w 234"/>
                <a:gd name="T27" fmla="*/ 166 h 308"/>
                <a:gd name="T28" fmla="*/ 229 w 234"/>
                <a:gd name="T29" fmla="*/ 182 h 308"/>
                <a:gd name="T30" fmla="*/ 185 w 234"/>
                <a:gd name="T31" fmla="*/ 184 h 308"/>
                <a:gd name="T32" fmla="*/ 80 w 234"/>
                <a:gd name="T33" fmla="*/ 184 h 308"/>
                <a:gd name="T34" fmla="*/ 80 w 234"/>
                <a:gd name="T35" fmla="*/ 194 h 308"/>
                <a:gd name="T36" fmla="*/ 83 w 234"/>
                <a:gd name="T37" fmla="*/ 213 h 308"/>
                <a:gd name="T38" fmla="*/ 101 w 234"/>
                <a:gd name="T39" fmla="*/ 234 h 308"/>
                <a:gd name="T40" fmla="*/ 138 w 234"/>
                <a:gd name="T41" fmla="*/ 247 h 308"/>
                <a:gd name="T42" fmla="*/ 180 w 234"/>
                <a:gd name="T43" fmla="*/ 241 h 308"/>
                <a:gd name="T44" fmla="*/ 222 w 234"/>
                <a:gd name="T45" fmla="*/ 226 h 308"/>
                <a:gd name="T46" fmla="*/ 187 w 234"/>
                <a:gd name="T47" fmla="*/ 299 h 308"/>
                <a:gd name="T48" fmla="*/ 131 w 234"/>
                <a:gd name="T49" fmla="*/ 308 h 308"/>
                <a:gd name="T50" fmla="*/ 131 w 234"/>
                <a:gd name="T51" fmla="*/ 308 h 308"/>
                <a:gd name="T52" fmla="*/ 76 w 234"/>
                <a:gd name="T53" fmla="*/ 297 h 308"/>
                <a:gd name="T54" fmla="*/ 36 w 234"/>
                <a:gd name="T55" fmla="*/ 271 h 308"/>
                <a:gd name="T56" fmla="*/ 10 w 234"/>
                <a:gd name="T57" fmla="*/ 224 h 308"/>
                <a:gd name="T58" fmla="*/ 0 w 234"/>
                <a:gd name="T59" fmla="*/ 154 h 308"/>
                <a:gd name="T60" fmla="*/ 3 w 234"/>
                <a:gd name="T61" fmla="*/ 115 h 308"/>
                <a:gd name="T62" fmla="*/ 21 w 234"/>
                <a:gd name="T63" fmla="*/ 58 h 308"/>
                <a:gd name="T64" fmla="*/ 54 w 234"/>
                <a:gd name="T65" fmla="*/ 21 h 308"/>
                <a:gd name="T66" fmla="*/ 99 w 234"/>
                <a:gd name="T67" fmla="*/ 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4" h="308">
                  <a:moveTo>
                    <a:pt x="131" y="58"/>
                  </a:moveTo>
                  <a:lnTo>
                    <a:pt x="111" y="61"/>
                  </a:lnTo>
                  <a:lnTo>
                    <a:pt x="99" y="70"/>
                  </a:lnTo>
                  <a:lnTo>
                    <a:pt x="90" y="84"/>
                  </a:lnTo>
                  <a:lnTo>
                    <a:pt x="85" y="98"/>
                  </a:lnTo>
                  <a:lnTo>
                    <a:pt x="82" y="112"/>
                  </a:lnTo>
                  <a:lnTo>
                    <a:pt x="80" y="122"/>
                  </a:lnTo>
                  <a:lnTo>
                    <a:pt x="80" y="131"/>
                  </a:lnTo>
                  <a:lnTo>
                    <a:pt x="82" y="135"/>
                  </a:lnTo>
                  <a:lnTo>
                    <a:pt x="171" y="135"/>
                  </a:lnTo>
                  <a:lnTo>
                    <a:pt x="171" y="117"/>
                  </a:lnTo>
                  <a:lnTo>
                    <a:pt x="167" y="93"/>
                  </a:lnTo>
                  <a:lnTo>
                    <a:pt x="159" y="73"/>
                  </a:lnTo>
                  <a:lnTo>
                    <a:pt x="146" y="61"/>
                  </a:lnTo>
                  <a:lnTo>
                    <a:pt x="131" y="58"/>
                  </a:lnTo>
                  <a:lnTo>
                    <a:pt x="131" y="58"/>
                  </a:lnTo>
                  <a:close/>
                  <a:moveTo>
                    <a:pt x="125" y="0"/>
                  </a:moveTo>
                  <a:lnTo>
                    <a:pt x="127" y="0"/>
                  </a:lnTo>
                  <a:lnTo>
                    <a:pt x="148" y="2"/>
                  </a:lnTo>
                  <a:lnTo>
                    <a:pt x="167" y="7"/>
                  </a:lnTo>
                  <a:lnTo>
                    <a:pt x="187" y="16"/>
                  </a:lnTo>
                  <a:lnTo>
                    <a:pt x="202" y="28"/>
                  </a:lnTo>
                  <a:lnTo>
                    <a:pt x="215" y="45"/>
                  </a:lnTo>
                  <a:lnTo>
                    <a:pt x="225" y="66"/>
                  </a:lnTo>
                  <a:lnTo>
                    <a:pt x="232" y="94"/>
                  </a:lnTo>
                  <a:lnTo>
                    <a:pt x="234" y="128"/>
                  </a:lnTo>
                  <a:lnTo>
                    <a:pt x="234" y="149"/>
                  </a:lnTo>
                  <a:lnTo>
                    <a:pt x="232" y="166"/>
                  </a:lnTo>
                  <a:lnTo>
                    <a:pt x="230" y="177"/>
                  </a:lnTo>
                  <a:lnTo>
                    <a:pt x="229" y="182"/>
                  </a:lnTo>
                  <a:lnTo>
                    <a:pt x="211" y="184"/>
                  </a:lnTo>
                  <a:lnTo>
                    <a:pt x="185" y="184"/>
                  </a:lnTo>
                  <a:lnTo>
                    <a:pt x="157" y="184"/>
                  </a:lnTo>
                  <a:lnTo>
                    <a:pt x="80" y="184"/>
                  </a:lnTo>
                  <a:lnTo>
                    <a:pt x="80" y="187"/>
                  </a:lnTo>
                  <a:lnTo>
                    <a:pt x="80" y="194"/>
                  </a:lnTo>
                  <a:lnTo>
                    <a:pt x="80" y="203"/>
                  </a:lnTo>
                  <a:lnTo>
                    <a:pt x="83" y="213"/>
                  </a:lnTo>
                  <a:lnTo>
                    <a:pt x="90" y="226"/>
                  </a:lnTo>
                  <a:lnTo>
                    <a:pt x="101" y="234"/>
                  </a:lnTo>
                  <a:lnTo>
                    <a:pt x="117" y="243"/>
                  </a:lnTo>
                  <a:lnTo>
                    <a:pt x="138" y="247"/>
                  </a:lnTo>
                  <a:lnTo>
                    <a:pt x="160" y="247"/>
                  </a:lnTo>
                  <a:lnTo>
                    <a:pt x="180" y="241"/>
                  </a:lnTo>
                  <a:lnTo>
                    <a:pt x="199" y="234"/>
                  </a:lnTo>
                  <a:lnTo>
                    <a:pt x="222" y="226"/>
                  </a:lnTo>
                  <a:lnTo>
                    <a:pt x="222" y="287"/>
                  </a:lnTo>
                  <a:lnTo>
                    <a:pt x="187" y="299"/>
                  </a:lnTo>
                  <a:lnTo>
                    <a:pt x="155" y="306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03" y="304"/>
                  </a:lnTo>
                  <a:lnTo>
                    <a:pt x="76" y="297"/>
                  </a:lnTo>
                  <a:lnTo>
                    <a:pt x="55" y="287"/>
                  </a:lnTo>
                  <a:lnTo>
                    <a:pt x="36" y="271"/>
                  </a:lnTo>
                  <a:lnTo>
                    <a:pt x="22" y="250"/>
                  </a:lnTo>
                  <a:lnTo>
                    <a:pt x="10" y="224"/>
                  </a:lnTo>
                  <a:lnTo>
                    <a:pt x="3" y="192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3" y="115"/>
                  </a:lnTo>
                  <a:lnTo>
                    <a:pt x="10" y="84"/>
                  </a:lnTo>
                  <a:lnTo>
                    <a:pt x="21" y="58"/>
                  </a:lnTo>
                  <a:lnTo>
                    <a:pt x="35" y="37"/>
                  </a:lnTo>
                  <a:lnTo>
                    <a:pt x="54" y="21"/>
                  </a:lnTo>
                  <a:lnTo>
                    <a:pt x="75" y="10"/>
                  </a:lnTo>
                  <a:lnTo>
                    <a:pt x="99" y="3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1"/>
            <p:cNvSpPr>
              <a:spLocks/>
            </p:cNvSpPr>
            <p:nvPr userDrawn="1"/>
          </p:nvSpPr>
          <p:spPr bwMode="auto">
            <a:xfrm>
              <a:off x="3332163" y="4029075"/>
              <a:ext cx="415925" cy="633413"/>
            </a:xfrm>
            <a:custGeom>
              <a:avLst/>
              <a:gdLst>
                <a:gd name="T0" fmla="*/ 162 w 262"/>
                <a:gd name="T1" fmla="*/ 0 h 399"/>
                <a:gd name="T2" fmla="*/ 197 w 262"/>
                <a:gd name="T3" fmla="*/ 2 h 399"/>
                <a:gd name="T4" fmla="*/ 225 w 262"/>
                <a:gd name="T5" fmla="*/ 5 h 399"/>
                <a:gd name="T6" fmla="*/ 244 w 262"/>
                <a:gd name="T7" fmla="*/ 11 h 399"/>
                <a:gd name="T8" fmla="*/ 257 w 262"/>
                <a:gd name="T9" fmla="*/ 16 h 399"/>
                <a:gd name="T10" fmla="*/ 262 w 262"/>
                <a:gd name="T11" fmla="*/ 18 h 399"/>
                <a:gd name="T12" fmla="*/ 243 w 262"/>
                <a:gd name="T13" fmla="*/ 79 h 399"/>
                <a:gd name="T14" fmla="*/ 239 w 262"/>
                <a:gd name="T15" fmla="*/ 79 h 399"/>
                <a:gd name="T16" fmla="*/ 230 w 262"/>
                <a:gd name="T17" fmla="*/ 75 h 399"/>
                <a:gd name="T18" fmla="*/ 213 w 262"/>
                <a:gd name="T19" fmla="*/ 70 h 399"/>
                <a:gd name="T20" fmla="*/ 188 w 262"/>
                <a:gd name="T21" fmla="*/ 67 h 399"/>
                <a:gd name="T22" fmla="*/ 157 w 262"/>
                <a:gd name="T23" fmla="*/ 67 h 399"/>
                <a:gd name="T24" fmla="*/ 136 w 262"/>
                <a:gd name="T25" fmla="*/ 67 h 399"/>
                <a:gd name="T26" fmla="*/ 117 w 262"/>
                <a:gd name="T27" fmla="*/ 68 h 399"/>
                <a:gd name="T28" fmla="*/ 99 w 262"/>
                <a:gd name="T29" fmla="*/ 74 h 399"/>
                <a:gd name="T30" fmla="*/ 89 w 262"/>
                <a:gd name="T31" fmla="*/ 81 h 399"/>
                <a:gd name="T32" fmla="*/ 89 w 262"/>
                <a:gd name="T33" fmla="*/ 168 h 399"/>
                <a:gd name="T34" fmla="*/ 215 w 262"/>
                <a:gd name="T35" fmla="*/ 168 h 399"/>
                <a:gd name="T36" fmla="*/ 215 w 262"/>
                <a:gd name="T37" fmla="*/ 236 h 399"/>
                <a:gd name="T38" fmla="*/ 89 w 262"/>
                <a:gd name="T39" fmla="*/ 236 h 399"/>
                <a:gd name="T40" fmla="*/ 87 w 262"/>
                <a:gd name="T41" fmla="*/ 399 h 399"/>
                <a:gd name="T42" fmla="*/ 0 w 262"/>
                <a:gd name="T43" fmla="*/ 399 h 399"/>
                <a:gd name="T44" fmla="*/ 0 w 262"/>
                <a:gd name="T45" fmla="*/ 33 h 399"/>
                <a:gd name="T46" fmla="*/ 3 w 262"/>
                <a:gd name="T47" fmla="*/ 32 h 399"/>
                <a:gd name="T48" fmla="*/ 10 w 262"/>
                <a:gd name="T49" fmla="*/ 26 h 399"/>
                <a:gd name="T50" fmla="*/ 26 w 262"/>
                <a:gd name="T51" fmla="*/ 19 h 399"/>
                <a:gd name="T52" fmla="*/ 47 w 262"/>
                <a:gd name="T53" fmla="*/ 12 h 399"/>
                <a:gd name="T54" fmla="*/ 78 w 262"/>
                <a:gd name="T55" fmla="*/ 5 h 399"/>
                <a:gd name="T56" fmla="*/ 118 w 262"/>
                <a:gd name="T57" fmla="*/ 2 h 399"/>
                <a:gd name="T58" fmla="*/ 162 w 262"/>
                <a:gd name="T59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2" h="399">
                  <a:moveTo>
                    <a:pt x="162" y="0"/>
                  </a:moveTo>
                  <a:lnTo>
                    <a:pt x="197" y="2"/>
                  </a:lnTo>
                  <a:lnTo>
                    <a:pt x="225" y="5"/>
                  </a:lnTo>
                  <a:lnTo>
                    <a:pt x="244" y="11"/>
                  </a:lnTo>
                  <a:lnTo>
                    <a:pt x="257" y="16"/>
                  </a:lnTo>
                  <a:lnTo>
                    <a:pt x="262" y="18"/>
                  </a:lnTo>
                  <a:lnTo>
                    <a:pt x="243" y="79"/>
                  </a:lnTo>
                  <a:lnTo>
                    <a:pt x="239" y="79"/>
                  </a:lnTo>
                  <a:lnTo>
                    <a:pt x="230" y="75"/>
                  </a:lnTo>
                  <a:lnTo>
                    <a:pt x="213" y="70"/>
                  </a:lnTo>
                  <a:lnTo>
                    <a:pt x="188" y="67"/>
                  </a:lnTo>
                  <a:lnTo>
                    <a:pt x="157" y="67"/>
                  </a:lnTo>
                  <a:lnTo>
                    <a:pt x="136" y="67"/>
                  </a:lnTo>
                  <a:lnTo>
                    <a:pt x="117" y="68"/>
                  </a:lnTo>
                  <a:lnTo>
                    <a:pt x="99" y="74"/>
                  </a:lnTo>
                  <a:lnTo>
                    <a:pt x="89" y="81"/>
                  </a:lnTo>
                  <a:lnTo>
                    <a:pt x="89" y="168"/>
                  </a:lnTo>
                  <a:lnTo>
                    <a:pt x="215" y="168"/>
                  </a:lnTo>
                  <a:lnTo>
                    <a:pt x="215" y="236"/>
                  </a:lnTo>
                  <a:lnTo>
                    <a:pt x="89" y="236"/>
                  </a:lnTo>
                  <a:lnTo>
                    <a:pt x="87" y="399"/>
                  </a:lnTo>
                  <a:lnTo>
                    <a:pt x="0" y="399"/>
                  </a:lnTo>
                  <a:lnTo>
                    <a:pt x="0" y="33"/>
                  </a:lnTo>
                  <a:lnTo>
                    <a:pt x="3" y="32"/>
                  </a:lnTo>
                  <a:lnTo>
                    <a:pt x="10" y="26"/>
                  </a:lnTo>
                  <a:lnTo>
                    <a:pt x="26" y="19"/>
                  </a:lnTo>
                  <a:lnTo>
                    <a:pt x="47" y="12"/>
                  </a:lnTo>
                  <a:lnTo>
                    <a:pt x="78" y="5"/>
                  </a:lnTo>
                  <a:lnTo>
                    <a:pt x="118" y="2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2"/>
            <p:cNvSpPr>
              <a:spLocks/>
            </p:cNvSpPr>
            <p:nvPr userDrawn="1"/>
          </p:nvSpPr>
          <p:spPr bwMode="auto">
            <a:xfrm>
              <a:off x="10212388" y="4037013"/>
              <a:ext cx="136525" cy="136525"/>
            </a:xfrm>
            <a:custGeom>
              <a:avLst/>
              <a:gdLst>
                <a:gd name="T0" fmla="*/ 42 w 86"/>
                <a:gd name="T1" fmla="*/ 0 h 86"/>
                <a:gd name="T2" fmla="*/ 59 w 86"/>
                <a:gd name="T3" fmla="*/ 4 h 86"/>
                <a:gd name="T4" fmla="*/ 73 w 86"/>
                <a:gd name="T5" fmla="*/ 13 h 86"/>
                <a:gd name="T6" fmla="*/ 82 w 86"/>
                <a:gd name="T7" fmla="*/ 27 h 86"/>
                <a:gd name="T8" fmla="*/ 86 w 86"/>
                <a:gd name="T9" fmla="*/ 44 h 86"/>
                <a:gd name="T10" fmla="*/ 82 w 86"/>
                <a:gd name="T11" fmla="*/ 60 h 86"/>
                <a:gd name="T12" fmla="*/ 73 w 86"/>
                <a:gd name="T13" fmla="*/ 74 h 86"/>
                <a:gd name="T14" fmla="*/ 59 w 86"/>
                <a:gd name="T15" fmla="*/ 83 h 86"/>
                <a:gd name="T16" fmla="*/ 42 w 86"/>
                <a:gd name="T17" fmla="*/ 86 h 86"/>
                <a:gd name="T18" fmla="*/ 26 w 86"/>
                <a:gd name="T19" fmla="*/ 83 h 86"/>
                <a:gd name="T20" fmla="*/ 12 w 86"/>
                <a:gd name="T21" fmla="*/ 74 h 86"/>
                <a:gd name="T22" fmla="*/ 4 w 86"/>
                <a:gd name="T23" fmla="*/ 60 h 86"/>
                <a:gd name="T24" fmla="*/ 0 w 86"/>
                <a:gd name="T25" fmla="*/ 44 h 86"/>
                <a:gd name="T26" fmla="*/ 4 w 86"/>
                <a:gd name="T27" fmla="*/ 27 h 86"/>
                <a:gd name="T28" fmla="*/ 12 w 86"/>
                <a:gd name="T29" fmla="*/ 13 h 86"/>
                <a:gd name="T30" fmla="*/ 26 w 86"/>
                <a:gd name="T31" fmla="*/ 4 h 86"/>
                <a:gd name="T32" fmla="*/ 42 w 86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59" y="4"/>
                  </a:lnTo>
                  <a:lnTo>
                    <a:pt x="73" y="13"/>
                  </a:lnTo>
                  <a:lnTo>
                    <a:pt x="82" y="27"/>
                  </a:lnTo>
                  <a:lnTo>
                    <a:pt x="86" y="44"/>
                  </a:lnTo>
                  <a:lnTo>
                    <a:pt x="82" y="60"/>
                  </a:lnTo>
                  <a:lnTo>
                    <a:pt x="73" y="74"/>
                  </a:lnTo>
                  <a:lnTo>
                    <a:pt x="59" y="83"/>
                  </a:lnTo>
                  <a:lnTo>
                    <a:pt x="42" y="86"/>
                  </a:lnTo>
                  <a:lnTo>
                    <a:pt x="26" y="83"/>
                  </a:lnTo>
                  <a:lnTo>
                    <a:pt x="12" y="74"/>
                  </a:lnTo>
                  <a:lnTo>
                    <a:pt x="4" y="60"/>
                  </a:lnTo>
                  <a:lnTo>
                    <a:pt x="0" y="44"/>
                  </a:lnTo>
                  <a:lnTo>
                    <a:pt x="4" y="27"/>
                  </a:lnTo>
                  <a:lnTo>
                    <a:pt x="12" y="13"/>
                  </a:lnTo>
                  <a:lnTo>
                    <a:pt x="26" y="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"/>
            <p:cNvSpPr>
              <a:spLocks/>
            </p:cNvSpPr>
            <p:nvPr userDrawn="1"/>
          </p:nvSpPr>
          <p:spPr bwMode="auto">
            <a:xfrm>
              <a:off x="10387013" y="4191000"/>
              <a:ext cx="284163" cy="338138"/>
            </a:xfrm>
            <a:custGeom>
              <a:avLst/>
              <a:gdLst>
                <a:gd name="T0" fmla="*/ 100 w 179"/>
                <a:gd name="T1" fmla="*/ 0 h 213"/>
                <a:gd name="T2" fmla="*/ 119 w 179"/>
                <a:gd name="T3" fmla="*/ 1 h 213"/>
                <a:gd name="T4" fmla="*/ 137 w 179"/>
                <a:gd name="T5" fmla="*/ 5 h 213"/>
                <a:gd name="T6" fmla="*/ 152 w 179"/>
                <a:gd name="T7" fmla="*/ 12 h 213"/>
                <a:gd name="T8" fmla="*/ 166 w 179"/>
                <a:gd name="T9" fmla="*/ 26 h 213"/>
                <a:gd name="T10" fmla="*/ 175 w 179"/>
                <a:gd name="T11" fmla="*/ 43 h 213"/>
                <a:gd name="T12" fmla="*/ 179 w 179"/>
                <a:gd name="T13" fmla="*/ 68 h 213"/>
                <a:gd name="T14" fmla="*/ 177 w 179"/>
                <a:gd name="T15" fmla="*/ 85 h 213"/>
                <a:gd name="T16" fmla="*/ 173 w 179"/>
                <a:gd name="T17" fmla="*/ 105 h 213"/>
                <a:gd name="T18" fmla="*/ 170 w 179"/>
                <a:gd name="T19" fmla="*/ 119 h 213"/>
                <a:gd name="T20" fmla="*/ 165 w 179"/>
                <a:gd name="T21" fmla="*/ 136 h 213"/>
                <a:gd name="T22" fmla="*/ 158 w 179"/>
                <a:gd name="T23" fmla="*/ 157 h 213"/>
                <a:gd name="T24" fmla="*/ 149 w 179"/>
                <a:gd name="T25" fmla="*/ 178 h 213"/>
                <a:gd name="T26" fmla="*/ 144 w 179"/>
                <a:gd name="T27" fmla="*/ 196 h 213"/>
                <a:gd name="T28" fmla="*/ 138 w 179"/>
                <a:gd name="T29" fmla="*/ 208 h 213"/>
                <a:gd name="T30" fmla="*/ 137 w 179"/>
                <a:gd name="T31" fmla="*/ 213 h 213"/>
                <a:gd name="T32" fmla="*/ 93 w 179"/>
                <a:gd name="T33" fmla="*/ 213 h 213"/>
                <a:gd name="T34" fmla="*/ 93 w 179"/>
                <a:gd name="T35" fmla="*/ 150 h 213"/>
                <a:gd name="T36" fmla="*/ 100 w 179"/>
                <a:gd name="T37" fmla="*/ 127 h 213"/>
                <a:gd name="T38" fmla="*/ 109 w 179"/>
                <a:gd name="T39" fmla="*/ 103 h 213"/>
                <a:gd name="T40" fmla="*/ 110 w 179"/>
                <a:gd name="T41" fmla="*/ 92 h 213"/>
                <a:gd name="T42" fmla="*/ 112 w 179"/>
                <a:gd name="T43" fmla="*/ 84 h 213"/>
                <a:gd name="T44" fmla="*/ 114 w 179"/>
                <a:gd name="T45" fmla="*/ 78 h 213"/>
                <a:gd name="T46" fmla="*/ 112 w 179"/>
                <a:gd name="T47" fmla="*/ 73 h 213"/>
                <a:gd name="T48" fmla="*/ 112 w 179"/>
                <a:gd name="T49" fmla="*/ 70 h 213"/>
                <a:gd name="T50" fmla="*/ 110 w 179"/>
                <a:gd name="T51" fmla="*/ 68 h 213"/>
                <a:gd name="T52" fmla="*/ 109 w 179"/>
                <a:gd name="T53" fmla="*/ 66 h 213"/>
                <a:gd name="T54" fmla="*/ 107 w 179"/>
                <a:gd name="T55" fmla="*/ 64 h 213"/>
                <a:gd name="T56" fmla="*/ 100 w 179"/>
                <a:gd name="T57" fmla="*/ 63 h 213"/>
                <a:gd name="T58" fmla="*/ 93 w 179"/>
                <a:gd name="T59" fmla="*/ 63 h 213"/>
                <a:gd name="T60" fmla="*/ 81 w 179"/>
                <a:gd name="T61" fmla="*/ 63 h 213"/>
                <a:gd name="T62" fmla="*/ 63 w 179"/>
                <a:gd name="T63" fmla="*/ 66 h 213"/>
                <a:gd name="T64" fmla="*/ 63 w 179"/>
                <a:gd name="T65" fmla="*/ 213 h 213"/>
                <a:gd name="T66" fmla="*/ 0 w 179"/>
                <a:gd name="T67" fmla="*/ 213 h 213"/>
                <a:gd name="T68" fmla="*/ 0 w 179"/>
                <a:gd name="T69" fmla="*/ 17 h 213"/>
                <a:gd name="T70" fmla="*/ 19 w 179"/>
                <a:gd name="T71" fmla="*/ 12 h 213"/>
                <a:gd name="T72" fmla="*/ 47 w 179"/>
                <a:gd name="T73" fmla="*/ 5 h 213"/>
                <a:gd name="T74" fmla="*/ 81 w 179"/>
                <a:gd name="T75" fmla="*/ 1 h 213"/>
                <a:gd name="T76" fmla="*/ 89 w 179"/>
                <a:gd name="T77" fmla="*/ 0 h 213"/>
                <a:gd name="T78" fmla="*/ 100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100" y="0"/>
                  </a:moveTo>
                  <a:lnTo>
                    <a:pt x="119" y="1"/>
                  </a:lnTo>
                  <a:lnTo>
                    <a:pt x="137" y="5"/>
                  </a:lnTo>
                  <a:lnTo>
                    <a:pt x="152" y="12"/>
                  </a:lnTo>
                  <a:lnTo>
                    <a:pt x="166" y="26"/>
                  </a:lnTo>
                  <a:lnTo>
                    <a:pt x="175" y="43"/>
                  </a:lnTo>
                  <a:lnTo>
                    <a:pt x="179" y="68"/>
                  </a:lnTo>
                  <a:lnTo>
                    <a:pt x="177" y="85"/>
                  </a:lnTo>
                  <a:lnTo>
                    <a:pt x="173" y="105"/>
                  </a:lnTo>
                  <a:lnTo>
                    <a:pt x="170" y="119"/>
                  </a:lnTo>
                  <a:lnTo>
                    <a:pt x="165" y="136"/>
                  </a:lnTo>
                  <a:lnTo>
                    <a:pt x="158" y="157"/>
                  </a:lnTo>
                  <a:lnTo>
                    <a:pt x="149" y="178"/>
                  </a:lnTo>
                  <a:lnTo>
                    <a:pt x="144" y="196"/>
                  </a:lnTo>
                  <a:lnTo>
                    <a:pt x="138" y="208"/>
                  </a:lnTo>
                  <a:lnTo>
                    <a:pt x="137" y="213"/>
                  </a:lnTo>
                  <a:lnTo>
                    <a:pt x="93" y="213"/>
                  </a:lnTo>
                  <a:lnTo>
                    <a:pt x="93" y="150"/>
                  </a:lnTo>
                  <a:lnTo>
                    <a:pt x="100" y="127"/>
                  </a:lnTo>
                  <a:lnTo>
                    <a:pt x="109" y="103"/>
                  </a:lnTo>
                  <a:lnTo>
                    <a:pt x="110" y="92"/>
                  </a:lnTo>
                  <a:lnTo>
                    <a:pt x="112" y="84"/>
                  </a:lnTo>
                  <a:lnTo>
                    <a:pt x="114" y="78"/>
                  </a:lnTo>
                  <a:lnTo>
                    <a:pt x="112" y="73"/>
                  </a:lnTo>
                  <a:lnTo>
                    <a:pt x="112" y="70"/>
                  </a:lnTo>
                  <a:lnTo>
                    <a:pt x="110" y="68"/>
                  </a:lnTo>
                  <a:lnTo>
                    <a:pt x="109" y="66"/>
                  </a:lnTo>
                  <a:lnTo>
                    <a:pt x="107" y="64"/>
                  </a:lnTo>
                  <a:lnTo>
                    <a:pt x="100" y="63"/>
                  </a:lnTo>
                  <a:lnTo>
                    <a:pt x="93" y="63"/>
                  </a:lnTo>
                  <a:lnTo>
                    <a:pt x="81" y="63"/>
                  </a:lnTo>
                  <a:lnTo>
                    <a:pt x="63" y="66"/>
                  </a:lnTo>
                  <a:lnTo>
                    <a:pt x="63" y="213"/>
                  </a:lnTo>
                  <a:lnTo>
                    <a:pt x="0" y="213"/>
                  </a:lnTo>
                  <a:lnTo>
                    <a:pt x="0" y="17"/>
                  </a:lnTo>
                  <a:lnTo>
                    <a:pt x="19" y="12"/>
                  </a:lnTo>
                  <a:lnTo>
                    <a:pt x="47" y="5"/>
                  </a:lnTo>
                  <a:lnTo>
                    <a:pt x="81" y="1"/>
                  </a:lnTo>
                  <a:lnTo>
                    <a:pt x="89" y="0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24"/>
            <p:cNvSpPr>
              <a:spLocks noChangeArrowheads="1"/>
            </p:cNvSpPr>
            <p:nvPr userDrawn="1"/>
          </p:nvSpPr>
          <p:spPr bwMode="auto">
            <a:xfrm>
              <a:off x="9975851" y="4570413"/>
              <a:ext cx="608013" cy="88900"/>
            </a:xfrm>
            <a:prstGeom prst="rect">
              <a:avLst/>
            </a:prstGeom>
            <a:solidFill>
              <a:schemeClr val="accent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"/>
            <p:cNvSpPr>
              <a:spLocks/>
            </p:cNvSpPr>
            <p:nvPr userDrawn="1"/>
          </p:nvSpPr>
          <p:spPr bwMode="auto">
            <a:xfrm>
              <a:off x="10223501" y="4217988"/>
              <a:ext cx="111125" cy="311150"/>
            </a:xfrm>
            <a:custGeom>
              <a:avLst/>
              <a:gdLst>
                <a:gd name="T0" fmla="*/ 35 w 70"/>
                <a:gd name="T1" fmla="*/ 0 h 196"/>
                <a:gd name="T2" fmla="*/ 56 w 70"/>
                <a:gd name="T3" fmla="*/ 0 h 196"/>
                <a:gd name="T4" fmla="*/ 66 w 70"/>
                <a:gd name="T5" fmla="*/ 2 h 196"/>
                <a:gd name="T6" fmla="*/ 70 w 70"/>
                <a:gd name="T7" fmla="*/ 2 h 196"/>
                <a:gd name="T8" fmla="*/ 70 w 70"/>
                <a:gd name="T9" fmla="*/ 196 h 196"/>
                <a:gd name="T10" fmla="*/ 0 w 70"/>
                <a:gd name="T11" fmla="*/ 196 h 196"/>
                <a:gd name="T12" fmla="*/ 0 w 70"/>
                <a:gd name="T13" fmla="*/ 2 h 196"/>
                <a:gd name="T14" fmla="*/ 5 w 70"/>
                <a:gd name="T15" fmla="*/ 2 h 196"/>
                <a:gd name="T16" fmla="*/ 17 w 70"/>
                <a:gd name="T17" fmla="*/ 0 h 196"/>
                <a:gd name="T18" fmla="*/ 35 w 70"/>
                <a:gd name="T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96">
                  <a:moveTo>
                    <a:pt x="35" y="0"/>
                  </a:moveTo>
                  <a:lnTo>
                    <a:pt x="56" y="0"/>
                  </a:lnTo>
                  <a:lnTo>
                    <a:pt x="66" y="2"/>
                  </a:lnTo>
                  <a:lnTo>
                    <a:pt x="70" y="2"/>
                  </a:lnTo>
                  <a:lnTo>
                    <a:pt x="70" y="196"/>
                  </a:lnTo>
                  <a:lnTo>
                    <a:pt x="0" y="196"/>
                  </a:lnTo>
                  <a:lnTo>
                    <a:pt x="0" y="2"/>
                  </a:lnTo>
                  <a:lnTo>
                    <a:pt x="5" y="2"/>
                  </a:lnTo>
                  <a:lnTo>
                    <a:pt x="17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"/>
            <p:cNvSpPr>
              <a:spLocks/>
            </p:cNvSpPr>
            <p:nvPr userDrawn="1"/>
          </p:nvSpPr>
          <p:spPr bwMode="auto">
            <a:xfrm>
              <a:off x="9890126" y="4191000"/>
              <a:ext cx="284163" cy="338138"/>
            </a:xfrm>
            <a:custGeom>
              <a:avLst/>
              <a:gdLst>
                <a:gd name="T0" fmla="*/ 77 w 179"/>
                <a:gd name="T1" fmla="*/ 0 h 213"/>
                <a:gd name="T2" fmla="*/ 88 w 179"/>
                <a:gd name="T3" fmla="*/ 0 h 213"/>
                <a:gd name="T4" fmla="*/ 98 w 179"/>
                <a:gd name="T5" fmla="*/ 1 h 213"/>
                <a:gd name="T6" fmla="*/ 131 w 179"/>
                <a:gd name="T7" fmla="*/ 5 h 213"/>
                <a:gd name="T8" fmla="*/ 159 w 179"/>
                <a:gd name="T9" fmla="*/ 12 h 213"/>
                <a:gd name="T10" fmla="*/ 179 w 179"/>
                <a:gd name="T11" fmla="*/ 17 h 213"/>
                <a:gd name="T12" fmla="*/ 179 w 179"/>
                <a:gd name="T13" fmla="*/ 213 h 213"/>
                <a:gd name="T14" fmla="*/ 114 w 179"/>
                <a:gd name="T15" fmla="*/ 213 h 213"/>
                <a:gd name="T16" fmla="*/ 114 w 179"/>
                <a:gd name="T17" fmla="*/ 66 h 213"/>
                <a:gd name="T18" fmla="*/ 98 w 179"/>
                <a:gd name="T19" fmla="*/ 63 h 213"/>
                <a:gd name="T20" fmla="*/ 86 w 179"/>
                <a:gd name="T21" fmla="*/ 63 h 213"/>
                <a:gd name="T22" fmla="*/ 77 w 179"/>
                <a:gd name="T23" fmla="*/ 63 h 213"/>
                <a:gd name="T24" fmla="*/ 72 w 179"/>
                <a:gd name="T25" fmla="*/ 64 h 213"/>
                <a:gd name="T26" fmla="*/ 68 w 179"/>
                <a:gd name="T27" fmla="*/ 66 h 213"/>
                <a:gd name="T28" fmla="*/ 67 w 179"/>
                <a:gd name="T29" fmla="*/ 68 h 213"/>
                <a:gd name="T30" fmla="*/ 67 w 179"/>
                <a:gd name="T31" fmla="*/ 70 h 213"/>
                <a:gd name="T32" fmla="*/ 65 w 179"/>
                <a:gd name="T33" fmla="*/ 73 h 213"/>
                <a:gd name="T34" fmla="*/ 65 w 179"/>
                <a:gd name="T35" fmla="*/ 78 h 213"/>
                <a:gd name="T36" fmla="*/ 65 w 179"/>
                <a:gd name="T37" fmla="*/ 84 h 213"/>
                <a:gd name="T38" fmla="*/ 67 w 179"/>
                <a:gd name="T39" fmla="*/ 92 h 213"/>
                <a:gd name="T40" fmla="*/ 70 w 179"/>
                <a:gd name="T41" fmla="*/ 103 h 213"/>
                <a:gd name="T42" fmla="*/ 77 w 179"/>
                <a:gd name="T43" fmla="*/ 127 h 213"/>
                <a:gd name="T44" fmla="*/ 86 w 179"/>
                <a:gd name="T45" fmla="*/ 150 h 213"/>
                <a:gd name="T46" fmla="*/ 86 w 179"/>
                <a:gd name="T47" fmla="*/ 213 h 213"/>
                <a:gd name="T48" fmla="*/ 42 w 179"/>
                <a:gd name="T49" fmla="*/ 213 h 213"/>
                <a:gd name="T50" fmla="*/ 40 w 179"/>
                <a:gd name="T51" fmla="*/ 208 h 213"/>
                <a:gd name="T52" fmla="*/ 35 w 179"/>
                <a:gd name="T53" fmla="*/ 196 h 213"/>
                <a:gd name="T54" fmla="*/ 28 w 179"/>
                <a:gd name="T55" fmla="*/ 178 h 213"/>
                <a:gd name="T56" fmla="*/ 21 w 179"/>
                <a:gd name="T57" fmla="*/ 157 h 213"/>
                <a:gd name="T58" fmla="*/ 14 w 179"/>
                <a:gd name="T59" fmla="*/ 136 h 213"/>
                <a:gd name="T60" fmla="*/ 7 w 179"/>
                <a:gd name="T61" fmla="*/ 119 h 213"/>
                <a:gd name="T62" fmla="*/ 4 w 179"/>
                <a:gd name="T63" fmla="*/ 105 h 213"/>
                <a:gd name="T64" fmla="*/ 0 w 179"/>
                <a:gd name="T65" fmla="*/ 85 h 213"/>
                <a:gd name="T66" fmla="*/ 0 w 179"/>
                <a:gd name="T67" fmla="*/ 68 h 213"/>
                <a:gd name="T68" fmla="*/ 2 w 179"/>
                <a:gd name="T69" fmla="*/ 43 h 213"/>
                <a:gd name="T70" fmla="*/ 12 w 179"/>
                <a:gd name="T71" fmla="*/ 26 h 213"/>
                <a:gd name="T72" fmla="*/ 25 w 179"/>
                <a:gd name="T73" fmla="*/ 12 h 213"/>
                <a:gd name="T74" fmla="*/ 42 w 179"/>
                <a:gd name="T75" fmla="*/ 5 h 213"/>
                <a:gd name="T76" fmla="*/ 60 w 179"/>
                <a:gd name="T77" fmla="*/ 1 h 213"/>
                <a:gd name="T78" fmla="*/ 77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77" y="0"/>
                  </a:moveTo>
                  <a:lnTo>
                    <a:pt x="88" y="0"/>
                  </a:lnTo>
                  <a:lnTo>
                    <a:pt x="98" y="1"/>
                  </a:lnTo>
                  <a:lnTo>
                    <a:pt x="131" y="5"/>
                  </a:lnTo>
                  <a:lnTo>
                    <a:pt x="159" y="12"/>
                  </a:lnTo>
                  <a:lnTo>
                    <a:pt x="179" y="17"/>
                  </a:lnTo>
                  <a:lnTo>
                    <a:pt x="179" y="213"/>
                  </a:lnTo>
                  <a:lnTo>
                    <a:pt x="114" y="213"/>
                  </a:lnTo>
                  <a:lnTo>
                    <a:pt x="114" y="66"/>
                  </a:lnTo>
                  <a:lnTo>
                    <a:pt x="98" y="63"/>
                  </a:lnTo>
                  <a:lnTo>
                    <a:pt x="86" y="63"/>
                  </a:lnTo>
                  <a:lnTo>
                    <a:pt x="77" y="63"/>
                  </a:lnTo>
                  <a:lnTo>
                    <a:pt x="72" y="64"/>
                  </a:lnTo>
                  <a:lnTo>
                    <a:pt x="68" y="66"/>
                  </a:lnTo>
                  <a:lnTo>
                    <a:pt x="67" y="68"/>
                  </a:lnTo>
                  <a:lnTo>
                    <a:pt x="67" y="70"/>
                  </a:lnTo>
                  <a:lnTo>
                    <a:pt x="65" y="73"/>
                  </a:lnTo>
                  <a:lnTo>
                    <a:pt x="65" y="78"/>
                  </a:lnTo>
                  <a:lnTo>
                    <a:pt x="65" y="84"/>
                  </a:lnTo>
                  <a:lnTo>
                    <a:pt x="67" y="92"/>
                  </a:lnTo>
                  <a:lnTo>
                    <a:pt x="70" y="103"/>
                  </a:lnTo>
                  <a:lnTo>
                    <a:pt x="77" y="127"/>
                  </a:lnTo>
                  <a:lnTo>
                    <a:pt x="86" y="150"/>
                  </a:lnTo>
                  <a:lnTo>
                    <a:pt x="86" y="213"/>
                  </a:lnTo>
                  <a:lnTo>
                    <a:pt x="42" y="213"/>
                  </a:lnTo>
                  <a:lnTo>
                    <a:pt x="40" y="208"/>
                  </a:lnTo>
                  <a:lnTo>
                    <a:pt x="35" y="196"/>
                  </a:lnTo>
                  <a:lnTo>
                    <a:pt x="28" y="178"/>
                  </a:lnTo>
                  <a:lnTo>
                    <a:pt x="21" y="157"/>
                  </a:lnTo>
                  <a:lnTo>
                    <a:pt x="14" y="136"/>
                  </a:lnTo>
                  <a:lnTo>
                    <a:pt x="7" y="119"/>
                  </a:lnTo>
                  <a:lnTo>
                    <a:pt x="4" y="105"/>
                  </a:lnTo>
                  <a:lnTo>
                    <a:pt x="0" y="85"/>
                  </a:lnTo>
                  <a:lnTo>
                    <a:pt x="0" y="68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5"/>
                  </a:lnTo>
                  <a:lnTo>
                    <a:pt x="60" y="1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"/>
            <p:cNvSpPr>
              <a:spLocks/>
            </p:cNvSpPr>
            <p:nvPr userDrawn="1"/>
          </p:nvSpPr>
          <p:spPr bwMode="auto">
            <a:xfrm>
              <a:off x="3489326" y="1066800"/>
              <a:ext cx="1693863" cy="1184275"/>
            </a:xfrm>
            <a:custGeom>
              <a:avLst/>
              <a:gdLst>
                <a:gd name="T0" fmla="*/ 152 w 1067"/>
                <a:gd name="T1" fmla="*/ 0 h 746"/>
                <a:gd name="T2" fmla="*/ 152 w 1067"/>
                <a:gd name="T3" fmla="*/ 2 h 746"/>
                <a:gd name="T4" fmla="*/ 151 w 1067"/>
                <a:gd name="T5" fmla="*/ 6 h 746"/>
                <a:gd name="T6" fmla="*/ 151 w 1067"/>
                <a:gd name="T7" fmla="*/ 9 h 746"/>
                <a:gd name="T8" fmla="*/ 149 w 1067"/>
                <a:gd name="T9" fmla="*/ 13 h 746"/>
                <a:gd name="T10" fmla="*/ 149 w 1067"/>
                <a:gd name="T11" fmla="*/ 13 h 746"/>
                <a:gd name="T12" fmla="*/ 131 w 1067"/>
                <a:gd name="T13" fmla="*/ 62 h 746"/>
                <a:gd name="T14" fmla="*/ 117 w 1067"/>
                <a:gd name="T15" fmla="*/ 109 h 746"/>
                <a:gd name="T16" fmla="*/ 98 w 1067"/>
                <a:gd name="T17" fmla="*/ 179 h 746"/>
                <a:gd name="T18" fmla="*/ 82 w 1067"/>
                <a:gd name="T19" fmla="*/ 252 h 746"/>
                <a:gd name="T20" fmla="*/ 72 w 1067"/>
                <a:gd name="T21" fmla="*/ 326 h 746"/>
                <a:gd name="T22" fmla="*/ 68 w 1067"/>
                <a:gd name="T23" fmla="*/ 401 h 746"/>
                <a:gd name="T24" fmla="*/ 72 w 1067"/>
                <a:gd name="T25" fmla="*/ 459 h 746"/>
                <a:gd name="T26" fmla="*/ 84 w 1067"/>
                <a:gd name="T27" fmla="*/ 517 h 746"/>
                <a:gd name="T28" fmla="*/ 100 w 1067"/>
                <a:gd name="T29" fmla="*/ 553 h 746"/>
                <a:gd name="T30" fmla="*/ 121 w 1067"/>
                <a:gd name="T31" fmla="*/ 587 h 746"/>
                <a:gd name="T32" fmla="*/ 149 w 1067"/>
                <a:gd name="T33" fmla="*/ 620 h 746"/>
                <a:gd name="T34" fmla="*/ 184 w 1067"/>
                <a:gd name="T35" fmla="*/ 646 h 746"/>
                <a:gd name="T36" fmla="*/ 224 w 1067"/>
                <a:gd name="T37" fmla="*/ 664 h 746"/>
                <a:gd name="T38" fmla="*/ 264 w 1067"/>
                <a:gd name="T39" fmla="*/ 678 h 746"/>
                <a:gd name="T40" fmla="*/ 310 w 1067"/>
                <a:gd name="T41" fmla="*/ 686 h 746"/>
                <a:gd name="T42" fmla="*/ 373 w 1067"/>
                <a:gd name="T43" fmla="*/ 695 h 746"/>
                <a:gd name="T44" fmla="*/ 441 w 1067"/>
                <a:gd name="T45" fmla="*/ 699 h 746"/>
                <a:gd name="T46" fmla="*/ 512 w 1067"/>
                <a:gd name="T47" fmla="*/ 699 h 746"/>
                <a:gd name="T48" fmla="*/ 619 w 1067"/>
                <a:gd name="T49" fmla="*/ 695 h 746"/>
                <a:gd name="T50" fmla="*/ 731 w 1067"/>
                <a:gd name="T51" fmla="*/ 686 h 746"/>
                <a:gd name="T52" fmla="*/ 845 w 1067"/>
                <a:gd name="T53" fmla="*/ 676 h 746"/>
                <a:gd name="T54" fmla="*/ 957 w 1067"/>
                <a:gd name="T55" fmla="*/ 662 h 746"/>
                <a:gd name="T56" fmla="*/ 1067 w 1067"/>
                <a:gd name="T57" fmla="*/ 648 h 746"/>
                <a:gd name="T58" fmla="*/ 1016 w 1067"/>
                <a:gd name="T59" fmla="*/ 657 h 746"/>
                <a:gd name="T60" fmla="*/ 958 w 1067"/>
                <a:gd name="T61" fmla="*/ 665 h 746"/>
                <a:gd name="T62" fmla="*/ 892 w 1067"/>
                <a:gd name="T63" fmla="*/ 676 h 746"/>
                <a:gd name="T64" fmla="*/ 824 w 1067"/>
                <a:gd name="T65" fmla="*/ 686 h 746"/>
                <a:gd name="T66" fmla="*/ 756 w 1067"/>
                <a:gd name="T67" fmla="*/ 697 h 746"/>
                <a:gd name="T68" fmla="*/ 689 w 1067"/>
                <a:gd name="T69" fmla="*/ 706 h 746"/>
                <a:gd name="T70" fmla="*/ 628 w 1067"/>
                <a:gd name="T71" fmla="*/ 714 h 746"/>
                <a:gd name="T72" fmla="*/ 577 w 1067"/>
                <a:gd name="T73" fmla="*/ 721 h 746"/>
                <a:gd name="T74" fmla="*/ 490 w 1067"/>
                <a:gd name="T75" fmla="*/ 732 h 746"/>
                <a:gd name="T76" fmla="*/ 406 w 1067"/>
                <a:gd name="T77" fmla="*/ 739 h 746"/>
                <a:gd name="T78" fmla="*/ 325 w 1067"/>
                <a:gd name="T79" fmla="*/ 744 h 746"/>
                <a:gd name="T80" fmla="*/ 252 w 1067"/>
                <a:gd name="T81" fmla="*/ 746 h 746"/>
                <a:gd name="T82" fmla="*/ 186 w 1067"/>
                <a:gd name="T83" fmla="*/ 744 h 746"/>
                <a:gd name="T84" fmla="*/ 126 w 1067"/>
                <a:gd name="T85" fmla="*/ 735 h 746"/>
                <a:gd name="T86" fmla="*/ 105 w 1067"/>
                <a:gd name="T87" fmla="*/ 730 h 746"/>
                <a:gd name="T88" fmla="*/ 82 w 1067"/>
                <a:gd name="T89" fmla="*/ 721 h 746"/>
                <a:gd name="T90" fmla="*/ 61 w 1067"/>
                <a:gd name="T91" fmla="*/ 711 h 746"/>
                <a:gd name="T92" fmla="*/ 42 w 1067"/>
                <a:gd name="T93" fmla="*/ 695 h 746"/>
                <a:gd name="T94" fmla="*/ 26 w 1067"/>
                <a:gd name="T95" fmla="*/ 676 h 746"/>
                <a:gd name="T96" fmla="*/ 12 w 1067"/>
                <a:gd name="T97" fmla="*/ 650 h 746"/>
                <a:gd name="T98" fmla="*/ 4 w 1067"/>
                <a:gd name="T99" fmla="*/ 618 h 746"/>
                <a:gd name="T100" fmla="*/ 0 w 1067"/>
                <a:gd name="T101" fmla="*/ 581 h 746"/>
                <a:gd name="T102" fmla="*/ 0 w 1067"/>
                <a:gd name="T103" fmla="*/ 550 h 746"/>
                <a:gd name="T104" fmla="*/ 2 w 1067"/>
                <a:gd name="T105" fmla="*/ 517 h 746"/>
                <a:gd name="T106" fmla="*/ 7 w 1067"/>
                <a:gd name="T107" fmla="*/ 478 h 746"/>
                <a:gd name="T108" fmla="*/ 16 w 1067"/>
                <a:gd name="T109" fmla="*/ 436 h 746"/>
                <a:gd name="T110" fmla="*/ 26 w 1067"/>
                <a:gd name="T111" fmla="*/ 392 h 746"/>
                <a:gd name="T112" fmla="*/ 39 w 1067"/>
                <a:gd name="T113" fmla="*/ 347 h 746"/>
                <a:gd name="T114" fmla="*/ 54 w 1067"/>
                <a:gd name="T115" fmla="*/ 294 h 746"/>
                <a:gd name="T116" fmla="*/ 72 w 1067"/>
                <a:gd name="T117" fmla="*/ 235 h 746"/>
                <a:gd name="T118" fmla="*/ 93 w 1067"/>
                <a:gd name="T119" fmla="*/ 170 h 746"/>
                <a:gd name="T120" fmla="*/ 119 w 1067"/>
                <a:gd name="T121" fmla="*/ 95 h 746"/>
                <a:gd name="T122" fmla="*/ 149 w 1067"/>
                <a:gd name="T123" fmla="*/ 13 h 746"/>
                <a:gd name="T124" fmla="*/ 152 w 1067"/>
                <a:gd name="T125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746">
                  <a:moveTo>
                    <a:pt x="152" y="0"/>
                  </a:moveTo>
                  <a:lnTo>
                    <a:pt x="152" y="2"/>
                  </a:lnTo>
                  <a:lnTo>
                    <a:pt x="151" y="6"/>
                  </a:lnTo>
                  <a:lnTo>
                    <a:pt x="151" y="9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31" y="62"/>
                  </a:lnTo>
                  <a:lnTo>
                    <a:pt x="117" y="109"/>
                  </a:lnTo>
                  <a:lnTo>
                    <a:pt x="98" y="179"/>
                  </a:lnTo>
                  <a:lnTo>
                    <a:pt x="82" y="252"/>
                  </a:lnTo>
                  <a:lnTo>
                    <a:pt x="72" y="326"/>
                  </a:lnTo>
                  <a:lnTo>
                    <a:pt x="68" y="401"/>
                  </a:lnTo>
                  <a:lnTo>
                    <a:pt x="72" y="459"/>
                  </a:lnTo>
                  <a:lnTo>
                    <a:pt x="84" y="517"/>
                  </a:lnTo>
                  <a:lnTo>
                    <a:pt x="100" y="553"/>
                  </a:lnTo>
                  <a:lnTo>
                    <a:pt x="121" y="587"/>
                  </a:lnTo>
                  <a:lnTo>
                    <a:pt x="149" y="620"/>
                  </a:lnTo>
                  <a:lnTo>
                    <a:pt x="184" y="646"/>
                  </a:lnTo>
                  <a:lnTo>
                    <a:pt x="224" y="664"/>
                  </a:lnTo>
                  <a:lnTo>
                    <a:pt x="264" y="678"/>
                  </a:lnTo>
                  <a:lnTo>
                    <a:pt x="310" y="686"/>
                  </a:lnTo>
                  <a:lnTo>
                    <a:pt x="373" y="695"/>
                  </a:lnTo>
                  <a:lnTo>
                    <a:pt x="441" y="699"/>
                  </a:lnTo>
                  <a:lnTo>
                    <a:pt x="512" y="699"/>
                  </a:lnTo>
                  <a:lnTo>
                    <a:pt x="619" y="695"/>
                  </a:lnTo>
                  <a:lnTo>
                    <a:pt x="731" y="686"/>
                  </a:lnTo>
                  <a:lnTo>
                    <a:pt x="845" y="676"/>
                  </a:lnTo>
                  <a:lnTo>
                    <a:pt x="957" y="662"/>
                  </a:lnTo>
                  <a:lnTo>
                    <a:pt x="1067" y="648"/>
                  </a:lnTo>
                  <a:lnTo>
                    <a:pt x="1016" y="657"/>
                  </a:lnTo>
                  <a:lnTo>
                    <a:pt x="958" y="665"/>
                  </a:lnTo>
                  <a:lnTo>
                    <a:pt x="892" y="676"/>
                  </a:lnTo>
                  <a:lnTo>
                    <a:pt x="824" y="686"/>
                  </a:lnTo>
                  <a:lnTo>
                    <a:pt x="756" y="697"/>
                  </a:lnTo>
                  <a:lnTo>
                    <a:pt x="689" y="706"/>
                  </a:lnTo>
                  <a:lnTo>
                    <a:pt x="628" y="714"/>
                  </a:lnTo>
                  <a:lnTo>
                    <a:pt x="577" y="721"/>
                  </a:lnTo>
                  <a:lnTo>
                    <a:pt x="490" y="732"/>
                  </a:lnTo>
                  <a:lnTo>
                    <a:pt x="406" y="739"/>
                  </a:lnTo>
                  <a:lnTo>
                    <a:pt x="325" y="744"/>
                  </a:lnTo>
                  <a:lnTo>
                    <a:pt x="252" y="746"/>
                  </a:lnTo>
                  <a:lnTo>
                    <a:pt x="186" y="744"/>
                  </a:lnTo>
                  <a:lnTo>
                    <a:pt x="126" y="735"/>
                  </a:lnTo>
                  <a:lnTo>
                    <a:pt x="105" y="730"/>
                  </a:lnTo>
                  <a:lnTo>
                    <a:pt x="82" y="721"/>
                  </a:lnTo>
                  <a:lnTo>
                    <a:pt x="61" y="711"/>
                  </a:lnTo>
                  <a:lnTo>
                    <a:pt x="42" y="695"/>
                  </a:lnTo>
                  <a:lnTo>
                    <a:pt x="26" y="676"/>
                  </a:lnTo>
                  <a:lnTo>
                    <a:pt x="12" y="650"/>
                  </a:lnTo>
                  <a:lnTo>
                    <a:pt x="4" y="618"/>
                  </a:lnTo>
                  <a:lnTo>
                    <a:pt x="0" y="581"/>
                  </a:lnTo>
                  <a:lnTo>
                    <a:pt x="0" y="550"/>
                  </a:lnTo>
                  <a:lnTo>
                    <a:pt x="2" y="517"/>
                  </a:lnTo>
                  <a:lnTo>
                    <a:pt x="7" y="478"/>
                  </a:lnTo>
                  <a:lnTo>
                    <a:pt x="16" y="436"/>
                  </a:lnTo>
                  <a:lnTo>
                    <a:pt x="26" y="392"/>
                  </a:lnTo>
                  <a:lnTo>
                    <a:pt x="39" y="347"/>
                  </a:lnTo>
                  <a:lnTo>
                    <a:pt x="54" y="294"/>
                  </a:lnTo>
                  <a:lnTo>
                    <a:pt x="72" y="235"/>
                  </a:lnTo>
                  <a:lnTo>
                    <a:pt x="93" y="170"/>
                  </a:lnTo>
                  <a:lnTo>
                    <a:pt x="119" y="95"/>
                  </a:lnTo>
                  <a:lnTo>
                    <a:pt x="149" y="1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AED4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8"/>
            <p:cNvSpPr>
              <a:spLocks/>
            </p:cNvSpPr>
            <p:nvPr userDrawn="1"/>
          </p:nvSpPr>
          <p:spPr bwMode="auto">
            <a:xfrm>
              <a:off x="3597276" y="1039813"/>
              <a:ext cx="1643063" cy="1136650"/>
            </a:xfrm>
            <a:custGeom>
              <a:avLst/>
              <a:gdLst>
                <a:gd name="T0" fmla="*/ 91 w 1035"/>
                <a:gd name="T1" fmla="*/ 0 h 716"/>
                <a:gd name="T2" fmla="*/ 133 w 1035"/>
                <a:gd name="T3" fmla="*/ 17 h 716"/>
                <a:gd name="T4" fmla="*/ 172 w 1035"/>
                <a:gd name="T5" fmla="*/ 38 h 716"/>
                <a:gd name="T6" fmla="*/ 205 w 1035"/>
                <a:gd name="T7" fmla="*/ 61 h 716"/>
                <a:gd name="T8" fmla="*/ 193 w 1035"/>
                <a:gd name="T9" fmla="*/ 105 h 716"/>
                <a:gd name="T10" fmla="*/ 180 w 1035"/>
                <a:gd name="T11" fmla="*/ 152 h 716"/>
                <a:gd name="T12" fmla="*/ 170 w 1035"/>
                <a:gd name="T13" fmla="*/ 199 h 716"/>
                <a:gd name="T14" fmla="*/ 159 w 1035"/>
                <a:gd name="T15" fmla="*/ 247 h 716"/>
                <a:gd name="T16" fmla="*/ 152 w 1035"/>
                <a:gd name="T17" fmla="*/ 292 h 716"/>
                <a:gd name="T18" fmla="*/ 149 w 1035"/>
                <a:gd name="T19" fmla="*/ 338 h 716"/>
                <a:gd name="T20" fmla="*/ 145 w 1035"/>
                <a:gd name="T21" fmla="*/ 378 h 716"/>
                <a:gd name="T22" fmla="*/ 147 w 1035"/>
                <a:gd name="T23" fmla="*/ 416 h 716"/>
                <a:gd name="T24" fmla="*/ 154 w 1035"/>
                <a:gd name="T25" fmla="*/ 450 h 716"/>
                <a:gd name="T26" fmla="*/ 163 w 1035"/>
                <a:gd name="T27" fmla="*/ 478 h 716"/>
                <a:gd name="T28" fmla="*/ 179 w 1035"/>
                <a:gd name="T29" fmla="*/ 499 h 716"/>
                <a:gd name="T30" fmla="*/ 203 w 1035"/>
                <a:gd name="T31" fmla="*/ 518 h 716"/>
                <a:gd name="T32" fmla="*/ 235 w 1035"/>
                <a:gd name="T33" fmla="*/ 532 h 716"/>
                <a:gd name="T34" fmla="*/ 271 w 1035"/>
                <a:gd name="T35" fmla="*/ 542 h 716"/>
                <a:gd name="T36" fmla="*/ 317 w 1035"/>
                <a:gd name="T37" fmla="*/ 549 h 716"/>
                <a:gd name="T38" fmla="*/ 366 w 1035"/>
                <a:gd name="T39" fmla="*/ 553 h 716"/>
                <a:gd name="T40" fmla="*/ 420 w 1035"/>
                <a:gd name="T41" fmla="*/ 555 h 716"/>
                <a:gd name="T42" fmla="*/ 478 w 1035"/>
                <a:gd name="T43" fmla="*/ 553 h 716"/>
                <a:gd name="T44" fmla="*/ 539 w 1035"/>
                <a:gd name="T45" fmla="*/ 548 h 716"/>
                <a:gd name="T46" fmla="*/ 602 w 1035"/>
                <a:gd name="T47" fmla="*/ 542 h 716"/>
                <a:gd name="T48" fmla="*/ 668 w 1035"/>
                <a:gd name="T49" fmla="*/ 534 h 716"/>
                <a:gd name="T50" fmla="*/ 820 w 1035"/>
                <a:gd name="T51" fmla="*/ 514 h 716"/>
                <a:gd name="T52" fmla="*/ 969 w 1035"/>
                <a:gd name="T53" fmla="*/ 495 h 716"/>
                <a:gd name="T54" fmla="*/ 990 w 1035"/>
                <a:gd name="T55" fmla="*/ 534 h 716"/>
                <a:gd name="T56" fmla="*/ 1009 w 1035"/>
                <a:gd name="T57" fmla="*/ 576 h 716"/>
                <a:gd name="T58" fmla="*/ 1025 w 1035"/>
                <a:gd name="T59" fmla="*/ 621 h 716"/>
                <a:gd name="T60" fmla="*/ 1035 w 1035"/>
                <a:gd name="T61" fmla="*/ 660 h 716"/>
                <a:gd name="T62" fmla="*/ 999 w 1035"/>
                <a:gd name="T63" fmla="*/ 665 h 716"/>
                <a:gd name="T64" fmla="*/ 889 w 1035"/>
                <a:gd name="T65" fmla="*/ 679 h 716"/>
                <a:gd name="T66" fmla="*/ 777 w 1035"/>
                <a:gd name="T67" fmla="*/ 693 h 716"/>
                <a:gd name="T68" fmla="*/ 663 w 1035"/>
                <a:gd name="T69" fmla="*/ 703 h 716"/>
                <a:gd name="T70" fmla="*/ 551 w 1035"/>
                <a:gd name="T71" fmla="*/ 712 h 716"/>
                <a:gd name="T72" fmla="*/ 444 w 1035"/>
                <a:gd name="T73" fmla="*/ 716 h 716"/>
                <a:gd name="T74" fmla="*/ 373 w 1035"/>
                <a:gd name="T75" fmla="*/ 716 h 716"/>
                <a:gd name="T76" fmla="*/ 305 w 1035"/>
                <a:gd name="T77" fmla="*/ 712 h 716"/>
                <a:gd name="T78" fmla="*/ 242 w 1035"/>
                <a:gd name="T79" fmla="*/ 703 h 716"/>
                <a:gd name="T80" fmla="*/ 196 w 1035"/>
                <a:gd name="T81" fmla="*/ 695 h 716"/>
                <a:gd name="T82" fmla="*/ 156 w 1035"/>
                <a:gd name="T83" fmla="*/ 681 h 716"/>
                <a:gd name="T84" fmla="*/ 116 w 1035"/>
                <a:gd name="T85" fmla="*/ 663 h 716"/>
                <a:gd name="T86" fmla="*/ 81 w 1035"/>
                <a:gd name="T87" fmla="*/ 637 h 716"/>
                <a:gd name="T88" fmla="*/ 53 w 1035"/>
                <a:gd name="T89" fmla="*/ 605 h 716"/>
                <a:gd name="T90" fmla="*/ 32 w 1035"/>
                <a:gd name="T91" fmla="*/ 570 h 716"/>
                <a:gd name="T92" fmla="*/ 16 w 1035"/>
                <a:gd name="T93" fmla="*/ 534 h 716"/>
                <a:gd name="T94" fmla="*/ 4 w 1035"/>
                <a:gd name="T95" fmla="*/ 476 h 716"/>
                <a:gd name="T96" fmla="*/ 0 w 1035"/>
                <a:gd name="T97" fmla="*/ 418 h 716"/>
                <a:gd name="T98" fmla="*/ 4 w 1035"/>
                <a:gd name="T99" fmla="*/ 343 h 716"/>
                <a:gd name="T100" fmla="*/ 14 w 1035"/>
                <a:gd name="T101" fmla="*/ 269 h 716"/>
                <a:gd name="T102" fmla="*/ 30 w 1035"/>
                <a:gd name="T103" fmla="*/ 196 h 716"/>
                <a:gd name="T104" fmla="*/ 49 w 1035"/>
                <a:gd name="T105" fmla="*/ 126 h 716"/>
                <a:gd name="T106" fmla="*/ 69 w 1035"/>
                <a:gd name="T107" fmla="*/ 65 h 716"/>
                <a:gd name="T108" fmla="*/ 88 w 1035"/>
                <a:gd name="T109" fmla="*/ 10 h 716"/>
                <a:gd name="T110" fmla="*/ 91 w 1035"/>
                <a:gd name="T111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5" h="716">
                  <a:moveTo>
                    <a:pt x="91" y="0"/>
                  </a:moveTo>
                  <a:lnTo>
                    <a:pt x="133" y="17"/>
                  </a:lnTo>
                  <a:lnTo>
                    <a:pt x="172" y="38"/>
                  </a:lnTo>
                  <a:lnTo>
                    <a:pt x="205" y="61"/>
                  </a:lnTo>
                  <a:lnTo>
                    <a:pt x="193" y="105"/>
                  </a:lnTo>
                  <a:lnTo>
                    <a:pt x="180" y="152"/>
                  </a:lnTo>
                  <a:lnTo>
                    <a:pt x="170" y="199"/>
                  </a:lnTo>
                  <a:lnTo>
                    <a:pt x="159" y="247"/>
                  </a:lnTo>
                  <a:lnTo>
                    <a:pt x="152" y="292"/>
                  </a:lnTo>
                  <a:lnTo>
                    <a:pt x="149" y="338"/>
                  </a:lnTo>
                  <a:lnTo>
                    <a:pt x="145" y="378"/>
                  </a:lnTo>
                  <a:lnTo>
                    <a:pt x="147" y="416"/>
                  </a:lnTo>
                  <a:lnTo>
                    <a:pt x="154" y="450"/>
                  </a:lnTo>
                  <a:lnTo>
                    <a:pt x="163" y="478"/>
                  </a:lnTo>
                  <a:lnTo>
                    <a:pt x="179" y="499"/>
                  </a:lnTo>
                  <a:lnTo>
                    <a:pt x="203" y="518"/>
                  </a:lnTo>
                  <a:lnTo>
                    <a:pt x="235" y="532"/>
                  </a:lnTo>
                  <a:lnTo>
                    <a:pt x="271" y="542"/>
                  </a:lnTo>
                  <a:lnTo>
                    <a:pt x="317" y="549"/>
                  </a:lnTo>
                  <a:lnTo>
                    <a:pt x="366" y="553"/>
                  </a:lnTo>
                  <a:lnTo>
                    <a:pt x="420" y="555"/>
                  </a:lnTo>
                  <a:lnTo>
                    <a:pt x="478" y="553"/>
                  </a:lnTo>
                  <a:lnTo>
                    <a:pt x="539" y="548"/>
                  </a:lnTo>
                  <a:lnTo>
                    <a:pt x="602" y="542"/>
                  </a:lnTo>
                  <a:lnTo>
                    <a:pt x="668" y="534"/>
                  </a:lnTo>
                  <a:lnTo>
                    <a:pt x="820" y="514"/>
                  </a:lnTo>
                  <a:lnTo>
                    <a:pt x="969" y="495"/>
                  </a:lnTo>
                  <a:lnTo>
                    <a:pt x="990" y="534"/>
                  </a:lnTo>
                  <a:lnTo>
                    <a:pt x="1009" y="576"/>
                  </a:lnTo>
                  <a:lnTo>
                    <a:pt x="1025" y="621"/>
                  </a:lnTo>
                  <a:lnTo>
                    <a:pt x="1035" y="660"/>
                  </a:lnTo>
                  <a:lnTo>
                    <a:pt x="999" y="665"/>
                  </a:lnTo>
                  <a:lnTo>
                    <a:pt x="889" y="679"/>
                  </a:lnTo>
                  <a:lnTo>
                    <a:pt x="777" y="693"/>
                  </a:lnTo>
                  <a:lnTo>
                    <a:pt x="663" y="703"/>
                  </a:lnTo>
                  <a:lnTo>
                    <a:pt x="551" y="712"/>
                  </a:lnTo>
                  <a:lnTo>
                    <a:pt x="444" y="716"/>
                  </a:lnTo>
                  <a:lnTo>
                    <a:pt x="373" y="716"/>
                  </a:lnTo>
                  <a:lnTo>
                    <a:pt x="305" y="712"/>
                  </a:lnTo>
                  <a:lnTo>
                    <a:pt x="242" y="703"/>
                  </a:lnTo>
                  <a:lnTo>
                    <a:pt x="196" y="695"/>
                  </a:lnTo>
                  <a:lnTo>
                    <a:pt x="156" y="681"/>
                  </a:lnTo>
                  <a:lnTo>
                    <a:pt x="116" y="663"/>
                  </a:lnTo>
                  <a:lnTo>
                    <a:pt x="81" y="637"/>
                  </a:lnTo>
                  <a:lnTo>
                    <a:pt x="53" y="605"/>
                  </a:lnTo>
                  <a:lnTo>
                    <a:pt x="32" y="570"/>
                  </a:lnTo>
                  <a:lnTo>
                    <a:pt x="16" y="534"/>
                  </a:lnTo>
                  <a:lnTo>
                    <a:pt x="4" y="476"/>
                  </a:lnTo>
                  <a:lnTo>
                    <a:pt x="0" y="418"/>
                  </a:lnTo>
                  <a:lnTo>
                    <a:pt x="4" y="343"/>
                  </a:lnTo>
                  <a:lnTo>
                    <a:pt x="14" y="269"/>
                  </a:lnTo>
                  <a:lnTo>
                    <a:pt x="30" y="196"/>
                  </a:lnTo>
                  <a:lnTo>
                    <a:pt x="49" y="126"/>
                  </a:lnTo>
                  <a:lnTo>
                    <a:pt x="69" y="65"/>
                  </a:lnTo>
                  <a:lnTo>
                    <a:pt x="88" y="1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9"/>
            <p:cNvSpPr>
              <a:spLocks noEditPoints="1"/>
            </p:cNvSpPr>
            <p:nvPr userDrawn="1"/>
          </p:nvSpPr>
          <p:spPr bwMode="auto">
            <a:xfrm>
              <a:off x="2420938" y="2798763"/>
              <a:ext cx="1690688" cy="1414463"/>
            </a:xfrm>
            <a:custGeom>
              <a:avLst/>
              <a:gdLst>
                <a:gd name="T0" fmla="*/ 0 w 1065"/>
                <a:gd name="T1" fmla="*/ 891 h 891"/>
                <a:gd name="T2" fmla="*/ 0 w 1065"/>
                <a:gd name="T3" fmla="*/ 891 h 891"/>
                <a:gd name="T4" fmla="*/ 546 w 1065"/>
                <a:gd name="T5" fmla="*/ 1 h 891"/>
                <a:gd name="T6" fmla="*/ 603 w 1065"/>
                <a:gd name="T7" fmla="*/ 21 h 891"/>
                <a:gd name="T8" fmla="*/ 678 w 1065"/>
                <a:gd name="T9" fmla="*/ 70 h 891"/>
                <a:gd name="T10" fmla="*/ 775 w 1065"/>
                <a:gd name="T11" fmla="*/ 159 h 891"/>
                <a:gd name="T12" fmla="*/ 843 w 1065"/>
                <a:gd name="T13" fmla="*/ 234 h 891"/>
                <a:gd name="T14" fmla="*/ 892 w 1065"/>
                <a:gd name="T15" fmla="*/ 292 h 891"/>
                <a:gd name="T16" fmla="*/ 942 w 1065"/>
                <a:gd name="T17" fmla="*/ 355 h 891"/>
                <a:gd name="T18" fmla="*/ 990 w 1065"/>
                <a:gd name="T19" fmla="*/ 415 h 891"/>
                <a:gd name="T20" fmla="*/ 1028 w 1065"/>
                <a:gd name="T21" fmla="*/ 467 h 891"/>
                <a:gd name="T22" fmla="*/ 1056 w 1065"/>
                <a:gd name="T23" fmla="*/ 504 h 891"/>
                <a:gd name="T24" fmla="*/ 1065 w 1065"/>
                <a:gd name="T25" fmla="*/ 518 h 891"/>
                <a:gd name="T26" fmla="*/ 1063 w 1065"/>
                <a:gd name="T27" fmla="*/ 514 h 891"/>
                <a:gd name="T28" fmla="*/ 1044 w 1065"/>
                <a:gd name="T29" fmla="*/ 490 h 891"/>
                <a:gd name="T30" fmla="*/ 1011 w 1065"/>
                <a:gd name="T31" fmla="*/ 448 h 891"/>
                <a:gd name="T32" fmla="*/ 967 w 1065"/>
                <a:gd name="T33" fmla="*/ 395 h 891"/>
                <a:gd name="T34" fmla="*/ 920 w 1065"/>
                <a:gd name="T35" fmla="*/ 339 h 891"/>
                <a:gd name="T36" fmla="*/ 873 w 1065"/>
                <a:gd name="T37" fmla="*/ 287 h 891"/>
                <a:gd name="T38" fmla="*/ 832 w 1065"/>
                <a:gd name="T39" fmla="*/ 246 h 891"/>
                <a:gd name="T40" fmla="*/ 747 w 1065"/>
                <a:gd name="T41" fmla="*/ 180 h 891"/>
                <a:gd name="T42" fmla="*/ 668 w 1065"/>
                <a:gd name="T43" fmla="*/ 134 h 891"/>
                <a:gd name="T44" fmla="*/ 596 w 1065"/>
                <a:gd name="T45" fmla="*/ 112 h 891"/>
                <a:gd name="T46" fmla="*/ 526 w 1065"/>
                <a:gd name="T47" fmla="*/ 112 h 891"/>
                <a:gd name="T48" fmla="*/ 463 w 1065"/>
                <a:gd name="T49" fmla="*/ 131 h 891"/>
                <a:gd name="T50" fmla="*/ 409 w 1065"/>
                <a:gd name="T51" fmla="*/ 166 h 891"/>
                <a:gd name="T52" fmla="*/ 323 w 1065"/>
                <a:gd name="T53" fmla="*/ 257 h 891"/>
                <a:gd name="T54" fmla="*/ 241 w 1065"/>
                <a:gd name="T55" fmla="*/ 379 h 891"/>
                <a:gd name="T56" fmla="*/ 159 w 1065"/>
                <a:gd name="T57" fmla="*/ 528 h 891"/>
                <a:gd name="T58" fmla="*/ 87 w 1065"/>
                <a:gd name="T59" fmla="*/ 682 h 891"/>
                <a:gd name="T60" fmla="*/ 24 w 1065"/>
                <a:gd name="T61" fmla="*/ 828 h 891"/>
                <a:gd name="T62" fmla="*/ 21 w 1065"/>
                <a:gd name="T63" fmla="*/ 833 h 891"/>
                <a:gd name="T64" fmla="*/ 75 w 1065"/>
                <a:gd name="T65" fmla="*/ 696 h 891"/>
                <a:gd name="T66" fmla="*/ 138 w 1065"/>
                <a:gd name="T67" fmla="*/ 542 h 891"/>
                <a:gd name="T68" fmla="*/ 208 w 1065"/>
                <a:gd name="T69" fmla="*/ 388 h 891"/>
                <a:gd name="T70" fmla="*/ 278 w 1065"/>
                <a:gd name="T71" fmla="*/ 245 h 891"/>
                <a:gd name="T72" fmla="*/ 332 w 1065"/>
                <a:gd name="T73" fmla="*/ 145 h 891"/>
                <a:gd name="T74" fmla="*/ 388 w 1065"/>
                <a:gd name="T75" fmla="*/ 64 h 891"/>
                <a:gd name="T76" fmla="*/ 423 w 1065"/>
                <a:gd name="T77" fmla="*/ 29 h 891"/>
                <a:gd name="T78" fmla="*/ 476 w 1065"/>
                <a:gd name="T79" fmla="*/ 3 h 891"/>
                <a:gd name="T80" fmla="*/ 512 w 1065"/>
                <a:gd name="T81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65" h="891">
                  <a:moveTo>
                    <a:pt x="0" y="891"/>
                  </a:moveTo>
                  <a:lnTo>
                    <a:pt x="0" y="891"/>
                  </a:lnTo>
                  <a:lnTo>
                    <a:pt x="0" y="891"/>
                  </a:lnTo>
                  <a:lnTo>
                    <a:pt x="0" y="891"/>
                  </a:lnTo>
                  <a:close/>
                  <a:moveTo>
                    <a:pt x="512" y="0"/>
                  </a:moveTo>
                  <a:lnTo>
                    <a:pt x="546" y="1"/>
                  </a:lnTo>
                  <a:lnTo>
                    <a:pt x="575" y="10"/>
                  </a:lnTo>
                  <a:lnTo>
                    <a:pt x="603" y="21"/>
                  </a:lnTo>
                  <a:lnTo>
                    <a:pt x="642" y="43"/>
                  </a:lnTo>
                  <a:lnTo>
                    <a:pt x="678" y="70"/>
                  </a:lnTo>
                  <a:lnTo>
                    <a:pt x="727" y="112"/>
                  </a:lnTo>
                  <a:lnTo>
                    <a:pt x="775" y="159"/>
                  </a:lnTo>
                  <a:lnTo>
                    <a:pt x="822" y="210"/>
                  </a:lnTo>
                  <a:lnTo>
                    <a:pt x="843" y="234"/>
                  </a:lnTo>
                  <a:lnTo>
                    <a:pt x="867" y="262"/>
                  </a:lnTo>
                  <a:lnTo>
                    <a:pt x="892" y="292"/>
                  </a:lnTo>
                  <a:lnTo>
                    <a:pt x="916" y="323"/>
                  </a:lnTo>
                  <a:lnTo>
                    <a:pt x="942" y="355"/>
                  </a:lnTo>
                  <a:lnTo>
                    <a:pt x="967" y="385"/>
                  </a:lnTo>
                  <a:lnTo>
                    <a:pt x="990" y="415"/>
                  </a:lnTo>
                  <a:lnTo>
                    <a:pt x="1011" y="443"/>
                  </a:lnTo>
                  <a:lnTo>
                    <a:pt x="1028" y="467"/>
                  </a:lnTo>
                  <a:lnTo>
                    <a:pt x="1044" y="488"/>
                  </a:lnTo>
                  <a:lnTo>
                    <a:pt x="1056" y="504"/>
                  </a:lnTo>
                  <a:lnTo>
                    <a:pt x="1063" y="514"/>
                  </a:lnTo>
                  <a:lnTo>
                    <a:pt x="1065" y="518"/>
                  </a:lnTo>
                  <a:lnTo>
                    <a:pt x="1065" y="518"/>
                  </a:lnTo>
                  <a:lnTo>
                    <a:pt x="1063" y="514"/>
                  </a:lnTo>
                  <a:lnTo>
                    <a:pt x="1054" y="504"/>
                  </a:lnTo>
                  <a:lnTo>
                    <a:pt x="1044" y="490"/>
                  </a:lnTo>
                  <a:lnTo>
                    <a:pt x="1028" y="471"/>
                  </a:lnTo>
                  <a:lnTo>
                    <a:pt x="1011" y="448"/>
                  </a:lnTo>
                  <a:lnTo>
                    <a:pt x="990" y="422"/>
                  </a:lnTo>
                  <a:lnTo>
                    <a:pt x="967" y="395"/>
                  </a:lnTo>
                  <a:lnTo>
                    <a:pt x="944" y="367"/>
                  </a:lnTo>
                  <a:lnTo>
                    <a:pt x="920" y="339"/>
                  </a:lnTo>
                  <a:lnTo>
                    <a:pt x="897" y="313"/>
                  </a:lnTo>
                  <a:lnTo>
                    <a:pt x="873" y="287"/>
                  </a:lnTo>
                  <a:lnTo>
                    <a:pt x="852" y="266"/>
                  </a:lnTo>
                  <a:lnTo>
                    <a:pt x="832" y="246"/>
                  </a:lnTo>
                  <a:lnTo>
                    <a:pt x="790" y="211"/>
                  </a:lnTo>
                  <a:lnTo>
                    <a:pt x="747" y="180"/>
                  </a:lnTo>
                  <a:lnTo>
                    <a:pt x="701" y="152"/>
                  </a:lnTo>
                  <a:lnTo>
                    <a:pt x="668" y="134"/>
                  </a:lnTo>
                  <a:lnTo>
                    <a:pt x="633" y="120"/>
                  </a:lnTo>
                  <a:lnTo>
                    <a:pt x="596" y="112"/>
                  </a:lnTo>
                  <a:lnTo>
                    <a:pt x="556" y="110"/>
                  </a:lnTo>
                  <a:lnTo>
                    <a:pt x="526" y="112"/>
                  </a:lnTo>
                  <a:lnTo>
                    <a:pt x="497" y="117"/>
                  </a:lnTo>
                  <a:lnTo>
                    <a:pt x="463" y="131"/>
                  </a:lnTo>
                  <a:lnTo>
                    <a:pt x="435" y="147"/>
                  </a:lnTo>
                  <a:lnTo>
                    <a:pt x="409" y="166"/>
                  </a:lnTo>
                  <a:lnTo>
                    <a:pt x="365" y="208"/>
                  </a:lnTo>
                  <a:lnTo>
                    <a:pt x="323" y="257"/>
                  </a:lnTo>
                  <a:lnTo>
                    <a:pt x="283" y="315"/>
                  </a:lnTo>
                  <a:lnTo>
                    <a:pt x="241" y="379"/>
                  </a:lnTo>
                  <a:lnTo>
                    <a:pt x="199" y="451"/>
                  </a:lnTo>
                  <a:lnTo>
                    <a:pt x="159" y="528"/>
                  </a:lnTo>
                  <a:lnTo>
                    <a:pt x="122" y="605"/>
                  </a:lnTo>
                  <a:lnTo>
                    <a:pt x="87" y="682"/>
                  </a:lnTo>
                  <a:lnTo>
                    <a:pt x="54" y="758"/>
                  </a:lnTo>
                  <a:lnTo>
                    <a:pt x="24" y="828"/>
                  </a:lnTo>
                  <a:lnTo>
                    <a:pt x="0" y="891"/>
                  </a:lnTo>
                  <a:lnTo>
                    <a:pt x="21" y="833"/>
                  </a:lnTo>
                  <a:lnTo>
                    <a:pt x="47" y="766"/>
                  </a:lnTo>
                  <a:lnTo>
                    <a:pt x="75" y="696"/>
                  </a:lnTo>
                  <a:lnTo>
                    <a:pt x="107" y="621"/>
                  </a:lnTo>
                  <a:lnTo>
                    <a:pt x="138" y="542"/>
                  </a:lnTo>
                  <a:lnTo>
                    <a:pt x="173" y="465"/>
                  </a:lnTo>
                  <a:lnTo>
                    <a:pt x="208" y="388"/>
                  </a:lnTo>
                  <a:lnTo>
                    <a:pt x="243" y="315"/>
                  </a:lnTo>
                  <a:lnTo>
                    <a:pt x="278" y="245"/>
                  </a:lnTo>
                  <a:lnTo>
                    <a:pt x="304" y="194"/>
                  </a:lnTo>
                  <a:lnTo>
                    <a:pt x="332" y="145"/>
                  </a:lnTo>
                  <a:lnTo>
                    <a:pt x="360" y="101"/>
                  </a:lnTo>
                  <a:lnTo>
                    <a:pt x="388" y="64"/>
                  </a:lnTo>
                  <a:lnTo>
                    <a:pt x="406" y="47"/>
                  </a:lnTo>
                  <a:lnTo>
                    <a:pt x="423" y="29"/>
                  </a:lnTo>
                  <a:lnTo>
                    <a:pt x="448" y="15"/>
                  </a:lnTo>
                  <a:lnTo>
                    <a:pt x="476" y="3"/>
                  </a:lnTo>
                  <a:lnTo>
                    <a:pt x="495" y="0"/>
                  </a:lnTo>
                  <a:lnTo>
                    <a:pt x="512" y="0"/>
                  </a:lnTo>
                  <a:close/>
                </a:path>
              </a:pathLst>
            </a:custGeom>
            <a:solidFill>
              <a:srgbClr val="F29FC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0"/>
            <p:cNvSpPr>
              <a:spLocks/>
            </p:cNvSpPr>
            <p:nvPr userDrawn="1"/>
          </p:nvSpPr>
          <p:spPr bwMode="auto">
            <a:xfrm>
              <a:off x="2420938" y="2973388"/>
              <a:ext cx="1690688" cy="1273175"/>
            </a:xfrm>
            <a:custGeom>
              <a:avLst/>
              <a:gdLst>
                <a:gd name="T0" fmla="*/ 596 w 1065"/>
                <a:gd name="T1" fmla="*/ 2 h 802"/>
                <a:gd name="T2" fmla="*/ 668 w 1065"/>
                <a:gd name="T3" fmla="*/ 24 h 802"/>
                <a:gd name="T4" fmla="*/ 747 w 1065"/>
                <a:gd name="T5" fmla="*/ 70 h 802"/>
                <a:gd name="T6" fmla="*/ 832 w 1065"/>
                <a:gd name="T7" fmla="*/ 136 h 802"/>
                <a:gd name="T8" fmla="*/ 873 w 1065"/>
                <a:gd name="T9" fmla="*/ 177 h 802"/>
                <a:gd name="T10" fmla="*/ 920 w 1065"/>
                <a:gd name="T11" fmla="*/ 229 h 802"/>
                <a:gd name="T12" fmla="*/ 967 w 1065"/>
                <a:gd name="T13" fmla="*/ 285 h 802"/>
                <a:gd name="T14" fmla="*/ 1011 w 1065"/>
                <a:gd name="T15" fmla="*/ 338 h 802"/>
                <a:gd name="T16" fmla="*/ 1044 w 1065"/>
                <a:gd name="T17" fmla="*/ 380 h 802"/>
                <a:gd name="T18" fmla="*/ 1063 w 1065"/>
                <a:gd name="T19" fmla="*/ 404 h 802"/>
                <a:gd name="T20" fmla="*/ 1030 w 1065"/>
                <a:gd name="T21" fmla="*/ 420 h 802"/>
                <a:gd name="T22" fmla="*/ 956 w 1065"/>
                <a:gd name="T23" fmla="*/ 438 h 802"/>
                <a:gd name="T24" fmla="*/ 911 w 1065"/>
                <a:gd name="T25" fmla="*/ 425 h 802"/>
                <a:gd name="T26" fmla="*/ 876 w 1065"/>
                <a:gd name="T27" fmla="*/ 378 h 802"/>
                <a:gd name="T28" fmla="*/ 825 w 1065"/>
                <a:gd name="T29" fmla="*/ 319 h 802"/>
                <a:gd name="T30" fmla="*/ 764 w 1065"/>
                <a:gd name="T31" fmla="*/ 255 h 802"/>
                <a:gd name="T32" fmla="*/ 699 w 1065"/>
                <a:gd name="T33" fmla="*/ 199 h 802"/>
                <a:gd name="T34" fmla="*/ 635 w 1065"/>
                <a:gd name="T35" fmla="*/ 163 h 802"/>
                <a:gd name="T36" fmla="*/ 574 w 1065"/>
                <a:gd name="T37" fmla="*/ 154 h 802"/>
                <a:gd name="T38" fmla="*/ 521 w 1065"/>
                <a:gd name="T39" fmla="*/ 180 h 802"/>
                <a:gd name="T40" fmla="*/ 467 w 1065"/>
                <a:gd name="T41" fmla="*/ 236 h 802"/>
                <a:gd name="T42" fmla="*/ 409 w 1065"/>
                <a:gd name="T43" fmla="*/ 315 h 802"/>
                <a:gd name="T44" fmla="*/ 355 w 1065"/>
                <a:gd name="T45" fmla="*/ 408 h 802"/>
                <a:gd name="T46" fmla="*/ 304 w 1065"/>
                <a:gd name="T47" fmla="*/ 508 h 802"/>
                <a:gd name="T48" fmla="*/ 257 w 1065"/>
                <a:gd name="T49" fmla="*/ 604 h 802"/>
                <a:gd name="T50" fmla="*/ 220 w 1065"/>
                <a:gd name="T51" fmla="*/ 690 h 802"/>
                <a:gd name="T52" fmla="*/ 192 w 1065"/>
                <a:gd name="T53" fmla="*/ 756 h 802"/>
                <a:gd name="T54" fmla="*/ 177 w 1065"/>
                <a:gd name="T55" fmla="*/ 795 h 802"/>
                <a:gd name="T56" fmla="*/ 119 w 1065"/>
                <a:gd name="T57" fmla="*/ 802 h 802"/>
                <a:gd name="T58" fmla="*/ 30 w 1065"/>
                <a:gd name="T59" fmla="*/ 789 h 802"/>
                <a:gd name="T60" fmla="*/ 24 w 1065"/>
                <a:gd name="T61" fmla="*/ 718 h 802"/>
                <a:gd name="T62" fmla="*/ 87 w 1065"/>
                <a:gd name="T63" fmla="*/ 572 h 802"/>
                <a:gd name="T64" fmla="*/ 159 w 1065"/>
                <a:gd name="T65" fmla="*/ 418 h 802"/>
                <a:gd name="T66" fmla="*/ 241 w 1065"/>
                <a:gd name="T67" fmla="*/ 269 h 802"/>
                <a:gd name="T68" fmla="*/ 323 w 1065"/>
                <a:gd name="T69" fmla="*/ 147 h 802"/>
                <a:gd name="T70" fmla="*/ 409 w 1065"/>
                <a:gd name="T71" fmla="*/ 56 h 802"/>
                <a:gd name="T72" fmla="*/ 463 w 1065"/>
                <a:gd name="T73" fmla="*/ 21 h 802"/>
                <a:gd name="T74" fmla="*/ 526 w 1065"/>
                <a:gd name="T75" fmla="*/ 2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65" h="802">
                  <a:moveTo>
                    <a:pt x="556" y="0"/>
                  </a:moveTo>
                  <a:lnTo>
                    <a:pt x="596" y="2"/>
                  </a:lnTo>
                  <a:lnTo>
                    <a:pt x="633" y="10"/>
                  </a:lnTo>
                  <a:lnTo>
                    <a:pt x="668" y="24"/>
                  </a:lnTo>
                  <a:lnTo>
                    <a:pt x="701" y="42"/>
                  </a:lnTo>
                  <a:lnTo>
                    <a:pt x="747" y="70"/>
                  </a:lnTo>
                  <a:lnTo>
                    <a:pt x="790" y="101"/>
                  </a:lnTo>
                  <a:lnTo>
                    <a:pt x="832" y="136"/>
                  </a:lnTo>
                  <a:lnTo>
                    <a:pt x="852" y="156"/>
                  </a:lnTo>
                  <a:lnTo>
                    <a:pt x="873" y="177"/>
                  </a:lnTo>
                  <a:lnTo>
                    <a:pt x="897" y="203"/>
                  </a:lnTo>
                  <a:lnTo>
                    <a:pt x="920" y="229"/>
                  </a:lnTo>
                  <a:lnTo>
                    <a:pt x="944" y="257"/>
                  </a:lnTo>
                  <a:lnTo>
                    <a:pt x="967" y="285"/>
                  </a:lnTo>
                  <a:lnTo>
                    <a:pt x="990" y="312"/>
                  </a:lnTo>
                  <a:lnTo>
                    <a:pt x="1011" y="338"/>
                  </a:lnTo>
                  <a:lnTo>
                    <a:pt x="1028" y="361"/>
                  </a:lnTo>
                  <a:lnTo>
                    <a:pt x="1044" y="380"/>
                  </a:lnTo>
                  <a:lnTo>
                    <a:pt x="1054" y="394"/>
                  </a:lnTo>
                  <a:lnTo>
                    <a:pt x="1063" y="404"/>
                  </a:lnTo>
                  <a:lnTo>
                    <a:pt x="1065" y="408"/>
                  </a:lnTo>
                  <a:lnTo>
                    <a:pt x="1030" y="420"/>
                  </a:lnTo>
                  <a:lnTo>
                    <a:pt x="991" y="431"/>
                  </a:lnTo>
                  <a:lnTo>
                    <a:pt x="956" y="438"/>
                  </a:lnTo>
                  <a:lnTo>
                    <a:pt x="923" y="439"/>
                  </a:lnTo>
                  <a:lnTo>
                    <a:pt x="911" y="425"/>
                  </a:lnTo>
                  <a:lnTo>
                    <a:pt x="895" y="404"/>
                  </a:lnTo>
                  <a:lnTo>
                    <a:pt x="876" y="378"/>
                  </a:lnTo>
                  <a:lnTo>
                    <a:pt x="852" y="350"/>
                  </a:lnTo>
                  <a:lnTo>
                    <a:pt x="825" y="319"/>
                  </a:lnTo>
                  <a:lnTo>
                    <a:pt x="796" y="285"/>
                  </a:lnTo>
                  <a:lnTo>
                    <a:pt x="764" y="255"/>
                  </a:lnTo>
                  <a:lnTo>
                    <a:pt x="733" y="226"/>
                  </a:lnTo>
                  <a:lnTo>
                    <a:pt x="699" y="199"/>
                  </a:lnTo>
                  <a:lnTo>
                    <a:pt x="666" y="178"/>
                  </a:lnTo>
                  <a:lnTo>
                    <a:pt x="635" y="163"/>
                  </a:lnTo>
                  <a:lnTo>
                    <a:pt x="603" y="154"/>
                  </a:lnTo>
                  <a:lnTo>
                    <a:pt x="574" y="154"/>
                  </a:lnTo>
                  <a:lnTo>
                    <a:pt x="547" y="163"/>
                  </a:lnTo>
                  <a:lnTo>
                    <a:pt x="521" y="180"/>
                  </a:lnTo>
                  <a:lnTo>
                    <a:pt x="493" y="205"/>
                  </a:lnTo>
                  <a:lnTo>
                    <a:pt x="467" y="236"/>
                  </a:lnTo>
                  <a:lnTo>
                    <a:pt x="437" y="273"/>
                  </a:lnTo>
                  <a:lnTo>
                    <a:pt x="409" y="315"/>
                  </a:lnTo>
                  <a:lnTo>
                    <a:pt x="383" y="361"/>
                  </a:lnTo>
                  <a:lnTo>
                    <a:pt x="355" y="408"/>
                  </a:lnTo>
                  <a:lnTo>
                    <a:pt x="329" y="457"/>
                  </a:lnTo>
                  <a:lnTo>
                    <a:pt x="304" y="508"/>
                  </a:lnTo>
                  <a:lnTo>
                    <a:pt x="280" y="557"/>
                  </a:lnTo>
                  <a:lnTo>
                    <a:pt x="257" y="604"/>
                  </a:lnTo>
                  <a:lnTo>
                    <a:pt x="238" y="648"/>
                  </a:lnTo>
                  <a:lnTo>
                    <a:pt x="220" y="690"/>
                  </a:lnTo>
                  <a:lnTo>
                    <a:pt x="205" y="725"/>
                  </a:lnTo>
                  <a:lnTo>
                    <a:pt x="192" y="756"/>
                  </a:lnTo>
                  <a:lnTo>
                    <a:pt x="182" y="779"/>
                  </a:lnTo>
                  <a:lnTo>
                    <a:pt x="177" y="795"/>
                  </a:lnTo>
                  <a:lnTo>
                    <a:pt x="173" y="802"/>
                  </a:lnTo>
                  <a:lnTo>
                    <a:pt x="119" y="802"/>
                  </a:lnTo>
                  <a:lnTo>
                    <a:pt x="72" y="796"/>
                  </a:lnTo>
                  <a:lnTo>
                    <a:pt x="30" y="789"/>
                  </a:lnTo>
                  <a:lnTo>
                    <a:pt x="0" y="781"/>
                  </a:lnTo>
                  <a:lnTo>
                    <a:pt x="24" y="718"/>
                  </a:lnTo>
                  <a:lnTo>
                    <a:pt x="54" y="648"/>
                  </a:lnTo>
                  <a:lnTo>
                    <a:pt x="87" y="572"/>
                  </a:lnTo>
                  <a:lnTo>
                    <a:pt x="122" y="495"/>
                  </a:lnTo>
                  <a:lnTo>
                    <a:pt x="159" y="418"/>
                  </a:lnTo>
                  <a:lnTo>
                    <a:pt x="199" y="341"/>
                  </a:lnTo>
                  <a:lnTo>
                    <a:pt x="241" y="269"/>
                  </a:lnTo>
                  <a:lnTo>
                    <a:pt x="283" y="205"/>
                  </a:lnTo>
                  <a:lnTo>
                    <a:pt x="323" y="147"/>
                  </a:lnTo>
                  <a:lnTo>
                    <a:pt x="365" y="98"/>
                  </a:lnTo>
                  <a:lnTo>
                    <a:pt x="409" y="56"/>
                  </a:lnTo>
                  <a:lnTo>
                    <a:pt x="435" y="37"/>
                  </a:lnTo>
                  <a:lnTo>
                    <a:pt x="463" y="21"/>
                  </a:lnTo>
                  <a:lnTo>
                    <a:pt x="497" y="7"/>
                  </a:lnTo>
                  <a:lnTo>
                    <a:pt x="526" y="2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"/>
            <p:cNvSpPr>
              <a:spLocks/>
            </p:cNvSpPr>
            <p:nvPr userDrawn="1"/>
          </p:nvSpPr>
          <p:spPr bwMode="auto">
            <a:xfrm>
              <a:off x="3589338" y="2143125"/>
              <a:ext cx="1660525" cy="1444625"/>
            </a:xfrm>
            <a:custGeom>
              <a:avLst/>
              <a:gdLst>
                <a:gd name="T0" fmla="*/ 1019 w 1046"/>
                <a:gd name="T1" fmla="*/ 5 h 910"/>
                <a:gd name="T2" fmla="*/ 941 w 1046"/>
                <a:gd name="T3" fmla="*/ 17 h 910"/>
                <a:gd name="T4" fmla="*/ 827 w 1046"/>
                <a:gd name="T5" fmla="*/ 36 h 910"/>
                <a:gd name="T6" fmla="*/ 687 w 1046"/>
                <a:gd name="T7" fmla="*/ 64 h 910"/>
                <a:gd name="T8" fmla="*/ 523 w 1046"/>
                <a:gd name="T9" fmla="*/ 103 h 910"/>
                <a:gd name="T10" fmla="*/ 425 w 1046"/>
                <a:gd name="T11" fmla="*/ 131 h 910"/>
                <a:gd name="T12" fmla="*/ 336 w 1046"/>
                <a:gd name="T13" fmla="*/ 166 h 910"/>
                <a:gd name="T14" fmla="*/ 255 w 1046"/>
                <a:gd name="T15" fmla="*/ 210 h 910"/>
                <a:gd name="T16" fmla="*/ 192 w 1046"/>
                <a:gd name="T17" fmla="*/ 264 h 910"/>
                <a:gd name="T18" fmla="*/ 147 w 1046"/>
                <a:gd name="T19" fmla="*/ 330 h 910"/>
                <a:gd name="T20" fmla="*/ 126 w 1046"/>
                <a:gd name="T21" fmla="*/ 409 h 910"/>
                <a:gd name="T22" fmla="*/ 131 w 1046"/>
                <a:gd name="T23" fmla="*/ 502 h 910"/>
                <a:gd name="T24" fmla="*/ 170 w 1046"/>
                <a:gd name="T25" fmla="*/ 612 h 910"/>
                <a:gd name="T26" fmla="*/ 201 w 1046"/>
                <a:gd name="T27" fmla="*/ 672 h 910"/>
                <a:gd name="T28" fmla="*/ 240 w 1046"/>
                <a:gd name="T29" fmla="*/ 738 h 910"/>
                <a:gd name="T30" fmla="*/ 283 w 1046"/>
                <a:gd name="T31" fmla="*/ 803 h 910"/>
                <a:gd name="T32" fmla="*/ 322 w 1046"/>
                <a:gd name="T33" fmla="*/ 859 h 910"/>
                <a:gd name="T34" fmla="*/ 352 w 1046"/>
                <a:gd name="T35" fmla="*/ 898 h 910"/>
                <a:gd name="T36" fmla="*/ 350 w 1046"/>
                <a:gd name="T37" fmla="*/ 898 h 910"/>
                <a:gd name="T38" fmla="*/ 317 w 1046"/>
                <a:gd name="T39" fmla="*/ 859 h 910"/>
                <a:gd name="T40" fmla="*/ 269 w 1046"/>
                <a:gd name="T41" fmla="*/ 799 h 910"/>
                <a:gd name="T42" fmla="*/ 212 w 1046"/>
                <a:gd name="T43" fmla="*/ 726 h 910"/>
                <a:gd name="T44" fmla="*/ 154 w 1046"/>
                <a:gd name="T45" fmla="*/ 645 h 910"/>
                <a:gd name="T46" fmla="*/ 96 w 1046"/>
                <a:gd name="T47" fmla="*/ 561 h 910"/>
                <a:gd name="T48" fmla="*/ 49 w 1046"/>
                <a:gd name="T49" fmla="*/ 479 h 910"/>
                <a:gd name="T50" fmla="*/ 16 w 1046"/>
                <a:gd name="T51" fmla="*/ 407 h 910"/>
                <a:gd name="T52" fmla="*/ 0 w 1046"/>
                <a:gd name="T53" fmla="*/ 327 h 910"/>
                <a:gd name="T54" fmla="*/ 18 w 1046"/>
                <a:gd name="T55" fmla="*/ 264 h 910"/>
                <a:gd name="T56" fmla="*/ 63 w 1046"/>
                <a:gd name="T57" fmla="*/ 213 h 910"/>
                <a:gd name="T58" fmla="*/ 140 w 1046"/>
                <a:gd name="T59" fmla="*/ 175 h 910"/>
                <a:gd name="T60" fmla="*/ 243 w 1046"/>
                <a:gd name="T61" fmla="*/ 141 h 910"/>
                <a:gd name="T62" fmla="*/ 371 w 1046"/>
                <a:gd name="T63" fmla="*/ 113 h 910"/>
                <a:gd name="T64" fmla="*/ 525 w 1046"/>
                <a:gd name="T65" fmla="*/ 84 h 910"/>
                <a:gd name="T66" fmla="*/ 677 w 1046"/>
                <a:gd name="T67" fmla="*/ 57 h 910"/>
                <a:gd name="T68" fmla="*/ 815 w 1046"/>
                <a:gd name="T69" fmla="*/ 35 h 910"/>
                <a:gd name="T70" fmla="*/ 932 w 1046"/>
                <a:gd name="T71" fmla="*/ 17 h 910"/>
                <a:gd name="T72" fmla="*/ 1018 w 1046"/>
                <a:gd name="T73" fmla="*/ 5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6" h="910">
                  <a:moveTo>
                    <a:pt x="1046" y="0"/>
                  </a:moveTo>
                  <a:lnTo>
                    <a:pt x="1019" y="5"/>
                  </a:lnTo>
                  <a:lnTo>
                    <a:pt x="985" y="10"/>
                  </a:lnTo>
                  <a:lnTo>
                    <a:pt x="941" y="17"/>
                  </a:lnTo>
                  <a:lnTo>
                    <a:pt x="888" y="26"/>
                  </a:lnTo>
                  <a:lnTo>
                    <a:pt x="827" y="36"/>
                  </a:lnTo>
                  <a:lnTo>
                    <a:pt x="761" y="49"/>
                  </a:lnTo>
                  <a:lnTo>
                    <a:pt x="687" y="64"/>
                  </a:lnTo>
                  <a:lnTo>
                    <a:pt x="607" y="82"/>
                  </a:lnTo>
                  <a:lnTo>
                    <a:pt x="523" y="103"/>
                  </a:lnTo>
                  <a:lnTo>
                    <a:pt x="474" y="115"/>
                  </a:lnTo>
                  <a:lnTo>
                    <a:pt x="425" y="131"/>
                  </a:lnTo>
                  <a:lnTo>
                    <a:pt x="380" y="147"/>
                  </a:lnTo>
                  <a:lnTo>
                    <a:pt x="336" y="166"/>
                  </a:lnTo>
                  <a:lnTo>
                    <a:pt x="294" y="187"/>
                  </a:lnTo>
                  <a:lnTo>
                    <a:pt x="255" y="210"/>
                  </a:lnTo>
                  <a:lnTo>
                    <a:pt x="222" y="236"/>
                  </a:lnTo>
                  <a:lnTo>
                    <a:pt x="192" y="264"/>
                  </a:lnTo>
                  <a:lnTo>
                    <a:pt x="166" y="295"/>
                  </a:lnTo>
                  <a:lnTo>
                    <a:pt x="147" y="330"/>
                  </a:lnTo>
                  <a:lnTo>
                    <a:pt x="133" y="367"/>
                  </a:lnTo>
                  <a:lnTo>
                    <a:pt x="126" y="409"/>
                  </a:lnTo>
                  <a:lnTo>
                    <a:pt x="124" y="453"/>
                  </a:lnTo>
                  <a:lnTo>
                    <a:pt x="131" y="502"/>
                  </a:lnTo>
                  <a:lnTo>
                    <a:pt x="147" y="554"/>
                  </a:lnTo>
                  <a:lnTo>
                    <a:pt x="170" y="612"/>
                  </a:lnTo>
                  <a:lnTo>
                    <a:pt x="184" y="640"/>
                  </a:lnTo>
                  <a:lnTo>
                    <a:pt x="201" y="672"/>
                  </a:lnTo>
                  <a:lnTo>
                    <a:pt x="219" y="705"/>
                  </a:lnTo>
                  <a:lnTo>
                    <a:pt x="240" y="738"/>
                  </a:lnTo>
                  <a:lnTo>
                    <a:pt x="262" y="771"/>
                  </a:lnTo>
                  <a:lnTo>
                    <a:pt x="283" y="803"/>
                  </a:lnTo>
                  <a:lnTo>
                    <a:pt x="303" y="833"/>
                  </a:lnTo>
                  <a:lnTo>
                    <a:pt x="322" y="859"/>
                  </a:lnTo>
                  <a:lnTo>
                    <a:pt x="338" y="880"/>
                  </a:lnTo>
                  <a:lnTo>
                    <a:pt x="352" y="898"/>
                  </a:lnTo>
                  <a:lnTo>
                    <a:pt x="360" y="910"/>
                  </a:lnTo>
                  <a:lnTo>
                    <a:pt x="350" y="898"/>
                  </a:lnTo>
                  <a:lnTo>
                    <a:pt x="336" y="882"/>
                  </a:lnTo>
                  <a:lnTo>
                    <a:pt x="317" y="859"/>
                  </a:lnTo>
                  <a:lnTo>
                    <a:pt x="294" y="831"/>
                  </a:lnTo>
                  <a:lnTo>
                    <a:pt x="269" y="799"/>
                  </a:lnTo>
                  <a:lnTo>
                    <a:pt x="241" y="764"/>
                  </a:lnTo>
                  <a:lnTo>
                    <a:pt x="212" y="726"/>
                  </a:lnTo>
                  <a:lnTo>
                    <a:pt x="184" y="686"/>
                  </a:lnTo>
                  <a:lnTo>
                    <a:pt x="154" y="645"/>
                  </a:lnTo>
                  <a:lnTo>
                    <a:pt x="124" y="603"/>
                  </a:lnTo>
                  <a:lnTo>
                    <a:pt x="96" y="561"/>
                  </a:lnTo>
                  <a:lnTo>
                    <a:pt x="72" y="519"/>
                  </a:lnTo>
                  <a:lnTo>
                    <a:pt x="49" y="479"/>
                  </a:lnTo>
                  <a:lnTo>
                    <a:pt x="30" y="442"/>
                  </a:lnTo>
                  <a:lnTo>
                    <a:pt x="16" y="407"/>
                  </a:lnTo>
                  <a:lnTo>
                    <a:pt x="4" y="364"/>
                  </a:lnTo>
                  <a:lnTo>
                    <a:pt x="0" y="327"/>
                  </a:lnTo>
                  <a:lnTo>
                    <a:pt x="5" y="294"/>
                  </a:lnTo>
                  <a:lnTo>
                    <a:pt x="18" y="264"/>
                  </a:lnTo>
                  <a:lnTo>
                    <a:pt x="37" y="238"/>
                  </a:lnTo>
                  <a:lnTo>
                    <a:pt x="63" y="213"/>
                  </a:lnTo>
                  <a:lnTo>
                    <a:pt x="98" y="192"/>
                  </a:lnTo>
                  <a:lnTo>
                    <a:pt x="140" y="175"/>
                  </a:lnTo>
                  <a:lnTo>
                    <a:pt x="187" y="157"/>
                  </a:lnTo>
                  <a:lnTo>
                    <a:pt x="243" y="141"/>
                  </a:lnTo>
                  <a:lnTo>
                    <a:pt x="304" y="127"/>
                  </a:lnTo>
                  <a:lnTo>
                    <a:pt x="371" y="113"/>
                  </a:lnTo>
                  <a:lnTo>
                    <a:pt x="448" y="98"/>
                  </a:lnTo>
                  <a:lnTo>
                    <a:pt x="525" y="84"/>
                  </a:lnTo>
                  <a:lnTo>
                    <a:pt x="602" y="70"/>
                  </a:lnTo>
                  <a:lnTo>
                    <a:pt x="677" y="57"/>
                  </a:lnTo>
                  <a:lnTo>
                    <a:pt x="748" y="45"/>
                  </a:lnTo>
                  <a:lnTo>
                    <a:pt x="815" y="35"/>
                  </a:lnTo>
                  <a:lnTo>
                    <a:pt x="878" y="24"/>
                  </a:lnTo>
                  <a:lnTo>
                    <a:pt x="932" y="17"/>
                  </a:lnTo>
                  <a:lnTo>
                    <a:pt x="979" y="10"/>
                  </a:lnTo>
                  <a:lnTo>
                    <a:pt x="1018" y="5"/>
                  </a:lnTo>
                  <a:lnTo>
                    <a:pt x="1046" y="0"/>
                  </a:lnTo>
                  <a:close/>
                </a:path>
              </a:pathLst>
            </a:custGeom>
            <a:solidFill>
              <a:srgbClr val="86C2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2"/>
            <p:cNvSpPr>
              <a:spLocks/>
            </p:cNvSpPr>
            <p:nvPr userDrawn="1"/>
          </p:nvSpPr>
          <p:spPr bwMode="auto">
            <a:xfrm>
              <a:off x="3786188" y="2143125"/>
              <a:ext cx="1474788" cy="1449388"/>
            </a:xfrm>
            <a:custGeom>
              <a:avLst/>
              <a:gdLst>
                <a:gd name="T0" fmla="*/ 927 w 929"/>
                <a:gd name="T1" fmla="*/ 29 h 913"/>
                <a:gd name="T2" fmla="*/ 929 w 929"/>
                <a:gd name="T3" fmla="*/ 84 h 913"/>
                <a:gd name="T4" fmla="*/ 923 w 929"/>
                <a:gd name="T5" fmla="*/ 124 h 913"/>
                <a:gd name="T6" fmla="*/ 922 w 929"/>
                <a:gd name="T7" fmla="*/ 138 h 913"/>
                <a:gd name="T8" fmla="*/ 840 w 929"/>
                <a:gd name="T9" fmla="*/ 152 h 913"/>
                <a:gd name="T10" fmla="*/ 735 w 929"/>
                <a:gd name="T11" fmla="*/ 173 h 913"/>
                <a:gd name="T12" fmla="*/ 616 w 929"/>
                <a:gd name="T13" fmla="*/ 199 h 913"/>
                <a:gd name="T14" fmla="*/ 493 w 929"/>
                <a:gd name="T15" fmla="*/ 231 h 913"/>
                <a:gd name="T16" fmla="*/ 380 w 929"/>
                <a:gd name="T17" fmla="*/ 267 h 913"/>
                <a:gd name="T18" fmla="*/ 282 w 929"/>
                <a:gd name="T19" fmla="*/ 309 h 913"/>
                <a:gd name="T20" fmla="*/ 214 w 929"/>
                <a:gd name="T21" fmla="*/ 353 h 913"/>
                <a:gd name="T22" fmla="*/ 182 w 929"/>
                <a:gd name="T23" fmla="*/ 402 h 913"/>
                <a:gd name="T24" fmla="*/ 186 w 929"/>
                <a:gd name="T25" fmla="*/ 456 h 913"/>
                <a:gd name="T26" fmla="*/ 207 w 929"/>
                <a:gd name="T27" fmla="*/ 523 h 913"/>
                <a:gd name="T28" fmla="*/ 238 w 929"/>
                <a:gd name="T29" fmla="*/ 593 h 913"/>
                <a:gd name="T30" fmla="*/ 277 w 929"/>
                <a:gd name="T31" fmla="*/ 659 h 913"/>
                <a:gd name="T32" fmla="*/ 313 w 929"/>
                <a:gd name="T33" fmla="*/ 719 h 913"/>
                <a:gd name="T34" fmla="*/ 345 w 929"/>
                <a:gd name="T35" fmla="*/ 763 h 913"/>
                <a:gd name="T36" fmla="*/ 360 w 929"/>
                <a:gd name="T37" fmla="*/ 787 h 913"/>
                <a:gd name="T38" fmla="*/ 360 w 929"/>
                <a:gd name="T39" fmla="*/ 794 h 913"/>
                <a:gd name="T40" fmla="*/ 322 w 929"/>
                <a:gd name="T41" fmla="*/ 843 h 913"/>
                <a:gd name="T42" fmla="*/ 284 w 929"/>
                <a:gd name="T43" fmla="*/ 882 h 913"/>
                <a:gd name="T44" fmla="*/ 252 w 929"/>
                <a:gd name="T45" fmla="*/ 906 h 913"/>
                <a:gd name="T46" fmla="*/ 240 w 929"/>
                <a:gd name="T47" fmla="*/ 913 h 913"/>
                <a:gd name="T48" fmla="*/ 238 w 929"/>
                <a:gd name="T49" fmla="*/ 912 h 913"/>
                <a:gd name="T50" fmla="*/ 228 w 929"/>
                <a:gd name="T51" fmla="*/ 898 h 913"/>
                <a:gd name="T52" fmla="*/ 198 w 929"/>
                <a:gd name="T53" fmla="*/ 859 h 913"/>
                <a:gd name="T54" fmla="*/ 159 w 929"/>
                <a:gd name="T55" fmla="*/ 803 h 913"/>
                <a:gd name="T56" fmla="*/ 116 w 929"/>
                <a:gd name="T57" fmla="*/ 738 h 913"/>
                <a:gd name="T58" fmla="*/ 77 w 929"/>
                <a:gd name="T59" fmla="*/ 672 h 913"/>
                <a:gd name="T60" fmla="*/ 46 w 929"/>
                <a:gd name="T61" fmla="*/ 612 h 913"/>
                <a:gd name="T62" fmla="*/ 7 w 929"/>
                <a:gd name="T63" fmla="*/ 502 h 913"/>
                <a:gd name="T64" fmla="*/ 2 w 929"/>
                <a:gd name="T65" fmla="*/ 409 h 913"/>
                <a:gd name="T66" fmla="*/ 23 w 929"/>
                <a:gd name="T67" fmla="*/ 330 h 913"/>
                <a:gd name="T68" fmla="*/ 68 w 929"/>
                <a:gd name="T69" fmla="*/ 264 h 913"/>
                <a:gd name="T70" fmla="*/ 131 w 929"/>
                <a:gd name="T71" fmla="*/ 210 h 913"/>
                <a:gd name="T72" fmla="*/ 212 w 929"/>
                <a:gd name="T73" fmla="*/ 166 h 913"/>
                <a:gd name="T74" fmla="*/ 301 w 929"/>
                <a:gd name="T75" fmla="*/ 131 h 913"/>
                <a:gd name="T76" fmla="*/ 399 w 929"/>
                <a:gd name="T77" fmla="*/ 103 h 913"/>
                <a:gd name="T78" fmla="*/ 563 w 929"/>
                <a:gd name="T79" fmla="*/ 64 h 913"/>
                <a:gd name="T80" fmla="*/ 703 w 929"/>
                <a:gd name="T81" fmla="*/ 36 h 913"/>
                <a:gd name="T82" fmla="*/ 817 w 929"/>
                <a:gd name="T83" fmla="*/ 17 h 913"/>
                <a:gd name="T84" fmla="*/ 895 w 929"/>
                <a:gd name="T85" fmla="*/ 5 h 913"/>
                <a:gd name="T86" fmla="*/ 922 w 929"/>
                <a:gd name="T87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29" h="913">
                  <a:moveTo>
                    <a:pt x="922" y="0"/>
                  </a:moveTo>
                  <a:lnTo>
                    <a:pt x="927" y="29"/>
                  </a:lnTo>
                  <a:lnTo>
                    <a:pt x="929" y="57"/>
                  </a:lnTo>
                  <a:lnTo>
                    <a:pt x="929" y="84"/>
                  </a:lnTo>
                  <a:lnTo>
                    <a:pt x="927" y="106"/>
                  </a:lnTo>
                  <a:lnTo>
                    <a:pt x="923" y="124"/>
                  </a:lnTo>
                  <a:lnTo>
                    <a:pt x="922" y="134"/>
                  </a:lnTo>
                  <a:lnTo>
                    <a:pt x="922" y="138"/>
                  </a:lnTo>
                  <a:lnTo>
                    <a:pt x="885" y="145"/>
                  </a:lnTo>
                  <a:lnTo>
                    <a:pt x="840" y="152"/>
                  </a:lnTo>
                  <a:lnTo>
                    <a:pt x="789" y="162"/>
                  </a:lnTo>
                  <a:lnTo>
                    <a:pt x="735" y="173"/>
                  </a:lnTo>
                  <a:lnTo>
                    <a:pt x="677" y="185"/>
                  </a:lnTo>
                  <a:lnTo>
                    <a:pt x="616" y="199"/>
                  </a:lnTo>
                  <a:lnTo>
                    <a:pt x="555" y="215"/>
                  </a:lnTo>
                  <a:lnTo>
                    <a:pt x="493" y="231"/>
                  </a:lnTo>
                  <a:lnTo>
                    <a:pt x="436" y="248"/>
                  </a:lnTo>
                  <a:lnTo>
                    <a:pt x="380" y="267"/>
                  </a:lnTo>
                  <a:lnTo>
                    <a:pt x="327" y="288"/>
                  </a:lnTo>
                  <a:lnTo>
                    <a:pt x="282" y="309"/>
                  </a:lnTo>
                  <a:lnTo>
                    <a:pt x="243" y="330"/>
                  </a:lnTo>
                  <a:lnTo>
                    <a:pt x="214" y="353"/>
                  </a:lnTo>
                  <a:lnTo>
                    <a:pt x="193" y="378"/>
                  </a:lnTo>
                  <a:lnTo>
                    <a:pt x="182" y="402"/>
                  </a:lnTo>
                  <a:lnTo>
                    <a:pt x="180" y="428"/>
                  </a:lnTo>
                  <a:lnTo>
                    <a:pt x="186" y="456"/>
                  </a:lnTo>
                  <a:lnTo>
                    <a:pt x="193" y="490"/>
                  </a:lnTo>
                  <a:lnTo>
                    <a:pt x="207" y="523"/>
                  </a:lnTo>
                  <a:lnTo>
                    <a:pt x="221" y="558"/>
                  </a:lnTo>
                  <a:lnTo>
                    <a:pt x="238" y="593"/>
                  </a:lnTo>
                  <a:lnTo>
                    <a:pt x="257" y="626"/>
                  </a:lnTo>
                  <a:lnTo>
                    <a:pt x="277" y="659"/>
                  </a:lnTo>
                  <a:lnTo>
                    <a:pt x="296" y="691"/>
                  </a:lnTo>
                  <a:lnTo>
                    <a:pt x="313" y="719"/>
                  </a:lnTo>
                  <a:lnTo>
                    <a:pt x="331" y="743"/>
                  </a:lnTo>
                  <a:lnTo>
                    <a:pt x="345" y="763"/>
                  </a:lnTo>
                  <a:lnTo>
                    <a:pt x="355" y="778"/>
                  </a:lnTo>
                  <a:lnTo>
                    <a:pt x="360" y="787"/>
                  </a:lnTo>
                  <a:lnTo>
                    <a:pt x="362" y="789"/>
                  </a:lnTo>
                  <a:lnTo>
                    <a:pt x="360" y="794"/>
                  </a:lnTo>
                  <a:lnTo>
                    <a:pt x="341" y="821"/>
                  </a:lnTo>
                  <a:lnTo>
                    <a:pt x="322" y="843"/>
                  </a:lnTo>
                  <a:lnTo>
                    <a:pt x="303" y="864"/>
                  </a:lnTo>
                  <a:lnTo>
                    <a:pt x="284" y="882"/>
                  </a:lnTo>
                  <a:lnTo>
                    <a:pt x="266" y="896"/>
                  </a:lnTo>
                  <a:lnTo>
                    <a:pt x="252" y="906"/>
                  </a:lnTo>
                  <a:lnTo>
                    <a:pt x="243" y="912"/>
                  </a:lnTo>
                  <a:lnTo>
                    <a:pt x="240" y="913"/>
                  </a:lnTo>
                  <a:lnTo>
                    <a:pt x="238" y="913"/>
                  </a:lnTo>
                  <a:lnTo>
                    <a:pt x="238" y="912"/>
                  </a:lnTo>
                  <a:lnTo>
                    <a:pt x="236" y="910"/>
                  </a:lnTo>
                  <a:lnTo>
                    <a:pt x="228" y="898"/>
                  </a:lnTo>
                  <a:lnTo>
                    <a:pt x="214" y="880"/>
                  </a:lnTo>
                  <a:lnTo>
                    <a:pt x="198" y="859"/>
                  </a:lnTo>
                  <a:lnTo>
                    <a:pt x="179" y="833"/>
                  </a:lnTo>
                  <a:lnTo>
                    <a:pt x="159" y="803"/>
                  </a:lnTo>
                  <a:lnTo>
                    <a:pt x="138" y="771"/>
                  </a:lnTo>
                  <a:lnTo>
                    <a:pt x="116" y="738"/>
                  </a:lnTo>
                  <a:lnTo>
                    <a:pt x="95" y="705"/>
                  </a:lnTo>
                  <a:lnTo>
                    <a:pt x="77" y="672"/>
                  </a:lnTo>
                  <a:lnTo>
                    <a:pt x="60" y="640"/>
                  </a:lnTo>
                  <a:lnTo>
                    <a:pt x="46" y="612"/>
                  </a:lnTo>
                  <a:lnTo>
                    <a:pt x="23" y="554"/>
                  </a:lnTo>
                  <a:lnTo>
                    <a:pt x="7" y="502"/>
                  </a:lnTo>
                  <a:lnTo>
                    <a:pt x="0" y="453"/>
                  </a:lnTo>
                  <a:lnTo>
                    <a:pt x="2" y="409"/>
                  </a:lnTo>
                  <a:lnTo>
                    <a:pt x="9" y="367"/>
                  </a:lnTo>
                  <a:lnTo>
                    <a:pt x="23" y="330"/>
                  </a:lnTo>
                  <a:lnTo>
                    <a:pt x="42" y="295"/>
                  </a:lnTo>
                  <a:lnTo>
                    <a:pt x="68" y="264"/>
                  </a:lnTo>
                  <a:lnTo>
                    <a:pt x="98" y="236"/>
                  </a:lnTo>
                  <a:lnTo>
                    <a:pt x="131" y="210"/>
                  </a:lnTo>
                  <a:lnTo>
                    <a:pt x="170" y="187"/>
                  </a:lnTo>
                  <a:lnTo>
                    <a:pt x="212" y="166"/>
                  </a:lnTo>
                  <a:lnTo>
                    <a:pt x="256" y="147"/>
                  </a:lnTo>
                  <a:lnTo>
                    <a:pt x="301" y="131"/>
                  </a:lnTo>
                  <a:lnTo>
                    <a:pt x="350" y="115"/>
                  </a:lnTo>
                  <a:lnTo>
                    <a:pt x="399" y="103"/>
                  </a:lnTo>
                  <a:lnTo>
                    <a:pt x="483" y="82"/>
                  </a:lnTo>
                  <a:lnTo>
                    <a:pt x="563" y="64"/>
                  </a:lnTo>
                  <a:lnTo>
                    <a:pt x="637" y="49"/>
                  </a:lnTo>
                  <a:lnTo>
                    <a:pt x="703" y="36"/>
                  </a:lnTo>
                  <a:lnTo>
                    <a:pt x="764" y="26"/>
                  </a:lnTo>
                  <a:lnTo>
                    <a:pt x="817" y="17"/>
                  </a:lnTo>
                  <a:lnTo>
                    <a:pt x="861" y="10"/>
                  </a:lnTo>
                  <a:lnTo>
                    <a:pt x="895" y="5"/>
                  </a:lnTo>
                  <a:lnTo>
                    <a:pt x="922" y="0"/>
                  </a:lnTo>
                  <a:lnTo>
                    <a:pt x="92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3"/>
            <p:cNvSpPr>
              <a:spLocks/>
            </p:cNvSpPr>
            <p:nvPr userDrawn="1"/>
          </p:nvSpPr>
          <p:spPr bwMode="auto">
            <a:xfrm>
              <a:off x="2128838" y="1058863"/>
              <a:ext cx="1546225" cy="974725"/>
            </a:xfrm>
            <a:custGeom>
              <a:avLst/>
              <a:gdLst>
                <a:gd name="T0" fmla="*/ 974 w 974"/>
                <a:gd name="T1" fmla="*/ 0 h 614"/>
                <a:gd name="T2" fmla="*/ 948 w 974"/>
                <a:gd name="T3" fmla="*/ 79 h 614"/>
                <a:gd name="T4" fmla="*/ 920 w 974"/>
                <a:gd name="T5" fmla="*/ 159 h 614"/>
                <a:gd name="T6" fmla="*/ 894 w 974"/>
                <a:gd name="T7" fmla="*/ 231 h 614"/>
                <a:gd name="T8" fmla="*/ 866 w 974"/>
                <a:gd name="T9" fmla="*/ 301 h 614"/>
                <a:gd name="T10" fmla="*/ 838 w 974"/>
                <a:gd name="T11" fmla="*/ 368 h 614"/>
                <a:gd name="T12" fmla="*/ 806 w 974"/>
                <a:gd name="T13" fmla="*/ 431 h 614"/>
                <a:gd name="T14" fmla="*/ 785 w 974"/>
                <a:gd name="T15" fmla="*/ 469 h 614"/>
                <a:gd name="T16" fmla="*/ 761 w 974"/>
                <a:gd name="T17" fmla="*/ 506 h 614"/>
                <a:gd name="T18" fmla="*/ 733 w 974"/>
                <a:gd name="T19" fmla="*/ 539 h 614"/>
                <a:gd name="T20" fmla="*/ 703 w 974"/>
                <a:gd name="T21" fmla="*/ 569 h 614"/>
                <a:gd name="T22" fmla="*/ 668 w 974"/>
                <a:gd name="T23" fmla="*/ 593 h 614"/>
                <a:gd name="T24" fmla="*/ 633 w 974"/>
                <a:gd name="T25" fmla="*/ 607 h 614"/>
                <a:gd name="T26" fmla="*/ 598 w 974"/>
                <a:gd name="T27" fmla="*/ 614 h 614"/>
                <a:gd name="T28" fmla="*/ 562 w 974"/>
                <a:gd name="T29" fmla="*/ 613 h 614"/>
                <a:gd name="T30" fmla="*/ 527 w 974"/>
                <a:gd name="T31" fmla="*/ 604 h 614"/>
                <a:gd name="T32" fmla="*/ 490 w 974"/>
                <a:gd name="T33" fmla="*/ 588 h 614"/>
                <a:gd name="T34" fmla="*/ 445 w 974"/>
                <a:gd name="T35" fmla="*/ 560 h 614"/>
                <a:gd name="T36" fmla="*/ 403 w 974"/>
                <a:gd name="T37" fmla="*/ 529 h 614"/>
                <a:gd name="T38" fmla="*/ 345 w 974"/>
                <a:gd name="T39" fmla="*/ 478 h 614"/>
                <a:gd name="T40" fmla="*/ 285 w 974"/>
                <a:gd name="T41" fmla="*/ 418 h 614"/>
                <a:gd name="T42" fmla="*/ 226 w 974"/>
                <a:gd name="T43" fmla="*/ 354 h 614"/>
                <a:gd name="T44" fmla="*/ 177 w 974"/>
                <a:gd name="T45" fmla="*/ 299 h 614"/>
                <a:gd name="T46" fmla="*/ 133 w 974"/>
                <a:gd name="T47" fmla="*/ 249 h 614"/>
                <a:gd name="T48" fmla="*/ 95 w 974"/>
                <a:gd name="T49" fmla="*/ 201 h 614"/>
                <a:gd name="T50" fmla="*/ 60 w 974"/>
                <a:gd name="T51" fmla="*/ 159 h 614"/>
                <a:gd name="T52" fmla="*/ 28 w 974"/>
                <a:gd name="T53" fmla="*/ 123 h 614"/>
                <a:gd name="T54" fmla="*/ 4 w 974"/>
                <a:gd name="T55" fmla="*/ 91 h 614"/>
                <a:gd name="T56" fmla="*/ 2 w 974"/>
                <a:gd name="T57" fmla="*/ 89 h 614"/>
                <a:gd name="T58" fmla="*/ 0 w 974"/>
                <a:gd name="T59" fmla="*/ 88 h 614"/>
                <a:gd name="T60" fmla="*/ 0 w 974"/>
                <a:gd name="T61" fmla="*/ 86 h 614"/>
                <a:gd name="T62" fmla="*/ 2 w 974"/>
                <a:gd name="T63" fmla="*/ 88 h 614"/>
                <a:gd name="T64" fmla="*/ 4 w 974"/>
                <a:gd name="T65" fmla="*/ 91 h 614"/>
                <a:gd name="T66" fmla="*/ 63 w 974"/>
                <a:gd name="T67" fmla="*/ 161 h 614"/>
                <a:gd name="T68" fmla="*/ 126 w 974"/>
                <a:gd name="T69" fmla="*/ 231 h 614"/>
                <a:gd name="T70" fmla="*/ 188 w 974"/>
                <a:gd name="T71" fmla="*/ 296 h 614"/>
                <a:gd name="T72" fmla="*/ 242 w 974"/>
                <a:gd name="T73" fmla="*/ 347 h 614"/>
                <a:gd name="T74" fmla="*/ 296 w 974"/>
                <a:gd name="T75" fmla="*/ 394 h 614"/>
                <a:gd name="T76" fmla="*/ 350 w 974"/>
                <a:gd name="T77" fmla="*/ 434 h 614"/>
                <a:gd name="T78" fmla="*/ 394 w 974"/>
                <a:gd name="T79" fmla="*/ 459 h 614"/>
                <a:gd name="T80" fmla="*/ 436 w 974"/>
                <a:gd name="T81" fmla="*/ 480 h 614"/>
                <a:gd name="T82" fmla="*/ 481 w 974"/>
                <a:gd name="T83" fmla="*/ 494 h 614"/>
                <a:gd name="T84" fmla="*/ 530 w 974"/>
                <a:gd name="T85" fmla="*/ 499 h 614"/>
                <a:gd name="T86" fmla="*/ 549 w 974"/>
                <a:gd name="T87" fmla="*/ 497 h 614"/>
                <a:gd name="T88" fmla="*/ 602 w 974"/>
                <a:gd name="T89" fmla="*/ 488 h 614"/>
                <a:gd name="T90" fmla="*/ 651 w 974"/>
                <a:gd name="T91" fmla="*/ 469 h 614"/>
                <a:gd name="T92" fmla="*/ 695 w 974"/>
                <a:gd name="T93" fmla="*/ 445 h 614"/>
                <a:gd name="T94" fmla="*/ 733 w 974"/>
                <a:gd name="T95" fmla="*/ 415 h 614"/>
                <a:gd name="T96" fmla="*/ 775 w 974"/>
                <a:gd name="T97" fmla="*/ 375 h 614"/>
                <a:gd name="T98" fmla="*/ 812 w 974"/>
                <a:gd name="T99" fmla="*/ 329 h 614"/>
                <a:gd name="T100" fmla="*/ 843 w 974"/>
                <a:gd name="T101" fmla="*/ 280 h 614"/>
                <a:gd name="T102" fmla="*/ 873 w 974"/>
                <a:gd name="T103" fmla="*/ 229 h 614"/>
                <a:gd name="T104" fmla="*/ 899 w 974"/>
                <a:gd name="T105" fmla="*/ 177 h 614"/>
                <a:gd name="T106" fmla="*/ 939 w 974"/>
                <a:gd name="T107" fmla="*/ 88 h 614"/>
                <a:gd name="T108" fmla="*/ 974 w 974"/>
                <a:gd name="T109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4" h="614">
                  <a:moveTo>
                    <a:pt x="974" y="0"/>
                  </a:moveTo>
                  <a:lnTo>
                    <a:pt x="948" y="79"/>
                  </a:lnTo>
                  <a:lnTo>
                    <a:pt x="920" y="159"/>
                  </a:lnTo>
                  <a:lnTo>
                    <a:pt x="894" y="231"/>
                  </a:lnTo>
                  <a:lnTo>
                    <a:pt x="866" y="301"/>
                  </a:lnTo>
                  <a:lnTo>
                    <a:pt x="838" y="368"/>
                  </a:lnTo>
                  <a:lnTo>
                    <a:pt x="806" y="431"/>
                  </a:lnTo>
                  <a:lnTo>
                    <a:pt x="785" y="469"/>
                  </a:lnTo>
                  <a:lnTo>
                    <a:pt x="761" y="506"/>
                  </a:lnTo>
                  <a:lnTo>
                    <a:pt x="733" y="539"/>
                  </a:lnTo>
                  <a:lnTo>
                    <a:pt x="703" y="569"/>
                  </a:lnTo>
                  <a:lnTo>
                    <a:pt x="668" y="593"/>
                  </a:lnTo>
                  <a:lnTo>
                    <a:pt x="633" y="607"/>
                  </a:lnTo>
                  <a:lnTo>
                    <a:pt x="598" y="614"/>
                  </a:lnTo>
                  <a:lnTo>
                    <a:pt x="562" y="613"/>
                  </a:lnTo>
                  <a:lnTo>
                    <a:pt x="527" y="604"/>
                  </a:lnTo>
                  <a:lnTo>
                    <a:pt x="490" y="588"/>
                  </a:lnTo>
                  <a:lnTo>
                    <a:pt x="445" y="560"/>
                  </a:lnTo>
                  <a:lnTo>
                    <a:pt x="403" y="529"/>
                  </a:lnTo>
                  <a:lnTo>
                    <a:pt x="345" y="478"/>
                  </a:lnTo>
                  <a:lnTo>
                    <a:pt x="285" y="418"/>
                  </a:lnTo>
                  <a:lnTo>
                    <a:pt x="226" y="354"/>
                  </a:lnTo>
                  <a:lnTo>
                    <a:pt x="177" y="299"/>
                  </a:lnTo>
                  <a:lnTo>
                    <a:pt x="133" y="249"/>
                  </a:lnTo>
                  <a:lnTo>
                    <a:pt x="95" y="201"/>
                  </a:lnTo>
                  <a:lnTo>
                    <a:pt x="60" y="159"/>
                  </a:lnTo>
                  <a:lnTo>
                    <a:pt x="28" y="123"/>
                  </a:lnTo>
                  <a:lnTo>
                    <a:pt x="4" y="91"/>
                  </a:lnTo>
                  <a:lnTo>
                    <a:pt x="2" y="89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4" y="91"/>
                  </a:lnTo>
                  <a:lnTo>
                    <a:pt x="63" y="161"/>
                  </a:lnTo>
                  <a:lnTo>
                    <a:pt x="126" y="231"/>
                  </a:lnTo>
                  <a:lnTo>
                    <a:pt x="188" y="296"/>
                  </a:lnTo>
                  <a:lnTo>
                    <a:pt x="242" y="347"/>
                  </a:lnTo>
                  <a:lnTo>
                    <a:pt x="296" y="394"/>
                  </a:lnTo>
                  <a:lnTo>
                    <a:pt x="350" y="434"/>
                  </a:lnTo>
                  <a:lnTo>
                    <a:pt x="394" y="459"/>
                  </a:lnTo>
                  <a:lnTo>
                    <a:pt x="436" y="480"/>
                  </a:lnTo>
                  <a:lnTo>
                    <a:pt x="481" y="494"/>
                  </a:lnTo>
                  <a:lnTo>
                    <a:pt x="530" y="499"/>
                  </a:lnTo>
                  <a:lnTo>
                    <a:pt x="549" y="497"/>
                  </a:lnTo>
                  <a:lnTo>
                    <a:pt x="602" y="488"/>
                  </a:lnTo>
                  <a:lnTo>
                    <a:pt x="651" y="469"/>
                  </a:lnTo>
                  <a:lnTo>
                    <a:pt x="695" y="445"/>
                  </a:lnTo>
                  <a:lnTo>
                    <a:pt x="733" y="415"/>
                  </a:lnTo>
                  <a:lnTo>
                    <a:pt x="775" y="375"/>
                  </a:lnTo>
                  <a:lnTo>
                    <a:pt x="812" y="329"/>
                  </a:lnTo>
                  <a:lnTo>
                    <a:pt x="843" y="280"/>
                  </a:lnTo>
                  <a:lnTo>
                    <a:pt x="873" y="229"/>
                  </a:lnTo>
                  <a:lnTo>
                    <a:pt x="899" y="177"/>
                  </a:lnTo>
                  <a:lnTo>
                    <a:pt x="939" y="88"/>
                  </a:lnTo>
                  <a:lnTo>
                    <a:pt x="974" y="0"/>
                  </a:lnTo>
                  <a:close/>
                </a:path>
              </a:pathLst>
            </a:custGeom>
            <a:solidFill>
              <a:srgbClr val="EEED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4"/>
            <p:cNvSpPr>
              <a:spLocks/>
            </p:cNvSpPr>
            <p:nvPr userDrawn="1"/>
          </p:nvSpPr>
          <p:spPr bwMode="auto">
            <a:xfrm>
              <a:off x="2079626" y="1006475"/>
              <a:ext cx="1609725" cy="844550"/>
            </a:xfrm>
            <a:custGeom>
              <a:avLst/>
              <a:gdLst>
                <a:gd name="T0" fmla="*/ 885 w 1014"/>
                <a:gd name="T1" fmla="*/ 0 h 532"/>
                <a:gd name="T2" fmla="*/ 941 w 1014"/>
                <a:gd name="T3" fmla="*/ 0 h 532"/>
                <a:gd name="T4" fmla="*/ 1002 w 1014"/>
                <a:gd name="T5" fmla="*/ 9 h 532"/>
                <a:gd name="T6" fmla="*/ 1014 w 1014"/>
                <a:gd name="T7" fmla="*/ 10 h 532"/>
                <a:gd name="T8" fmla="*/ 1012 w 1014"/>
                <a:gd name="T9" fmla="*/ 16 h 532"/>
                <a:gd name="T10" fmla="*/ 1011 w 1014"/>
                <a:gd name="T11" fmla="*/ 21 h 532"/>
                <a:gd name="T12" fmla="*/ 1009 w 1014"/>
                <a:gd name="T13" fmla="*/ 24 h 532"/>
                <a:gd name="T14" fmla="*/ 1007 w 1014"/>
                <a:gd name="T15" fmla="*/ 28 h 532"/>
                <a:gd name="T16" fmla="*/ 1005 w 1014"/>
                <a:gd name="T17" fmla="*/ 33 h 532"/>
                <a:gd name="T18" fmla="*/ 970 w 1014"/>
                <a:gd name="T19" fmla="*/ 121 h 532"/>
                <a:gd name="T20" fmla="*/ 930 w 1014"/>
                <a:gd name="T21" fmla="*/ 210 h 532"/>
                <a:gd name="T22" fmla="*/ 904 w 1014"/>
                <a:gd name="T23" fmla="*/ 262 h 532"/>
                <a:gd name="T24" fmla="*/ 874 w 1014"/>
                <a:gd name="T25" fmla="*/ 313 h 532"/>
                <a:gd name="T26" fmla="*/ 843 w 1014"/>
                <a:gd name="T27" fmla="*/ 362 h 532"/>
                <a:gd name="T28" fmla="*/ 806 w 1014"/>
                <a:gd name="T29" fmla="*/ 408 h 532"/>
                <a:gd name="T30" fmla="*/ 764 w 1014"/>
                <a:gd name="T31" fmla="*/ 448 h 532"/>
                <a:gd name="T32" fmla="*/ 726 w 1014"/>
                <a:gd name="T33" fmla="*/ 478 h 532"/>
                <a:gd name="T34" fmla="*/ 682 w 1014"/>
                <a:gd name="T35" fmla="*/ 502 h 532"/>
                <a:gd name="T36" fmla="*/ 633 w 1014"/>
                <a:gd name="T37" fmla="*/ 521 h 532"/>
                <a:gd name="T38" fmla="*/ 580 w 1014"/>
                <a:gd name="T39" fmla="*/ 530 h 532"/>
                <a:gd name="T40" fmla="*/ 561 w 1014"/>
                <a:gd name="T41" fmla="*/ 532 h 532"/>
                <a:gd name="T42" fmla="*/ 512 w 1014"/>
                <a:gd name="T43" fmla="*/ 527 h 532"/>
                <a:gd name="T44" fmla="*/ 467 w 1014"/>
                <a:gd name="T45" fmla="*/ 513 h 532"/>
                <a:gd name="T46" fmla="*/ 425 w 1014"/>
                <a:gd name="T47" fmla="*/ 492 h 532"/>
                <a:gd name="T48" fmla="*/ 381 w 1014"/>
                <a:gd name="T49" fmla="*/ 467 h 532"/>
                <a:gd name="T50" fmla="*/ 327 w 1014"/>
                <a:gd name="T51" fmla="*/ 427 h 532"/>
                <a:gd name="T52" fmla="*/ 273 w 1014"/>
                <a:gd name="T53" fmla="*/ 380 h 532"/>
                <a:gd name="T54" fmla="*/ 219 w 1014"/>
                <a:gd name="T55" fmla="*/ 329 h 532"/>
                <a:gd name="T56" fmla="*/ 145 w 1014"/>
                <a:gd name="T57" fmla="*/ 252 h 532"/>
                <a:gd name="T58" fmla="*/ 73 w 1014"/>
                <a:gd name="T59" fmla="*/ 170 h 532"/>
                <a:gd name="T60" fmla="*/ 3 w 1014"/>
                <a:gd name="T61" fmla="*/ 86 h 532"/>
                <a:gd name="T62" fmla="*/ 2 w 1014"/>
                <a:gd name="T63" fmla="*/ 84 h 532"/>
                <a:gd name="T64" fmla="*/ 2 w 1014"/>
                <a:gd name="T65" fmla="*/ 82 h 532"/>
                <a:gd name="T66" fmla="*/ 0 w 1014"/>
                <a:gd name="T67" fmla="*/ 82 h 532"/>
                <a:gd name="T68" fmla="*/ 0 w 1014"/>
                <a:gd name="T69" fmla="*/ 80 h 532"/>
                <a:gd name="T70" fmla="*/ 28 w 1014"/>
                <a:gd name="T71" fmla="*/ 63 h 532"/>
                <a:gd name="T72" fmla="*/ 59 w 1014"/>
                <a:gd name="T73" fmla="*/ 47 h 532"/>
                <a:gd name="T74" fmla="*/ 94 w 1014"/>
                <a:gd name="T75" fmla="*/ 33 h 532"/>
                <a:gd name="T76" fmla="*/ 126 w 1014"/>
                <a:gd name="T77" fmla="*/ 23 h 532"/>
                <a:gd name="T78" fmla="*/ 170 w 1014"/>
                <a:gd name="T79" fmla="*/ 75 h 532"/>
                <a:gd name="T80" fmla="*/ 212 w 1014"/>
                <a:gd name="T81" fmla="*/ 124 h 532"/>
                <a:gd name="T82" fmla="*/ 253 w 1014"/>
                <a:gd name="T83" fmla="*/ 171 h 532"/>
                <a:gd name="T84" fmla="*/ 295 w 1014"/>
                <a:gd name="T85" fmla="*/ 217 h 532"/>
                <a:gd name="T86" fmla="*/ 337 w 1014"/>
                <a:gd name="T87" fmla="*/ 259 h 532"/>
                <a:gd name="T88" fmla="*/ 378 w 1014"/>
                <a:gd name="T89" fmla="*/ 296 h 532"/>
                <a:gd name="T90" fmla="*/ 418 w 1014"/>
                <a:gd name="T91" fmla="*/ 327 h 532"/>
                <a:gd name="T92" fmla="*/ 455 w 1014"/>
                <a:gd name="T93" fmla="*/ 352 h 532"/>
                <a:gd name="T94" fmla="*/ 493 w 1014"/>
                <a:gd name="T95" fmla="*/ 369 h 532"/>
                <a:gd name="T96" fmla="*/ 528 w 1014"/>
                <a:gd name="T97" fmla="*/ 378 h 532"/>
                <a:gd name="T98" fmla="*/ 561 w 1014"/>
                <a:gd name="T99" fmla="*/ 378 h 532"/>
                <a:gd name="T100" fmla="*/ 594 w 1014"/>
                <a:gd name="T101" fmla="*/ 367 h 532"/>
                <a:gd name="T102" fmla="*/ 628 w 1014"/>
                <a:gd name="T103" fmla="*/ 348 h 532"/>
                <a:gd name="T104" fmla="*/ 657 w 1014"/>
                <a:gd name="T105" fmla="*/ 322 h 532"/>
                <a:gd name="T106" fmla="*/ 687 w 1014"/>
                <a:gd name="T107" fmla="*/ 290 h 532"/>
                <a:gd name="T108" fmla="*/ 713 w 1014"/>
                <a:gd name="T109" fmla="*/ 254 h 532"/>
                <a:gd name="T110" fmla="*/ 738 w 1014"/>
                <a:gd name="T111" fmla="*/ 213 h 532"/>
                <a:gd name="T112" fmla="*/ 761 w 1014"/>
                <a:gd name="T113" fmla="*/ 173 h 532"/>
                <a:gd name="T114" fmla="*/ 780 w 1014"/>
                <a:gd name="T115" fmla="*/ 133 h 532"/>
                <a:gd name="T116" fmla="*/ 797 w 1014"/>
                <a:gd name="T117" fmla="*/ 94 h 532"/>
                <a:gd name="T118" fmla="*/ 811 w 1014"/>
                <a:gd name="T119" fmla="*/ 59 h 532"/>
                <a:gd name="T120" fmla="*/ 823 w 1014"/>
                <a:gd name="T121" fmla="*/ 30 h 532"/>
                <a:gd name="T122" fmla="*/ 832 w 1014"/>
                <a:gd name="T123" fmla="*/ 7 h 532"/>
                <a:gd name="T124" fmla="*/ 885 w 1014"/>
                <a:gd name="T125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14" h="532">
                  <a:moveTo>
                    <a:pt x="885" y="0"/>
                  </a:moveTo>
                  <a:lnTo>
                    <a:pt x="941" y="0"/>
                  </a:lnTo>
                  <a:lnTo>
                    <a:pt x="1002" y="9"/>
                  </a:lnTo>
                  <a:lnTo>
                    <a:pt x="1014" y="10"/>
                  </a:lnTo>
                  <a:lnTo>
                    <a:pt x="1012" y="16"/>
                  </a:lnTo>
                  <a:lnTo>
                    <a:pt x="1011" y="21"/>
                  </a:lnTo>
                  <a:lnTo>
                    <a:pt x="1009" y="24"/>
                  </a:lnTo>
                  <a:lnTo>
                    <a:pt x="1007" y="28"/>
                  </a:lnTo>
                  <a:lnTo>
                    <a:pt x="1005" y="33"/>
                  </a:lnTo>
                  <a:lnTo>
                    <a:pt x="970" y="121"/>
                  </a:lnTo>
                  <a:lnTo>
                    <a:pt x="930" y="210"/>
                  </a:lnTo>
                  <a:lnTo>
                    <a:pt x="904" y="262"/>
                  </a:lnTo>
                  <a:lnTo>
                    <a:pt x="874" y="313"/>
                  </a:lnTo>
                  <a:lnTo>
                    <a:pt x="843" y="362"/>
                  </a:lnTo>
                  <a:lnTo>
                    <a:pt x="806" y="408"/>
                  </a:lnTo>
                  <a:lnTo>
                    <a:pt x="764" y="448"/>
                  </a:lnTo>
                  <a:lnTo>
                    <a:pt x="726" y="478"/>
                  </a:lnTo>
                  <a:lnTo>
                    <a:pt x="682" y="502"/>
                  </a:lnTo>
                  <a:lnTo>
                    <a:pt x="633" y="521"/>
                  </a:lnTo>
                  <a:lnTo>
                    <a:pt x="580" y="530"/>
                  </a:lnTo>
                  <a:lnTo>
                    <a:pt x="561" y="532"/>
                  </a:lnTo>
                  <a:lnTo>
                    <a:pt x="512" y="527"/>
                  </a:lnTo>
                  <a:lnTo>
                    <a:pt x="467" y="513"/>
                  </a:lnTo>
                  <a:lnTo>
                    <a:pt x="425" y="492"/>
                  </a:lnTo>
                  <a:lnTo>
                    <a:pt x="381" y="467"/>
                  </a:lnTo>
                  <a:lnTo>
                    <a:pt x="327" y="427"/>
                  </a:lnTo>
                  <a:lnTo>
                    <a:pt x="273" y="380"/>
                  </a:lnTo>
                  <a:lnTo>
                    <a:pt x="219" y="329"/>
                  </a:lnTo>
                  <a:lnTo>
                    <a:pt x="145" y="252"/>
                  </a:lnTo>
                  <a:lnTo>
                    <a:pt x="73" y="170"/>
                  </a:lnTo>
                  <a:lnTo>
                    <a:pt x="3" y="86"/>
                  </a:lnTo>
                  <a:lnTo>
                    <a:pt x="2" y="84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28" y="63"/>
                  </a:lnTo>
                  <a:lnTo>
                    <a:pt x="59" y="47"/>
                  </a:lnTo>
                  <a:lnTo>
                    <a:pt x="94" y="33"/>
                  </a:lnTo>
                  <a:lnTo>
                    <a:pt x="126" y="23"/>
                  </a:lnTo>
                  <a:lnTo>
                    <a:pt x="170" y="75"/>
                  </a:lnTo>
                  <a:lnTo>
                    <a:pt x="212" y="124"/>
                  </a:lnTo>
                  <a:lnTo>
                    <a:pt x="253" y="171"/>
                  </a:lnTo>
                  <a:lnTo>
                    <a:pt x="295" y="217"/>
                  </a:lnTo>
                  <a:lnTo>
                    <a:pt x="337" y="259"/>
                  </a:lnTo>
                  <a:lnTo>
                    <a:pt x="378" y="296"/>
                  </a:lnTo>
                  <a:lnTo>
                    <a:pt x="418" y="327"/>
                  </a:lnTo>
                  <a:lnTo>
                    <a:pt x="455" y="352"/>
                  </a:lnTo>
                  <a:lnTo>
                    <a:pt x="493" y="369"/>
                  </a:lnTo>
                  <a:lnTo>
                    <a:pt x="528" y="378"/>
                  </a:lnTo>
                  <a:lnTo>
                    <a:pt x="561" y="378"/>
                  </a:lnTo>
                  <a:lnTo>
                    <a:pt x="594" y="367"/>
                  </a:lnTo>
                  <a:lnTo>
                    <a:pt x="628" y="348"/>
                  </a:lnTo>
                  <a:lnTo>
                    <a:pt x="657" y="322"/>
                  </a:lnTo>
                  <a:lnTo>
                    <a:pt x="687" y="290"/>
                  </a:lnTo>
                  <a:lnTo>
                    <a:pt x="713" y="254"/>
                  </a:lnTo>
                  <a:lnTo>
                    <a:pt x="738" y="213"/>
                  </a:lnTo>
                  <a:lnTo>
                    <a:pt x="761" y="173"/>
                  </a:lnTo>
                  <a:lnTo>
                    <a:pt x="780" y="133"/>
                  </a:lnTo>
                  <a:lnTo>
                    <a:pt x="797" y="94"/>
                  </a:lnTo>
                  <a:lnTo>
                    <a:pt x="811" y="59"/>
                  </a:lnTo>
                  <a:lnTo>
                    <a:pt x="823" y="30"/>
                  </a:lnTo>
                  <a:lnTo>
                    <a:pt x="832" y="7"/>
                  </a:lnTo>
                  <a:lnTo>
                    <a:pt x="885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5"/>
            <p:cNvSpPr>
              <a:spLocks/>
            </p:cNvSpPr>
            <p:nvPr userDrawn="1"/>
          </p:nvSpPr>
          <p:spPr bwMode="auto">
            <a:xfrm>
              <a:off x="1520826" y="1173163"/>
              <a:ext cx="1233488" cy="1449388"/>
            </a:xfrm>
            <a:custGeom>
              <a:avLst/>
              <a:gdLst>
                <a:gd name="T0" fmla="*/ 320 w 777"/>
                <a:gd name="T1" fmla="*/ 0 h 913"/>
                <a:gd name="T2" fmla="*/ 320 w 777"/>
                <a:gd name="T3" fmla="*/ 0 h 913"/>
                <a:gd name="T4" fmla="*/ 373 w 777"/>
                <a:gd name="T5" fmla="*/ 58 h 913"/>
                <a:gd name="T6" fmla="*/ 481 w 777"/>
                <a:gd name="T7" fmla="*/ 182 h 913"/>
                <a:gd name="T8" fmla="*/ 584 w 777"/>
                <a:gd name="T9" fmla="*/ 311 h 913"/>
                <a:gd name="T10" fmla="*/ 632 w 777"/>
                <a:gd name="T11" fmla="*/ 373 h 913"/>
                <a:gd name="T12" fmla="*/ 675 w 777"/>
                <a:gd name="T13" fmla="*/ 436 h 913"/>
                <a:gd name="T14" fmla="*/ 705 w 777"/>
                <a:gd name="T15" fmla="*/ 483 h 913"/>
                <a:gd name="T16" fmla="*/ 733 w 777"/>
                <a:gd name="T17" fmla="*/ 530 h 913"/>
                <a:gd name="T18" fmla="*/ 758 w 777"/>
                <a:gd name="T19" fmla="*/ 579 h 913"/>
                <a:gd name="T20" fmla="*/ 768 w 777"/>
                <a:gd name="T21" fmla="*/ 609 h 913"/>
                <a:gd name="T22" fmla="*/ 775 w 777"/>
                <a:gd name="T23" fmla="*/ 640 h 913"/>
                <a:gd name="T24" fmla="*/ 777 w 777"/>
                <a:gd name="T25" fmla="*/ 674 h 913"/>
                <a:gd name="T26" fmla="*/ 768 w 777"/>
                <a:gd name="T27" fmla="*/ 707 h 913"/>
                <a:gd name="T28" fmla="*/ 751 w 777"/>
                <a:gd name="T29" fmla="*/ 735 h 913"/>
                <a:gd name="T30" fmla="*/ 726 w 777"/>
                <a:gd name="T31" fmla="*/ 759 h 913"/>
                <a:gd name="T32" fmla="*/ 695 w 777"/>
                <a:gd name="T33" fmla="*/ 782 h 913"/>
                <a:gd name="T34" fmla="*/ 660 w 777"/>
                <a:gd name="T35" fmla="*/ 800 h 913"/>
                <a:gd name="T36" fmla="*/ 621 w 777"/>
                <a:gd name="T37" fmla="*/ 812 h 913"/>
                <a:gd name="T38" fmla="*/ 583 w 777"/>
                <a:gd name="T39" fmla="*/ 822 h 913"/>
                <a:gd name="T40" fmla="*/ 544 w 777"/>
                <a:gd name="T41" fmla="*/ 833 h 913"/>
                <a:gd name="T42" fmla="*/ 432 w 777"/>
                <a:gd name="T43" fmla="*/ 856 h 913"/>
                <a:gd name="T44" fmla="*/ 319 w 777"/>
                <a:gd name="T45" fmla="*/ 873 h 913"/>
                <a:gd name="T46" fmla="*/ 160 w 777"/>
                <a:gd name="T47" fmla="*/ 894 h 913"/>
                <a:gd name="T48" fmla="*/ 0 w 777"/>
                <a:gd name="T49" fmla="*/ 913 h 913"/>
                <a:gd name="T50" fmla="*/ 69 w 777"/>
                <a:gd name="T51" fmla="*/ 903 h 913"/>
                <a:gd name="T52" fmla="*/ 137 w 777"/>
                <a:gd name="T53" fmla="*/ 892 h 913"/>
                <a:gd name="T54" fmla="*/ 203 w 777"/>
                <a:gd name="T55" fmla="*/ 880 h 913"/>
                <a:gd name="T56" fmla="*/ 270 w 777"/>
                <a:gd name="T57" fmla="*/ 868 h 913"/>
                <a:gd name="T58" fmla="*/ 333 w 777"/>
                <a:gd name="T59" fmla="*/ 854 h 913"/>
                <a:gd name="T60" fmla="*/ 394 w 777"/>
                <a:gd name="T61" fmla="*/ 836 h 913"/>
                <a:gd name="T62" fmla="*/ 450 w 777"/>
                <a:gd name="T63" fmla="*/ 817 h 913"/>
                <a:gd name="T64" fmla="*/ 501 w 777"/>
                <a:gd name="T65" fmla="*/ 794 h 913"/>
                <a:gd name="T66" fmla="*/ 548 w 777"/>
                <a:gd name="T67" fmla="*/ 768 h 913"/>
                <a:gd name="T68" fmla="*/ 586 w 777"/>
                <a:gd name="T69" fmla="*/ 738 h 913"/>
                <a:gd name="T70" fmla="*/ 614 w 777"/>
                <a:gd name="T71" fmla="*/ 709 h 913"/>
                <a:gd name="T72" fmla="*/ 633 w 777"/>
                <a:gd name="T73" fmla="*/ 677 h 913"/>
                <a:gd name="T74" fmla="*/ 646 w 777"/>
                <a:gd name="T75" fmla="*/ 646 h 913"/>
                <a:gd name="T76" fmla="*/ 653 w 777"/>
                <a:gd name="T77" fmla="*/ 612 h 913"/>
                <a:gd name="T78" fmla="*/ 654 w 777"/>
                <a:gd name="T79" fmla="*/ 579 h 913"/>
                <a:gd name="T80" fmla="*/ 651 w 777"/>
                <a:gd name="T81" fmla="*/ 546 h 913"/>
                <a:gd name="T82" fmla="*/ 646 w 777"/>
                <a:gd name="T83" fmla="*/ 516 h 913"/>
                <a:gd name="T84" fmla="*/ 637 w 777"/>
                <a:gd name="T85" fmla="*/ 486 h 913"/>
                <a:gd name="T86" fmla="*/ 628 w 777"/>
                <a:gd name="T87" fmla="*/ 462 h 913"/>
                <a:gd name="T88" fmla="*/ 619 w 777"/>
                <a:gd name="T89" fmla="*/ 439 h 913"/>
                <a:gd name="T90" fmla="*/ 612 w 777"/>
                <a:gd name="T91" fmla="*/ 422 h 913"/>
                <a:gd name="T92" fmla="*/ 571 w 777"/>
                <a:gd name="T93" fmla="*/ 341 h 913"/>
                <a:gd name="T94" fmla="*/ 529 w 777"/>
                <a:gd name="T95" fmla="*/ 268 h 913"/>
                <a:gd name="T96" fmla="*/ 483 w 777"/>
                <a:gd name="T97" fmla="*/ 201 h 913"/>
                <a:gd name="T98" fmla="*/ 438 w 777"/>
                <a:gd name="T99" fmla="*/ 140 h 913"/>
                <a:gd name="T100" fmla="*/ 396 w 777"/>
                <a:gd name="T101" fmla="*/ 86 h 913"/>
                <a:gd name="T102" fmla="*/ 355 w 777"/>
                <a:gd name="T103" fmla="*/ 38 h 913"/>
                <a:gd name="T104" fmla="*/ 320 w 777"/>
                <a:gd name="T105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7" h="913">
                  <a:moveTo>
                    <a:pt x="320" y="0"/>
                  </a:moveTo>
                  <a:lnTo>
                    <a:pt x="320" y="0"/>
                  </a:lnTo>
                  <a:lnTo>
                    <a:pt x="373" y="58"/>
                  </a:lnTo>
                  <a:lnTo>
                    <a:pt x="481" y="182"/>
                  </a:lnTo>
                  <a:lnTo>
                    <a:pt x="584" y="311"/>
                  </a:lnTo>
                  <a:lnTo>
                    <a:pt x="632" y="373"/>
                  </a:lnTo>
                  <a:lnTo>
                    <a:pt x="675" y="436"/>
                  </a:lnTo>
                  <a:lnTo>
                    <a:pt x="705" y="483"/>
                  </a:lnTo>
                  <a:lnTo>
                    <a:pt x="733" y="530"/>
                  </a:lnTo>
                  <a:lnTo>
                    <a:pt x="758" y="579"/>
                  </a:lnTo>
                  <a:lnTo>
                    <a:pt x="768" y="609"/>
                  </a:lnTo>
                  <a:lnTo>
                    <a:pt x="775" y="640"/>
                  </a:lnTo>
                  <a:lnTo>
                    <a:pt x="777" y="674"/>
                  </a:lnTo>
                  <a:lnTo>
                    <a:pt x="768" y="707"/>
                  </a:lnTo>
                  <a:lnTo>
                    <a:pt x="751" y="735"/>
                  </a:lnTo>
                  <a:lnTo>
                    <a:pt x="726" y="759"/>
                  </a:lnTo>
                  <a:lnTo>
                    <a:pt x="695" y="782"/>
                  </a:lnTo>
                  <a:lnTo>
                    <a:pt x="660" y="800"/>
                  </a:lnTo>
                  <a:lnTo>
                    <a:pt x="621" y="812"/>
                  </a:lnTo>
                  <a:lnTo>
                    <a:pt x="583" y="822"/>
                  </a:lnTo>
                  <a:lnTo>
                    <a:pt x="544" y="833"/>
                  </a:lnTo>
                  <a:lnTo>
                    <a:pt x="432" y="856"/>
                  </a:lnTo>
                  <a:lnTo>
                    <a:pt x="319" y="873"/>
                  </a:lnTo>
                  <a:lnTo>
                    <a:pt x="160" y="894"/>
                  </a:lnTo>
                  <a:lnTo>
                    <a:pt x="0" y="913"/>
                  </a:lnTo>
                  <a:lnTo>
                    <a:pt x="69" y="903"/>
                  </a:lnTo>
                  <a:lnTo>
                    <a:pt x="137" y="892"/>
                  </a:lnTo>
                  <a:lnTo>
                    <a:pt x="203" y="880"/>
                  </a:lnTo>
                  <a:lnTo>
                    <a:pt x="270" y="868"/>
                  </a:lnTo>
                  <a:lnTo>
                    <a:pt x="333" y="854"/>
                  </a:lnTo>
                  <a:lnTo>
                    <a:pt x="394" y="836"/>
                  </a:lnTo>
                  <a:lnTo>
                    <a:pt x="450" y="817"/>
                  </a:lnTo>
                  <a:lnTo>
                    <a:pt x="501" y="794"/>
                  </a:lnTo>
                  <a:lnTo>
                    <a:pt x="548" y="768"/>
                  </a:lnTo>
                  <a:lnTo>
                    <a:pt x="586" y="738"/>
                  </a:lnTo>
                  <a:lnTo>
                    <a:pt x="614" y="709"/>
                  </a:lnTo>
                  <a:lnTo>
                    <a:pt x="633" y="677"/>
                  </a:lnTo>
                  <a:lnTo>
                    <a:pt x="646" y="646"/>
                  </a:lnTo>
                  <a:lnTo>
                    <a:pt x="653" y="612"/>
                  </a:lnTo>
                  <a:lnTo>
                    <a:pt x="654" y="579"/>
                  </a:lnTo>
                  <a:lnTo>
                    <a:pt x="651" y="546"/>
                  </a:lnTo>
                  <a:lnTo>
                    <a:pt x="646" y="516"/>
                  </a:lnTo>
                  <a:lnTo>
                    <a:pt x="637" y="486"/>
                  </a:lnTo>
                  <a:lnTo>
                    <a:pt x="628" y="462"/>
                  </a:lnTo>
                  <a:lnTo>
                    <a:pt x="619" y="439"/>
                  </a:lnTo>
                  <a:lnTo>
                    <a:pt x="612" y="422"/>
                  </a:lnTo>
                  <a:lnTo>
                    <a:pt x="571" y="341"/>
                  </a:lnTo>
                  <a:lnTo>
                    <a:pt x="529" y="268"/>
                  </a:lnTo>
                  <a:lnTo>
                    <a:pt x="483" y="201"/>
                  </a:lnTo>
                  <a:lnTo>
                    <a:pt x="438" y="140"/>
                  </a:lnTo>
                  <a:lnTo>
                    <a:pt x="396" y="86"/>
                  </a:lnTo>
                  <a:lnTo>
                    <a:pt x="355" y="38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CCC8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6"/>
            <p:cNvSpPr>
              <a:spLocks/>
            </p:cNvSpPr>
            <p:nvPr userDrawn="1"/>
          </p:nvSpPr>
          <p:spPr bwMode="auto">
            <a:xfrm>
              <a:off x="1516063" y="1169988"/>
              <a:ext cx="1042988" cy="1452563"/>
            </a:xfrm>
            <a:custGeom>
              <a:avLst/>
              <a:gdLst>
                <a:gd name="T0" fmla="*/ 322 w 657"/>
                <a:gd name="T1" fmla="*/ 0 h 915"/>
                <a:gd name="T2" fmla="*/ 358 w 657"/>
                <a:gd name="T3" fmla="*/ 40 h 915"/>
                <a:gd name="T4" fmla="*/ 441 w 657"/>
                <a:gd name="T5" fmla="*/ 142 h 915"/>
                <a:gd name="T6" fmla="*/ 532 w 657"/>
                <a:gd name="T7" fmla="*/ 270 h 915"/>
                <a:gd name="T8" fmla="*/ 615 w 657"/>
                <a:gd name="T9" fmla="*/ 424 h 915"/>
                <a:gd name="T10" fmla="*/ 631 w 657"/>
                <a:gd name="T11" fmla="*/ 464 h 915"/>
                <a:gd name="T12" fmla="*/ 649 w 657"/>
                <a:gd name="T13" fmla="*/ 518 h 915"/>
                <a:gd name="T14" fmla="*/ 657 w 657"/>
                <a:gd name="T15" fmla="*/ 581 h 915"/>
                <a:gd name="T16" fmla="*/ 649 w 657"/>
                <a:gd name="T17" fmla="*/ 648 h 915"/>
                <a:gd name="T18" fmla="*/ 617 w 657"/>
                <a:gd name="T19" fmla="*/ 711 h 915"/>
                <a:gd name="T20" fmla="*/ 551 w 657"/>
                <a:gd name="T21" fmla="*/ 770 h 915"/>
                <a:gd name="T22" fmla="*/ 453 w 657"/>
                <a:gd name="T23" fmla="*/ 819 h 915"/>
                <a:gd name="T24" fmla="*/ 336 w 657"/>
                <a:gd name="T25" fmla="*/ 856 h 915"/>
                <a:gd name="T26" fmla="*/ 206 w 657"/>
                <a:gd name="T27" fmla="*/ 882 h 915"/>
                <a:gd name="T28" fmla="*/ 72 w 657"/>
                <a:gd name="T29" fmla="*/ 905 h 915"/>
                <a:gd name="T30" fmla="*/ 3 w 657"/>
                <a:gd name="T31" fmla="*/ 915 h 915"/>
                <a:gd name="T32" fmla="*/ 3 w 657"/>
                <a:gd name="T33" fmla="*/ 816 h 915"/>
                <a:gd name="T34" fmla="*/ 16 w 657"/>
                <a:gd name="T35" fmla="*/ 774 h 915"/>
                <a:gd name="T36" fmla="*/ 37 w 657"/>
                <a:gd name="T37" fmla="*/ 770 h 915"/>
                <a:gd name="T38" fmla="*/ 89 w 657"/>
                <a:gd name="T39" fmla="*/ 760 h 915"/>
                <a:gd name="T40" fmla="*/ 164 w 657"/>
                <a:gd name="T41" fmla="*/ 746 h 915"/>
                <a:gd name="T42" fmla="*/ 243 w 657"/>
                <a:gd name="T43" fmla="*/ 730 h 915"/>
                <a:gd name="T44" fmla="*/ 316 w 657"/>
                <a:gd name="T45" fmla="*/ 712 h 915"/>
                <a:gd name="T46" fmla="*/ 371 w 657"/>
                <a:gd name="T47" fmla="*/ 697 h 915"/>
                <a:gd name="T48" fmla="*/ 418 w 657"/>
                <a:gd name="T49" fmla="*/ 676 h 915"/>
                <a:gd name="T50" fmla="*/ 456 w 657"/>
                <a:gd name="T51" fmla="*/ 651 h 915"/>
                <a:gd name="T52" fmla="*/ 483 w 657"/>
                <a:gd name="T53" fmla="*/ 620 h 915"/>
                <a:gd name="T54" fmla="*/ 493 w 657"/>
                <a:gd name="T55" fmla="*/ 578 h 915"/>
                <a:gd name="T56" fmla="*/ 483 w 657"/>
                <a:gd name="T57" fmla="*/ 522 h 915"/>
                <a:gd name="T58" fmla="*/ 441 w 657"/>
                <a:gd name="T59" fmla="*/ 434 h 915"/>
                <a:gd name="T60" fmla="*/ 390 w 657"/>
                <a:gd name="T61" fmla="*/ 350 h 915"/>
                <a:gd name="T62" fmla="*/ 341 w 657"/>
                <a:gd name="T63" fmla="*/ 282 h 915"/>
                <a:gd name="T64" fmla="*/ 285 w 657"/>
                <a:gd name="T65" fmla="*/ 215 h 915"/>
                <a:gd name="T66" fmla="*/ 217 w 657"/>
                <a:gd name="T67" fmla="*/ 137 h 915"/>
                <a:gd name="T68" fmla="*/ 220 w 657"/>
                <a:gd name="T69" fmla="*/ 126 h 915"/>
                <a:gd name="T70" fmla="*/ 241 w 657"/>
                <a:gd name="T71" fmla="*/ 91 h 915"/>
                <a:gd name="T72" fmla="*/ 282 w 657"/>
                <a:gd name="T73" fmla="*/ 40 h 915"/>
                <a:gd name="T74" fmla="*/ 322 w 657"/>
                <a:gd name="T75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7" h="915">
                  <a:moveTo>
                    <a:pt x="322" y="0"/>
                  </a:moveTo>
                  <a:lnTo>
                    <a:pt x="322" y="0"/>
                  </a:lnTo>
                  <a:lnTo>
                    <a:pt x="323" y="2"/>
                  </a:lnTo>
                  <a:lnTo>
                    <a:pt x="358" y="40"/>
                  </a:lnTo>
                  <a:lnTo>
                    <a:pt x="399" y="88"/>
                  </a:lnTo>
                  <a:lnTo>
                    <a:pt x="441" y="142"/>
                  </a:lnTo>
                  <a:lnTo>
                    <a:pt x="486" y="203"/>
                  </a:lnTo>
                  <a:lnTo>
                    <a:pt x="532" y="270"/>
                  </a:lnTo>
                  <a:lnTo>
                    <a:pt x="574" y="343"/>
                  </a:lnTo>
                  <a:lnTo>
                    <a:pt x="615" y="424"/>
                  </a:lnTo>
                  <a:lnTo>
                    <a:pt x="622" y="441"/>
                  </a:lnTo>
                  <a:lnTo>
                    <a:pt x="631" y="464"/>
                  </a:lnTo>
                  <a:lnTo>
                    <a:pt x="640" y="488"/>
                  </a:lnTo>
                  <a:lnTo>
                    <a:pt x="649" y="518"/>
                  </a:lnTo>
                  <a:lnTo>
                    <a:pt x="654" y="548"/>
                  </a:lnTo>
                  <a:lnTo>
                    <a:pt x="657" y="581"/>
                  </a:lnTo>
                  <a:lnTo>
                    <a:pt x="656" y="614"/>
                  </a:lnTo>
                  <a:lnTo>
                    <a:pt x="649" y="648"/>
                  </a:lnTo>
                  <a:lnTo>
                    <a:pt x="636" y="679"/>
                  </a:lnTo>
                  <a:lnTo>
                    <a:pt x="617" y="711"/>
                  </a:lnTo>
                  <a:lnTo>
                    <a:pt x="589" y="740"/>
                  </a:lnTo>
                  <a:lnTo>
                    <a:pt x="551" y="770"/>
                  </a:lnTo>
                  <a:lnTo>
                    <a:pt x="504" y="796"/>
                  </a:lnTo>
                  <a:lnTo>
                    <a:pt x="453" y="819"/>
                  </a:lnTo>
                  <a:lnTo>
                    <a:pt x="397" y="838"/>
                  </a:lnTo>
                  <a:lnTo>
                    <a:pt x="336" y="856"/>
                  </a:lnTo>
                  <a:lnTo>
                    <a:pt x="273" y="870"/>
                  </a:lnTo>
                  <a:lnTo>
                    <a:pt x="206" y="882"/>
                  </a:lnTo>
                  <a:lnTo>
                    <a:pt x="140" y="894"/>
                  </a:lnTo>
                  <a:lnTo>
                    <a:pt x="72" y="905"/>
                  </a:lnTo>
                  <a:lnTo>
                    <a:pt x="3" y="915"/>
                  </a:lnTo>
                  <a:lnTo>
                    <a:pt x="3" y="915"/>
                  </a:lnTo>
                  <a:lnTo>
                    <a:pt x="0" y="863"/>
                  </a:lnTo>
                  <a:lnTo>
                    <a:pt x="3" y="816"/>
                  </a:lnTo>
                  <a:lnTo>
                    <a:pt x="14" y="774"/>
                  </a:lnTo>
                  <a:lnTo>
                    <a:pt x="16" y="774"/>
                  </a:lnTo>
                  <a:lnTo>
                    <a:pt x="21" y="772"/>
                  </a:lnTo>
                  <a:lnTo>
                    <a:pt x="37" y="770"/>
                  </a:lnTo>
                  <a:lnTo>
                    <a:pt x="59" y="765"/>
                  </a:lnTo>
                  <a:lnTo>
                    <a:pt x="89" y="760"/>
                  </a:lnTo>
                  <a:lnTo>
                    <a:pt x="126" y="754"/>
                  </a:lnTo>
                  <a:lnTo>
                    <a:pt x="164" y="746"/>
                  </a:lnTo>
                  <a:lnTo>
                    <a:pt x="205" y="739"/>
                  </a:lnTo>
                  <a:lnTo>
                    <a:pt x="243" y="730"/>
                  </a:lnTo>
                  <a:lnTo>
                    <a:pt x="282" y="721"/>
                  </a:lnTo>
                  <a:lnTo>
                    <a:pt x="316" y="712"/>
                  </a:lnTo>
                  <a:lnTo>
                    <a:pt x="346" y="705"/>
                  </a:lnTo>
                  <a:lnTo>
                    <a:pt x="371" y="697"/>
                  </a:lnTo>
                  <a:lnTo>
                    <a:pt x="395" y="686"/>
                  </a:lnTo>
                  <a:lnTo>
                    <a:pt x="418" y="676"/>
                  </a:lnTo>
                  <a:lnTo>
                    <a:pt x="437" y="665"/>
                  </a:lnTo>
                  <a:lnTo>
                    <a:pt x="456" y="651"/>
                  </a:lnTo>
                  <a:lnTo>
                    <a:pt x="472" y="637"/>
                  </a:lnTo>
                  <a:lnTo>
                    <a:pt x="483" y="620"/>
                  </a:lnTo>
                  <a:lnTo>
                    <a:pt x="491" y="600"/>
                  </a:lnTo>
                  <a:lnTo>
                    <a:pt x="493" y="578"/>
                  </a:lnTo>
                  <a:lnTo>
                    <a:pt x="491" y="551"/>
                  </a:lnTo>
                  <a:lnTo>
                    <a:pt x="483" y="522"/>
                  </a:lnTo>
                  <a:lnTo>
                    <a:pt x="467" y="487"/>
                  </a:lnTo>
                  <a:lnTo>
                    <a:pt x="441" y="434"/>
                  </a:lnTo>
                  <a:lnTo>
                    <a:pt x="414" y="389"/>
                  </a:lnTo>
                  <a:lnTo>
                    <a:pt x="390" y="350"/>
                  </a:lnTo>
                  <a:lnTo>
                    <a:pt x="365" y="313"/>
                  </a:lnTo>
                  <a:lnTo>
                    <a:pt x="341" y="282"/>
                  </a:lnTo>
                  <a:lnTo>
                    <a:pt x="315" y="249"/>
                  </a:lnTo>
                  <a:lnTo>
                    <a:pt x="285" y="215"/>
                  </a:lnTo>
                  <a:lnTo>
                    <a:pt x="254" y="179"/>
                  </a:lnTo>
                  <a:lnTo>
                    <a:pt x="217" y="137"/>
                  </a:lnTo>
                  <a:lnTo>
                    <a:pt x="217" y="137"/>
                  </a:lnTo>
                  <a:lnTo>
                    <a:pt x="220" y="126"/>
                  </a:lnTo>
                  <a:lnTo>
                    <a:pt x="229" y="110"/>
                  </a:lnTo>
                  <a:lnTo>
                    <a:pt x="241" y="91"/>
                  </a:lnTo>
                  <a:lnTo>
                    <a:pt x="257" y="68"/>
                  </a:lnTo>
                  <a:lnTo>
                    <a:pt x="282" y="40"/>
                  </a:lnTo>
                  <a:lnTo>
                    <a:pt x="302" y="18"/>
                  </a:lnTo>
                  <a:lnTo>
                    <a:pt x="322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7"/>
            <p:cNvSpPr>
              <a:spLocks/>
            </p:cNvSpPr>
            <p:nvPr userDrawn="1"/>
          </p:nvSpPr>
          <p:spPr bwMode="auto">
            <a:xfrm>
              <a:off x="1530351" y="2603500"/>
              <a:ext cx="1246188" cy="1592263"/>
            </a:xfrm>
            <a:custGeom>
              <a:avLst/>
              <a:gdLst>
                <a:gd name="T0" fmla="*/ 482 w 785"/>
                <a:gd name="T1" fmla="*/ 0 h 1003"/>
                <a:gd name="T2" fmla="*/ 551 w 785"/>
                <a:gd name="T3" fmla="*/ 2 h 1003"/>
                <a:gd name="T4" fmla="*/ 619 w 785"/>
                <a:gd name="T5" fmla="*/ 7 h 1003"/>
                <a:gd name="T6" fmla="*/ 654 w 785"/>
                <a:gd name="T7" fmla="*/ 16 h 1003"/>
                <a:gd name="T8" fmla="*/ 687 w 785"/>
                <a:gd name="T9" fmla="*/ 26 h 1003"/>
                <a:gd name="T10" fmla="*/ 718 w 785"/>
                <a:gd name="T11" fmla="*/ 42 h 1003"/>
                <a:gd name="T12" fmla="*/ 746 w 785"/>
                <a:gd name="T13" fmla="*/ 65 h 1003"/>
                <a:gd name="T14" fmla="*/ 766 w 785"/>
                <a:gd name="T15" fmla="*/ 91 h 1003"/>
                <a:gd name="T16" fmla="*/ 776 w 785"/>
                <a:gd name="T17" fmla="*/ 119 h 1003"/>
                <a:gd name="T18" fmla="*/ 783 w 785"/>
                <a:gd name="T19" fmla="*/ 151 h 1003"/>
                <a:gd name="T20" fmla="*/ 785 w 785"/>
                <a:gd name="T21" fmla="*/ 182 h 1003"/>
                <a:gd name="T22" fmla="*/ 780 w 785"/>
                <a:gd name="T23" fmla="*/ 235 h 1003"/>
                <a:gd name="T24" fmla="*/ 773 w 785"/>
                <a:gd name="T25" fmla="*/ 287 h 1003"/>
                <a:gd name="T26" fmla="*/ 760 w 785"/>
                <a:gd name="T27" fmla="*/ 338 h 1003"/>
                <a:gd name="T28" fmla="*/ 729 w 785"/>
                <a:gd name="T29" fmla="*/ 455 h 1003"/>
                <a:gd name="T30" fmla="*/ 692 w 785"/>
                <a:gd name="T31" fmla="*/ 571 h 1003"/>
                <a:gd name="T32" fmla="*/ 652 w 785"/>
                <a:gd name="T33" fmla="*/ 685 h 1003"/>
                <a:gd name="T34" fmla="*/ 592 w 785"/>
                <a:gd name="T35" fmla="*/ 844 h 1003"/>
                <a:gd name="T36" fmla="*/ 530 w 785"/>
                <a:gd name="T37" fmla="*/ 1003 h 1003"/>
                <a:gd name="T38" fmla="*/ 561 w 785"/>
                <a:gd name="T39" fmla="*/ 912 h 1003"/>
                <a:gd name="T40" fmla="*/ 592 w 785"/>
                <a:gd name="T41" fmla="*/ 812 h 1003"/>
                <a:gd name="T42" fmla="*/ 622 w 785"/>
                <a:gd name="T43" fmla="*/ 709 h 1003"/>
                <a:gd name="T44" fmla="*/ 643 w 785"/>
                <a:gd name="T45" fmla="*/ 623 h 1003"/>
                <a:gd name="T46" fmla="*/ 662 w 785"/>
                <a:gd name="T47" fmla="*/ 539 h 1003"/>
                <a:gd name="T48" fmla="*/ 676 w 785"/>
                <a:gd name="T49" fmla="*/ 459 h 1003"/>
                <a:gd name="T50" fmla="*/ 687 w 785"/>
                <a:gd name="T51" fmla="*/ 382 h 1003"/>
                <a:gd name="T52" fmla="*/ 690 w 785"/>
                <a:gd name="T53" fmla="*/ 312 h 1003"/>
                <a:gd name="T54" fmla="*/ 689 w 785"/>
                <a:gd name="T55" fmla="*/ 268 h 1003"/>
                <a:gd name="T56" fmla="*/ 682 w 785"/>
                <a:gd name="T57" fmla="*/ 228 h 1003"/>
                <a:gd name="T58" fmla="*/ 673 w 785"/>
                <a:gd name="T59" fmla="*/ 191 h 1003"/>
                <a:gd name="T60" fmla="*/ 657 w 785"/>
                <a:gd name="T61" fmla="*/ 156 h 1003"/>
                <a:gd name="T62" fmla="*/ 638 w 785"/>
                <a:gd name="T63" fmla="*/ 124 h 1003"/>
                <a:gd name="T64" fmla="*/ 612 w 785"/>
                <a:gd name="T65" fmla="*/ 96 h 1003"/>
                <a:gd name="T66" fmla="*/ 578 w 785"/>
                <a:gd name="T67" fmla="*/ 72 h 1003"/>
                <a:gd name="T68" fmla="*/ 538 w 785"/>
                <a:gd name="T69" fmla="*/ 53 h 1003"/>
                <a:gd name="T70" fmla="*/ 535 w 785"/>
                <a:gd name="T71" fmla="*/ 53 h 1003"/>
                <a:gd name="T72" fmla="*/ 530 w 785"/>
                <a:gd name="T73" fmla="*/ 49 h 1003"/>
                <a:gd name="T74" fmla="*/ 519 w 785"/>
                <a:gd name="T75" fmla="*/ 46 h 1003"/>
                <a:gd name="T76" fmla="*/ 481 w 785"/>
                <a:gd name="T77" fmla="*/ 35 h 1003"/>
                <a:gd name="T78" fmla="*/ 435 w 785"/>
                <a:gd name="T79" fmla="*/ 28 h 1003"/>
                <a:gd name="T80" fmla="*/ 383 w 785"/>
                <a:gd name="T81" fmla="*/ 23 h 1003"/>
                <a:gd name="T82" fmla="*/ 323 w 785"/>
                <a:gd name="T83" fmla="*/ 21 h 1003"/>
                <a:gd name="T84" fmla="*/ 271 w 785"/>
                <a:gd name="T85" fmla="*/ 23 h 1003"/>
                <a:gd name="T86" fmla="*/ 213 w 785"/>
                <a:gd name="T87" fmla="*/ 25 h 1003"/>
                <a:gd name="T88" fmla="*/ 150 w 785"/>
                <a:gd name="T89" fmla="*/ 30 h 1003"/>
                <a:gd name="T90" fmla="*/ 78 w 785"/>
                <a:gd name="T91" fmla="*/ 37 h 1003"/>
                <a:gd name="T92" fmla="*/ 0 w 785"/>
                <a:gd name="T93" fmla="*/ 46 h 1003"/>
                <a:gd name="T94" fmla="*/ 0 w 785"/>
                <a:gd name="T95" fmla="*/ 46 h 1003"/>
                <a:gd name="T96" fmla="*/ 161 w 785"/>
                <a:gd name="T97" fmla="*/ 25 h 1003"/>
                <a:gd name="T98" fmla="*/ 321 w 785"/>
                <a:gd name="T99" fmla="*/ 9 h 1003"/>
                <a:gd name="T100" fmla="*/ 482 w 785"/>
                <a:gd name="T101" fmla="*/ 0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5" h="1003">
                  <a:moveTo>
                    <a:pt x="482" y="0"/>
                  </a:moveTo>
                  <a:lnTo>
                    <a:pt x="551" y="2"/>
                  </a:lnTo>
                  <a:lnTo>
                    <a:pt x="619" y="7"/>
                  </a:lnTo>
                  <a:lnTo>
                    <a:pt x="654" y="16"/>
                  </a:lnTo>
                  <a:lnTo>
                    <a:pt x="687" y="26"/>
                  </a:lnTo>
                  <a:lnTo>
                    <a:pt x="718" y="42"/>
                  </a:lnTo>
                  <a:lnTo>
                    <a:pt x="746" y="65"/>
                  </a:lnTo>
                  <a:lnTo>
                    <a:pt x="766" y="91"/>
                  </a:lnTo>
                  <a:lnTo>
                    <a:pt x="776" y="119"/>
                  </a:lnTo>
                  <a:lnTo>
                    <a:pt x="783" y="151"/>
                  </a:lnTo>
                  <a:lnTo>
                    <a:pt x="785" y="182"/>
                  </a:lnTo>
                  <a:lnTo>
                    <a:pt x="780" y="235"/>
                  </a:lnTo>
                  <a:lnTo>
                    <a:pt x="773" y="287"/>
                  </a:lnTo>
                  <a:lnTo>
                    <a:pt x="760" y="338"/>
                  </a:lnTo>
                  <a:lnTo>
                    <a:pt x="729" y="455"/>
                  </a:lnTo>
                  <a:lnTo>
                    <a:pt x="692" y="571"/>
                  </a:lnTo>
                  <a:lnTo>
                    <a:pt x="652" y="685"/>
                  </a:lnTo>
                  <a:lnTo>
                    <a:pt x="592" y="844"/>
                  </a:lnTo>
                  <a:lnTo>
                    <a:pt x="530" y="1003"/>
                  </a:lnTo>
                  <a:lnTo>
                    <a:pt x="561" y="912"/>
                  </a:lnTo>
                  <a:lnTo>
                    <a:pt x="592" y="812"/>
                  </a:lnTo>
                  <a:lnTo>
                    <a:pt x="622" y="709"/>
                  </a:lnTo>
                  <a:lnTo>
                    <a:pt x="643" y="623"/>
                  </a:lnTo>
                  <a:lnTo>
                    <a:pt x="662" y="539"/>
                  </a:lnTo>
                  <a:lnTo>
                    <a:pt x="676" y="459"/>
                  </a:lnTo>
                  <a:lnTo>
                    <a:pt x="687" y="382"/>
                  </a:lnTo>
                  <a:lnTo>
                    <a:pt x="690" y="312"/>
                  </a:lnTo>
                  <a:lnTo>
                    <a:pt x="689" y="268"/>
                  </a:lnTo>
                  <a:lnTo>
                    <a:pt x="682" y="228"/>
                  </a:lnTo>
                  <a:lnTo>
                    <a:pt x="673" y="191"/>
                  </a:lnTo>
                  <a:lnTo>
                    <a:pt x="657" y="156"/>
                  </a:lnTo>
                  <a:lnTo>
                    <a:pt x="638" y="124"/>
                  </a:lnTo>
                  <a:lnTo>
                    <a:pt x="612" y="96"/>
                  </a:lnTo>
                  <a:lnTo>
                    <a:pt x="578" y="72"/>
                  </a:lnTo>
                  <a:lnTo>
                    <a:pt x="538" y="53"/>
                  </a:lnTo>
                  <a:lnTo>
                    <a:pt x="535" y="53"/>
                  </a:lnTo>
                  <a:lnTo>
                    <a:pt x="530" y="49"/>
                  </a:lnTo>
                  <a:lnTo>
                    <a:pt x="519" y="46"/>
                  </a:lnTo>
                  <a:lnTo>
                    <a:pt x="481" y="35"/>
                  </a:lnTo>
                  <a:lnTo>
                    <a:pt x="435" y="28"/>
                  </a:lnTo>
                  <a:lnTo>
                    <a:pt x="383" y="23"/>
                  </a:lnTo>
                  <a:lnTo>
                    <a:pt x="323" y="21"/>
                  </a:lnTo>
                  <a:lnTo>
                    <a:pt x="271" y="23"/>
                  </a:lnTo>
                  <a:lnTo>
                    <a:pt x="213" y="25"/>
                  </a:lnTo>
                  <a:lnTo>
                    <a:pt x="150" y="30"/>
                  </a:lnTo>
                  <a:lnTo>
                    <a:pt x="78" y="3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61" y="25"/>
                  </a:lnTo>
                  <a:lnTo>
                    <a:pt x="321" y="9"/>
                  </a:lnTo>
                  <a:lnTo>
                    <a:pt x="482" y="0"/>
                  </a:lnTo>
                  <a:close/>
                </a:path>
              </a:pathLst>
            </a:custGeom>
            <a:solidFill>
              <a:srgbClr val="F3997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8"/>
            <p:cNvSpPr>
              <a:spLocks/>
            </p:cNvSpPr>
            <p:nvPr userDrawn="1"/>
          </p:nvSpPr>
          <p:spPr bwMode="auto">
            <a:xfrm>
              <a:off x="1530351" y="2636838"/>
              <a:ext cx="1095375" cy="1558925"/>
            </a:xfrm>
            <a:custGeom>
              <a:avLst/>
              <a:gdLst>
                <a:gd name="T0" fmla="*/ 383 w 690"/>
                <a:gd name="T1" fmla="*/ 2 h 982"/>
                <a:gd name="T2" fmla="*/ 481 w 690"/>
                <a:gd name="T3" fmla="*/ 14 h 982"/>
                <a:gd name="T4" fmla="*/ 530 w 690"/>
                <a:gd name="T5" fmla="*/ 28 h 982"/>
                <a:gd name="T6" fmla="*/ 538 w 690"/>
                <a:gd name="T7" fmla="*/ 32 h 982"/>
                <a:gd name="T8" fmla="*/ 612 w 690"/>
                <a:gd name="T9" fmla="*/ 75 h 982"/>
                <a:gd name="T10" fmla="*/ 657 w 690"/>
                <a:gd name="T11" fmla="*/ 135 h 982"/>
                <a:gd name="T12" fmla="*/ 682 w 690"/>
                <a:gd name="T13" fmla="*/ 207 h 982"/>
                <a:gd name="T14" fmla="*/ 690 w 690"/>
                <a:gd name="T15" fmla="*/ 291 h 982"/>
                <a:gd name="T16" fmla="*/ 676 w 690"/>
                <a:gd name="T17" fmla="*/ 438 h 982"/>
                <a:gd name="T18" fmla="*/ 643 w 690"/>
                <a:gd name="T19" fmla="*/ 602 h 982"/>
                <a:gd name="T20" fmla="*/ 592 w 690"/>
                <a:gd name="T21" fmla="*/ 791 h 982"/>
                <a:gd name="T22" fmla="*/ 530 w 690"/>
                <a:gd name="T23" fmla="*/ 982 h 982"/>
                <a:gd name="T24" fmla="*/ 524 w 690"/>
                <a:gd name="T25" fmla="*/ 980 h 982"/>
                <a:gd name="T26" fmla="*/ 496 w 690"/>
                <a:gd name="T27" fmla="*/ 968 h 982"/>
                <a:gd name="T28" fmla="*/ 458 w 690"/>
                <a:gd name="T29" fmla="*/ 947 h 982"/>
                <a:gd name="T30" fmla="*/ 432 w 690"/>
                <a:gd name="T31" fmla="*/ 928 h 982"/>
                <a:gd name="T32" fmla="*/ 414 w 690"/>
                <a:gd name="T33" fmla="*/ 914 h 982"/>
                <a:gd name="T34" fmla="*/ 421 w 690"/>
                <a:gd name="T35" fmla="*/ 893 h 982"/>
                <a:gd name="T36" fmla="*/ 444 w 690"/>
                <a:gd name="T37" fmla="*/ 833 h 982"/>
                <a:gd name="T38" fmla="*/ 475 w 690"/>
                <a:gd name="T39" fmla="*/ 751 h 982"/>
                <a:gd name="T40" fmla="*/ 505 w 690"/>
                <a:gd name="T41" fmla="*/ 657 h 982"/>
                <a:gd name="T42" fmla="*/ 533 w 690"/>
                <a:gd name="T43" fmla="*/ 559 h 982"/>
                <a:gd name="T44" fmla="*/ 551 w 690"/>
                <a:gd name="T45" fmla="*/ 467 h 982"/>
                <a:gd name="T46" fmla="*/ 558 w 690"/>
                <a:gd name="T47" fmla="*/ 382 h 982"/>
                <a:gd name="T48" fmla="*/ 558 w 690"/>
                <a:gd name="T49" fmla="*/ 306 h 982"/>
                <a:gd name="T50" fmla="*/ 545 w 690"/>
                <a:gd name="T51" fmla="*/ 249 h 982"/>
                <a:gd name="T52" fmla="*/ 516 w 690"/>
                <a:gd name="T53" fmla="*/ 208 h 982"/>
                <a:gd name="T54" fmla="*/ 461 w 690"/>
                <a:gd name="T55" fmla="*/ 182 h 982"/>
                <a:gd name="T56" fmla="*/ 377 w 690"/>
                <a:gd name="T57" fmla="*/ 172 h 982"/>
                <a:gd name="T58" fmla="*/ 271 w 690"/>
                <a:gd name="T59" fmla="*/ 172 h 982"/>
                <a:gd name="T60" fmla="*/ 143 w 690"/>
                <a:gd name="T61" fmla="*/ 179 h 982"/>
                <a:gd name="T62" fmla="*/ 52 w 690"/>
                <a:gd name="T63" fmla="*/ 172 h 982"/>
                <a:gd name="T64" fmla="*/ 24 w 690"/>
                <a:gd name="T65" fmla="*/ 114 h 982"/>
                <a:gd name="T66" fmla="*/ 0 w 690"/>
                <a:gd name="T67" fmla="*/ 25 h 982"/>
                <a:gd name="T68" fmla="*/ 150 w 690"/>
                <a:gd name="T69" fmla="*/ 9 h 982"/>
                <a:gd name="T70" fmla="*/ 271 w 690"/>
                <a:gd name="T71" fmla="*/ 2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0" h="982">
                  <a:moveTo>
                    <a:pt x="323" y="0"/>
                  </a:moveTo>
                  <a:lnTo>
                    <a:pt x="383" y="2"/>
                  </a:lnTo>
                  <a:lnTo>
                    <a:pt x="435" y="7"/>
                  </a:lnTo>
                  <a:lnTo>
                    <a:pt x="481" y="14"/>
                  </a:lnTo>
                  <a:lnTo>
                    <a:pt x="519" y="25"/>
                  </a:lnTo>
                  <a:lnTo>
                    <a:pt x="530" y="28"/>
                  </a:lnTo>
                  <a:lnTo>
                    <a:pt x="535" y="32"/>
                  </a:lnTo>
                  <a:lnTo>
                    <a:pt x="538" y="32"/>
                  </a:lnTo>
                  <a:lnTo>
                    <a:pt x="578" y="51"/>
                  </a:lnTo>
                  <a:lnTo>
                    <a:pt x="612" y="75"/>
                  </a:lnTo>
                  <a:lnTo>
                    <a:pt x="638" y="103"/>
                  </a:lnTo>
                  <a:lnTo>
                    <a:pt x="657" y="135"/>
                  </a:lnTo>
                  <a:lnTo>
                    <a:pt x="673" y="170"/>
                  </a:lnTo>
                  <a:lnTo>
                    <a:pt x="682" y="207"/>
                  </a:lnTo>
                  <a:lnTo>
                    <a:pt x="689" y="247"/>
                  </a:lnTo>
                  <a:lnTo>
                    <a:pt x="690" y="291"/>
                  </a:lnTo>
                  <a:lnTo>
                    <a:pt x="687" y="361"/>
                  </a:lnTo>
                  <a:lnTo>
                    <a:pt x="676" y="438"/>
                  </a:lnTo>
                  <a:lnTo>
                    <a:pt x="662" y="518"/>
                  </a:lnTo>
                  <a:lnTo>
                    <a:pt x="643" y="602"/>
                  </a:lnTo>
                  <a:lnTo>
                    <a:pt x="622" y="688"/>
                  </a:lnTo>
                  <a:lnTo>
                    <a:pt x="592" y="791"/>
                  </a:lnTo>
                  <a:lnTo>
                    <a:pt x="561" y="891"/>
                  </a:lnTo>
                  <a:lnTo>
                    <a:pt x="530" y="982"/>
                  </a:lnTo>
                  <a:lnTo>
                    <a:pt x="530" y="982"/>
                  </a:lnTo>
                  <a:lnTo>
                    <a:pt x="524" y="980"/>
                  </a:lnTo>
                  <a:lnTo>
                    <a:pt x="512" y="975"/>
                  </a:lnTo>
                  <a:lnTo>
                    <a:pt x="496" y="968"/>
                  </a:lnTo>
                  <a:lnTo>
                    <a:pt x="477" y="958"/>
                  </a:lnTo>
                  <a:lnTo>
                    <a:pt x="458" y="947"/>
                  </a:lnTo>
                  <a:lnTo>
                    <a:pt x="444" y="937"/>
                  </a:lnTo>
                  <a:lnTo>
                    <a:pt x="432" y="928"/>
                  </a:lnTo>
                  <a:lnTo>
                    <a:pt x="421" y="919"/>
                  </a:lnTo>
                  <a:lnTo>
                    <a:pt x="414" y="914"/>
                  </a:lnTo>
                  <a:lnTo>
                    <a:pt x="412" y="912"/>
                  </a:lnTo>
                  <a:lnTo>
                    <a:pt x="421" y="893"/>
                  </a:lnTo>
                  <a:lnTo>
                    <a:pt x="432" y="867"/>
                  </a:lnTo>
                  <a:lnTo>
                    <a:pt x="444" y="833"/>
                  </a:lnTo>
                  <a:lnTo>
                    <a:pt x="460" y="795"/>
                  </a:lnTo>
                  <a:lnTo>
                    <a:pt x="475" y="751"/>
                  </a:lnTo>
                  <a:lnTo>
                    <a:pt x="489" y="706"/>
                  </a:lnTo>
                  <a:lnTo>
                    <a:pt x="505" y="657"/>
                  </a:lnTo>
                  <a:lnTo>
                    <a:pt x="519" y="608"/>
                  </a:lnTo>
                  <a:lnTo>
                    <a:pt x="533" y="559"/>
                  </a:lnTo>
                  <a:lnTo>
                    <a:pt x="544" y="511"/>
                  </a:lnTo>
                  <a:lnTo>
                    <a:pt x="551" y="467"/>
                  </a:lnTo>
                  <a:lnTo>
                    <a:pt x="556" y="425"/>
                  </a:lnTo>
                  <a:lnTo>
                    <a:pt x="558" y="382"/>
                  </a:lnTo>
                  <a:lnTo>
                    <a:pt x="559" y="341"/>
                  </a:lnTo>
                  <a:lnTo>
                    <a:pt x="558" y="306"/>
                  </a:lnTo>
                  <a:lnTo>
                    <a:pt x="554" y="275"/>
                  </a:lnTo>
                  <a:lnTo>
                    <a:pt x="545" y="249"/>
                  </a:lnTo>
                  <a:lnTo>
                    <a:pt x="533" y="228"/>
                  </a:lnTo>
                  <a:lnTo>
                    <a:pt x="516" y="208"/>
                  </a:lnTo>
                  <a:lnTo>
                    <a:pt x="493" y="194"/>
                  </a:lnTo>
                  <a:lnTo>
                    <a:pt x="461" y="182"/>
                  </a:lnTo>
                  <a:lnTo>
                    <a:pt x="425" y="175"/>
                  </a:lnTo>
                  <a:lnTo>
                    <a:pt x="377" y="172"/>
                  </a:lnTo>
                  <a:lnTo>
                    <a:pt x="323" y="170"/>
                  </a:lnTo>
                  <a:lnTo>
                    <a:pt x="271" y="172"/>
                  </a:lnTo>
                  <a:lnTo>
                    <a:pt x="211" y="173"/>
                  </a:lnTo>
                  <a:lnTo>
                    <a:pt x="143" y="179"/>
                  </a:lnTo>
                  <a:lnTo>
                    <a:pt x="64" y="187"/>
                  </a:lnTo>
                  <a:lnTo>
                    <a:pt x="52" y="172"/>
                  </a:lnTo>
                  <a:lnTo>
                    <a:pt x="38" y="147"/>
                  </a:lnTo>
                  <a:lnTo>
                    <a:pt x="24" y="114"/>
                  </a:lnTo>
                  <a:lnTo>
                    <a:pt x="10" y="74"/>
                  </a:lnTo>
                  <a:lnTo>
                    <a:pt x="0" y="25"/>
                  </a:lnTo>
                  <a:lnTo>
                    <a:pt x="78" y="16"/>
                  </a:lnTo>
                  <a:lnTo>
                    <a:pt x="150" y="9"/>
                  </a:lnTo>
                  <a:lnTo>
                    <a:pt x="213" y="4"/>
                  </a:lnTo>
                  <a:lnTo>
                    <a:pt x="271" y="2"/>
                  </a:lnTo>
                  <a:lnTo>
                    <a:pt x="323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9"/>
            <p:cNvSpPr>
              <a:spLocks/>
            </p:cNvSpPr>
            <p:nvPr userDrawn="1"/>
          </p:nvSpPr>
          <p:spPr bwMode="auto">
            <a:xfrm>
              <a:off x="5127626" y="5248275"/>
              <a:ext cx="290513" cy="325438"/>
            </a:xfrm>
            <a:custGeom>
              <a:avLst/>
              <a:gdLst>
                <a:gd name="T0" fmla="*/ 148 w 183"/>
                <a:gd name="T1" fmla="*/ 6 h 205"/>
                <a:gd name="T2" fmla="*/ 162 w 183"/>
                <a:gd name="T3" fmla="*/ 35 h 205"/>
                <a:gd name="T4" fmla="*/ 164 w 183"/>
                <a:gd name="T5" fmla="*/ 70 h 205"/>
                <a:gd name="T6" fmla="*/ 168 w 183"/>
                <a:gd name="T7" fmla="*/ 121 h 205"/>
                <a:gd name="T8" fmla="*/ 169 w 183"/>
                <a:gd name="T9" fmla="*/ 158 h 205"/>
                <a:gd name="T10" fmla="*/ 173 w 183"/>
                <a:gd name="T11" fmla="*/ 174 h 205"/>
                <a:gd name="T12" fmla="*/ 180 w 183"/>
                <a:gd name="T13" fmla="*/ 186 h 205"/>
                <a:gd name="T14" fmla="*/ 183 w 183"/>
                <a:gd name="T15" fmla="*/ 191 h 205"/>
                <a:gd name="T16" fmla="*/ 182 w 183"/>
                <a:gd name="T17" fmla="*/ 200 h 205"/>
                <a:gd name="T18" fmla="*/ 173 w 183"/>
                <a:gd name="T19" fmla="*/ 205 h 205"/>
                <a:gd name="T20" fmla="*/ 164 w 183"/>
                <a:gd name="T21" fmla="*/ 203 h 205"/>
                <a:gd name="T22" fmla="*/ 155 w 183"/>
                <a:gd name="T23" fmla="*/ 198 h 205"/>
                <a:gd name="T24" fmla="*/ 147 w 183"/>
                <a:gd name="T25" fmla="*/ 179 h 205"/>
                <a:gd name="T26" fmla="*/ 143 w 183"/>
                <a:gd name="T27" fmla="*/ 139 h 205"/>
                <a:gd name="T28" fmla="*/ 138 w 183"/>
                <a:gd name="T29" fmla="*/ 81 h 205"/>
                <a:gd name="T30" fmla="*/ 131 w 183"/>
                <a:gd name="T31" fmla="*/ 49 h 205"/>
                <a:gd name="T32" fmla="*/ 126 w 183"/>
                <a:gd name="T33" fmla="*/ 42 h 205"/>
                <a:gd name="T34" fmla="*/ 120 w 183"/>
                <a:gd name="T35" fmla="*/ 42 h 205"/>
                <a:gd name="T36" fmla="*/ 115 w 183"/>
                <a:gd name="T37" fmla="*/ 49 h 205"/>
                <a:gd name="T38" fmla="*/ 103 w 183"/>
                <a:gd name="T39" fmla="*/ 70 h 205"/>
                <a:gd name="T40" fmla="*/ 82 w 183"/>
                <a:gd name="T41" fmla="*/ 109 h 205"/>
                <a:gd name="T42" fmla="*/ 68 w 183"/>
                <a:gd name="T43" fmla="*/ 140 h 205"/>
                <a:gd name="T44" fmla="*/ 63 w 183"/>
                <a:gd name="T45" fmla="*/ 151 h 205"/>
                <a:gd name="T46" fmla="*/ 57 w 183"/>
                <a:gd name="T47" fmla="*/ 160 h 205"/>
                <a:gd name="T48" fmla="*/ 49 w 183"/>
                <a:gd name="T49" fmla="*/ 165 h 205"/>
                <a:gd name="T50" fmla="*/ 30 w 183"/>
                <a:gd name="T51" fmla="*/ 163 h 205"/>
                <a:gd name="T52" fmla="*/ 14 w 183"/>
                <a:gd name="T53" fmla="*/ 137 h 205"/>
                <a:gd name="T54" fmla="*/ 0 w 183"/>
                <a:gd name="T55" fmla="*/ 62 h 205"/>
                <a:gd name="T56" fmla="*/ 5 w 183"/>
                <a:gd name="T57" fmla="*/ 13 h 205"/>
                <a:gd name="T58" fmla="*/ 10 w 183"/>
                <a:gd name="T59" fmla="*/ 7 h 205"/>
                <a:gd name="T60" fmla="*/ 19 w 183"/>
                <a:gd name="T61" fmla="*/ 4 h 205"/>
                <a:gd name="T62" fmla="*/ 28 w 183"/>
                <a:gd name="T63" fmla="*/ 6 h 205"/>
                <a:gd name="T64" fmla="*/ 35 w 183"/>
                <a:gd name="T65" fmla="*/ 13 h 205"/>
                <a:gd name="T66" fmla="*/ 35 w 183"/>
                <a:gd name="T67" fmla="*/ 25 h 205"/>
                <a:gd name="T68" fmla="*/ 33 w 183"/>
                <a:gd name="T69" fmla="*/ 56 h 205"/>
                <a:gd name="T70" fmla="*/ 38 w 183"/>
                <a:gd name="T71" fmla="*/ 104 h 205"/>
                <a:gd name="T72" fmla="*/ 59 w 183"/>
                <a:gd name="T73" fmla="*/ 95 h 205"/>
                <a:gd name="T74" fmla="*/ 85 w 183"/>
                <a:gd name="T75" fmla="*/ 42 h 205"/>
                <a:gd name="T76" fmla="*/ 103 w 183"/>
                <a:gd name="T77" fmla="*/ 16 h 205"/>
                <a:gd name="T78" fmla="*/ 124 w 183"/>
                <a:gd name="T79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3" h="205">
                  <a:moveTo>
                    <a:pt x="134" y="0"/>
                  </a:moveTo>
                  <a:lnTo>
                    <a:pt x="148" y="6"/>
                  </a:lnTo>
                  <a:lnTo>
                    <a:pt x="157" y="18"/>
                  </a:lnTo>
                  <a:lnTo>
                    <a:pt x="162" y="35"/>
                  </a:lnTo>
                  <a:lnTo>
                    <a:pt x="162" y="48"/>
                  </a:lnTo>
                  <a:lnTo>
                    <a:pt x="164" y="70"/>
                  </a:lnTo>
                  <a:lnTo>
                    <a:pt x="166" y="95"/>
                  </a:lnTo>
                  <a:lnTo>
                    <a:pt x="168" y="121"/>
                  </a:lnTo>
                  <a:lnTo>
                    <a:pt x="169" y="144"/>
                  </a:lnTo>
                  <a:lnTo>
                    <a:pt x="169" y="158"/>
                  </a:lnTo>
                  <a:lnTo>
                    <a:pt x="171" y="167"/>
                  </a:lnTo>
                  <a:lnTo>
                    <a:pt x="173" y="174"/>
                  </a:lnTo>
                  <a:lnTo>
                    <a:pt x="176" y="181"/>
                  </a:lnTo>
                  <a:lnTo>
                    <a:pt x="180" y="186"/>
                  </a:lnTo>
                  <a:lnTo>
                    <a:pt x="182" y="188"/>
                  </a:lnTo>
                  <a:lnTo>
                    <a:pt x="183" y="191"/>
                  </a:lnTo>
                  <a:lnTo>
                    <a:pt x="183" y="196"/>
                  </a:lnTo>
                  <a:lnTo>
                    <a:pt x="182" y="200"/>
                  </a:lnTo>
                  <a:lnTo>
                    <a:pt x="178" y="203"/>
                  </a:lnTo>
                  <a:lnTo>
                    <a:pt x="173" y="205"/>
                  </a:lnTo>
                  <a:lnTo>
                    <a:pt x="169" y="205"/>
                  </a:lnTo>
                  <a:lnTo>
                    <a:pt x="164" y="203"/>
                  </a:lnTo>
                  <a:lnTo>
                    <a:pt x="159" y="202"/>
                  </a:lnTo>
                  <a:lnTo>
                    <a:pt x="155" y="198"/>
                  </a:lnTo>
                  <a:lnTo>
                    <a:pt x="152" y="195"/>
                  </a:lnTo>
                  <a:lnTo>
                    <a:pt x="147" y="179"/>
                  </a:lnTo>
                  <a:lnTo>
                    <a:pt x="143" y="161"/>
                  </a:lnTo>
                  <a:lnTo>
                    <a:pt x="143" y="139"/>
                  </a:lnTo>
                  <a:lnTo>
                    <a:pt x="141" y="111"/>
                  </a:lnTo>
                  <a:lnTo>
                    <a:pt x="138" y="81"/>
                  </a:lnTo>
                  <a:lnTo>
                    <a:pt x="133" y="55"/>
                  </a:lnTo>
                  <a:lnTo>
                    <a:pt x="131" y="49"/>
                  </a:lnTo>
                  <a:lnTo>
                    <a:pt x="129" y="46"/>
                  </a:lnTo>
                  <a:lnTo>
                    <a:pt x="126" y="42"/>
                  </a:lnTo>
                  <a:lnTo>
                    <a:pt x="124" y="42"/>
                  </a:lnTo>
                  <a:lnTo>
                    <a:pt x="120" y="42"/>
                  </a:lnTo>
                  <a:lnTo>
                    <a:pt x="119" y="46"/>
                  </a:lnTo>
                  <a:lnTo>
                    <a:pt x="115" y="49"/>
                  </a:lnTo>
                  <a:lnTo>
                    <a:pt x="112" y="55"/>
                  </a:lnTo>
                  <a:lnTo>
                    <a:pt x="103" y="70"/>
                  </a:lnTo>
                  <a:lnTo>
                    <a:pt x="92" y="88"/>
                  </a:lnTo>
                  <a:lnTo>
                    <a:pt x="82" y="109"/>
                  </a:lnTo>
                  <a:lnTo>
                    <a:pt x="75" y="126"/>
                  </a:lnTo>
                  <a:lnTo>
                    <a:pt x="68" y="140"/>
                  </a:lnTo>
                  <a:lnTo>
                    <a:pt x="66" y="146"/>
                  </a:lnTo>
                  <a:lnTo>
                    <a:pt x="63" y="151"/>
                  </a:lnTo>
                  <a:lnTo>
                    <a:pt x="61" y="156"/>
                  </a:lnTo>
                  <a:lnTo>
                    <a:pt x="57" y="160"/>
                  </a:lnTo>
                  <a:lnTo>
                    <a:pt x="52" y="163"/>
                  </a:lnTo>
                  <a:lnTo>
                    <a:pt x="49" y="165"/>
                  </a:lnTo>
                  <a:lnTo>
                    <a:pt x="42" y="167"/>
                  </a:lnTo>
                  <a:lnTo>
                    <a:pt x="30" y="163"/>
                  </a:lnTo>
                  <a:lnTo>
                    <a:pt x="21" y="153"/>
                  </a:lnTo>
                  <a:lnTo>
                    <a:pt x="14" y="137"/>
                  </a:lnTo>
                  <a:lnTo>
                    <a:pt x="5" y="100"/>
                  </a:lnTo>
                  <a:lnTo>
                    <a:pt x="0" y="62"/>
                  </a:lnTo>
                  <a:lnTo>
                    <a:pt x="3" y="20"/>
                  </a:lnTo>
                  <a:lnTo>
                    <a:pt x="5" y="13"/>
                  </a:lnTo>
                  <a:lnTo>
                    <a:pt x="7" y="9"/>
                  </a:lnTo>
                  <a:lnTo>
                    <a:pt x="10" y="7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23" y="4"/>
                  </a:lnTo>
                  <a:lnTo>
                    <a:pt x="28" y="6"/>
                  </a:lnTo>
                  <a:lnTo>
                    <a:pt x="33" y="9"/>
                  </a:lnTo>
                  <a:lnTo>
                    <a:pt x="35" y="13"/>
                  </a:lnTo>
                  <a:lnTo>
                    <a:pt x="36" y="18"/>
                  </a:lnTo>
                  <a:lnTo>
                    <a:pt x="35" y="25"/>
                  </a:lnTo>
                  <a:lnTo>
                    <a:pt x="35" y="37"/>
                  </a:lnTo>
                  <a:lnTo>
                    <a:pt x="33" y="56"/>
                  </a:lnTo>
                  <a:lnTo>
                    <a:pt x="35" y="79"/>
                  </a:lnTo>
                  <a:lnTo>
                    <a:pt x="38" y="104"/>
                  </a:lnTo>
                  <a:lnTo>
                    <a:pt x="43" y="126"/>
                  </a:lnTo>
                  <a:lnTo>
                    <a:pt x="59" y="95"/>
                  </a:lnTo>
                  <a:lnTo>
                    <a:pt x="73" y="65"/>
                  </a:lnTo>
                  <a:lnTo>
                    <a:pt x="85" y="42"/>
                  </a:lnTo>
                  <a:lnTo>
                    <a:pt x="96" y="27"/>
                  </a:lnTo>
                  <a:lnTo>
                    <a:pt x="103" y="16"/>
                  </a:lnTo>
                  <a:lnTo>
                    <a:pt x="113" y="6"/>
                  </a:lnTo>
                  <a:lnTo>
                    <a:pt x="124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0"/>
            <p:cNvSpPr>
              <a:spLocks/>
            </p:cNvSpPr>
            <p:nvPr userDrawn="1"/>
          </p:nvSpPr>
          <p:spPr bwMode="auto">
            <a:xfrm>
              <a:off x="5440363" y="5235575"/>
              <a:ext cx="244475" cy="307975"/>
            </a:xfrm>
            <a:custGeom>
              <a:avLst/>
              <a:gdLst>
                <a:gd name="T0" fmla="*/ 77 w 154"/>
                <a:gd name="T1" fmla="*/ 0 h 194"/>
                <a:gd name="T2" fmla="*/ 90 w 154"/>
                <a:gd name="T3" fmla="*/ 0 h 194"/>
                <a:gd name="T4" fmla="*/ 95 w 154"/>
                <a:gd name="T5" fmla="*/ 1 h 194"/>
                <a:gd name="T6" fmla="*/ 97 w 154"/>
                <a:gd name="T7" fmla="*/ 3 h 194"/>
                <a:gd name="T8" fmla="*/ 98 w 154"/>
                <a:gd name="T9" fmla="*/ 7 h 194"/>
                <a:gd name="T10" fmla="*/ 98 w 154"/>
                <a:gd name="T11" fmla="*/ 10 h 194"/>
                <a:gd name="T12" fmla="*/ 97 w 154"/>
                <a:gd name="T13" fmla="*/ 15 h 194"/>
                <a:gd name="T14" fmla="*/ 93 w 154"/>
                <a:gd name="T15" fmla="*/ 19 h 194"/>
                <a:gd name="T16" fmla="*/ 90 w 154"/>
                <a:gd name="T17" fmla="*/ 22 h 194"/>
                <a:gd name="T18" fmla="*/ 84 w 154"/>
                <a:gd name="T19" fmla="*/ 24 h 194"/>
                <a:gd name="T20" fmla="*/ 72 w 154"/>
                <a:gd name="T21" fmla="*/ 31 h 194"/>
                <a:gd name="T22" fmla="*/ 60 w 154"/>
                <a:gd name="T23" fmla="*/ 43 h 194"/>
                <a:gd name="T24" fmla="*/ 49 w 154"/>
                <a:gd name="T25" fmla="*/ 63 h 194"/>
                <a:gd name="T26" fmla="*/ 39 w 154"/>
                <a:gd name="T27" fmla="*/ 91 h 194"/>
                <a:gd name="T28" fmla="*/ 34 w 154"/>
                <a:gd name="T29" fmla="*/ 112 h 194"/>
                <a:gd name="T30" fmla="*/ 34 w 154"/>
                <a:gd name="T31" fmla="*/ 131 h 194"/>
                <a:gd name="T32" fmla="*/ 37 w 154"/>
                <a:gd name="T33" fmla="*/ 147 h 194"/>
                <a:gd name="T34" fmla="*/ 42 w 154"/>
                <a:gd name="T35" fmla="*/ 161 h 194"/>
                <a:gd name="T36" fmla="*/ 53 w 154"/>
                <a:gd name="T37" fmla="*/ 168 h 194"/>
                <a:gd name="T38" fmla="*/ 67 w 154"/>
                <a:gd name="T39" fmla="*/ 169 h 194"/>
                <a:gd name="T40" fmla="*/ 81 w 154"/>
                <a:gd name="T41" fmla="*/ 166 h 194"/>
                <a:gd name="T42" fmla="*/ 97 w 154"/>
                <a:gd name="T43" fmla="*/ 157 h 194"/>
                <a:gd name="T44" fmla="*/ 109 w 154"/>
                <a:gd name="T45" fmla="*/ 140 h 194"/>
                <a:gd name="T46" fmla="*/ 119 w 154"/>
                <a:gd name="T47" fmla="*/ 117 h 194"/>
                <a:gd name="T48" fmla="*/ 126 w 154"/>
                <a:gd name="T49" fmla="*/ 94 h 194"/>
                <a:gd name="T50" fmla="*/ 125 w 154"/>
                <a:gd name="T51" fmla="*/ 75 h 194"/>
                <a:gd name="T52" fmla="*/ 121 w 154"/>
                <a:gd name="T53" fmla="*/ 59 h 194"/>
                <a:gd name="T54" fmla="*/ 112 w 154"/>
                <a:gd name="T55" fmla="*/ 49 h 194"/>
                <a:gd name="T56" fmla="*/ 104 w 154"/>
                <a:gd name="T57" fmla="*/ 43 h 194"/>
                <a:gd name="T58" fmla="*/ 98 w 154"/>
                <a:gd name="T59" fmla="*/ 42 h 194"/>
                <a:gd name="T60" fmla="*/ 95 w 154"/>
                <a:gd name="T61" fmla="*/ 38 h 194"/>
                <a:gd name="T62" fmla="*/ 93 w 154"/>
                <a:gd name="T63" fmla="*/ 35 h 194"/>
                <a:gd name="T64" fmla="*/ 93 w 154"/>
                <a:gd name="T65" fmla="*/ 31 h 194"/>
                <a:gd name="T66" fmla="*/ 93 w 154"/>
                <a:gd name="T67" fmla="*/ 29 h 194"/>
                <a:gd name="T68" fmla="*/ 95 w 154"/>
                <a:gd name="T69" fmla="*/ 26 h 194"/>
                <a:gd name="T70" fmla="*/ 97 w 154"/>
                <a:gd name="T71" fmla="*/ 24 h 194"/>
                <a:gd name="T72" fmla="*/ 100 w 154"/>
                <a:gd name="T73" fmla="*/ 22 h 194"/>
                <a:gd name="T74" fmla="*/ 104 w 154"/>
                <a:gd name="T75" fmla="*/ 21 h 194"/>
                <a:gd name="T76" fmla="*/ 109 w 154"/>
                <a:gd name="T77" fmla="*/ 22 h 194"/>
                <a:gd name="T78" fmla="*/ 128 w 154"/>
                <a:gd name="T79" fmla="*/ 31 h 194"/>
                <a:gd name="T80" fmla="*/ 144 w 154"/>
                <a:gd name="T81" fmla="*/ 47 h 194"/>
                <a:gd name="T82" fmla="*/ 152 w 154"/>
                <a:gd name="T83" fmla="*/ 70 h 194"/>
                <a:gd name="T84" fmla="*/ 154 w 154"/>
                <a:gd name="T85" fmla="*/ 98 h 194"/>
                <a:gd name="T86" fmla="*/ 147 w 154"/>
                <a:gd name="T87" fmla="*/ 129 h 194"/>
                <a:gd name="T88" fmla="*/ 133 w 154"/>
                <a:gd name="T89" fmla="*/ 154 h 194"/>
                <a:gd name="T90" fmla="*/ 116 w 154"/>
                <a:gd name="T91" fmla="*/ 175 h 194"/>
                <a:gd name="T92" fmla="*/ 95 w 154"/>
                <a:gd name="T93" fmla="*/ 189 h 194"/>
                <a:gd name="T94" fmla="*/ 69 w 154"/>
                <a:gd name="T95" fmla="*/ 194 h 194"/>
                <a:gd name="T96" fmla="*/ 41 w 154"/>
                <a:gd name="T97" fmla="*/ 190 h 194"/>
                <a:gd name="T98" fmla="*/ 23 w 154"/>
                <a:gd name="T99" fmla="*/ 180 h 194"/>
                <a:gd name="T100" fmla="*/ 11 w 154"/>
                <a:gd name="T101" fmla="*/ 164 h 194"/>
                <a:gd name="T102" fmla="*/ 2 w 154"/>
                <a:gd name="T103" fmla="*/ 145 h 194"/>
                <a:gd name="T104" fmla="*/ 0 w 154"/>
                <a:gd name="T105" fmla="*/ 124 h 194"/>
                <a:gd name="T106" fmla="*/ 2 w 154"/>
                <a:gd name="T107" fmla="*/ 101 h 194"/>
                <a:gd name="T108" fmla="*/ 7 w 154"/>
                <a:gd name="T109" fmla="*/ 77 h 194"/>
                <a:gd name="T110" fmla="*/ 20 w 154"/>
                <a:gd name="T111" fmla="*/ 50 h 194"/>
                <a:gd name="T112" fmla="*/ 32 w 154"/>
                <a:gd name="T113" fmla="*/ 31 h 194"/>
                <a:gd name="T114" fmla="*/ 46 w 154"/>
                <a:gd name="T115" fmla="*/ 15 h 194"/>
                <a:gd name="T116" fmla="*/ 62 w 154"/>
                <a:gd name="T117" fmla="*/ 5 h 194"/>
                <a:gd name="T118" fmla="*/ 77 w 154"/>
                <a:gd name="T1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94">
                  <a:moveTo>
                    <a:pt x="77" y="0"/>
                  </a:moveTo>
                  <a:lnTo>
                    <a:pt x="90" y="0"/>
                  </a:lnTo>
                  <a:lnTo>
                    <a:pt x="95" y="1"/>
                  </a:lnTo>
                  <a:lnTo>
                    <a:pt x="97" y="3"/>
                  </a:lnTo>
                  <a:lnTo>
                    <a:pt x="98" y="7"/>
                  </a:lnTo>
                  <a:lnTo>
                    <a:pt x="98" y="10"/>
                  </a:lnTo>
                  <a:lnTo>
                    <a:pt x="97" y="15"/>
                  </a:lnTo>
                  <a:lnTo>
                    <a:pt x="93" y="19"/>
                  </a:lnTo>
                  <a:lnTo>
                    <a:pt x="90" y="22"/>
                  </a:lnTo>
                  <a:lnTo>
                    <a:pt x="84" y="24"/>
                  </a:lnTo>
                  <a:lnTo>
                    <a:pt x="72" y="31"/>
                  </a:lnTo>
                  <a:lnTo>
                    <a:pt x="60" y="43"/>
                  </a:lnTo>
                  <a:lnTo>
                    <a:pt x="49" y="63"/>
                  </a:lnTo>
                  <a:lnTo>
                    <a:pt x="39" y="91"/>
                  </a:lnTo>
                  <a:lnTo>
                    <a:pt x="34" y="112"/>
                  </a:lnTo>
                  <a:lnTo>
                    <a:pt x="34" y="131"/>
                  </a:lnTo>
                  <a:lnTo>
                    <a:pt x="37" y="147"/>
                  </a:lnTo>
                  <a:lnTo>
                    <a:pt x="42" y="161"/>
                  </a:lnTo>
                  <a:lnTo>
                    <a:pt x="53" y="168"/>
                  </a:lnTo>
                  <a:lnTo>
                    <a:pt x="67" y="169"/>
                  </a:lnTo>
                  <a:lnTo>
                    <a:pt x="81" y="166"/>
                  </a:lnTo>
                  <a:lnTo>
                    <a:pt x="97" y="157"/>
                  </a:lnTo>
                  <a:lnTo>
                    <a:pt x="109" y="140"/>
                  </a:lnTo>
                  <a:lnTo>
                    <a:pt x="119" y="117"/>
                  </a:lnTo>
                  <a:lnTo>
                    <a:pt x="126" y="94"/>
                  </a:lnTo>
                  <a:lnTo>
                    <a:pt x="125" y="75"/>
                  </a:lnTo>
                  <a:lnTo>
                    <a:pt x="121" y="59"/>
                  </a:lnTo>
                  <a:lnTo>
                    <a:pt x="112" y="49"/>
                  </a:lnTo>
                  <a:lnTo>
                    <a:pt x="104" y="43"/>
                  </a:lnTo>
                  <a:lnTo>
                    <a:pt x="98" y="42"/>
                  </a:lnTo>
                  <a:lnTo>
                    <a:pt x="95" y="38"/>
                  </a:lnTo>
                  <a:lnTo>
                    <a:pt x="93" y="35"/>
                  </a:lnTo>
                  <a:lnTo>
                    <a:pt x="93" y="31"/>
                  </a:lnTo>
                  <a:lnTo>
                    <a:pt x="93" y="29"/>
                  </a:lnTo>
                  <a:lnTo>
                    <a:pt x="95" y="26"/>
                  </a:lnTo>
                  <a:lnTo>
                    <a:pt x="97" y="24"/>
                  </a:lnTo>
                  <a:lnTo>
                    <a:pt x="100" y="22"/>
                  </a:lnTo>
                  <a:lnTo>
                    <a:pt x="104" y="21"/>
                  </a:lnTo>
                  <a:lnTo>
                    <a:pt x="109" y="22"/>
                  </a:lnTo>
                  <a:lnTo>
                    <a:pt x="128" y="31"/>
                  </a:lnTo>
                  <a:lnTo>
                    <a:pt x="144" y="47"/>
                  </a:lnTo>
                  <a:lnTo>
                    <a:pt x="152" y="70"/>
                  </a:lnTo>
                  <a:lnTo>
                    <a:pt x="154" y="98"/>
                  </a:lnTo>
                  <a:lnTo>
                    <a:pt x="147" y="129"/>
                  </a:lnTo>
                  <a:lnTo>
                    <a:pt x="133" y="154"/>
                  </a:lnTo>
                  <a:lnTo>
                    <a:pt x="116" y="175"/>
                  </a:lnTo>
                  <a:lnTo>
                    <a:pt x="95" y="189"/>
                  </a:lnTo>
                  <a:lnTo>
                    <a:pt x="69" y="194"/>
                  </a:lnTo>
                  <a:lnTo>
                    <a:pt x="41" y="190"/>
                  </a:lnTo>
                  <a:lnTo>
                    <a:pt x="23" y="180"/>
                  </a:lnTo>
                  <a:lnTo>
                    <a:pt x="11" y="164"/>
                  </a:lnTo>
                  <a:lnTo>
                    <a:pt x="2" y="145"/>
                  </a:lnTo>
                  <a:lnTo>
                    <a:pt x="0" y="124"/>
                  </a:lnTo>
                  <a:lnTo>
                    <a:pt x="2" y="101"/>
                  </a:lnTo>
                  <a:lnTo>
                    <a:pt x="7" y="77"/>
                  </a:lnTo>
                  <a:lnTo>
                    <a:pt x="20" y="50"/>
                  </a:lnTo>
                  <a:lnTo>
                    <a:pt x="32" y="31"/>
                  </a:lnTo>
                  <a:lnTo>
                    <a:pt x="46" y="15"/>
                  </a:lnTo>
                  <a:lnTo>
                    <a:pt x="62" y="5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1"/>
            <p:cNvSpPr>
              <a:spLocks/>
            </p:cNvSpPr>
            <p:nvPr userDrawn="1"/>
          </p:nvSpPr>
          <p:spPr bwMode="auto">
            <a:xfrm>
              <a:off x="5703888" y="5240338"/>
              <a:ext cx="277813" cy="292100"/>
            </a:xfrm>
            <a:custGeom>
              <a:avLst/>
              <a:gdLst>
                <a:gd name="T0" fmla="*/ 21 w 175"/>
                <a:gd name="T1" fmla="*/ 0 h 184"/>
                <a:gd name="T2" fmla="*/ 30 w 175"/>
                <a:gd name="T3" fmla="*/ 5 h 184"/>
                <a:gd name="T4" fmla="*/ 35 w 175"/>
                <a:gd name="T5" fmla="*/ 16 h 184"/>
                <a:gd name="T6" fmla="*/ 39 w 175"/>
                <a:gd name="T7" fmla="*/ 44 h 184"/>
                <a:gd name="T8" fmla="*/ 51 w 175"/>
                <a:gd name="T9" fmla="*/ 86 h 184"/>
                <a:gd name="T10" fmla="*/ 63 w 175"/>
                <a:gd name="T11" fmla="*/ 116 h 184"/>
                <a:gd name="T12" fmla="*/ 69 w 175"/>
                <a:gd name="T13" fmla="*/ 126 h 184"/>
                <a:gd name="T14" fmla="*/ 74 w 175"/>
                <a:gd name="T15" fmla="*/ 130 h 184"/>
                <a:gd name="T16" fmla="*/ 79 w 175"/>
                <a:gd name="T17" fmla="*/ 128 h 184"/>
                <a:gd name="T18" fmla="*/ 88 w 175"/>
                <a:gd name="T19" fmla="*/ 117 h 184"/>
                <a:gd name="T20" fmla="*/ 105 w 175"/>
                <a:gd name="T21" fmla="*/ 91 h 184"/>
                <a:gd name="T22" fmla="*/ 126 w 175"/>
                <a:gd name="T23" fmla="*/ 49 h 184"/>
                <a:gd name="T24" fmla="*/ 137 w 175"/>
                <a:gd name="T25" fmla="*/ 21 h 184"/>
                <a:gd name="T26" fmla="*/ 140 w 175"/>
                <a:gd name="T27" fmla="*/ 11 h 184"/>
                <a:gd name="T28" fmla="*/ 147 w 175"/>
                <a:gd name="T29" fmla="*/ 4 h 184"/>
                <a:gd name="T30" fmla="*/ 156 w 175"/>
                <a:gd name="T31" fmla="*/ 2 h 184"/>
                <a:gd name="T32" fmla="*/ 165 w 175"/>
                <a:gd name="T33" fmla="*/ 5 h 184"/>
                <a:gd name="T34" fmla="*/ 168 w 175"/>
                <a:gd name="T35" fmla="*/ 16 h 184"/>
                <a:gd name="T36" fmla="*/ 168 w 175"/>
                <a:gd name="T37" fmla="*/ 28 h 184"/>
                <a:gd name="T38" fmla="*/ 167 w 175"/>
                <a:gd name="T39" fmla="*/ 72 h 184"/>
                <a:gd name="T40" fmla="*/ 168 w 175"/>
                <a:gd name="T41" fmla="*/ 116 h 184"/>
                <a:gd name="T42" fmla="*/ 175 w 175"/>
                <a:gd name="T43" fmla="*/ 168 h 184"/>
                <a:gd name="T44" fmla="*/ 175 w 175"/>
                <a:gd name="T45" fmla="*/ 179 h 184"/>
                <a:gd name="T46" fmla="*/ 170 w 175"/>
                <a:gd name="T47" fmla="*/ 184 h 184"/>
                <a:gd name="T48" fmla="*/ 163 w 175"/>
                <a:gd name="T49" fmla="*/ 184 h 184"/>
                <a:gd name="T50" fmla="*/ 158 w 175"/>
                <a:gd name="T51" fmla="*/ 182 h 184"/>
                <a:gd name="T52" fmla="*/ 151 w 175"/>
                <a:gd name="T53" fmla="*/ 177 h 184"/>
                <a:gd name="T54" fmla="*/ 147 w 175"/>
                <a:gd name="T55" fmla="*/ 166 h 184"/>
                <a:gd name="T56" fmla="*/ 140 w 175"/>
                <a:gd name="T57" fmla="*/ 110 h 184"/>
                <a:gd name="T58" fmla="*/ 130 w 175"/>
                <a:gd name="T59" fmla="*/ 96 h 184"/>
                <a:gd name="T60" fmla="*/ 112 w 175"/>
                <a:gd name="T61" fmla="*/ 135 h 184"/>
                <a:gd name="T62" fmla="*/ 90 w 175"/>
                <a:gd name="T63" fmla="*/ 159 h 184"/>
                <a:gd name="T64" fmla="*/ 60 w 175"/>
                <a:gd name="T65" fmla="*/ 154 h 184"/>
                <a:gd name="T66" fmla="*/ 34 w 175"/>
                <a:gd name="T67" fmla="*/ 123 h 184"/>
                <a:gd name="T68" fmla="*/ 14 w 175"/>
                <a:gd name="T69" fmla="*/ 75 h 184"/>
                <a:gd name="T70" fmla="*/ 2 w 175"/>
                <a:gd name="T71" fmla="*/ 30 h 184"/>
                <a:gd name="T72" fmla="*/ 0 w 175"/>
                <a:gd name="T73" fmla="*/ 11 h 184"/>
                <a:gd name="T74" fmla="*/ 14 w 175"/>
                <a:gd name="T7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5" h="184">
                  <a:moveTo>
                    <a:pt x="18" y="0"/>
                  </a:moveTo>
                  <a:lnTo>
                    <a:pt x="21" y="0"/>
                  </a:lnTo>
                  <a:lnTo>
                    <a:pt x="27" y="2"/>
                  </a:lnTo>
                  <a:lnTo>
                    <a:pt x="30" y="5"/>
                  </a:lnTo>
                  <a:lnTo>
                    <a:pt x="32" y="9"/>
                  </a:lnTo>
                  <a:lnTo>
                    <a:pt x="35" y="16"/>
                  </a:lnTo>
                  <a:lnTo>
                    <a:pt x="35" y="23"/>
                  </a:lnTo>
                  <a:lnTo>
                    <a:pt x="39" y="44"/>
                  </a:lnTo>
                  <a:lnTo>
                    <a:pt x="44" y="65"/>
                  </a:lnTo>
                  <a:lnTo>
                    <a:pt x="51" y="86"/>
                  </a:lnTo>
                  <a:lnTo>
                    <a:pt x="58" y="103"/>
                  </a:lnTo>
                  <a:lnTo>
                    <a:pt x="63" y="116"/>
                  </a:lnTo>
                  <a:lnTo>
                    <a:pt x="65" y="121"/>
                  </a:lnTo>
                  <a:lnTo>
                    <a:pt x="69" y="126"/>
                  </a:lnTo>
                  <a:lnTo>
                    <a:pt x="70" y="130"/>
                  </a:lnTo>
                  <a:lnTo>
                    <a:pt x="74" y="130"/>
                  </a:lnTo>
                  <a:lnTo>
                    <a:pt x="76" y="130"/>
                  </a:lnTo>
                  <a:lnTo>
                    <a:pt x="79" y="128"/>
                  </a:lnTo>
                  <a:lnTo>
                    <a:pt x="83" y="124"/>
                  </a:lnTo>
                  <a:lnTo>
                    <a:pt x="88" y="117"/>
                  </a:lnTo>
                  <a:lnTo>
                    <a:pt x="95" y="107"/>
                  </a:lnTo>
                  <a:lnTo>
                    <a:pt x="105" y="91"/>
                  </a:lnTo>
                  <a:lnTo>
                    <a:pt x="116" y="72"/>
                  </a:lnTo>
                  <a:lnTo>
                    <a:pt x="126" y="49"/>
                  </a:lnTo>
                  <a:lnTo>
                    <a:pt x="135" y="26"/>
                  </a:lnTo>
                  <a:lnTo>
                    <a:pt x="137" y="21"/>
                  </a:lnTo>
                  <a:lnTo>
                    <a:pt x="139" y="16"/>
                  </a:lnTo>
                  <a:lnTo>
                    <a:pt x="140" y="11"/>
                  </a:lnTo>
                  <a:lnTo>
                    <a:pt x="142" y="7"/>
                  </a:lnTo>
                  <a:lnTo>
                    <a:pt x="147" y="4"/>
                  </a:lnTo>
                  <a:lnTo>
                    <a:pt x="151" y="2"/>
                  </a:lnTo>
                  <a:lnTo>
                    <a:pt x="156" y="2"/>
                  </a:lnTo>
                  <a:lnTo>
                    <a:pt x="161" y="2"/>
                  </a:lnTo>
                  <a:lnTo>
                    <a:pt x="165" y="5"/>
                  </a:lnTo>
                  <a:lnTo>
                    <a:pt x="167" y="11"/>
                  </a:lnTo>
                  <a:lnTo>
                    <a:pt x="168" y="16"/>
                  </a:lnTo>
                  <a:lnTo>
                    <a:pt x="168" y="21"/>
                  </a:lnTo>
                  <a:lnTo>
                    <a:pt x="168" y="28"/>
                  </a:lnTo>
                  <a:lnTo>
                    <a:pt x="168" y="51"/>
                  </a:lnTo>
                  <a:lnTo>
                    <a:pt x="167" y="72"/>
                  </a:lnTo>
                  <a:lnTo>
                    <a:pt x="167" y="89"/>
                  </a:lnTo>
                  <a:lnTo>
                    <a:pt x="168" y="116"/>
                  </a:lnTo>
                  <a:lnTo>
                    <a:pt x="172" y="145"/>
                  </a:lnTo>
                  <a:lnTo>
                    <a:pt x="175" y="168"/>
                  </a:lnTo>
                  <a:lnTo>
                    <a:pt x="175" y="173"/>
                  </a:lnTo>
                  <a:lnTo>
                    <a:pt x="175" y="179"/>
                  </a:lnTo>
                  <a:lnTo>
                    <a:pt x="174" y="182"/>
                  </a:lnTo>
                  <a:lnTo>
                    <a:pt x="170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60" y="184"/>
                  </a:lnTo>
                  <a:lnTo>
                    <a:pt x="158" y="182"/>
                  </a:lnTo>
                  <a:lnTo>
                    <a:pt x="153" y="180"/>
                  </a:lnTo>
                  <a:lnTo>
                    <a:pt x="151" y="177"/>
                  </a:lnTo>
                  <a:lnTo>
                    <a:pt x="149" y="172"/>
                  </a:lnTo>
                  <a:lnTo>
                    <a:pt x="147" y="166"/>
                  </a:lnTo>
                  <a:lnTo>
                    <a:pt x="144" y="142"/>
                  </a:lnTo>
                  <a:lnTo>
                    <a:pt x="140" y="110"/>
                  </a:lnTo>
                  <a:lnTo>
                    <a:pt x="139" y="79"/>
                  </a:lnTo>
                  <a:lnTo>
                    <a:pt x="130" y="96"/>
                  </a:lnTo>
                  <a:lnTo>
                    <a:pt x="121" y="116"/>
                  </a:lnTo>
                  <a:lnTo>
                    <a:pt x="112" y="135"/>
                  </a:lnTo>
                  <a:lnTo>
                    <a:pt x="100" y="149"/>
                  </a:lnTo>
                  <a:lnTo>
                    <a:pt x="90" y="159"/>
                  </a:lnTo>
                  <a:lnTo>
                    <a:pt x="76" y="161"/>
                  </a:lnTo>
                  <a:lnTo>
                    <a:pt x="60" y="154"/>
                  </a:lnTo>
                  <a:lnTo>
                    <a:pt x="46" y="140"/>
                  </a:lnTo>
                  <a:lnTo>
                    <a:pt x="34" y="123"/>
                  </a:lnTo>
                  <a:lnTo>
                    <a:pt x="23" y="100"/>
                  </a:lnTo>
                  <a:lnTo>
                    <a:pt x="14" y="75"/>
                  </a:lnTo>
                  <a:lnTo>
                    <a:pt x="7" y="51"/>
                  </a:lnTo>
                  <a:lnTo>
                    <a:pt x="2" y="30"/>
                  </a:lnTo>
                  <a:lnTo>
                    <a:pt x="0" y="19"/>
                  </a:lnTo>
                  <a:lnTo>
                    <a:pt x="0" y="11"/>
                  </a:lnTo>
                  <a:lnTo>
                    <a:pt x="4" y="4"/>
                  </a:lnTo>
                  <a:lnTo>
                    <a:pt x="14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2"/>
            <p:cNvSpPr>
              <a:spLocks/>
            </p:cNvSpPr>
            <p:nvPr userDrawn="1"/>
          </p:nvSpPr>
          <p:spPr bwMode="auto">
            <a:xfrm>
              <a:off x="6043613" y="5221288"/>
              <a:ext cx="227013" cy="296863"/>
            </a:xfrm>
            <a:custGeom>
              <a:avLst/>
              <a:gdLst>
                <a:gd name="T0" fmla="*/ 136 w 143"/>
                <a:gd name="T1" fmla="*/ 5 h 187"/>
                <a:gd name="T2" fmla="*/ 143 w 143"/>
                <a:gd name="T3" fmla="*/ 28 h 187"/>
                <a:gd name="T4" fmla="*/ 134 w 143"/>
                <a:gd name="T5" fmla="*/ 51 h 187"/>
                <a:gd name="T6" fmla="*/ 127 w 143"/>
                <a:gd name="T7" fmla="*/ 61 h 187"/>
                <a:gd name="T8" fmla="*/ 119 w 143"/>
                <a:gd name="T9" fmla="*/ 63 h 187"/>
                <a:gd name="T10" fmla="*/ 112 w 143"/>
                <a:gd name="T11" fmla="*/ 61 h 187"/>
                <a:gd name="T12" fmla="*/ 110 w 143"/>
                <a:gd name="T13" fmla="*/ 58 h 187"/>
                <a:gd name="T14" fmla="*/ 112 w 143"/>
                <a:gd name="T15" fmla="*/ 51 h 187"/>
                <a:gd name="T16" fmla="*/ 112 w 143"/>
                <a:gd name="T17" fmla="*/ 44 h 187"/>
                <a:gd name="T18" fmla="*/ 108 w 143"/>
                <a:gd name="T19" fmla="*/ 40 h 187"/>
                <a:gd name="T20" fmla="*/ 94 w 143"/>
                <a:gd name="T21" fmla="*/ 44 h 187"/>
                <a:gd name="T22" fmla="*/ 71 w 143"/>
                <a:gd name="T23" fmla="*/ 87 h 187"/>
                <a:gd name="T24" fmla="*/ 56 w 143"/>
                <a:gd name="T25" fmla="*/ 149 h 187"/>
                <a:gd name="T26" fmla="*/ 52 w 143"/>
                <a:gd name="T27" fmla="*/ 178 h 187"/>
                <a:gd name="T28" fmla="*/ 49 w 143"/>
                <a:gd name="T29" fmla="*/ 185 h 187"/>
                <a:gd name="T30" fmla="*/ 42 w 143"/>
                <a:gd name="T31" fmla="*/ 187 h 187"/>
                <a:gd name="T32" fmla="*/ 31 w 143"/>
                <a:gd name="T33" fmla="*/ 187 h 187"/>
                <a:gd name="T34" fmla="*/ 24 w 143"/>
                <a:gd name="T35" fmla="*/ 182 h 187"/>
                <a:gd name="T36" fmla="*/ 19 w 143"/>
                <a:gd name="T37" fmla="*/ 171 h 187"/>
                <a:gd name="T38" fmla="*/ 14 w 143"/>
                <a:gd name="T39" fmla="*/ 138 h 187"/>
                <a:gd name="T40" fmla="*/ 9 w 143"/>
                <a:gd name="T41" fmla="*/ 100 h 187"/>
                <a:gd name="T42" fmla="*/ 3 w 143"/>
                <a:gd name="T43" fmla="*/ 52 h 187"/>
                <a:gd name="T44" fmla="*/ 0 w 143"/>
                <a:gd name="T45" fmla="*/ 23 h 187"/>
                <a:gd name="T46" fmla="*/ 0 w 143"/>
                <a:gd name="T47" fmla="*/ 12 h 187"/>
                <a:gd name="T48" fmla="*/ 3 w 143"/>
                <a:gd name="T49" fmla="*/ 7 h 187"/>
                <a:gd name="T50" fmla="*/ 12 w 143"/>
                <a:gd name="T51" fmla="*/ 3 h 187"/>
                <a:gd name="T52" fmla="*/ 23 w 143"/>
                <a:gd name="T53" fmla="*/ 7 h 187"/>
                <a:gd name="T54" fmla="*/ 28 w 143"/>
                <a:gd name="T55" fmla="*/ 14 h 187"/>
                <a:gd name="T56" fmla="*/ 33 w 143"/>
                <a:gd name="T57" fmla="*/ 38 h 187"/>
                <a:gd name="T58" fmla="*/ 38 w 143"/>
                <a:gd name="T59" fmla="*/ 91 h 187"/>
                <a:gd name="T60" fmla="*/ 49 w 143"/>
                <a:gd name="T61" fmla="*/ 82 h 187"/>
                <a:gd name="T62" fmla="*/ 75 w 143"/>
                <a:gd name="T63" fmla="*/ 26 h 187"/>
                <a:gd name="T64" fmla="*/ 106 w 143"/>
                <a:gd name="T6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3" h="187">
                  <a:moveTo>
                    <a:pt x="126" y="0"/>
                  </a:moveTo>
                  <a:lnTo>
                    <a:pt x="136" y="5"/>
                  </a:lnTo>
                  <a:lnTo>
                    <a:pt x="141" y="16"/>
                  </a:lnTo>
                  <a:lnTo>
                    <a:pt x="143" y="28"/>
                  </a:lnTo>
                  <a:lnTo>
                    <a:pt x="140" y="42"/>
                  </a:lnTo>
                  <a:lnTo>
                    <a:pt x="134" y="51"/>
                  </a:lnTo>
                  <a:lnTo>
                    <a:pt x="131" y="56"/>
                  </a:lnTo>
                  <a:lnTo>
                    <a:pt x="127" y="61"/>
                  </a:lnTo>
                  <a:lnTo>
                    <a:pt x="122" y="63"/>
                  </a:lnTo>
                  <a:lnTo>
                    <a:pt x="119" y="63"/>
                  </a:lnTo>
                  <a:lnTo>
                    <a:pt x="113" y="63"/>
                  </a:lnTo>
                  <a:lnTo>
                    <a:pt x="112" y="61"/>
                  </a:lnTo>
                  <a:lnTo>
                    <a:pt x="110" y="59"/>
                  </a:lnTo>
                  <a:lnTo>
                    <a:pt x="110" y="58"/>
                  </a:lnTo>
                  <a:lnTo>
                    <a:pt x="112" y="54"/>
                  </a:lnTo>
                  <a:lnTo>
                    <a:pt x="112" y="51"/>
                  </a:lnTo>
                  <a:lnTo>
                    <a:pt x="112" y="47"/>
                  </a:lnTo>
                  <a:lnTo>
                    <a:pt x="112" y="44"/>
                  </a:lnTo>
                  <a:lnTo>
                    <a:pt x="112" y="42"/>
                  </a:lnTo>
                  <a:lnTo>
                    <a:pt x="108" y="40"/>
                  </a:lnTo>
                  <a:lnTo>
                    <a:pt x="105" y="38"/>
                  </a:lnTo>
                  <a:lnTo>
                    <a:pt x="94" y="44"/>
                  </a:lnTo>
                  <a:lnTo>
                    <a:pt x="84" y="59"/>
                  </a:lnTo>
                  <a:lnTo>
                    <a:pt x="71" y="87"/>
                  </a:lnTo>
                  <a:lnTo>
                    <a:pt x="63" y="121"/>
                  </a:lnTo>
                  <a:lnTo>
                    <a:pt x="56" y="149"/>
                  </a:lnTo>
                  <a:lnTo>
                    <a:pt x="54" y="173"/>
                  </a:lnTo>
                  <a:lnTo>
                    <a:pt x="52" y="178"/>
                  </a:lnTo>
                  <a:lnTo>
                    <a:pt x="50" y="184"/>
                  </a:lnTo>
                  <a:lnTo>
                    <a:pt x="49" y="185"/>
                  </a:lnTo>
                  <a:lnTo>
                    <a:pt x="45" y="187"/>
                  </a:lnTo>
                  <a:lnTo>
                    <a:pt x="42" y="187"/>
                  </a:lnTo>
                  <a:lnTo>
                    <a:pt x="38" y="187"/>
                  </a:lnTo>
                  <a:lnTo>
                    <a:pt x="31" y="187"/>
                  </a:lnTo>
                  <a:lnTo>
                    <a:pt x="28" y="184"/>
                  </a:lnTo>
                  <a:lnTo>
                    <a:pt x="24" y="182"/>
                  </a:lnTo>
                  <a:lnTo>
                    <a:pt x="23" y="178"/>
                  </a:lnTo>
                  <a:lnTo>
                    <a:pt x="19" y="171"/>
                  </a:lnTo>
                  <a:lnTo>
                    <a:pt x="16" y="159"/>
                  </a:lnTo>
                  <a:lnTo>
                    <a:pt x="14" y="138"/>
                  </a:lnTo>
                  <a:lnTo>
                    <a:pt x="12" y="121"/>
                  </a:lnTo>
                  <a:lnTo>
                    <a:pt x="9" y="100"/>
                  </a:lnTo>
                  <a:lnTo>
                    <a:pt x="7" y="75"/>
                  </a:lnTo>
                  <a:lnTo>
                    <a:pt x="3" y="52"/>
                  </a:lnTo>
                  <a:lnTo>
                    <a:pt x="2" y="35"/>
                  </a:lnTo>
                  <a:lnTo>
                    <a:pt x="0" y="23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2" y="9"/>
                  </a:lnTo>
                  <a:lnTo>
                    <a:pt x="3" y="7"/>
                  </a:lnTo>
                  <a:lnTo>
                    <a:pt x="7" y="5"/>
                  </a:lnTo>
                  <a:lnTo>
                    <a:pt x="12" y="3"/>
                  </a:lnTo>
                  <a:lnTo>
                    <a:pt x="19" y="5"/>
                  </a:lnTo>
                  <a:lnTo>
                    <a:pt x="23" y="7"/>
                  </a:lnTo>
                  <a:lnTo>
                    <a:pt x="26" y="10"/>
                  </a:lnTo>
                  <a:lnTo>
                    <a:pt x="28" y="14"/>
                  </a:lnTo>
                  <a:lnTo>
                    <a:pt x="30" y="19"/>
                  </a:lnTo>
                  <a:lnTo>
                    <a:pt x="33" y="38"/>
                  </a:lnTo>
                  <a:lnTo>
                    <a:pt x="36" y="63"/>
                  </a:lnTo>
                  <a:lnTo>
                    <a:pt x="38" y="91"/>
                  </a:lnTo>
                  <a:lnTo>
                    <a:pt x="42" y="119"/>
                  </a:lnTo>
                  <a:lnTo>
                    <a:pt x="49" y="82"/>
                  </a:lnTo>
                  <a:lnTo>
                    <a:pt x="61" y="51"/>
                  </a:lnTo>
                  <a:lnTo>
                    <a:pt x="75" y="26"/>
                  </a:lnTo>
                  <a:lnTo>
                    <a:pt x="89" y="9"/>
                  </a:lnTo>
                  <a:lnTo>
                    <a:pt x="106" y="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3"/>
            <p:cNvSpPr>
              <a:spLocks/>
            </p:cNvSpPr>
            <p:nvPr userDrawn="1"/>
          </p:nvSpPr>
          <p:spPr bwMode="auto">
            <a:xfrm>
              <a:off x="6329363" y="5248275"/>
              <a:ext cx="85725" cy="261938"/>
            </a:xfrm>
            <a:custGeom>
              <a:avLst/>
              <a:gdLst>
                <a:gd name="T0" fmla="*/ 21 w 54"/>
                <a:gd name="T1" fmla="*/ 0 h 165"/>
                <a:gd name="T2" fmla="*/ 26 w 54"/>
                <a:gd name="T3" fmla="*/ 2 h 165"/>
                <a:gd name="T4" fmla="*/ 31 w 54"/>
                <a:gd name="T5" fmla="*/ 4 h 165"/>
                <a:gd name="T6" fmla="*/ 33 w 54"/>
                <a:gd name="T7" fmla="*/ 6 h 165"/>
                <a:gd name="T8" fmla="*/ 35 w 54"/>
                <a:gd name="T9" fmla="*/ 11 h 165"/>
                <a:gd name="T10" fmla="*/ 37 w 54"/>
                <a:gd name="T11" fmla="*/ 14 h 165"/>
                <a:gd name="T12" fmla="*/ 37 w 54"/>
                <a:gd name="T13" fmla="*/ 20 h 165"/>
                <a:gd name="T14" fmla="*/ 37 w 54"/>
                <a:gd name="T15" fmla="*/ 35 h 165"/>
                <a:gd name="T16" fmla="*/ 37 w 54"/>
                <a:gd name="T17" fmla="*/ 62 h 165"/>
                <a:gd name="T18" fmla="*/ 38 w 54"/>
                <a:gd name="T19" fmla="*/ 93 h 165"/>
                <a:gd name="T20" fmla="*/ 40 w 54"/>
                <a:gd name="T21" fmla="*/ 119 h 165"/>
                <a:gd name="T22" fmla="*/ 44 w 54"/>
                <a:gd name="T23" fmla="*/ 137 h 165"/>
                <a:gd name="T24" fmla="*/ 51 w 54"/>
                <a:gd name="T25" fmla="*/ 149 h 165"/>
                <a:gd name="T26" fmla="*/ 52 w 54"/>
                <a:gd name="T27" fmla="*/ 151 h 165"/>
                <a:gd name="T28" fmla="*/ 52 w 54"/>
                <a:gd name="T29" fmla="*/ 154 h 165"/>
                <a:gd name="T30" fmla="*/ 54 w 54"/>
                <a:gd name="T31" fmla="*/ 158 h 165"/>
                <a:gd name="T32" fmla="*/ 52 w 54"/>
                <a:gd name="T33" fmla="*/ 160 h 165"/>
                <a:gd name="T34" fmla="*/ 51 w 54"/>
                <a:gd name="T35" fmla="*/ 163 h 165"/>
                <a:gd name="T36" fmla="*/ 47 w 54"/>
                <a:gd name="T37" fmla="*/ 165 h 165"/>
                <a:gd name="T38" fmla="*/ 38 w 54"/>
                <a:gd name="T39" fmla="*/ 165 h 165"/>
                <a:gd name="T40" fmla="*/ 30 w 54"/>
                <a:gd name="T41" fmla="*/ 163 h 165"/>
                <a:gd name="T42" fmla="*/ 21 w 54"/>
                <a:gd name="T43" fmla="*/ 156 h 165"/>
                <a:gd name="T44" fmla="*/ 16 w 54"/>
                <a:gd name="T45" fmla="*/ 144 h 165"/>
                <a:gd name="T46" fmla="*/ 9 w 54"/>
                <a:gd name="T47" fmla="*/ 121 h 165"/>
                <a:gd name="T48" fmla="*/ 5 w 54"/>
                <a:gd name="T49" fmla="*/ 95 h 165"/>
                <a:gd name="T50" fmla="*/ 2 w 54"/>
                <a:gd name="T51" fmla="*/ 67 h 165"/>
                <a:gd name="T52" fmla="*/ 0 w 54"/>
                <a:gd name="T53" fmla="*/ 44 h 165"/>
                <a:gd name="T54" fmla="*/ 0 w 54"/>
                <a:gd name="T55" fmla="*/ 25 h 165"/>
                <a:gd name="T56" fmla="*/ 0 w 54"/>
                <a:gd name="T57" fmla="*/ 18 h 165"/>
                <a:gd name="T58" fmla="*/ 2 w 54"/>
                <a:gd name="T59" fmla="*/ 11 h 165"/>
                <a:gd name="T60" fmla="*/ 5 w 54"/>
                <a:gd name="T61" fmla="*/ 6 h 165"/>
                <a:gd name="T62" fmla="*/ 9 w 54"/>
                <a:gd name="T63" fmla="*/ 2 h 165"/>
                <a:gd name="T64" fmla="*/ 14 w 54"/>
                <a:gd name="T65" fmla="*/ 0 h 165"/>
                <a:gd name="T66" fmla="*/ 21 w 54"/>
                <a:gd name="T67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165">
                  <a:moveTo>
                    <a:pt x="21" y="0"/>
                  </a:moveTo>
                  <a:lnTo>
                    <a:pt x="26" y="2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5" y="11"/>
                  </a:lnTo>
                  <a:lnTo>
                    <a:pt x="37" y="14"/>
                  </a:lnTo>
                  <a:lnTo>
                    <a:pt x="37" y="20"/>
                  </a:lnTo>
                  <a:lnTo>
                    <a:pt x="37" y="35"/>
                  </a:lnTo>
                  <a:lnTo>
                    <a:pt x="37" y="62"/>
                  </a:lnTo>
                  <a:lnTo>
                    <a:pt x="38" y="93"/>
                  </a:lnTo>
                  <a:lnTo>
                    <a:pt x="40" y="119"/>
                  </a:lnTo>
                  <a:lnTo>
                    <a:pt x="44" y="137"/>
                  </a:lnTo>
                  <a:lnTo>
                    <a:pt x="51" y="149"/>
                  </a:lnTo>
                  <a:lnTo>
                    <a:pt x="52" y="151"/>
                  </a:lnTo>
                  <a:lnTo>
                    <a:pt x="52" y="154"/>
                  </a:lnTo>
                  <a:lnTo>
                    <a:pt x="54" y="158"/>
                  </a:lnTo>
                  <a:lnTo>
                    <a:pt x="52" y="160"/>
                  </a:lnTo>
                  <a:lnTo>
                    <a:pt x="51" y="163"/>
                  </a:lnTo>
                  <a:lnTo>
                    <a:pt x="47" y="165"/>
                  </a:lnTo>
                  <a:lnTo>
                    <a:pt x="38" y="165"/>
                  </a:lnTo>
                  <a:lnTo>
                    <a:pt x="30" y="163"/>
                  </a:lnTo>
                  <a:lnTo>
                    <a:pt x="21" y="156"/>
                  </a:lnTo>
                  <a:lnTo>
                    <a:pt x="16" y="144"/>
                  </a:lnTo>
                  <a:lnTo>
                    <a:pt x="9" y="121"/>
                  </a:lnTo>
                  <a:lnTo>
                    <a:pt x="5" y="95"/>
                  </a:lnTo>
                  <a:lnTo>
                    <a:pt x="2" y="67"/>
                  </a:lnTo>
                  <a:lnTo>
                    <a:pt x="0" y="44"/>
                  </a:lnTo>
                  <a:lnTo>
                    <a:pt x="0" y="25"/>
                  </a:lnTo>
                  <a:lnTo>
                    <a:pt x="0" y="18"/>
                  </a:lnTo>
                  <a:lnTo>
                    <a:pt x="2" y="11"/>
                  </a:lnTo>
                  <a:lnTo>
                    <a:pt x="5" y="6"/>
                  </a:lnTo>
                  <a:lnTo>
                    <a:pt x="9" y="2"/>
                  </a:lnTo>
                  <a:lnTo>
                    <a:pt x="14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4"/>
            <p:cNvSpPr>
              <a:spLocks/>
            </p:cNvSpPr>
            <p:nvPr userDrawn="1"/>
          </p:nvSpPr>
          <p:spPr bwMode="auto">
            <a:xfrm>
              <a:off x="6334126" y="5121275"/>
              <a:ext cx="61913" cy="38100"/>
            </a:xfrm>
            <a:custGeom>
              <a:avLst/>
              <a:gdLst>
                <a:gd name="T0" fmla="*/ 20 w 39"/>
                <a:gd name="T1" fmla="*/ 0 h 24"/>
                <a:gd name="T2" fmla="*/ 27 w 39"/>
                <a:gd name="T3" fmla="*/ 0 h 24"/>
                <a:gd name="T4" fmla="*/ 32 w 39"/>
                <a:gd name="T5" fmla="*/ 3 h 24"/>
                <a:gd name="T6" fmla="*/ 35 w 39"/>
                <a:gd name="T7" fmla="*/ 7 h 24"/>
                <a:gd name="T8" fmla="*/ 39 w 39"/>
                <a:gd name="T9" fmla="*/ 10 h 24"/>
                <a:gd name="T10" fmla="*/ 39 w 39"/>
                <a:gd name="T11" fmla="*/ 14 h 24"/>
                <a:gd name="T12" fmla="*/ 37 w 39"/>
                <a:gd name="T13" fmla="*/ 17 h 24"/>
                <a:gd name="T14" fmla="*/ 35 w 39"/>
                <a:gd name="T15" fmla="*/ 19 h 24"/>
                <a:gd name="T16" fmla="*/ 30 w 39"/>
                <a:gd name="T17" fmla="*/ 21 h 24"/>
                <a:gd name="T18" fmla="*/ 27 w 39"/>
                <a:gd name="T19" fmla="*/ 23 h 24"/>
                <a:gd name="T20" fmla="*/ 20 w 39"/>
                <a:gd name="T21" fmla="*/ 24 h 24"/>
                <a:gd name="T22" fmla="*/ 16 w 39"/>
                <a:gd name="T23" fmla="*/ 24 h 24"/>
                <a:gd name="T24" fmla="*/ 13 w 39"/>
                <a:gd name="T25" fmla="*/ 23 h 24"/>
                <a:gd name="T26" fmla="*/ 7 w 39"/>
                <a:gd name="T27" fmla="*/ 23 h 24"/>
                <a:gd name="T28" fmla="*/ 4 w 39"/>
                <a:gd name="T29" fmla="*/ 21 h 24"/>
                <a:gd name="T30" fmla="*/ 2 w 39"/>
                <a:gd name="T31" fmla="*/ 17 h 24"/>
                <a:gd name="T32" fmla="*/ 0 w 39"/>
                <a:gd name="T33" fmla="*/ 14 h 24"/>
                <a:gd name="T34" fmla="*/ 0 w 39"/>
                <a:gd name="T35" fmla="*/ 10 h 24"/>
                <a:gd name="T36" fmla="*/ 2 w 39"/>
                <a:gd name="T37" fmla="*/ 7 h 24"/>
                <a:gd name="T38" fmla="*/ 4 w 39"/>
                <a:gd name="T39" fmla="*/ 3 h 24"/>
                <a:gd name="T40" fmla="*/ 6 w 39"/>
                <a:gd name="T41" fmla="*/ 2 h 24"/>
                <a:gd name="T42" fmla="*/ 9 w 39"/>
                <a:gd name="T43" fmla="*/ 0 h 24"/>
                <a:gd name="T44" fmla="*/ 14 w 39"/>
                <a:gd name="T45" fmla="*/ 0 h 24"/>
                <a:gd name="T46" fmla="*/ 20 w 39"/>
                <a:gd name="T4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24">
                  <a:moveTo>
                    <a:pt x="20" y="0"/>
                  </a:moveTo>
                  <a:lnTo>
                    <a:pt x="27" y="0"/>
                  </a:lnTo>
                  <a:lnTo>
                    <a:pt x="32" y="3"/>
                  </a:lnTo>
                  <a:lnTo>
                    <a:pt x="35" y="7"/>
                  </a:lnTo>
                  <a:lnTo>
                    <a:pt x="39" y="10"/>
                  </a:lnTo>
                  <a:lnTo>
                    <a:pt x="39" y="14"/>
                  </a:lnTo>
                  <a:lnTo>
                    <a:pt x="37" y="17"/>
                  </a:lnTo>
                  <a:lnTo>
                    <a:pt x="35" y="19"/>
                  </a:lnTo>
                  <a:lnTo>
                    <a:pt x="30" y="21"/>
                  </a:lnTo>
                  <a:lnTo>
                    <a:pt x="27" y="23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7"/>
                  </a:lnTo>
                  <a:lnTo>
                    <a:pt x="4" y="3"/>
                  </a:lnTo>
                  <a:lnTo>
                    <a:pt x="6" y="2"/>
                  </a:lnTo>
                  <a:lnTo>
                    <a:pt x="9" y="0"/>
                  </a:lnTo>
                  <a:lnTo>
                    <a:pt x="14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5"/>
            <p:cNvSpPr>
              <a:spLocks/>
            </p:cNvSpPr>
            <p:nvPr userDrawn="1"/>
          </p:nvSpPr>
          <p:spPr bwMode="auto">
            <a:xfrm>
              <a:off x="6440488" y="5170488"/>
              <a:ext cx="211138" cy="414338"/>
            </a:xfrm>
            <a:custGeom>
              <a:avLst/>
              <a:gdLst>
                <a:gd name="T0" fmla="*/ 72 w 133"/>
                <a:gd name="T1" fmla="*/ 2 h 261"/>
                <a:gd name="T2" fmla="*/ 99 w 133"/>
                <a:gd name="T3" fmla="*/ 14 h 261"/>
                <a:gd name="T4" fmla="*/ 112 w 133"/>
                <a:gd name="T5" fmla="*/ 39 h 261"/>
                <a:gd name="T6" fmla="*/ 99 w 133"/>
                <a:gd name="T7" fmla="*/ 55 h 261"/>
                <a:gd name="T8" fmla="*/ 89 w 133"/>
                <a:gd name="T9" fmla="*/ 55 h 261"/>
                <a:gd name="T10" fmla="*/ 82 w 133"/>
                <a:gd name="T11" fmla="*/ 49 h 261"/>
                <a:gd name="T12" fmla="*/ 73 w 133"/>
                <a:gd name="T13" fmla="*/ 34 h 261"/>
                <a:gd name="T14" fmla="*/ 54 w 133"/>
                <a:gd name="T15" fmla="*/ 27 h 261"/>
                <a:gd name="T16" fmla="*/ 38 w 133"/>
                <a:gd name="T17" fmla="*/ 30 h 261"/>
                <a:gd name="T18" fmla="*/ 33 w 133"/>
                <a:gd name="T19" fmla="*/ 39 h 261"/>
                <a:gd name="T20" fmla="*/ 35 w 133"/>
                <a:gd name="T21" fmla="*/ 49 h 261"/>
                <a:gd name="T22" fmla="*/ 45 w 133"/>
                <a:gd name="T23" fmla="*/ 65 h 261"/>
                <a:gd name="T24" fmla="*/ 72 w 133"/>
                <a:gd name="T25" fmla="*/ 90 h 261"/>
                <a:gd name="T26" fmla="*/ 105 w 133"/>
                <a:gd name="T27" fmla="*/ 123 h 261"/>
                <a:gd name="T28" fmla="*/ 129 w 133"/>
                <a:gd name="T29" fmla="*/ 158 h 261"/>
                <a:gd name="T30" fmla="*/ 127 w 133"/>
                <a:gd name="T31" fmla="*/ 198 h 261"/>
                <a:gd name="T32" fmla="*/ 99 w 133"/>
                <a:gd name="T33" fmla="*/ 235 h 261"/>
                <a:gd name="T34" fmla="*/ 66 w 133"/>
                <a:gd name="T35" fmla="*/ 256 h 261"/>
                <a:gd name="T36" fmla="*/ 35 w 133"/>
                <a:gd name="T37" fmla="*/ 261 h 261"/>
                <a:gd name="T38" fmla="*/ 16 w 133"/>
                <a:gd name="T39" fmla="*/ 251 h 261"/>
                <a:gd name="T40" fmla="*/ 3 w 133"/>
                <a:gd name="T41" fmla="*/ 235 h 261"/>
                <a:gd name="T42" fmla="*/ 2 w 133"/>
                <a:gd name="T43" fmla="*/ 217 h 261"/>
                <a:gd name="T44" fmla="*/ 7 w 133"/>
                <a:gd name="T45" fmla="*/ 214 h 261"/>
                <a:gd name="T46" fmla="*/ 12 w 133"/>
                <a:gd name="T47" fmla="*/ 216 h 261"/>
                <a:gd name="T48" fmla="*/ 21 w 133"/>
                <a:gd name="T49" fmla="*/ 226 h 261"/>
                <a:gd name="T50" fmla="*/ 44 w 133"/>
                <a:gd name="T51" fmla="*/ 237 h 261"/>
                <a:gd name="T52" fmla="*/ 82 w 133"/>
                <a:gd name="T53" fmla="*/ 219 h 261"/>
                <a:gd name="T54" fmla="*/ 101 w 133"/>
                <a:gd name="T55" fmla="*/ 181 h 261"/>
                <a:gd name="T56" fmla="*/ 87 w 133"/>
                <a:gd name="T57" fmla="*/ 146 h 261"/>
                <a:gd name="T58" fmla="*/ 47 w 133"/>
                <a:gd name="T59" fmla="*/ 107 h 261"/>
                <a:gd name="T60" fmla="*/ 12 w 133"/>
                <a:gd name="T61" fmla="*/ 70 h 261"/>
                <a:gd name="T62" fmla="*/ 0 w 133"/>
                <a:gd name="T63" fmla="*/ 39 h 261"/>
                <a:gd name="T64" fmla="*/ 12 w 133"/>
                <a:gd name="T65" fmla="*/ 13 h 261"/>
                <a:gd name="T66" fmla="*/ 51 w 133"/>
                <a:gd name="T6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3" h="261">
                  <a:moveTo>
                    <a:pt x="51" y="0"/>
                  </a:moveTo>
                  <a:lnTo>
                    <a:pt x="72" y="2"/>
                  </a:lnTo>
                  <a:lnTo>
                    <a:pt x="87" y="7"/>
                  </a:lnTo>
                  <a:lnTo>
                    <a:pt x="99" y="14"/>
                  </a:lnTo>
                  <a:lnTo>
                    <a:pt x="108" y="25"/>
                  </a:lnTo>
                  <a:lnTo>
                    <a:pt x="112" y="39"/>
                  </a:lnTo>
                  <a:lnTo>
                    <a:pt x="108" y="49"/>
                  </a:lnTo>
                  <a:lnTo>
                    <a:pt x="99" y="55"/>
                  </a:lnTo>
                  <a:lnTo>
                    <a:pt x="92" y="56"/>
                  </a:lnTo>
                  <a:lnTo>
                    <a:pt x="89" y="55"/>
                  </a:lnTo>
                  <a:lnTo>
                    <a:pt x="85" y="53"/>
                  </a:lnTo>
                  <a:lnTo>
                    <a:pt x="82" y="49"/>
                  </a:lnTo>
                  <a:lnTo>
                    <a:pt x="80" y="44"/>
                  </a:lnTo>
                  <a:lnTo>
                    <a:pt x="73" y="34"/>
                  </a:lnTo>
                  <a:lnTo>
                    <a:pt x="65" y="28"/>
                  </a:lnTo>
                  <a:lnTo>
                    <a:pt x="54" y="27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5" y="34"/>
                  </a:lnTo>
                  <a:lnTo>
                    <a:pt x="33" y="39"/>
                  </a:lnTo>
                  <a:lnTo>
                    <a:pt x="33" y="44"/>
                  </a:lnTo>
                  <a:lnTo>
                    <a:pt x="35" y="49"/>
                  </a:lnTo>
                  <a:lnTo>
                    <a:pt x="38" y="55"/>
                  </a:lnTo>
                  <a:lnTo>
                    <a:pt x="45" y="65"/>
                  </a:lnTo>
                  <a:lnTo>
                    <a:pt x="58" y="77"/>
                  </a:lnTo>
                  <a:lnTo>
                    <a:pt x="72" y="90"/>
                  </a:lnTo>
                  <a:lnTo>
                    <a:pt x="84" y="104"/>
                  </a:lnTo>
                  <a:lnTo>
                    <a:pt x="105" y="123"/>
                  </a:lnTo>
                  <a:lnTo>
                    <a:pt x="120" y="142"/>
                  </a:lnTo>
                  <a:lnTo>
                    <a:pt x="129" y="158"/>
                  </a:lnTo>
                  <a:lnTo>
                    <a:pt x="133" y="175"/>
                  </a:lnTo>
                  <a:lnTo>
                    <a:pt x="127" y="198"/>
                  </a:lnTo>
                  <a:lnTo>
                    <a:pt x="115" y="219"/>
                  </a:lnTo>
                  <a:lnTo>
                    <a:pt x="99" y="235"/>
                  </a:lnTo>
                  <a:lnTo>
                    <a:pt x="82" y="249"/>
                  </a:lnTo>
                  <a:lnTo>
                    <a:pt x="66" y="256"/>
                  </a:lnTo>
                  <a:lnTo>
                    <a:pt x="49" y="261"/>
                  </a:lnTo>
                  <a:lnTo>
                    <a:pt x="35" y="261"/>
                  </a:lnTo>
                  <a:lnTo>
                    <a:pt x="23" y="258"/>
                  </a:lnTo>
                  <a:lnTo>
                    <a:pt x="16" y="251"/>
                  </a:lnTo>
                  <a:lnTo>
                    <a:pt x="9" y="244"/>
                  </a:lnTo>
                  <a:lnTo>
                    <a:pt x="3" y="235"/>
                  </a:lnTo>
                  <a:lnTo>
                    <a:pt x="2" y="223"/>
                  </a:lnTo>
                  <a:lnTo>
                    <a:pt x="2" y="217"/>
                  </a:lnTo>
                  <a:lnTo>
                    <a:pt x="3" y="216"/>
                  </a:lnTo>
                  <a:lnTo>
                    <a:pt x="7" y="214"/>
                  </a:lnTo>
                  <a:lnTo>
                    <a:pt x="10" y="214"/>
                  </a:lnTo>
                  <a:lnTo>
                    <a:pt x="12" y="216"/>
                  </a:lnTo>
                  <a:lnTo>
                    <a:pt x="16" y="217"/>
                  </a:lnTo>
                  <a:lnTo>
                    <a:pt x="21" y="226"/>
                  </a:lnTo>
                  <a:lnTo>
                    <a:pt x="31" y="233"/>
                  </a:lnTo>
                  <a:lnTo>
                    <a:pt x="44" y="237"/>
                  </a:lnTo>
                  <a:lnTo>
                    <a:pt x="65" y="231"/>
                  </a:lnTo>
                  <a:lnTo>
                    <a:pt x="82" y="219"/>
                  </a:lnTo>
                  <a:lnTo>
                    <a:pt x="96" y="200"/>
                  </a:lnTo>
                  <a:lnTo>
                    <a:pt x="101" y="181"/>
                  </a:lnTo>
                  <a:lnTo>
                    <a:pt x="99" y="163"/>
                  </a:lnTo>
                  <a:lnTo>
                    <a:pt x="87" y="146"/>
                  </a:lnTo>
                  <a:lnTo>
                    <a:pt x="70" y="128"/>
                  </a:lnTo>
                  <a:lnTo>
                    <a:pt x="47" y="107"/>
                  </a:lnTo>
                  <a:lnTo>
                    <a:pt x="26" y="88"/>
                  </a:lnTo>
                  <a:lnTo>
                    <a:pt x="12" y="70"/>
                  </a:lnTo>
                  <a:lnTo>
                    <a:pt x="3" y="53"/>
                  </a:lnTo>
                  <a:lnTo>
                    <a:pt x="0" y="39"/>
                  </a:lnTo>
                  <a:lnTo>
                    <a:pt x="3" y="25"/>
                  </a:lnTo>
                  <a:lnTo>
                    <a:pt x="12" y="13"/>
                  </a:lnTo>
                  <a:lnTo>
                    <a:pt x="28" y="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6"/>
            <p:cNvSpPr>
              <a:spLocks/>
            </p:cNvSpPr>
            <p:nvPr userDrawn="1"/>
          </p:nvSpPr>
          <p:spPr bwMode="auto">
            <a:xfrm>
              <a:off x="6692901" y="5076825"/>
              <a:ext cx="233363" cy="504825"/>
            </a:xfrm>
            <a:custGeom>
              <a:avLst/>
              <a:gdLst>
                <a:gd name="T0" fmla="*/ 26 w 147"/>
                <a:gd name="T1" fmla="*/ 2 h 318"/>
                <a:gd name="T2" fmla="*/ 35 w 147"/>
                <a:gd name="T3" fmla="*/ 9 h 318"/>
                <a:gd name="T4" fmla="*/ 38 w 147"/>
                <a:gd name="T5" fmla="*/ 21 h 318"/>
                <a:gd name="T6" fmla="*/ 31 w 147"/>
                <a:gd name="T7" fmla="*/ 66 h 318"/>
                <a:gd name="T8" fmla="*/ 26 w 147"/>
                <a:gd name="T9" fmla="*/ 163 h 318"/>
                <a:gd name="T10" fmla="*/ 47 w 147"/>
                <a:gd name="T11" fmla="*/ 178 h 318"/>
                <a:gd name="T12" fmla="*/ 77 w 147"/>
                <a:gd name="T13" fmla="*/ 131 h 318"/>
                <a:gd name="T14" fmla="*/ 107 w 147"/>
                <a:gd name="T15" fmla="*/ 119 h 318"/>
                <a:gd name="T16" fmla="*/ 129 w 147"/>
                <a:gd name="T17" fmla="*/ 136 h 318"/>
                <a:gd name="T18" fmla="*/ 143 w 147"/>
                <a:gd name="T19" fmla="*/ 182 h 318"/>
                <a:gd name="T20" fmla="*/ 147 w 147"/>
                <a:gd name="T21" fmla="*/ 255 h 318"/>
                <a:gd name="T22" fmla="*/ 142 w 147"/>
                <a:gd name="T23" fmla="*/ 310 h 318"/>
                <a:gd name="T24" fmla="*/ 135 w 147"/>
                <a:gd name="T25" fmla="*/ 318 h 318"/>
                <a:gd name="T26" fmla="*/ 126 w 147"/>
                <a:gd name="T27" fmla="*/ 318 h 318"/>
                <a:gd name="T28" fmla="*/ 121 w 147"/>
                <a:gd name="T29" fmla="*/ 315 h 318"/>
                <a:gd name="T30" fmla="*/ 117 w 147"/>
                <a:gd name="T31" fmla="*/ 308 h 318"/>
                <a:gd name="T32" fmla="*/ 119 w 147"/>
                <a:gd name="T33" fmla="*/ 262 h 318"/>
                <a:gd name="T34" fmla="*/ 115 w 147"/>
                <a:gd name="T35" fmla="*/ 198 h 318"/>
                <a:gd name="T36" fmla="*/ 107 w 147"/>
                <a:gd name="T37" fmla="*/ 163 h 318"/>
                <a:gd name="T38" fmla="*/ 100 w 147"/>
                <a:gd name="T39" fmla="*/ 156 h 318"/>
                <a:gd name="T40" fmla="*/ 93 w 147"/>
                <a:gd name="T41" fmla="*/ 157 h 318"/>
                <a:gd name="T42" fmla="*/ 84 w 147"/>
                <a:gd name="T43" fmla="*/ 164 h 318"/>
                <a:gd name="T44" fmla="*/ 58 w 147"/>
                <a:gd name="T45" fmla="*/ 213 h 318"/>
                <a:gd name="T46" fmla="*/ 38 w 147"/>
                <a:gd name="T47" fmla="*/ 254 h 318"/>
                <a:gd name="T48" fmla="*/ 31 w 147"/>
                <a:gd name="T49" fmla="*/ 259 h 318"/>
                <a:gd name="T50" fmla="*/ 26 w 147"/>
                <a:gd name="T51" fmla="*/ 261 h 318"/>
                <a:gd name="T52" fmla="*/ 19 w 147"/>
                <a:gd name="T53" fmla="*/ 261 h 318"/>
                <a:gd name="T54" fmla="*/ 12 w 147"/>
                <a:gd name="T55" fmla="*/ 257 h 318"/>
                <a:gd name="T56" fmla="*/ 7 w 147"/>
                <a:gd name="T57" fmla="*/ 248 h 318"/>
                <a:gd name="T58" fmla="*/ 5 w 147"/>
                <a:gd name="T59" fmla="*/ 226 h 318"/>
                <a:gd name="T60" fmla="*/ 2 w 147"/>
                <a:gd name="T61" fmla="*/ 170 h 318"/>
                <a:gd name="T62" fmla="*/ 2 w 147"/>
                <a:gd name="T63" fmla="*/ 96 h 318"/>
                <a:gd name="T64" fmla="*/ 7 w 147"/>
                <a:gd name="T65" fmla="*/ 23 h 318"/>
                <a:gd name="T66" fmla="*/ 9 w 147"/>
                <a:gd name="T67" fmla="*/ 10 h 318"/>
                <a:gd name="T68" fmla="*/ 12 w 147"/>
                <a:gd name="T69" fmla="*/ 3 h 318"/>
                <a:gd name="T70" fmla="*/ 19 w 147"/>
                <a:gd name="T7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7" h="318">
                  <a:moveTo>
                    <a:pt x="19" y="0"/>
                  </a:moveTo>
                  <a:lnTo>
                    <a:pt x="26" y="2"/>
                  </a:lnTo>
                  <a:lnTo>
                    <a:pt x="31" y="3"/>
                  </a:lnTo>
                  <a:lnTo>
                    <a:pt x="35" y="9"/>
                  </a:lnTo>
                  <a:lnTo>
                    <a:pt x="38" y="14"/>
                  </a:lnTo>
                  <a:lnTo>
                    <a:pt x="38" y="21"/>
                  </a:lnTo>
                  <a:lnTo>
                    <a:pt x="38" y="28"/>
                  </a:lnTo>
                  <a:lnTo>
                    <a:pt x="31" y="66"/>
                  </a:lnTo>
                  <a:lnTo>
                    <a:pt x="28" y="112"/>
                  </a:lnTo>
                  <a:lnTo>
                    <a:pt x="26" y="163"/>
                  </a:lnTo>
                  <a:lnTo>
                    <a:pt x="30" y="215"/>
                  </a:lnTo>
                  <a:lnTo>
                    <a:pt x="47" y="178"/>
                  </a:lnTo>
                  <a:lnTo>
                    <a:pt x="63" y="150"/>
                  </a:lnTo>
                  <a:lnTo>
                    <a:pt x="77" y="131"/>
                  </a:lnTo>
                  <a:lnTo>
                    <a:pt x="93" y="121"/>
                  </a:lnTo>
                  <a:lnTo>
                    <a:pt x="107" y="119"/>
                  </a:lnTo>
                  <a:lnTo>
                    <a:pt x="119" y="124"/>
                  </a:lnTo>
                  <a:lnTo>
                    <a:pt x="129" y="136"/>
                  </a:lnTo>
                  <a:lnTo>
                    <a:pt x="138" y="156"/>
                  </a:lnTo>
                  <a:lnTo>
                    <a:pt x="143" y="182"/>
                  </a:lnTo>
                  <a:lnTo>
                    <a:pt x="147" y="215"/>
                  </a:lnTo>
                  <a:lnTo>
                    <a:pt x="147" y="255"/>
                  </a:lnTo>
                  <a:lnTo>
                    <a:pt x="143" y="303"/>
                  </a:lnTo>
                  <a:lnTo>
                    <a:pt x="142" y="310"/>
                  </a:lnTo>
                  <a:lnTo>
                    <a:pt x="140" y="315"/>
                  </a:lnTo>
                  <a:lnTo>
                    <a:pt x="135" y="318"/>
                  </a:lnTo>
                  <a:lnTo>
                    <a:pt x="129" y="318"/>
                  </a:lnTo>
                  <a:lnTo>
                    <a:pt x="126" y="318"/>
                  </a:lnTo>
                  <a:lnTo>
                    <a:pt x="124" y="317"/>
                  </a:lnTo>
                  <a:lnTo>
                    <a:pt x="121" y="315"/>
                  </a:lnTo>
                  <a:lnTo>
                    <a:pt x="119" y="311"/>
                  </a:lnTo>
                  <a:lnTo>
                    <a:pt x="117" y="308"/>
                  </a:lnTo>
                  <a:lnTo>
                    <a:pt x="117" y="303"/>
                  </a:lnTo>
                  <a:lnTo>
                    <a:pt x="119" y="262"/>
                  </a:lnTo>
                  <a:lnTo>
                    <a:pt x="117" y="227"/>
                  </a:lnTo>
                  <a:lnTo>
                    <a:pt x="115" y="198"/>
                  </a:lnTo>
                  <a:lnTo>
                    <a:pt x="110" y="170"/>
                  </a:lnTo>
                  <a:lnTo>
                    <a:pt x="107" y="163"/>
                  </a:lnTo>
                  <a:lnTo>
                    <a:pt x="103" y="157"/>
                  </a:lnTo>
                  <a:lnTo>
                    <a:pt x="100" y="156"/>
                  </a:lnTo>
                  <a:lnTo>
                    <a:pt x="96" y="156"/>
                  </a:lnTo>
                  <a:lnTo>
                    <a:pt x="93" y="157"/>
                  </a:lnTo>
                  <a:lnTo>
                    <a:pt x="89" y="161"/>
                  </a:lnTo>
                  <a:lnTo>
                    <a:pt x="84" y="164"/>
                  </a:lnTo>
                  <a:lnTo>
                    <a:pt x="72" y="185"/>
                  </a:lnTo>
                  <a:lnTo>
                    <a:pt x="58" y="213"/>
                  </a:lnTo>
                  <a:lnTo>
                    <a:pt x="42" y="248"/>
                  </a:lnTo>
                  <a:lnTo>
                    <a:pt x="38" y="254"/>
                  </a:lnTo>
                  <a:lnTo>
                    <a:pt x="35" y="257"/>
                  </a:lnTo>
                  <a:lnTo>
                    <a:pt x="31" y="259"/>
                  </a:lnTo>
                  <a:lnTo>
                    <a:pt x="28" y="261"/>
                  </a:lnTo>
                  <a:lnTo>
                    <a:pt x="26" y="261"/>
                  </a:lnTo>
                  <a:lnTo>
                    <a:pt x="23" y="261"/>
                  </a:lnTo>
                  <a:lnTo>
                    <a:pt x="19" y="261"/>
                  </a:lnTo>
                  <a:lnTo>
                    <a:pt x="16" y="259"/>
                  </a:lnTo>
                  <a:lnTo>
                    <a:pt x="12" y="257"/>
                  </a:lnTo>
                  <a:lnTo>
                    <a:pt x="10" y="254"/>
                  </a:lnTo>
                  <a:lnTo>
                    <a:pt x="7" y="248"/>
                  </a:lnTo>
                  <a:lnTo>
                    <a:pt x="7" y="241"/>
                  </a:lnTo>
                  <a:lnTo>
                    <a:pt x="5" y="226"/>
                  </a:lnTo>
                  <a:lnTo>
                    <a:pt x="3" y="201"/>
                  </a:lnTo>
                  <a:lnTo>
                    <a:pt x="2" y="170"/>
                  </a:lnTo>
                  <a:lnTo>
                    <a:pt x="0" y="135"/>
                  </a:lnTo>
                  <a:lnTo>
                    <a:pt x="2" y="96"/>
                  </a:lnTo>
                  <a:lnTo>
                    <a:pt x="3" y="59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9" y="10"/>
                  </a:lnTo>
                  <a:lnTo>
                    <a:pt x="10" y="7"/>
                  </a:lnTo>
                  <a:lnTo>
                    <a:pt x="12" y="3"/>
                  </a:lnTo>
                  <a:lnTo>
                    <a:pt x="1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7"/>
            <p:cNvSpPr>
              <a:spLocks/>
            </p:cNvSpPr>
            <p:nvPr userDrawn="1"/>
          </p:nvSpPr>
          <p:spPr bwMode="auto">
            <a:xfrm>
              <a:off x="6978651" y="5259388"/>
              <a:ext cx="71438" cy="303213"/>
            </a:xfrm>
            <a:custGeom>
              <a:avLst/>
              <a:gdLst>
                <a:gd name="T0" fmla="*/ 14 w 45"/>
                <a:gd name="T1" fmla="*/ 0 h 191"/>
                <a:gd name="T2" fmla="*/ 19 w 45"/>
                <a:gd name="T3" fmla="*/ 0 h 191"/>
                <a:gd name="T4" fmla="*/ 24 w 45"/>
                <a:gd name="T5" fmla="*/ 2 h 191"/>
                <a:gd name="T6" fmla="*/ 28 w 45"/>
                <a:gd name="T7" fmla="*/ 4 h 191"/>
                <a:gd name="T8" fmla="*/ 31 w 45"/>
                <a:gd name="T9" fmla="*/ 6 h 191"/>
                <a:gd name="T10" fmla="*/ 35 w 45"/>
                <a:gd name="T11" fmla="*/ 9 h 191"/>
                <a:gd name="T12" fmla="*/ 37 w 45"/>
                <a:gd name="T13" fmla="*/ 14 h 191"/>
                <a:gd name="T14" fmla="*/ 38 w 45"/>
                <a:gd name="T15" fmla="*/ 20 h 191"/>
                <a:gd name="T16" fmla="*/ 38 w 45"/>
                <a:gd name="T17" fmla="*/ 28 h 191"/>
                <a:gd name="T18" fmla="*/ 37 w 45"/>
                <a:gd name="T19" fmla="*/ 65 h 191"/>
                <a:gd name="T20" fmla="*/ 35 w 45"/>
                <a:gd name="T21" fmla="*/ 102 h 191"/>
                <a:gd name="T22" fmla="*/ 37 w 45"/>
                <a:gd name="T23" fmla="*/ 132 h 191"/>
                <a:gd name="T24" fmla="*/ 38 w 45"/>
                <a:gd name="T25" fmla="*/ 158 h 191"/>
                <a:gd name="T26" fmla="*/ 44 w 45"/>
                <a:gd name="T27" fmla="*/ 177 h 191"/>
                <a:gd name="T28" fmla="*/ 45 w 45"/>
                <a:gd name="T29" fmla="*/ 181 h 191"/>
                <a:gd name="T30" fmla="*/ 45 w 45"/>
                <a:gd name="T31" fmla="*/ 186 h 191"/>
                <a:gd name="T32" fmla="*/ 44 w 45"/>
                <a:gd name="T33" fmla="*/ 188 h 191"/>
                <a:gd name="T34" fmla="*/ 40 w 45"/>
                <a:gd name="T35" fmla="*/ 191 h 191"/>
                <a:gd name="T36" fmla="*/ 37 w 45"/>
                <a:gd name="T37" fmla="*/ 191 h 191"/>
                <a:gd name="T38" fmla="*/ 31 w 45"/>
                <a:gd name="T39" fmla="*/ 191 h 191"/>
                <a:gd name="T40" fmla="*/ 28 w 45"/>
                <a:gd name="T41" fmla="*/ 189 h 191"/>
                <a:gd name="T42" fmla="*/ 23 w 45"/>
                <a:gd name="T43" fmla="*/ 188 h 191"/>
                <a:gd name="T44" fmla="*/ 19 w 45"/>
                <a:gd name="T45" fmla="*/ 184 h 191"/>
                <a:gd name="T46" fmla="*/ 16 w 45"/>
                <a:gd name="T47" fmla="*/ 177 h 191"/>
                <a:gd name="T48" fmla="*/ 12 w 45"/>
                <a:gd name="T49" fmla="*/ 170 h 191"/>
                <a:gd name="T50" fmla="*/ 9 w 45"/>
                <a:gd name="T51" fmla="*/ 149 h 191"/>
                <a:gd name="T52" fmla="*/ 4 w 45"/>
                <a:gd name="T53" fmla="*/ 121 h 191"/>
                <a:gd name="T54" fmla="*/ 2 w 45"/>
                <a:gd name="T55" fmla="*/ 90 h 191"/>
                <a:gd name="T56" fmla="*/ 0 w 45"/>
                <a:gd name="T57" fmla="*/ 55 h 191"/>
                <a:gd name="T58" fmla="*/ 2 w 45"/>
                <a:gd name="T59" fmla="*/ 23 h 191"/>
                <a:gd name="T60" fmla="*/ 2 w 45"/>
                <a:gd name="T61" fmla="*/ 16 h 191"/>
                <a:gd name="T62" fmla="*/ 4 w 45"/>
                <a:gd name="T63" fmla="*/ 9 h 191"/>
                <a:gd name="T64" fmla="*/ 7 w 45"/>
                <a:gd name="T65" fmla="*/ 6 h 191"/>
                <a:gd name="T66" fmla="*/ 11 w 45"/>
                <a:gd name="T67" fmla="*/ 2 h 191"/>
                <a:gd name="T68" fmla="*/ 14 w 45"/>
                <a:gd name="T6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" h="191">
                  <a:moveTo>
                    <a:pt x="14" y="0"/>
                  </a:moveTo>
                  <a:lnTo>
                    <a:pt x="19" y="0"/>
                  </a:lnTo>
                  <a:lnTo>
                    <a:pt x="24" y="2"/>
                  </a:lnTo>
                  <a:lnTo>
                    <a:pt x="28" y="4"/>
                  </a:lnTo>
                  <a:lnTo>
                    <a:pt x="31" y="6"/>
                  </a:lnTo>
                  <a:lnTo>
                    <a:pt x="35" y="9"/>
                  </a:lnTo>
                  <a:lnTo>
                    <a:pt x="37" y="14"/>
                  </a:lnTo>
                  <a:lnTo>
                    <a:pt x="38" y="20"/>
                  </a:lnTo>
                  <a:lnTo>
                    <a:pt x="38" y="28"/>
                  </a:lnTo>
                  <a:lnTo>
                    <a:pt x="37" y="65"/>
                  </a:lnTo>
                  <a:lnTo>
                    <a:pt x="35" y="102"/>
                  </a:lnTo>
                  <a:lnTo>
                    <a:pt x="37" y="132"/>
                  </a:lnTo>
                  <a:lnTo>
                    <a:pt x="38" y="158"/>
                  </a:lnTo>
                  <a:lnTo>
                    <a:pt x="44" y="177"/>
                  </a:lnTo>
                  <a:lnTo>
                    <a:pt x="45" y="181"/>
                  </a:lnTo>
                  <a:lnTo>
                    <a:pt x="45" y="186"/>
                  </a:lnTo>
                  <a:lnTo>
                    <a:pt x="44" y="188"/>
                  </a:lnTo>
                  <a:lnTo>
                    <a:pt x="40" y="191"/>
                  </a:lnTo>
                  <a:lnTo>
                    <a:pt x="37" y="191"/>
                  </a:lnTo>
                  <a:lnTo>
                    <a:pt x="31" y="191"/>
                  </a:lnTo>
                  <a:lnTo>
                    <a:pt x="28" y="189"/>
                  </a:lnTo>
                  <a:lnTo>
                    <a:pt x="23" y="188"/>
                  </a:lnTo>
                  <a:lnTo>
                    <a:pt x="19" y="184"/>
                  </a:lnTo>
                  <a:lnTo>
                    <a:pt x="16" y="177"/>
                  </a:lnTo>
                  <a:lnTo>
                    <a:pt x="12" y="170"/>
                  </a:lnTo>
                  <a:lnTo>
                    <a:pt x="9" y="149"/>
                  </a:lnTo>
                  <a:lnTo>
                    <a:pt x="4" y="121"/>
                  </a:lnTo>
                  <a:lnTo>
                    <a:pt x="2" y="90"/>
                  </a:lnTo>
                  <a:lnTo>
                    <a:pt x="0" y="55"/>
                  </a:lnTo>
                  <a:lnTo>
                    <a:pt x="2" y="23"/>
                  </a:lnTo>
                  <a:lnTo>
                    <a:pt x="2" y="16"/>
                  </a:lnTo>
                  <a:lnTo>
                    <a:pt x="4" y="9"/>
                  </a:lnTo>
                  <a:lnTo>
                    <a:pt x="7" y="6"/>
                  </a:lnTo>
                  <a:lnTo>
                    <a:pt x="11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8"/>
            <p:cNvSpPr>
              <a:spLocks/>
            </p:cNvSpPr>
            <p:nvPr userDrawn="1"/>
          </p:nvSpPr>
          <p:spPr bwMode="auto">
            <a:xfrm>
              <a:off x="7011988" y="5137150"/>
              <a:ext cx="63500" cy="44450"/>
            </a:xfrm>
            <a:custGeom>
              <a:avLst/>
              <a:gdLst>
                <a:gd name="T0" fmla="*/ 10 w 40"/>
                <a:gd name="T1" fmla="*/ 0 h 28"/>
                <a:gd name="T2" fmla="*/ 17 w 40"/>
                <a:gd name="T3" fmla="*/ 0 h 28"/>
                <a:gd name="T4" fmla="*/ 23 w 40"/>
                <a:gd name="T5" fmla="*/ 2 h 28"/>
                <a:gd name="T6" fmla="*/ 30 w 40"/>
                <a:gd name="T7" fmla="*/ 6 h 28"/>
                <a:gd name="T8" fmla="*/ 35 w 40"/>
                <a:gd name="T9" fmla="*/ 9 h 28"/>
                <a:gd name="T10" fmla="*/ 38 w 40"/>
                <a:gd name="T11" fmla="*/ 13 h 28"/>
                <a:gd name="T12" fmla="*/ 40 w 40"/>
                <a:gd name="T13" fmla="*/ 18 h 28"/>
                <a:gd name="T14" fmla="*/ 38 w 40"/>
                <a:gd name="T15" fmla="*/ 21 h 28"/>
                <a:gd name="T16" fmla="*/ 37 w 40"/>
                <a:gd name="T17" fmla="*/ 25 h 28"/>
                <a:gd name="T18" fmla="*/ 35 w 40"/>
                <a:gd name="T19" fmla="*/ 27 h 28"/>
                <a:gd name="T20" fmla="*/ 30 w 40"/>
                <a:gd name="T21" fmla="*/ 28 h 28"/>
                <a:gd name="T22" fmla="*/ 26 w 40"/>
                <a:gd name="T23" fmla="*/ 28 h 28"/>
                <a:gd name="T24" fmla="*/ 21 w 40"/>
                <a:gd name="T25" fmla="*/ 28 h 28"/>
                <a:gd name="T26" fmla="*/ 16 w 40"/>
                <a:gd name="T27" fmla="*/ 27 h 28"/>
                <a:gd name="T28" fmla="*/ 10 w 40"/>
                <a:gd name="T29" fmla="*/ 25 h 28"/>
                <a:gd name="T30" fmla="*/ 5 w 40"/>
                <a:gd name="T31" fmla="*/ 21 h 28"/>
                <a:gd name="T32" fmla="*/ 2 w 40"/>
                <a:gd name="T33" fmla="*/ 18 h 28"/>
                <a:gd name="T34" fmla="*/ 0 w 40"/>
                <a:gd name="T35" fmla="*/ 14 h 28"/>
                <a:gd name="T36" fmla="*/ 0 w 40"/>
                <a:gd name="T37" fmla="*/ 9 h 28"/>
                <a:gd name="T38" fmla="*/ 2 w 40"/>
                <a:gd name="T39" fmla="*/ 6 h 28"/>
                <a:gd name="T40" fmla="*/ 3 w 40"/>
                <a:gd name="T41" fmla="*/ 4 h 28"/>
                <a:gd name="T42" fmla="*/ 7 w 40"/>
                <a:gd name="T43" fmla="*/ 2 h 28"/>
                <a:gd name="T44" fmla="*/ 10 w 40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28">
                  <a:moveTo>
                    <a:pt x="10" y="0"/>
                  </a:moveTo>
                  <a:lnTo>
                    <a:pt x="17" y="0"/>
                  </a:lnTo>
                  <a:lnTo>
                    <a:pt x="23" y="2"/>
                  </a:lnTo>
                  <a:lnTo>
                    <a:pt x="30" y="6"/>
                  </a:lnTo>
                  <a:lnTo>
                    <a:pt x="35" y="9"/>
                  </a:lnTo>
                  <a:lnTo>
                    <a:pt x="38" y="13"/>
                  </a:lnTo>
                  <a:lnTo>
                    <a:pt x="40" y="18"/>
                  </a:lnTo>
                  <a:lnTo>
                    <a:pt x="38" y="21"/>
                  </a:lnTo>
                  <a:lnTo>
                    <a:pt x="37" y="25"/>
                  </a:lnTo>
                  <a:lnTo>
                    <a:pt x="35" y="27"/>
                  </a:lnTo>
                  <a:lnTo>
                    <a:pt x="30" y="28"/>
                  </a:lnTo>
                  <a:lnTo>
                    <a:pt x="26" y="28"/>
                  </a:lnTo>
                  <a:lnTo>
                    <a:pt x="21" y="28"/>
                  </a:lnTo>
                  <a:lnTo>
                    <a:pt x="16" y="27"/>
                  </a:lnTo>
                  <a:lnTo>
                    <a:pt x="10" y="25"/>
                  </a:lnTo>
                  <a:lnTo>
                    <a:pt x="5" y="21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4"/>
                  </a:lnTo>
                  <a:lnTo>
                    <a:pt x="7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9"/>
            <p:cNvSpPr>
              <a:spLocks/>
            </p:cNvSpPr>
            <p:nvPr userDrawn="1"/>
          </p:nvSpPr>
          <p:spPr bwMode="auto">
            <a:xfrm>
              <a:off x="7105651" y="5262563"/>
              <a:ext cx="261938" cy="330200"/>
            </a:xfrm>
            <a:custGeom>
              <a:avLst/>
              <a:gdLst>
                <a:gd name="T0" fmla="*/ 156 w 165"/>
                <a:gd name="T1" fmla="*/ 4 h 208"/>
                <a:gd name="T2" fmla="*/ 165 w 165"/>
                <a:gd name="T3" fmla="*/ 28 h 208"/>
                <a:gd name="T4" fmla="*/ 163 w 165"/>
                <a:gd name="T5" fmla="*/ 72 h 208"/>
                <a:gd name="T6" fmla="*/ 158 w 165"/>
                <a:gd name="T7" fmla="*/ 124 h 208"/>
                <a:gd name="T8" fmla="*/ 156 w 165"/>
                <a:gd name="T9" fmla="*/ 163 h 208"/>
                <a:gd name="T10" fmla="*/ 161 w 165"/>
                <a:gd name="T11" fmla="*/ 193 h 208"/>
                <a:gd name="T12" fmla="*/ 163 w 165"/>
                <a:gd name="T13" fmla="*/ 198 h 208"/>
                <a:gd name="T14" fmla="*/ 160 w 165"/>
                <a:gd name="T15" fmla="*/ 203 h 208"/>
                <a:gd name="T16" fmla="*/ 154 w 165"/>
                <a:gd name="T17" fmla="*/ 207 h 208"/>
                <a:gd name="T18" fmla="*/ 147 w 165"/>
                <a:gd name="T19" fmla="*/ 207 h 208"/>
                <a:gd name="T20" fmla="*/ 139 w 165"/>
                <a:gd name="T21" fmla="*/ 203 h 208"/>
                <a:gd name="T22" fmla="*/ 132 w 165"/>
                <a:gd name="T23" fmla="*/ 187 h 208"/>
                <a:gd name="T24" fmla="*/ 133 w 165"/>
                <a:gd name="T25" fmla="*/ 131 h 208"/>
                <a:gd name="T26" fmla="*/ 133 w 165"/>
                <a:gd name="T27" fmla="*/ 49 h 208"/>
                <a:gd name="T28" fmla="*/ 130 w 165"/>
                <a:gd name="T29" fmla="*/ 42 h 208"/>
                <a:gd name="T30" fmla="*/ 125 w 165"/>
                <a:gd name="T31" fmla="*/ 40 h 208"/>
                <a:gd name="T32" fmla="*/ 118 w 165"/>
                <a:gd name="T33" fmla="*/ 47 h 208"/>
                <a:gd name="T34" fmla="*/ 91 w 165"/>
                <a:gd name="T35" fmla="*/ 89 h 208"/>
                <a:gd name="T36" fmla="*/ 70 w 165"/>
                <a:gd name="T37" fmla="*/ 130 h 208"/>
                <a:gd name="T38" fmla="*/ 55 w 165"/>
                <a:gd name="T39" fmla="*/ 152 h 208"/>
                <a:gd name="T40" fmla="*/ 34 w 165"/>
                <a:gd name="T41" fmla="*/ 158 h 208"/>
                <a:gd name="T42" fmla="*/ 16 w 165"/>
                <a:gd name="T43" fmla="*/ 149 h 208"/>
                <a:gd name="T44" fmla="*/ 7 w 165"/>
                <a:gd name="T45" fmla="*/ 138 h 208"/>
                <a:gd name="T46" fmla="*/ 4 w 165"/>
                <a:gd name="T47" fmla="*/ 107 h 208"/>
                <a:gd name="T48" fmla="*/ 0 w 165"/>
                <a:gd name="T49" fmla="*/ 49 h 208"/>
                <a:gd name="T50" fmla="*/ 4 w 165"/>
                <a:gd name="T51" fmla="*/ 18 h 208"/>
                <a:gd name="T52" fmla="*/ 7 w 165"/>
                <a:gd name="T53" fmla="*/ 11 h 208"/>
                <a:gd name="T54" fmla="*/ 16 w 165"/>
                <a:gd name="T55" fmla="*/ 11 h 208"/>
                <a:gd name="T56" fmla="*/ 27 w 165"/>
                <a:gd name="T57" fmla="*/ 12 h 208"/>
                <a:gd name="T58" fmla="*/ 32 w 165"/>
                <a:gd name="T59" fmla="*/ 16 h 208"/>
                <a:gd name="T60" fmla="*/ 35 w 165"/>
                <a:gd name="T61" fmla="*/ 21 h 208"/>
                <a:gd name="T62" fmla="*/ 35 w 165"/>
                <a:gd name="T63" fmla="*/ 30 h 208"/>
                <a:gd name="T64" fmla="*/ 32 w 165"/>
                <a:gd name="T65" fmla="*/ 63 h 208"/>
                <a:gd name="T66" fmla="*/ 34 w 165"/>
                <a:gd name="T67" fmla="*/ 102 h 208"/>
                <a:gd name="T68" fmla="*/ 35 w 165"/>
                <a:gd name="T69" fmla="*/ 119 h 208"/>
                <a:gd name="T70" fmla="*/ 37 w 165"/>
                <a:gd name="T71" fmla="*/ 121 h 208"/>
                <a:gd name="T72" fmla="*/ 41 w 165"/>
                <a:gd name="T73" fmla="*/ 117 h 208"/>
                <a:gd name="T74" fmla="*/ 63 w 165"/>
                <a:gd name="T75" fmla="*/ 88 h 208"/>
                <a:gd name="T76" fmla="*/ 90 w 165"/>
                <a:gd name="T77" fmla="*/ 46 h 208"/>
                <a:gd name="T78" fmla="*/ 116 w 165"/>
                <a:gd name="T79" fmla="*/ 12 h 208"/>
                <a:gd name="T80" fmla="*/ 147 w 165"/>
                <a:gd name="T8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208">
                  <a:moveTo>
                    <a:pt x="147" y="0"/>
                  </a:moveTo>
                  <a:lnTo>
                    <a:pt x="156" y="4"/>
                  </a:lnTo>
                  <a:lnTo>
                    <a:pt x="163" y="14"/>
                  </a:lnTo>
                  <a:lnTo>
                    <a:pt x="165" y="28"/>
                  </a:lnTo>
                  <a:lnTo>
                    <a:pt x="165" y="47"/>
                  </a:lnTo>
                  <a:lnTo>
                    <a:pt x="163" y="72"/>
                  </a:lnTo>
                  <a:lnTo>
                    <a:pt x="161" y="100"/>
                  </a:lnTo>
                  <a:lnTo>
                    <a:pt x="158" y="124"/>
                  </a:lnTo>
                  <a:lnTo>
                    <a:pt x="156" y="144"/>
                  </a:lnTo>
                  <a:lnTo>
                    <a:pt x="156" y="163"/>
                  </a:lnTo>
                  <a:lnTo>
                    <a:pt x="158" y="180"/>
                  </a:lnTo>
                  <a:lnTo>
                    <a:pt x="161" y="193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1" y="200"/>
                  </a:lnTo>
                  <a:lnTo>
                    <a:pt x="160" y="203"/>
                  </a:lnTo>
                  <a:lnTo>
                    <a:pt x="158" y="205"/>
                  </a:lnTo>
                  <a:lnTo>
                    <a:pt x="154" y="207"/>
                  </a:lnTo>
                  <a:lnTo>
                    <a:pt x="151" y="208"/>
                  </a:lnTo>
                  <a:lnTo>
                    <a:pt x="147" y="207"/>
                  </a:lnTo>
                  <a:lnTo>
                    <a:pt x="144" y="205"/>
                  </a:lnTo>
                  <a:lnTo>
                    <a:pt x="139" y="203"/>
                  </a:lnTo>
                  <a:lnTo>
                    <a:pt x="135" y="196"/>
                  </a:lnTo>
                  <a:lnTo>
                    <a:pt x="132" y="187"/>
                  </a:lnTo>
                  <a:lnTo>
                    <a:pt x="130" y="175"/>
                  </a:lnTo>
                  <a:lnTo>
                    <a:pt x="133" y="131"/>
                  </a:lnTo>
                  <a:lnTo>
                    <a:pt x="133" y="89"/>
                  </a:lnTo>
                  <a:lnTo>
                    <a:pt x="133" y="49"/>
                  </a:lnTo>
                  <a:lnTo>
                    <a:pt x="132" y="44"/>
                  </a:lnTo>
                  <a:lnTo>
                    <a:pt x="130" y="42"/>
                  </a:lnTo>
                  <a:lnTo>
                    <a:pt x="128" y="40"/>
                  </a:lnTo>
                  <a:lnTo>
                    <a:pt x="125" y="40"/>
                  </a:lnTo>
                  <a:lnTo>
                    <a:pt x="121" y="44"/>
                  </a:lnTo>
                  <a:lnTo>
                    <a:pt x="118" y="47"/>
                  </a:lnTo>
                  <a:lnTo>
                    <a:pt x="105" y="68"/>
                  </a:lnTo>
                  <a:lnTo>
                    <a:pt x="91" y="89"/>
                  </a:lnTo>
                  <a:lnTo>
                    <a:pt x="81" y="110"/>
                  </a:lnTo>
                  <a:lnTo>
                    <a:pt x="70" y="130"/>
                  </a:lnTo>
                  <a:lnTo>
                    <a:pt x="62" y="144"/>
                  </a:lnTo>
                  <a:lnTo>
                    <a:pt x="55" y="152"/>
                  </a:lnTo>
                  <a:lnTo>
                    <a:pt x="46" y="159"/>
                  </a:lnTo>
                  <a:lnTo>
                    <a:pt x="34" y="158"/>
                  </a:lnTo>
                  <a:lnTo>
                    <a:pt x="23" y="154"/>
                  </a:lnTo>
                  <a:lnTo>
                    <a:pt x="16" y="149"/>
                  </a:lnTo>
                  <a:lnTo>
                    <a:pt x="11" y="144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4" y="107"/>
                  </a:lnTo>
                  <a:lnTo>
                    <a:pt x="2" y="79"/>
                  </a:lnTo>
                  <a:lnTo>
                    <a:pt x="0" y="49"/>
                  </a:lnTo>
                  <a:lnTo>
                    <a:pt x="2" y="23"/>
                  </a:lnTo>
                  <a:lnTo>
                    <a:pt x="4" y="18"/>
                  </a:lnTo>
                  <a:lnTo>
                    <a:pt x="6" y="14"/>
                  </a:lnTo>
                  <a:lnTo>
                    <a:pt x="7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23" y="11"/>
                  </a:lnTo>
                  <a:lnTo>
                    <a:pt x="27" y="12"/>
                  </a:lnTo>
                  <a:lnTo>
                    <a:pt x="30" y="14"/>
                  </a:lnTo>
                  <a:lnTo>
                    <a:pt x="32" y="16"/>
                  </a:lnTo>
                  <a:lnTo>
                    <a:pt x="34" y="18"/>
                  </a:lnTo>
                  <a:lnTo>
                    <a:pt x="35" y="21"/>
                  </a:lnTo>
                  <a:lnTo>
                    <a:pt x="35" y="25"/>
                  </a:lnTo>
                  <a:lnTo>
                    <a:pt x="35" y="30"/>
                  </a:lnTo>
                  <a:lnTo>
                    <a:pt x="34" y="44"/>
                  </a:lnTo>
                  <a:lnTo>
                    <a:pt x="32" y="63"/>
                  </a:lnTo>
                  <a:lnTo>
                    <a:pt x="32" y="84"/>
                  </a:lnTo>
                  <a:lnTo>
                    <a:pt x="34" y="102"/>
                  </a:lnTo>
                  <a:lnTo>
                    <a:pt x="35" y="116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7" y="121"/>
                  </a:lnTo>
                  <a:lnTo>
                    <a:pt x="39" y="119"/>
                  </a:lnTo>
                  <a:lnTo>
                    <a:pt x="41" y="117"/>
                  </a:lnTo>
                  <a:lnTo>
                    <a:pt x="51" y="105"/>
                  </a:lnTo>
                  <a:lnTo>
                    <a:pt x="63" y="88"/>
                  </a:lnTo>
                  <a:lnTo>
                    <a:pt x="76" y="67"/>
                  </a:lnTo>
                  <a:lnTo>
                    <a:pt x="90" y="46"/>
                  </a:lnTo>
                  <a:lnTo>
                    <a:pt x="100" y="30"/>
                  </a:lnTo>
                  <a:lnTo>
                    <a:pt x="116" y="12"/>
                  </a:lnTo>
                  <a:lnTo>
                    <a:pt x="130" y="4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0"/>
            <p:cNvSpPr>
              <a:spLocks/>
            </p:cNvSpPr>
            <p:nvPr userDrawn="1"/>
          </p:nvSpPr>
          <p:spPr bwMode="auto">
            <a:xfrm>
              <a:off x="7416801" y="5257800"/>
              <a:ext cx="284163" cy="596900"/>
            </a:xfrm>
            <a:custGeom>
              <a:avLst/>
              <a:gdLst>
                <a:gd name="T0" fmla="*/ 119 w 179"/>
                <a:gd name="T1" fmla="*/ 1 h 376"/>
                <a:gd name="T2" fmla="*/ 130 w 179"/>
                <a:gd name="T3" fmla="*/ 8 h 376"/>
                <a:gd name="T4" fmla="*/ 128 w 179"/>
                <a:gd name="T5" fmla="*/ 15 h 376"/>
                <a:gd name="T6" fmla="*/ 123 w 179"/>
                <a:gd name="T7" fmla="*/ 17 h 376"/>
                <a:gd name="T8" fmla="*/ 114 w 179"/>
                <a:gd name="T9" fmla="*/ 19 h 376"/>
                <a:gd name="T10" fmla="*/ 88 w 179"/>
                <a:gd name="T11" fmla="*/ 29 h 376"/>
                <a:gd name="T12" fmla="*/ 49 w 179"/>
                <a:gd name="T13" fmla="*/ 59 h 376"/>
                <a:gd name="T14" fmla="*/ 30 w 179"/>
                <a:gd name="T15" fmla="*/ 98 h 376"/>
                <a:gd name="T16" fmla="*/ 44 w 179"/>
                <a:gd name="T17" fmla="*/ 136 h 376"/>
                <a:gd name="T18" fmla="*/ 67 w 179"/>
                <a:gd name="T19" fmla="*/ 145 h 376"/>
                <a:gd name="T20" fmla="*/ 89 w 179"/>
                <a:gd name="T21" fmla="*/ 129 h 376"/>
                <a:gd name="T22" fmla="*/ 109 w 179"/>
                <a:gd name="T23" fmla="*/ 110 h 376"/>
                <a:gd name="T24" fmla="*/ 117 w 179"/>
                <a:gd name="T25" fmla="*/ 99 h 376"/>
                <a:gd name="T26" fmla="*/ 123 w 179"/>
                <a:gd name="T27" fmla="*/ 92 h 376"/>
                <a:gd name="T28" fmla="*/ 126 w 179"/>
                <a:gd name="T29" fmla="*/ 85 h 376"/>
                <a:gd name="T30" fmla="*/ 128 w 179"/>
                <a:gd name="T31" fmla="*/ 75 h 376"/>
                <a:gd name="T32" fmla="*/ 128 w 179"/>
                <a:gd name="T33" fmla="*/ 66 h 376"/>
                <a:gd name="T34" fmla="*/ 131 w 179"/>
                <a:gd name="T35" fmla="*/ 61 h 376"/>
                <a:gd name="T36" fmla="*/ 140 w 179"/>
                <a:gd name="T37" fmla="*/ 57 h 376"/>
                <a:gd name="T38" fmla="*/ 151 w 179"/>
                <a:gd name="T39" fmla="*/ 59 h 376"/>
                <a:gd name="T40" fmla="*/ 158 w 179"/>
                <a:gd name="T41" fmla="*/ 64 h 376"/>
                <a:gd name="T42" fmla="*/ 161 w 179"/>
                <a:gd name="T43" fmla="*/ 75 h 376"/>
                <a:gd name="T44" fmla="*/ 166 w 179"/>
                <a:gd name="T45" fmla="*/ 124 h 376"/>
                <a:gd name="T46" fmla="*/ 172 w 179"/>
                <a:gd name="T47" fmla="*/ 185 h 376"/>
                <a:gd name="T48" fmla="*/ 177 w 179"/>
                <a:gd name="T49" fmla="*/ 232 h 376"/>
                <a:gd name="T50" fmla="*/ 179 w 179"/>
                <a:gd name="T51" fmla="*/ 287 h 376"/>
                <a:gd name="T52" fmla="*/ 170 w 179"/>
                <a:gd name="T53" fmla="*/ 336 h 376"/>
                <a:gd name="T54" fmla="*/ 145 w 179"/>
                <a:gd name="T55" fmla="*/ 369 h 376"/>
                <a:gd name="T56" fmla="*/ 107 w 179"/>
                <a:gd name="T57" fmla="*/ 376 h 376"/>
                <a:gd name="T58" fmla="*/ 95 w 179"/>
                <a:gd name="T59" fmla="*/ 367 h 376"/>
                <a:gd name="T60" fmla="*/ 95 w 179"/>
                <a:gd name="T61" fmla="*/ 360 h 376"/>
                <a:gd name="T62" fmla="*/ 100 w 179"/>
                <a:gd name="T63" fmla="*/ 358 h 376"/>
                <a:gd name="T64" fmla="*/ 117 w 179"/>
                <a:gd name="T65" fmla="*/ 358 h 376"/>
                <a:gd name="T66" fmla="*/ 142 w 179"/>
                <a:gd name="T67" fmla="*/ 334 h 376"/>
                <a:gd name="T68" fmla="*/ 151 w 179"/>
                <a:gd name="T69" fmla="*/ 281 h 376"/>
                <a:gd name="T70" fmla="*/ 147 w 179"/>
                <a:gd name="T71" fmla="*/ 220 h 376"/>
                <a:gd name="T72" fmla="*/ 140 w 179"/>
                <a:gd name="T73" fmla="*/ 164 h 376"/>
                <a:gd name="T74" fmla="*/ 135 w 179"/>
                <a:gd name="T75" fmla="*/ 119 h 376"/>
                <a:gd name="T76" fmla="*/ 103 w 179"/>
                <a:gd name="T77" fmla="*/ 152 h 376"/>
                <a:gd name="T78" fmla="*/ 65 w 179"/>
                <a:gd name="T79" fmla="*/ 164 h 376"/>
                <a:gd name="T80" fmla="*/ 23 w 179"/>
                <a:gd name="T81" fmla="*/ 152 h 376"/>
                <a:gd name="T82" fmla="*/ 2 w 179"/>
                <a:gd name="T83" fmla="*/ 119 h 376"/>
                <a:gd name="T84" fmla="*/ 4 w 179"/>
                <a:gd name="T85" fmla="*/ 82 h 376"/>
                <a:gd name="T86" fmla="*/ 28 w 179"/>
                <a:gd name="T87" fmla="*/ 42 h 376"/>
                <a:gd name="T88" fmla="*/ 65 w 179"/>
                <a:gd name="T89" fmla="*/ 10 h 376"/>
                <a:gd name="T90" fmla="*/ 107 w 179"/>
                <a:gd name="T91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9" h="376">
                  <a:moveTo>
                    <a:pt x="107" y="0"/>
                  </a:moveTo>
                  <a:lnTo>
                    <a:pt x="119" y="1"/>
                  </a:lnTo>
                  <a:lnTo>
                    <a:pt x="128" y="5"/>
                  </a:lnTo>
                  <a:lnTo>
                    <a:pt x="130" y="8"/>
                  </a:lnTo>
                  <a:lnTo>
                    <a:pt x="130" y="12"/>
                  </a:lnTo>
                  <a:lnTo>
                    <a:pt x="128" y="15"/>
                  </a:lnTo>
                  <a:lnTo>
                    <a:pt x="126" y="17"/>
                  </a:lnTo>
                  <a:lnTo>
                    <a:pt x="123" y="17"/>
                  </a:lnTo>
                  <a:lnTo>
                    <a:pt x="119" y="19"/>
                  </a:lnTo>
                  <a:lnTo>
                    <a:pt x="114" y="19"/>
                  </a:lnTo>
                  <a:lnTo>
                    <a:pt x="107" y="21"/>
                  </a:lnTo>
                  <a:lnTo>
                    <a:pt x="88" y="29"/>
                  </a:lnTo>
                  <a:lnTo>
                    <a:pt x="67" y="42"/>
                  </a:lnTo>
                  <a:lnTo>
                    <a:pt x="49" y="59"/>
                  </a:lnTo>
                  <a:lnTo>
                    <a:pt x="35" y="77"/>
                  </a:lnTo>
                  <a:lnTo>
                    <a:pt x="30" y="98"/>
                  </a:lnTo>
                  <a:lnTo>
                    <a:pt x="34" y="120"/>
                  </a:lnTo>
                  <a:lnTo>
                    <a:pt x="44" y="136"/>
                  </a:lnTo>
                  <a:lnTo>
                    <a:pt x="54" y="143"/>
                  </a:lnTo>
                  <a:lnTo>
                    <a:pt x="67" y="145"/>
                  </a:lnTo>
                  <a:lnTo>
                    <a:pt x="77" y="138"/>
                  </a:lnTo>
                  <a:lnTo>
                    <a:pt x="89" y="129"/>
                  </a:lnTo>
                  <a:lnTo>
                    <a:pt x="102" y="117"/>
                  </a:lnTo>
                  <a:lnTo>
                    <a:pt x="109" y="110"/>
                  </a:lnTo>
                  <a:lnTo>
                    <a:pt x="114" y="103"/>
                  </a:lnTo>
                  <a:lnTo>
                    <a:pt x="117" y="99"/>
                  </a:lnTo>
                  <a:lnTo>
                    <a:pt x="121" y="96"/>
                  </a:lnTo>
                  <a:lnTo>
                    <a:pt x="123" y="92"/>
                  </a:lnTo>
                  <a:lnTo>
                    <a:pt x="124" y="91"/>
                  </a:lnTo>
                  <a:lnTo>
                    <a:pt x="126" y="85"/>
                  </a:lnTo>
                  <a:lnTo>
                    <a:pt x="128" y="80"/>
                  </a:lnTo>
                  <a:lnTo>
                    <a:pt x="128" y="75"/>
                  </a:lnTo>
                  <a:lnTo>
                    <a:pt x="128" y="71"/>
                  </a:lnTo>
                  <a:lnTo>
                    <a:pt x="128" y="66"/>
                  </a:lnTo>
                  <a:lnTo>
                    <a:pt x="130" y="63"/>
                  </a:lnTo>
                  <a:lnTo>
                    <a:pt x="131" y="61"/>
                  </a:lnTo>
                  <a:lnTo>
                    <a:pt x="135" y="59"/>
                  </a:lnTo>
                  <a:lnTo>
                    <a:pt x="140" y="57"/>
                  </a:lnTo>
                  <a:lnTo>
                    <a:pt x="145" y="59"/>
                  </a:lnTo>
                  <a:lnTo>
                    <a:pt x="151" y="59"/>
                  </a:lnTo>
                  <a:lnTo>
                    <a:pt x="154" y="61"/>
                  </a:lnTo>
                  <a:lnTo>
                    <a:pt x="158" y="64"/>
                  </a:lnTo>
                  <a:lnTo>
                    <a:pt x="159" y="70"/>
                  </a:lnTo>
                  <a:lnTo>
                    <a:pt x="161" y="75"/>
                  </a:lnTo>
                  <a:lnTo>
                    <a:pt x="163" y="94"/>
                  </a:lnTo>
                  <a:lnTo>
                    <a:pt x="166" y="124"/>
                  </a:lnTo>
                  <a:lnTo>
                    <a:pt x="170" y="166"/>
                  </a:lnTo>
                  <a:lnTo>
                    <a:pt x="172" y="185"/>
                  </a:lnTo>
                  <a:lnTo>
                    <a:pt x="173" y="208"/>
                  </a:lnTo>
                  <a:lnTo>
                    <a:pt x="177" y="232"/>
                  </a:lnTo>
                  <a:lnTo>
                    <a:pt x="179" y="260"/>
                  </a:lnTo>
                  <a:lnTo>
                    <a:pt x="179" y="287"/>
                  </a:lnTo>
                  <a:lnTo>
                    <a:pt x="175" y="313"/>
                  </a:lnTo>
                  <a:lnTo>
                    <a:pt x="170" y="336"/>
                  </a:lnTo>
                  <a:lnTo>
                    <a:pt x="161" y="355"/>
                  </a:lnTo>
                  <a:lnTo>
                    <a:pt x="145" y="369"/>
                  </a:lnTo>
                  <a:lnTo>
                    <a:pt x="124" y="376"/>
                  </a:lnTo>
                  <a:lnTo>
                    <a:pt x="107" y="376"/>
                  </a:lnTo>
                  <a:lnTo>
                    <a:pt x="96" y="371"/>
                  </a:lnTo>
                  <a:lnTo>
                    <a:pt x="95" y="367"/>
                  </a:lnTo>
                  <a:lnTo>
                    <a:pt x="95" y="364"/>
                  </a:lnTo>
                  <a:lnTo>
                    <a:pt x="95" y="360"/>
                  </a:lnTo>
                  <a:lnTo>
                    <a:pt x="96" y="358"/>
                  </a:lnTo>
                  <a:lnTo>
                    <a:pt x="100" y="358"/>
                  </a:lnTo>
                  <a:lnTo>
                    <a:pt x="103" y="358"/>
                  </a:lnTo>
                  <a:lnTo>
                    <a:pt x="117" y="358"/>
                  </a:lnTo>
                  <a:lnTo>
                    <a:pt x="131" y="351"/>
                  </a:lnTo>
                  <a:lnTo>
                    <a:pt x="142" y="334"/>
                  </a:lnTo>
                  <a:lnTo>
                    <a:pt x="149" y="309"/>
                  </a:lnTo>
                  <a:lnTo>
                    <a:pt x="151" y="281"/>
                  </a:lnTo>
                  <a:lnTo>
                    <a:pt x="149" y="246"/>
                  </a:lnTo>
                  <a:lnTo>
                    <a:pt x="147" y="220"/>
                  </a:lnTo>
                  <a:lnTo>
                    <a:pt x="144" y="192"/>
                  </a:lnTo>
                  <a:lnTo>
                    <a:pt x="140" y="164"/>
                  </a:lnTo>
                  <a:lnTo>
                    <a:pt x="138" y="138"/>
                  </a:lnTo>
                  <a:lnTo>
                    <a:pt x="135" y="119"/>
                  </a:lnTo>
                  <a:lnTo>
                    <a:pt x="121" y="138"/>
                  </a:lnTo>
                  <a:lnTo>
                    <a:pt x="103" y="152"/>
                  </a:lnTo>
                  <a:lnTo>
                    <a:pt x="86" y="161"/>
                  </a:lnTo>
                  <a:lnTo>
                    <a:pt x="65" y="164"/>
                  </a:lnTo>
                  <a:lnTo>
                    <a:pt x="42" y="161"/>
                  </a:lnTo>
                  <a:lnTo>
                    <a:pt x="23" y="152"/>
                  </a:lnTo>
                  <a:lnTo>
                    <a:pt x="11" y="136"/>
                  </a:lnTo>
                  <a:lnTo>
                    <a:pt x="2" y="119"/>
                  </a:lnTo>
                  <a:lnTo>
                    <a:pt x="0" y="99"/>
                  </a:lnTo>
                  <a:lnTo>
                    <a:pt x="4" y="82"/>
                  </a:lnTo>
                  <a:lnTo>
                    <a:pt x="13" y="63"/>
                  </a:lnTo>
                  <a:lnTo>
                    <a:pt x="28" y="42"/>
                  </a:lnTo>
                  <a:lnTo>
                    <a:pt x="46" y="24"/>
                  </a:lnTo>
                  <a:lnTo>
                    <a:pt x="65" y="10"/>
                  </a:lnTo>
                  <a:lnTo>
                    <a:pt x="86" y="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1"/>
            <p:cNvSpPr>
              <a:spLocks/>
            </p:cNvSpPr>
            <p:nvPr userDrawn="1"/>
          </p:nvSpPr>
          <p:spPr bwMode="auto">
            <a:xfrm>
              <a:off x="7905751" y="5046663"/>
              <a:ext cx="330200" cy="479425"/>
            </a:xfrm>
            <a:custGeom>
              <a:avLst/>
              <a:gdLst>
                <a:gd name="T0" fmla="*/ 21 w 208"/>
                <a:gd name="T1" fmla="*/ 1 h 302"/>
                <a:gd name="T2" fmla="*/ 30 w 208"/>
                <a:gd name="T3" fmla="*/ 7 h 302"/>
                <a:gd name="T4" fmla="*/ 35 w 208"/>
                <a:gd name="T5" fmla="*/ 19 h 302"/>
                <a:gd name="T6" fmla="*/ 44 w 208"/>
                <a:gd name="T7" fmla="*/ 122 h 302"/>
                <a:gd name="T8" fmla="*/ 58 w 208"/>
                <a:gd name="T9" fmla="*/ 210 h 302"/>
                <a:gd name="T10" fmla="*/ 89 w 208"/>
                <a:gd name="T11" fmla="*/ 168 h 302"/>
                <a:gd name="T12" fmla="*/ 131 w 208"/>
                <a:gd name="T13" fmla="*/ 136 h 302"/>
                <a:gd name="T14" fmla="*/ 170 w 208"/>
                <a:gd name="T15" fmla="*/ 129 h 302"/>
                <a:gd name="T16" fmla="*/ 194 w 208"/>
                <a:gd name="T17" fmla="*/ 138 h 302"/>
                <a:gd name="T18" fmla="*/ 208 w 208"/>
                <a:gd name="T19" fmla="*/ 169 h 302"/>
                <a:gd name="T20" fmla="*/ 205 w 208"/>
                <a:gd name="T21" fmla="*/ 215 h 302"/>
                <a:gd name="T22" fmla="*/ 187 w 208"/>
                <a:gd name="T23" fmla="*/ 260 h 302"/>
                <a:gd name="T24" fmla="*/ 154 w 208"/>
                <a:gd name="T25" fmla="*/ 294 h 302"/>
                <a:gd name="T26" fmla="*/ 126 w 208"/>
                <a:gd name="T27" fmla="*/ 302 h 302"/>
                <a:gd name="T28" fmla="*/ 115 w 208"/>
                <a:gd name="T29" fmla="*/ 301 h 302"/>
                <a:gd name="T30" fmla="*/ 108 w 208"/>
                <a:gd name="T31" fmla="*/ 295 h 302"/>
                <a:gd name="T32" fmla="*/ 105 w 208"/>
                <a:gd name="T33" fmla="*/ 288 h 302"/>
                <a:gd name="T34" fmla="*/ 107 w 208"/>
                <a:gd name="T35" fmla="*/ 281 h 302"/>
                <a:gd name="T36" fmla="*/ 112 w 208"/>
                <a:gd name="T37" fmla="*/ 281 h 302"/>
                <a:gd name="T38" fmla="*/ 133 w 208"/>
                <a:gd name="T39" fmla="*/ 283 h 302"/>
                <a:gd name="T40" fmla="*/ 161 w 208"/>
                <a:gd name="T41" fmla="*/ 257 h 302"/>
                <a:gd name="T42" fmla="*/ 177 w 208"/>
                <a:gd name="T43" fmla="*/ 197 h 302"/>
                <a:gd name="T44" fmla="*/ 171 w 208"/>
                <a:gd name="T45" fmla="*/ 157 h 302"/>
                <a:gd name="T46" fmla="*/ 164 w 208"/>
                <a:gd name="T47" fmla="*/ 152 h 302"/>
                <a:gd name="T48" fmla="*/ 154 w 208"/>
                <a:gd name="T49" fmla="*/ 154 h 302"/>
                <a:gd name="T50" fmla="*/ 140 w 208"/>
                <a:gd name="T51" fmla="*/ 161 h 302"/>
                <a:gd name="T52" fmla="*/ 110 w 208"/>
                <a:gd name="T53" fmla="*/ 183 h 302"/>
                <a:gd name="T54" fmla="*/ 79 w 208"/>
                <a:gd name="T55" fmla="*/ 227 h 302"/>
                <a:gd name="T56" fmla="*/ 63 w 208"/>
                <a:gd name="T57" fmla="*/ 266 h 302"/>
                <a:gd name="T58" fmla="*/ 56 w 208"/>
                <a:gd name="T59" fmla="*/ 274 h 302"/>
                <a:gd name="T60" fmla="*/ 45 w 208"/>
                <a:gd name="T61" fmla="*/ 276 h 302"/>
                <a:gd name="T62" fmla="*/ 37 w 208"/>
                <a:gd name="T63" fmla="*/ 274 h 302"/>
                <a:gd name="T64" fmla="*/ 31 w 208"/>
                <a:gd name="T65" fmla="*/ 267 h 302"/>
                <a:gd name="T66" fmla="*/ 31 w 208"/>
                <a:gd name="T67" fmla="*/ 259 h 302"/>
                <a:gd name="T68" fmla="*/ 31 w 208"/>
                <a:gd name="T69" fmla="*/ 224 h 302"/>
                <a:gd name="T70" fmla="*/ 26 w 208"/>
                <a:gd name="T71" fmla="*/ 187 h 302"/>
                <a:gd name="T72" fmla="*/ 17 w 208"/>
                <a:gd name="T73" fmla="*/ 140 h 302"/>
                <a:gd name="T74" fmla="*/ 7 w 208"/>
                <a:gd name="T75" fmla="*/ 78 h 302"/>
                <a:gd name="T76" fmla="*/ 0 w 208"/>
                <a:gd name="T77" fmla="*/ 22 h 302"/>
                <a:gd name="T78" fmla="*/ 2 w 208"/>
                <a:gd name="T79" fmla="*/ 8 h 302"/>
                <a:gd name="T80" fmla="*/ 9 w 208"/>
                <a:gd name="T81" fmla="*/ 1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302">
                  <a:moveTo>
                    <a:pt x="14" y="0"/>
                  </a:moveTo>
                  <a:lnTo>
                    <a:pt x="21" y="1"/>
                  </a:lnTo>
                  <a:lnTo>
                    <a:pt x="26" y="3"/>
                  </a:lnTo>
                  <a:lnTo>
                    <a:pt x="30" y="7"/>
                  </a:lnTo>
                  <a:lnTo>
                    <a:pt x="33" y="12"/>
                  </a:lnTo>
                  <a:lnTo>
                    <a:pt x="35" y="19"/>
                  </a:lnTo>
                  <a:lnTo>
                    <a:pt x="40" y="75"/>
                  </a:lnTo>
                  <a:lnTo>
                    <a:pt x="44" y="122"/>
                  </a:lnTo>
                  <a:lnTo>
                    <a:pt x="49" y="166"/>
                  </a:lnTo>
                  <a:lnTo>
                    <a:pt x="58" y="210"/>
                  </a:lnTo>
                  <a:lnTo>
                    <a:pt x="72" y="189"/>
                  </a:lnTo>
                  <a:lnTo>
                    <a:pt x="89" y="168"/>
                  </a:lnTo>
                  <a:lnTo>
                    <a:pt x="108" y="150"/>
                  </a:lnTo>
                  <a:lnTo>
                    <a:pt x="131" y="136"/>
                  </a:lnTo>
                  <a:lnTo>
                    <a:pt x="157" y="129"/>
                  </a:lnTo>
                  <a:lnTo>
                    <a:pt x="170" y="129"/>
                  </a:lnTo>
                  <a:lnTo>
                    <a:pt x="184" y="133"/>
                  </a:lnTo>
                  <a:lnTo>
                    <a:pt x="194" y="138"/>
                  </a:lnTo>
                  <a:lnTo>
                    <a:pt x="203" y="152"/>
                  </a:lnTo>
                  <a:lnTo>
                    <a:pt x="208" y="169"/>
                  </a:lnTo>
                  <a:lnTo>
                    <a:pt x="208" y="192"/>
                  </a:lnTo>
                  <a:lnTo>
                    <a:pt x="205" y="215"/>
                  </a:lnTo>
                  <a:lnTo>
                    <a:pt x="198" y="239"/>
                  </a:lnTo>
                  <a:lnTo>
                    <a:pt x="187" y="260"/>
                  </a:lnTo>
                  <a:lnTo>
                    <a:pt x="173" y="280"/>
                  </a:lnTo>
                  <a:lnTo>
                    <a:pt x="154" y="294"/>
                  </a:lnTo>
                  <a:lnTo>
                    <a:pt x="133" y="302"/>
                  </a:lnTo>
                  <a:lnTo>
                    <a:pt x="126" y="302"/>
                  </a:lnTo>
                  <a:lnTo>
                    <a:pt x="119" y="301"/>
                  </a:lnTo>
                  <a:lnTo>
                    <a:pt x="115" y="301"/>
                  </a:lnTo>
                  <a:lnTo>
                    <a:pt x="112" y="297"/>
                  </a:lnTo>
                  <a:lnTo>
                    <a:pt x="108" y="295"/>
                  </a:lnTo>
                  <a:lnTo>
                    <a:pt x="107" y="292"/>
                  </a:lnTo>
                  <a:lnTo>
                    <a:pt x="105" y="288"/>
                  </a:lnTo>
                  <a:lnTo>
                    <a:pt x="105" y="285"/>
                  </a:lnTo>
                  <a:lnTo>
                    <a:pt x="107" y="281"/>
                  </a:lnTo>
                  <a:lnTo>
                    <a:pt x="108" y="281"/>
                  </a:lnTo>
                  <a:lnTo>
                    <a:pt x="112" y="281"/>
                  </a:lnTo>
                  <a:lnTo>
                    <a:pt x="122" y="285"/>
                  </a:lnTo>
                  <a:lnTo>
                    <a:pt x="133" y="283"/>
                  </a:lnTo>
                  <a:lnTo>
                    <a:pt x="145" y="276"/>
                  </a:lnTo>
                  <a:lnTo>
                    <a:pt x="161" y="257"/>
                  </a:lnTo>
                  <a:lnTo>
                    <a:pt x="171" y="229"/>
                  </a:lnTo>
                  <a:lnTo>
                    <a:pt x="177" y="197"/>
                  </a:lnTo>
                  <a:lnTo>
                    <a:pt x="173" y="162"/>
                  </a:lnTo>
                  <a:lnTo>
                    <a:pt x="171" y="157"/>
                  </a:lnTo>
                  <a:lnTo>
                    <a:pt x="168" y="154"/>
                  </a:lnTo>
                  <a:lnTo>
                    <a:pt x="164" y="152"/>
                  </a:lnTo>
                  <a:lnTo>
                    <a:pt x="161" y="152"/>
                  </a:lnTo>
                  <a:lnTo>
                    <a:pt x="154" y="154"/>
                  </a:lnTo>
                  <a:lnTo>
                    <a:pt x="149" y="155"/>
                  </a:lnTo>
                  <a:lnTo>
                    <a:pt x="140" y="161"/>
                  </a:lnTo>
                  <a:lnTo>
                    <a:pt x="126" y="169"/>
                  </a:lnTo>
                  <a:lnTo>
                    <a:pt x="110" y="183"/>
                  </a:lnTo>
                  <a:lnTo>
                    <a:pt x="94" y="201"/>
                  </a:lnTo>
                  <a:lnTo>
                    <a:pt x="79" y="227"/>
                  </a:lnTo>
                  <a:lnTo>
                    <a:pt x="66" y="259"/>
                  </a:lnTo>
                  <a:lnTo>
                    <a:pt x="63" y="266"/>
                  </a:lnTo>
                  <a:lnTo>
                    <a:pt x="59" y="271"/>
                  </a:lnTo>
                  <a:lnTo>
                    <a:pt x="56" y="274"/>
                  </a:lnTo>
                  <a:lnTo>
                    <a:pt x="51" y="276"/>
                  </a:lnTo>
                  <a:lnTo>
                    <a:pt x="45" y="276"/>
                  </a:lnTo>
                  <a:lnTo>
                    <a:pt x="40" y="276"/>
                  </a:lnTo>
                  <a:lnTo>
                    <a:pt x="37" y="274"/>
                  </a:lnTo>
                  <a:lnTo>
                    <a:pt x="33" y="271"/>
                  </a:lnTo>
                  <a:lnTo>
                    <a:pt x="31" y="267"/>
                  </a:lnTo>
                  <a:lnTo>
                    <a:pt x="31" y="264"/>
                  </a:lnTo>
                  <a:lnTo>
                    <a:pt x="31" y="259"/>
                  </a:lnTo>
                  <a:lnTo>
                    <a:pt x="33" y="243"/>
                  </a:lnTo>
                  <a:lnTo>
                    <a:pt x="31" y="224"/>
                  </a:lnTo>
                  <a:lnTo>
                    <a:pt x="28" y="201"/>
                  </a:lnTo>
                  <a:lnTo>
                    <a:pt x="26" y="187"/>
                  </a:lnTo>
                  <a:lnTo>
                    <a:pt x="21" y="166"/>
                  </a:lnTo>
                  <a:lnTo>
                    <a:pt x="17" y="140"/>
                  </a:lnTo>
                  <a:lnTo>
                    <a:pt x="12" y="110"/>
                  </a:lnTo>
                  <a:lnTo>
                    <a:pt x="7" y="78"/>
                  </a:lnTo>
                  <a:lnTo>
                    <a:pt x="4" y="49"/>
                  </a:lnTo>
                  <a:lnTo>
                    <a:pt x="0" y="22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5"/>
                  </a:lnTo>
                  <a:lnTo>
                    <a:pt x="9" y="1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2"/>
            <p:cNvSpPr>
              <a:spLocks/>
            </p:cNvSpPr>
            <p:nvPr userDrawn="1"/>
          </p:nvSpPr>
          <p:spPr bwMode="auto">
            <a:xfrm>
              <a:off x="8275638" y="5257800"/>
              <a:ext cx="254000" cy="590550"/>
            </a:xfrm>
            <a:custGeom>
              <a:avLst/>
              <a:gdLst>
                <a:gd name="T0" fmla="*/ 150 w 160"/>
                <a:gd name="T1" fmla="*/ 1 h 372"/>
                <a:gd name="T2" fmla="*/ 159 w 160"/>
                <a:gd name="T3" fmla="*/ 10 h 372"/>
                <a:gd name="T4" fmla="*/ 160 w 160"/>
                <a:gd name="T5" fmla="*/ 45 h 372"/>
                <a:gd name="T6" fmla="*/ 150 w 160"/>
                <a:gd name="T7" fmla="*/ 105 h 372"/>
                <a:gd name="T8" fmla="*/ 131 w 160"/>
                <a:gd name="T9" fmla="*/ 175 h 372"/>
                <a:gd name="T10" fmla="*/ 117 w 160"/>
                <a:gd name="T11" fmla="*/ 241 h 372"/>
                <a:gd name="T12" fmla="*/ 115 w 160"/>
                <a:gd name="T13" fmla="*/ 287 h 372"/>
                <a:gd name="T14" fmla="*/ 118 w 160"/>
                <a:gd name="T15" fmla="*/ 318 h 372"/>
                <a:gd name="T16" fmla="*/ 122 w 160"/>
                <a:gd name="T17" fmla="*/ 350 h 372"/>
                <a:gd name="T18" fmla="*/ 120 w 160"/>
                <a:gd name="T19" fmla="*/ 365 h 372"/>
                <a:gd name="T20" fmla="*/ 115 w 160"/>
                <a:gd name="T21" fmla="*/ 372 h 372"/>
                <a:gd name="T22" fmla="*/ 110 w 160"/>
                <a:gd name="T23" fmla="*/ 372 h 372"/>
                <a:gd name="T24" fmla="*/ 103 w 160"/>
                <a:gd name="T25" fmla="*/ 369 h 372"/>
                <a:gd name="T26" fmla="*/ 97 w 160"/>
                <a:gd name="T27" fmla="*/ 364 h 372"/>
                <a:gd name="T28" fmla="*/ 99 w 160"/>
                <a:gd name="T29" fmla="*/ 357 h 372"/>
                <a:gd name="T30" fmla="*/ 99 w 160"/>
                <a:gd name="T31" fmla="*/ 348 h 372"/>
                <a:gd name="T32" fmla="*/ 97 w 160"/>
                <a:gd name="T33" fmla="*/ 336 h 372"/>
                <a:gd name="T34" fmla="*/ 94 w 160"/>
                <a:gd name="T35" fmla="*/ 262 h 372"/>
                <a:gd name="T36" fmla="*/ 101 w 160"/>
                <a:gd name="T37" fmla="*/ 206 h 372"/>
                <a:gd name="T38" fmla="*/ 113 w 160"/>
                <a:gd name="T39" fmla="*/ 147 h 372"/>
                <a:gd name="T40" fmla="*/ 131 w 160"/>
                <a:gd name="T41" fmla="*/ 66 h 372"/>
                <a:gd name="T42" fmla="*/ 103 w 160"/>
                <a:gd name="T43" fmla="*/ 119 h 372"/>
                <a:gd name="T44" fmla="*/ 80 w 160"/>
                <a:gd name="T45" fmla="*/ 155 h 372"/>
                <a:gd name="T46" fmla="*/ 59 w 160"/>
                <a:gd name="T47" fmla="*/ 168 h 372"/>
                <a:gd name="T48" fmla="*/ 43 w 160"/>
                <a:gd name="T49" fmla="*/ 164 h 372"/>
                <a:gd name="T50" fmla="*/ 31 w 160"/>
                <a:gd name="T51" fmla="*/ 159 h 372"/>
                <a:gd name="T52" fmla="*/ 22 w 160"/>
                <a:gd name="T53" fmla="*/ 150 h 372"/>
                <a:gd name="T54" fmla="*/ 15 w 160"/>
                <a:gd name="T55" fmla="*/ 133 h 372"/>
                <a:gd name="T56" fmla="*/ 5 w 160"/>
                <a:gd name="T57" fmla="*/ 96 h 372"/>
                <a:gd name="T58" fmla="*/ 0 w 160"/>
                <a:gd name="T59" fmla="*/ 61 h 372"/>
                <a:gd name="T60" fmla="*/ 1 w 160"/>
                <a:gd name="T61" fmla="*/ 38 h 372"/>
                <a:gd name="T62" fmla="*/ 14 w 160"/>
                <a:gd name="T63" fmla="*/ 29 h 372"/>
                <a:gd name="T64" fmla="*/ 21 w 160"/>
                <a:gd name="T65" fmla="*/ 33 h 372"/>
                <a:gd name="T66" fmla="*/ 26 w 160"/>
                <a:gd name="T67" fmla="*/ 42 h 372"/>
                <a:gd name="T68" fmla="*/ 28 w 160"/>
                <a:gd name="T69" fmla="*/ 54 h 372"/>
                <a:gd name="T70" fmla="*/ 33 w 160"/>
                <a:gd name="T71" fmla="*/ 98 h 372"/>
                <a:gd name="T72" fmla="*/ 43 w 160"/>
                <a:gd name="T73" fmla="*/ 136 h 372"/>
                <a:gd name="T74" fmla="*/ 59 w 160"/>
                <a:gd name="T75" fmla="*/ 138 h 372"/>
                <a:gd name="T76" fmla="*/ 89 w 160"/>
                <a:gd name="T77" fmla="*/ 98 h 372"/>
                <a:gd name="T78" fmla="*/ 122 w 160"/>
                <a:gd name="T79" fmla="*/ 29 h 372"/>
                <a:gd name="T80" fmla="*/ 136 w 160"/>
                <a:gd name="T81" fmla="*/ 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" h="372">
                  <a:moveTo>
                    <a:pt x="145" y="0"/>
                  </a:moveTo>
                  <a:lnTo>
                    <a:pt x="150" y="1"/>
                  </a:lnTo>
                  <a:lnTo>
                    <a:pt x="155" y="3"/>
                  </a:lnTo>
                  <a:lnTo>
                    <a:pt x="159" y="10"/>
                  </a:lnTo>
                  <a:lnTo>
                    <a:pt x="160" y="24"/>
                  </a:lnTo>
                  <a:lnTo>
                    <a:pt x="160" y="45"/>
                  </a:lnTo>
                  <a:lnTo>
                    <a:pt x="157" y="71"/>
                  </a:lnTo>
                  <a:lnTo>
                    <a:pt x="150" y="105"/>
                  </a:lnTo>
                  <a:lnTo>
                    <a:pt x="139" y="140"/>
                  </a:lnTo>
                  <a:lnTo>
                    <a:pt x="131" y="175"/>
                  </a:lnTo>
                  <a:lnTo>
                    <a:pt x="122" y="211"/>
                  </a:lnTo>
                  <a:lnTo>
                    <a:pt x="117" y="241"/>
                  </a:lnTo>
                  <a:lnTo>
                    <a:pt x="115" y="267"/>
                  </a:lnTo>
                  <a:lnTo>
                    <a:pt x="115" y="287"/>
                  </a:lnTo>
                  <a:lnTo>
                    <a:pt x="117" y="304"/>
                  </a:lnTo>
                  <a:lnTo>
                    <a:pt x="118" y="318"/>
                  </a:lnTo>
                  <a:lnTo>
                    <a:pt x="120" y="337"/>
                  </a:lnTo>
                  <a:lnTo>
                    <a:pt x="122" y="350"/>
                  </a:lnTo>
                  <a:lnTo>
                    <a:pt x="122" y="360"/>
                  </a:lnTo>
                  <a:lnTo>
                    <a:pt x="120" y="365"/>
                  </a:lnTo>
                  <a:lnTo>
                    <a:pt x="118" y="371"/>
                  </a:lnTo>
                  <a:lnTo>
                    <a:pt x="115" y="372"/>
                  </a:lnTo>
                  <a:lnTo>
                    <a:pt x="113" y="372"/>
                  </a:lnTo>
                  <a:lnTo>
                    <a:pt x="110" y="372"/>
                  </a:lnTo>
                  <a:lnTo>
                    <a:pt x="104" y="371"/>
                  </a:lnTo>
                  <a:lnTo>
                    <a:pt x="103" y="369"/>
                  </a:lnTo>
                  <a:lnTo>
                    <a:pt x="99" y="367"/>
                  </a:lnTo>
                  <a:lnTo>
                    <a:pt x="97" y="364"/>
                  </a:lnTo>
                  <a:lnTo>
                    <a:pt x="97" y="360"/>
                  </a:lnTo>
                  <a:lnTo>
                    <a:pt x="99" y="357"/>
                  </a:lnTo>
                  <a:lnTo>
                    <a:pt x="99" y="351"/>
                  </a:lnTo>
                  <a:lnTo>
                    <a:pt x="99" y="348"/>
                  </a:lnTo>
                  <a:lnTo>
                    <a:pt x="97" y="343"/>
                  </a:lnTo>
                  <a:lnTo>
                    <a:pt x="97" y="336"/>
                  </a:lnTo>
                  <a:lnTo>
                    <a:pt x="94" y="295"/>
                  </a:lnTo>
                  <a:lnTo>
                    <a:pt x="94" y="262"/>
                  </a:lnTo>
                  <a:lnTo>
                    <a:pt x="96" y="234"/>
                  </a:lnTo>
                  <a:lnTo>
                    <a:pt x="101" y="206"/>
                  </a:lnTo>
                  <a:lnTo>
                    <a:pt x="106" y="178"/>
                  </a:lnTo>
                  <a:lnTo>
                    <a:pt x="113" y="147"/>
                  </a:lnTo>
                  <a:lnTo>
                    <a:pt x="122" y="110"/>
                  </a:lnTo>
                  <a:lnTo>
                    <a:pt x="131" y="66"/>
                  </a:lnTo>
                  <a:lnTo>
                    <a:pt x="117" y="94"/>
                  </a:lnTo>
                  <a:lnTo>
                    <a:pt x="103" y="119"/>
                  </a:lnTo>
                  <a:lnTo>
                    <a:pt x="90" y="140"/>
                  </a:lnTo>
                  <a:lnTo>
                    <a:pt x="80" y="155"/>
                  </a:lnTo>
                  <a:lnTo>
                    <a:pt x="70" y="164"/>
                  </a:lnTo>
                  <a:lnTo>
                    <a:pt x="59" y="168"/>
                  </a:lnTo>
                  <a:lnTo>
                    <a:pt x="50" y="168"/>
                  </a:lnTo>
                  <a:lnTo>
                    <a:pt x="43" y="164"/>
                  </a:lnTo>
                  <a:lnTo>
                    <a:pt x="36" y="162"/>
                  </a:lnTo>
                  <a:lnTo>
                    <a:pt x="31" y="159"/>
                  </a:lnTo>
                  <a:lnTo>
                    <a:pt x="26" y="155"/>
                  </a:lnTo>
                  <a:lnTo>
                    <a:pt x="22" y="150"/>
                  </a:lnTo>
                  <a:lnTo>
                    <a:pt x="19" y="143"/>
                  </a:lnTo>
                  <a:lnTo>
                    <a:pt x="15" y="133"/>
                  </a:lnTo>
                  <a:lnTo>
                    <a:pt x="10" y="115"/>
                  </a:lnTo>
                  <a:lnTo>
                    <a:pt x="5" y="96"/>
                  </a:lnTo>
                  <a:lnTo>
                    <a:pt x="3" y="77"/>
                  </a:lnTo>
                  <a:lnTo>
                    <a:pt x="0" y="61"/>
                  </a:lnTo>
                  <a:lnTo>
                    <a:pt x="0" y="49"/>
                  </a:lnTo>
                  <a:lnTo>
                    <a:pt x="1" y="38"/>
                  </a:lnTo>
                  <a:lnTo>
                    <a:pt x="7" y="31"/>
                  </a:lnTo>
                  <a:lnTo>
                    <a:pt x="14" y="29"/>
                  </a:lnTo>
                  <a:lnTo>
                    <a:pt x="17" y="31"/>
                  </a:lnTo>
                  <a:lnTo>
                    <a:pt x="21" y="33"/>
                  </a:lnTo>
                  <a:lnTo>
                    <a:pt x="22" y="36"/>
                  </a:lnTo>
                  <a:lnTo>
                    <a:pt x="26" y="42"/>
                  </a:lnTo>
                  <a:lnTo>
                    <a:pt x="28" y="47"/>
                  </a:lnTo>
                  <a:lnTo>
                    <a:pt x="28" y="54"/>
                  </a:lnTo>
                  <a:lnTo>
                    <a:pt x="29" y="73"/>
                  </a:lnTo>
                  <a:lnTo>
                    <a:pt x="33" y="98"/>
                  </a:lnTo>
                  <a:lnTo>
                    <a:pt x="38" y="122"/>
                  </a:lnTo>
                  <a:lnTo>
                    <a:pt x="43" y="136"/>
                  </a:lnTo>
                  <a:lnTo>
                    <a:pt x="50" y="141"/>
                  </a:lnTo>
                  <a:lnTo>
                    <a:pt x="59" y="138"/>
                  </a:lnTo>
                  <a:lnTo>
                    <a:pt x="70" y="126"/>
                  </a:lnTo>
                  <a:lnTo>
                    <a:pt x="89" y="98"/>
                  </a:lnTo>
                  <a:lnTo>
                    <a:pt x="106" y="66"/>
                  </a:lnTo>
                  <a:lnTo>
                    <a:pt x="122" y="29"/>
                  </a:lnTo>
                  <a:lnTo>
                    <a:pt x="129" y="10"/>
                  </a:lnTo>
                  <a:lnTo>
                    <a:pt x="136" y="1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3"/>
            <p:cNvSpPr>
              <a:spLocks/>
            </p:cNvSpPr>
            <p:nvPr userDrawn="1"/>
          </p:nvSpPr>
          <p:spPr bwMode="auto">
            <a:xfrm>
              <a:off x="8743951" y="5254625"/>
              <a:ext cx="280988" cy="344488"/>
            </a:xfrm>
            <a:custGeom>
              <a:avLst/>
              <a:gdLst>
                <a:gd name="T0" fmla="*/ 135 w 177"/>
                <a:gd name="T1" fmla="*/ 2 h 217"/>
                <a:gd name="T2" fmla="*/ 161 w 177"/>
                <a:gd name="T3" fmla="*/ 14 h 217"/>
                <a:gd name="T4" fmla="*/ 164 w 177"/>
                <a:gd name="T5" fmla="*/ 42 h 217"/>
                <a:gd name="T6" fmla="*/ 166 w 177"/>
                <a:gd name="T7" fmla="*/ 96 h 217"/>
                <a:gd name="T8" fmla="*/ 170 w 177"/>
                <a:gd name="T9" fmla="*/ 154 h 217"/>
                <a:gd name="T10" fmla="*/ 177 w 177"/>
                <a:gd name="T11" fmla="*/ 196 h 217"/>
                <a:gd name="T12" fmla="*/ 177 w 177"/>
                <a:gd name="T13" fmla="*/ 210 h 217"/>
                <a:gd name="T14" fmla="*/ 171 w 177"/>
                <a:gd name="T15" fmla="*/ 217 h 217"/>
                <a:gd name="T16" fmla="*/ 161 w 177"/>
                <a:gd name="T17" fmla="*/ 217 h 217"/>
                <a:gd name="T18" fmla="*/ 150 w 177"/>
                <a:gd name="T19" fmla="*/ 213 h 217"/>
                <a:gd name="T20" fmla="*/ 143 w 177"/>
                <a:gd name="T21" fmla="*/ 206 h 217"/>
                <a:gd name="T22" fmla="*/ 142 w 177"/>
                <a:gd name="T23" fmla="*/ 191 h 217"/>
                <a:gd name="T24" fmla="*/ 140 w 177"/>
                <a:gd name="T25" fmla="*/ 150 h 217"/>
                <a:gd name="T26" fmla="*/ 135 w 177"/>
                <a:gd name="T27" fmla="*/ 87 h 217"/>
                <a:gd name="T28" fmla="*/ 129 w 177"/>
                <a:gd name="T29" fmla="*/ 35 h 217"/>
                <a:gd name="T30" fmla="*/ 126 w 177"/>
                <a:gd name="T31" fmla="*/ 28 h 217"/>
                <a:gd name="T32" fmla="*/ 122 w 177"/>
                <a:gd name="T33" fmla="*/ 28 h 217"/>
                <a:gd name="T34" fmla="*/ 115 w 177"/>
                <a:gd name="T35" fmla="*/ 35 h 217"/>
                <a:gd name="T36" fmla="*/ 100 w 177"/>
                <a:gd name="T37" fmla="*/ 56 h 217"/>
                <a:gd name="T38" fmla="*/ 73 w 177"/>
                <a:gd name="T39" fmla="*/ 100 h 217"/>
                <a:gd name="T40" fmla="*/ 47 w 177"/>
                <a:gd name="T41" fmla="*/ 170 h 217"/>
                <a:gd name="T42" fmla="*/ 44 w 177"/>
                <a:gd name="T43" fmla="*/ 177 h 217"/>
                <a:gd name="T44" fmla="*/ 35 w 177"/>
                <a:gd name="T45" fmla="*/ 178 h 217"/>
                <a:gd name="T46" fmla="*/ 23 w 177"/>
                <a:gd name="T47" fmla="*/ 177 h 217"/>
                <a:gd name="T48" fmla="*/ 14 w 177"/>
                <a:gd name="T49" fmla="*/ 171 h 217"/>
                <a:gd name="T50" fmla="*/ 11 w 177"/>
                <a:gd name="T51" fmla="*/ 166 h 217"/>
                <a:gd name="T52" fmla="*/ 7 w 177"/>
                <a:gd name="T53" fmla="*/ 154 h 217"/>
                <a:gd name="T54" fmla="*/ 4 w 177"/>
                <a:gd name="T55" fmla="*/ 126 h 217"/>
                <a:gd name="T56" fmla="*/ 2 w 177"/>
                <a:gd name="T57" fmla="*/ 75 h 217"/>
                <a:gd name="T58" fmla="*/ 0 w 177"/>
                <a:gd name="T59" fmla="*/ 24 h 217"/>
                <a:gd name="T60" fmla="*/ 2 w 177"/>
                <a:gd name="T61" fmla="*/ 10 h 217"/>
                <a:gd name="T62" fmla="*/ 7 w 177"/>
                <a:gd name="T63" fmla="*/ 2 h 217"/>
                <a:gd name="T64" fmla="*/ 16 w 177"/>
                <a:gd name="T65" fmla="*/ 2 h 217"/>
                <a:gd name="T66" fmla="*/ 26 w 177"/>
                <a:gd name="T67" fmla="*/ 14 h 217"/>
                <a:gd name="T68" fmla="*/ 28 w 177"/>
                <a:gd name="T69" fmla="*/ 38 h 217"/>
                <a:gd name="T70" fmla="*/ 30 w 177"/>
                <a:gd name="T71" fmla="*/ 98 h 217"/>
                <a:gd name="T72" fmla="*/ 46 w 177"/>
                <a:gd name="T73" fmla="*/ 101 h 217"/>
                <a:gd name="T74" fmla="*/ 73 w 177"/>
                <a:gd name="T75" fmla="*/ 54 h 217"/>
                <a:gd name="T76" fmla="*/ 96 w 177"/>
                <a:gd name="T77" fmla="*/ 17 h 217"/>
                <a:gd name="T78" fmla="*/ 112 w 177"/>
                <a:gd name="T79" fmla="*/ 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7" h="217">
                  <a:moveTo>
                    <a:pt x="121" y="0"/>
                  </a:moveTo>
                  <a:lnTo>
                    <a:pt x="135" y="2"/>
                  </a:lnTo>
                  <a:lnTo>
                    <a:pt x="152" y="7"/>
                  </a:lnTo>
                  <a:lnTo>
                    <a:pt x="161" y="14"/>
                  </a:lnTo>
                  <a:lnTo>
                    <a:pt x="163" y="24"/>
                  </a:lnTo>
                  <a:lnTo>
                    <a:pt x="164" y="42"/>
                  </a:lnTo>
                  <a:lnTo>
                    <a:pt x="164" y="68"/>
                  </a:lnTo>
                  <a:lnTo>
                    <a:pt x="166" y="96"/>
                  </a:lnTo>
                  <a:lnTo>
                    <a:pt x="168" y="124"/>
                  </a:lnTo>
                  <a:lnTo>
                    <a:pt x="170" y="154"/>
                  </a:lnTo>
                  <a:lnTo>
                    <a:pt x="173" y="177"/>
                  </a:lnTo>
                  <a:lnTo>
                    <a:pt x="177" y="196"/>
                  </a:lnTo>
                  <a:lnTo>
                    <a:pt x="177" y="205"/>
                  </a:lnTo>
                  <a:lnTo>
                    <a:pt x="177" y="210"/>
                  </a:lnTo>
                  <a:lnTo>
                    <a:pt x="175" y="213"/>
                  </a:lnTo>
                  <a:lnTo>
                    <a:pt x="171" y="217"/>
                  </a:lnTo>
                  <a:lnTo>
                    <a:pt x="168" y="217"/>
                  </a:lnTo>
                  <a:lnTo>
                    <a:pt x="161" y="217"/>
                  </a:lnTo>
                  <a:lnTo>
                    <a:pt x="156" y="215"/>
                  </a:lnTo>
                  <a:lnTo>
                    <a:pt x="150" y="213"/>
                  </a:lnTo>
                  <a:lnTo>
                    <a:pt x="147" y="210"/>
                  </a:lnTo>
                  <a:lnTo>
                    <a:pt x="143" y="206"/>
                  </a:lnTo>
                  <a:lnTo>
                    <a:pt x="142" y="199"/>
                  </a:lnTo>
                  <a:lnTo>
                    <a:pt x="142" y="191"/>
                  </a:lnTo>
                  <a:lnTo>
                    <a:pt x="140" y="175"/>
                  </a:lnTo>
                  <a:lnTo>
                    <a:pt x="140" y="150"/>
                  </a:lnTo>
                  <a:lnTo>
                    <a:pt x="138" y="119"/>
                  </a:lnTo>
                  <a:lnTo>
                    <a:pt x="135" y="87"/>
                  </a:lnTo>
                  <a:lnTo>
                    <a:pt x="133" y="58"/>
                  </a:lnTo>
                  <a:lnTo>
                    <a:pt x="129" y="35"/>
                  </a:lnTo>
                  <a:lnTo>
                    <a:pt x="128" y="30"/>
                  </a:lnTo>
                  <a:lnTo>
                    <a:pt x="126" y="28"/>
                  </a:lnTo>
                  <a:lnTo>
                    <a:pt x="124" y="26"/>
                  </a:lnTo>
                  <a:lnTo>
                    <a:pt x="122" y="28"/>
                  </a:lnTo>
                  <a:lnTo>
                    <a:pt x="119" y="30"/>
                  </a:lnTo>
                  <a:lnTo>
                    <a:pt x="115" y="35"/>
                  </a:lnTo>
                  <a:lnTo>
                    <a:pt x="110" y="42"/>
                  </a:lnTo>
                  <a:lnTo>
                    <a:pt x="100" y="56"/>
                  </a:lnTo>
                  <a:lnTo>
                    <a:pt x="87" y="75"/>
                  </a:lnTo>
                  <a:lnTo>
                    <a:pt x="73" y="100"/>
                  </a:lnTo>
                  <a:lnTo>
                    <a:pt x="60" y="131"/>
                  </a:lnTo>
                  <a:lnTo>
                    <a:pt x="47" y="170"/>
                  </a:lnTo>
                  <a:lnTo>
                    <a:pt x="46" y="173"/>
                  </a:lnTo>
                  <a:lnTo>
                    <a:pt x="44" y="177"/>
                  </a:lnTo>
                  <a:lnTo>
                    <a:pt x="40" y="178"/>
                  </a:lnTo>
                  <a:lnTo>
                    <a:pt x="35" y="178"/>
                  </a:lnTo>
                  <a:lnTo>
                    <a:pt x="30" y="178"/>
                  </a:lnTo>
                  <a:lnTo>
                    <a:pt x="23" y="177"/>
                  </a:lnTo>
                  <a:lnTo>
                    <a:pt x="19" y="175"/>
                  </a:lnTo>
                  <a:lnTo>
                    <a:pt x="14" y="171"/>
                  </a:lnTo>
                  <a:lnTo>
                    <a:pt x="12" y="170"/>
                  </a:lnTo>
                  <a:lnTo>
                    <a:pt x="11" y="166"/>
                  </a:lnTo>
                  <a:lnTo>
                    <a:pt x="9" y="161"/>
                  </a:lnTo>
                  <a:lnTo>
                    <a:pt x="7" y="154"/>
                  </a:lnTo>
                  <a:lnTo>
                    <a:pt x="5" y="143"/>
                  </a:lnTo>
                  <a:lnTo>
                    <a:pt x="4" y="126"/>
                  </a:lnTo>
                  <a:lnTo>
                    <a:pt x="2" y="101"/>
                  </a:lnTo>
                  <a:lnTo>
                    <a:pt x="2" y="75"/>
                  </a:lnTo>
                  <a:lnTo>
                    <a:pt x="0" y="49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2" y="10"/>
                  </a:lnTo>
                  <a:lnTo>
                    <a:pt x="4" y="5"/>
                  </a:lnTo>
                  <a:lnTo>
                    <a:pt x="7" y="2"/>
                  </a:lnTo>
                  <a:lnTo>
                    <a:pt x="11" y="2"/>
                  </a:lnTo>
                  <a:lnTo>
                    <a:pt x="16" y="2"/>
                  </a:lnTo>
                  <a:lnTo>
                    <a:pt x="23" y="5"/>
                  </a:lnTo>
                  <a:lnTo>
                    <a:pt x="26" y="14"/>
                  </a:lnTo>
                  <a:lnTo>
                    <a:pt x="28" y="24"/>
                  </a:lnTo>
                  <a:lnTo>
                    <a:pt x="28" y="38"/>
                  </a:lnTo>
                  <a:lnTo>
                    <a:pt x="28" y="68"/>
                  </a:lnTo>
                  <a:lnTo>
                    <a:pt x="30" y="98"/>
                  </a:lnTo>
                  <a:lnTo>
                    <a:pt x="33" y="128"/>
                  </a:lnTo>
                  <a:lnTo>
                    <a:pt x="46" y="101"/>
                  </a:lnTo>
                  <a:lnTo>
                    <a:pt x="60" y="77"/>
                  </a:lnTo>
                  <a:lnTo>
                    <a:pt x="73" y="54"/>
                  </a:lnTo>
                  <a:lnTo>
                    <a:pt x="86" y="33"/>
                  </a:lnTo>
                  <a:lnTo>
                    <a:pt x="96" y="17"/>
                  </a:lnTo>
                  <a:lnTo>
                    <a:pt x="105" y="5"/>
                  </a:lnTo>
                  <a:lnTo>
                    <a:pt x="112" y="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4"/>
            <p:cNvSpPr>
              <a:spLocks/>
            </p:cNvSpPr>
            <p:nvPr userDrawn="1"/>
          </p:nvSpPr>
          <p:spPr bwMode="auto">
            <a:xfrm>
              <a:off x="9043988" y="5251450"/>
              <a:ext cx="271463" cy="330200"/>
            </a:xfrm>
            <a:custGeom>
              <a:avLst/>
              <a:gdLst>
                <a:gd name="T0" fmla="*/ 114 w 171"/>
                <a:gd name="T1" fmla="*/ 2 h 208"/>
                <a:gd name="T2" fmla="*/ 121 w 171"/>
                <a:gd name="T3" fmla="*/ 5 h 208"/>
                <a:gd name="T4" fmla="*/ 124 w 171"/>
                <a:gd name="T5" fmla="*/ 12 h 208"/>
                <a:gd name="T6" fmla="*/ 119 w 171"/>
                <a:gd name="T7" fmla="*/ 23 h 208"/>
                <a:gd name="T8" fmla="*/ 73 w 171"/>
                <a:gd name="T9" fmla="*/ 47 h 208"/>
                <a:gd name="T10" fmla="*/ 42 w 171"/>
                <a:gd name="T11" fmla="*/ 79 h 208"/>
                <a:gd name="T12" fmla="*/ 30 w 171"/>
                <a:gd name="T13" fmla="*/ 109 h 208"/>
                <a:gd name="T14" fmla="*/ 38 w 171"/>
                <a:gd name="T15" fmla="*/ 123 h 208"/>
                <a:gd name="T16" fmla="*/ 65 w 171"/>
                <a:gd name="T17" fmla="*/ 119 h 208"/>
                <a:gd name="T18" fmla="*/ 98 w 171"/>
                <a:gd name="T19" fmla="*/ 105 h 208"/>
                <a:gd name="T20" fmla="*/ 126 w 171"/>
                <a:gd name="T21" fmla="*/ 86 h 208"/>
                <a:gd name="T22" fmla="*/ 128 w 171"/>
                <a:gd name="T23" fmla="*/ 60 h 208"/>
                <a:gd name="T24" fmla="*/ 140 w 171"/>
                <a:gd name="T25" fmla="*/ 49 h 208"/>
                <a:gd name="T26" fmla="*/ 152 w 171"/>
                <a:gd name="T27" fmla="*/ 54 h 208"/>
                <a:gd name="T28" fmla="*/ 157 w 171"/>
                <a:gd name="T29" fmla="*/ 58 h 208"/>
                <a:gd name="T30" fmla="*/ 159 w 171"/>
                <a:gd name="T31" fmla="*/ 63 h 208"/>
                <a:gd name="T32" fmla="*/ 161 w 171"/>
                <a:gd name="T33" fmla="*/ 112 h 208"/>
                <a:gd name="T34" fmla="*/ 166 w 171"/>
                <a:gd name="T35" fmla="*/ 172 h 208"/>
                <a:gd name="T36" fmla="*/ 169 w 171"/>
                <a:gd name="T37" fmla="*/ 200 h 208"/>
                <a:gd name="T38" fmla="*/ 164 w 171"/>
                <a:gd name="T39" fmla="*/ 207 h 208"/>
                <a:gd name="T40" fmla="*/ 156 w 171"/>
                <a:gd name="T41" fmla="*/ 207 h 208"/>
                <a:gd name="T42" fmla="*/ 147 w 171"/>
                <a:gd name="T43" fmla="*/ 198 h 208"/>
                <a:gd name="T44" fmla="*/ 135 w 171"/>
                <a:gd name="T45" fmla="*/ 158 h 208"/>
                <a:gd name="T46" fmla="*/ 129 w 171"/>
                <a:gd name="T47" fmla="*/ 117 h 208"/>
                <a:gd name="T48" fmla="*/ 86 w 171"/>
                <a:gd name="T49" fmla="*/ 140 h 208"/>
                <a:gd name="T50" fmla="*/ 44 w 171"/>
                <a:gd name="T51" fmla="*/ 151 h 208"/>
                <a:gd name="T52" fmla="*/ 12 w 171"/>
                <a:gd name="T53" fmla="*/ 138 h 208"/>
                <a:gd name="T54" fmla="*/ 0 w 171"/>
                <a:gd name="T55" fmla="*/ 102 h 208"/>
                <a:gd name="T56" fmla="*/ 17 w 171"/>
                <a:gd name="T57" fmla="*/ 58 h 208"/>
                <a:gd name="T58" fmla="*/ 58 w 171"/>
                <a:gd name="T59" fmla="*/ 19 h 208"/>
                <a:gd name="T60" fmla="*/ 91 w 171"/>
                <a:gd name="T61" fmla="*/ 2 h 208"/>
                <a:gd name="T62" fmla="*/ 110 w 171"/>
                <a:gd name="T6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1" h="208">
                  <a:moveTo>
                    <a:pt x="110" y="0"/>
                  </a:moveTo>
                  <a:lnTo>
                    <a:pt x="114" y="2"/>
                  </a:lnTo>
                  <a:lnTo>
                    <a:pt x="117" y="4"/>
                  </a:lnTo>
                  <a:lnTo>
                    <a:pt x="121" y="5"/>
                  </a:lnTo>
                  <a:lnTo>
                    <a:pt x="122" y="9"/>
                  </a:lnTo>
                  <a:lnTo>
                    <a:pt x="124" y="12"/>
                  </a:lnTo>
                  <a:lnTo>
                    <a:pt x="122" y="18"/>
                  </a:lnTo>
                  <a:lnTo>
                    <a:pt x="119" y="23"/>
                  </a:lnTo>
                  <a:lnTo>
                    <a:pt x="96" y="33"/>
                  </a:lnTo>
                  <a:lnTo>
                    <a:pt x="73" y="47"/>
                  </a:lnTo>
                  <a:lnTo>
                    <a:pt x="56" y="63"/>
                  </a:lnTo>
                  <a:lnTo>
                    <a:pt x="42" y="79"/>
                  </a:lnTo>
                  <a:lnTo>
                    <a:pt x="33" y="95"/>
                  </a:lnTo>
                  <a:lnTo>
                    <a:pt x="30" y="109"/>
                  </a:lnTo>
                  <a:lnTo>
                    <a:pt x="31" y="119"/>
                  </a:lnTo>
                  <a:lnTo>
                    <a:pt x="38" y="123"/>
                  </a:lnTo>
                  <a:lnTo>
                    <a:pt x="49" y="123"/>
                  </a:lnTo>
                  <a:lnTo>
                    <a:pt x="65" y="119"/>
                  </a:lnTo>
                  <a:lnTo>
                    <a:pt x="82" y="112"/>
                  </a:lnTo>
                  <a:lnTo>
                    <a:pt x="98" y="105"/>
                  </a:lnTo>
                  <a:lnTo>
                    <a:pt x="114" y="95"/>
                  </a:lnTo>
                  <a:lnTo>
                    <a:pt x="126" y="86"/>
                  </a:lnTo>
                  <a:lnTo>
                    <a:pt x="126" y="70"/>
                  </a:lnTo>
                  <a:lnTo>
                    <a:pt x="128" y="60"/>
                  </a:lnTo>
                  <a:lnTo>
                    <a:pt x="131" y="51"/>
                  </a:lnTo>
                  <a:lnTo>
                    <a:pt x="140" y="49"/>
                  </a:lnTo>
                  <a:lnTo>
                    <a:pt x="147" y="51"/>
                  </a:lnTo>
                  <a:lnTo>
                    <a:pt x="152" y="54"/>
                  </a:lnTo>
                  <a:lnTo>
                    <a:pt x="154" y="56"/>
                  </a:lnTo>
                  <a:lnTo>
                    <a:pt x="157" y="58"/>
                  </a:lnTo>
                  <a:lnTo>
                    <a:pt x="157" y="61"/>
                  </a:lnTo>
                  <a:lnTo>
                    <a:pt x="159" y="63"/>
                  </a:lnTo>
                  <a:lnTo>
                    <a:pt x="159" y="84"/>
                  </a:lnTo>
                  <a:lnTo>
                    <a:pt x="161" y="112"/>
                  </a:lnTo>
                  <a:lnTo>
                    <a:pt x="163" y="142"/>
                  </a:lnTo>
                  <a:lnTo>
                    <a:pt x="166" y="172"/>
                  </a:lnTo>
                  <a:lnTo>
                    <a:pt x="171" y="194"/>
                  </a:lnTo>
                  <a:lnTo>
                    <a:pt x="169" y="200"/>
                  </a:lnTo>
                  <a:lnTo>
                    <a:pt x="168" y="205"/>
                  </a:lnTo>
                  <a:lnTo>
                    <a:pt x="164" y="207"/>
                  </a:lnTo>
                  <a:lnTo>
                    <a:pt x="161" y="208"/>
                  </a:lnTo>
                  <a:lnTo>
                    <a:pt x="156" y="207"/>
                  </a:lnTo>
                  <a:lnTo>
                    <a:pt x="150" y="203"/>
                  </a:lnTo>
                  <a:lnTo>
                    <a:pt x="147" y="198"/>
                  </a:lnTo>
                  <a:lnTo>
                    <a:pt x="140" y="179"/>
                  </a:lnTo>
                  <a:lnTo>
                    <a:pt x="135" y="158"/>
                  </a:lnTo>
                  <a:lnTo>
                    <a:pt x="131" y="135"/>
                  </a:lnTo>
                  <a:lnTo>
                    <a:pt x="129" y="117"/>
                  </a:lnTo>
                  <a:lnTo>
                    <a:pt x="108" y="130"/>
                  </a:lnTo>
                  <a:lnTo>
                    <a:pt x="86" y="140"/>
                  </a:lnTo>
                  <a:lnTo>
                    <a:pt x="65" y="147"/>
                  </a:lnTo>
                  <a:lnTo>
                    <a:pt x="44" y="151"/>
                  </a:lnTo>
                  <a:lnTo>
                    <a:pt x="26" y="149"/>
                  </a:lnTo>
                  <a:lnTo>
                    <a:pt x="12" y="138"/>
                  </a:lnTo>
                  <a:lnTo>
                    <a:pt x="2" y="121"/>
                  </a:lnTo>
                  <a:lnTo>
                    <a:pt x="0" y="102"/>
                  </a:lnTo>
                  <a:lnTo>
                    <a:pt x="5" y="81"/>
                  </a:lnTo>
                  <a:lnTo>
                    <a:pt x="17" y="58"/>
                  </a:lnTo>
                  <a:lnTo>
                    <a:pt x="37" y="37"/>
                  </a:lnTo>
                  <a:lnTo>
                    <a:pt x="58" y="19"/>
                  </a:lnTo>
                  <a:lnTo>
                    <a:pt x="75" y="9"/>
                  </a:lnTo>
                  <a:lnTo>
                    <a:pt x="91" y="2"/>
                  </a:lnTo>
                  <a:lnTo>
                    <a:pt x="101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5"/>
            <p:cNvSpPr>
              <a:spLocks/>
            </p:cNvSpPr>
            <p:nvPr userDrawn="1"/>
          </p:nvSpPr>
          <p:spPr bwMode="auto">
            <a:xfrm>
              <a:off x="9356726" y="5065713"/>
              <a:ext cx="120650" cy="503238"/>
            </a:xfrm>
            <a:custGeom>
              <a:avLst/>
              <a:gdLst>
                <a:gd name="T0" fmla="*/ 16 w 76"/>
                <a:gd name="T1" fmla="*/ 0 h 317"/>
                <a:gd name="T2" fmla="*/ 21 w 76"/>
                <a:gd name="T3" fmla="*/ 0 h 317"/>
                <a:gd name="T4" fmla="*/ 28 w 76"/>
                <a:gd name="T5" fmla="*/ 3 h 317"/>
                <a:gd name="T6" fmla="*/ 34 w 76"/>
                <a:gd name="T7" fmla="*/ 10 h 317"/>
                <a:gd name="T8" fmla="*/ 35 w 76"/>
                <a:gd name="T9" fmla="*/ 24 h 317"/>
                <a:gd name="T10" fmla="*/ 35 w 76"/>
                <a:gd name="T11" fmla="*/ 47 h 317"/>
                <a:gd name="T12" fmla="*/ 37 w 76"/>
                <a:gd name="T13" fmla="*/ 72 h 317"/>
                <a:gd name="T14" fmla="*/ 37 w 76"/>
                <a:gd name="T15" fmla="*/ 103 h 317"/>
                <a:gd name="T16" fmla="*/ 39 w 76"/>
                <a:gd name="T17" fmla="*/ 142 h 317"/>
                <a:gd name="T18" fmla="*/ 42 w 76"/>
                <a:gd name="T19" fmla="*/ 180 h 317"/>
                <a:gd name="T20" fmla="*/ 46 w 76"/>
                <a:gd name="T21" fmla="*/ 219 h 317"/>
                <a:gd name="T22" fmla="*/ 51 w 76"/>
                <a:gd name="T23" fmla="*/ 255 h 317"/>
                <a:gd name="T24" fmla="*/ 53 w 76"/>
                <a:gd name="T25" fmla="*/ 254 h 317"/>
                <a:gd name="T26" fmla="*/ 56 w 76"/>
                <a:gd name="T27" fmla="*/ 252 h 317"/>
                <a:gd name="T28" fmla="*/ 60 w 76"/>
                <a:gd name="T29" fmla="*/ 250 h 317"/>
                <a:gd name="T30" fmla="*/ 62 w 76"/>
                <a:gd name="T31" fmla="*/ 248 h 317"/>
                <a:gd name="T32" fmla="*/ 65 w 76"/>
                <a:gd name="T33" fmla="*/ 247 h 317"/>
                <a:gd name="T34" fmla="*/ 69 w 76"/>
                <a:gd name="T35" fmla="*/ 247 h 317"/>
                <a:gd name="T36" fmla="*/ 70 w 76"/>
                <a:gd name="T37" fmla="*/ 248 h 317"/>
                <a:gd name="T38" fmla="*/ 74 w 76"/>
                <a:gd name="T39" fmla="*/ 250 h 317"/>
                <a:gd name="T40" fmla="*/ 74 w 76"/>
                <a:gd name="T41" fmla="*/ 255 h 317"/>
                <a:gd name="T42" fmla="*/ 76 w 76"/>
                <a:gd name="T43" fmla="*/ 261 h 317"/>
                <a:gd name="T44" fmla="*/ 72 w 76"/>
                <a:gd name="T45" fmla="*/ 283 h 317"/>
                <a:gd name="T46" fmla="*/ 63 w 76"/>
                <a:gd name="T47" fmla="*/ 301 h 317"/>
                <a:gd name="T48" fmla="*/ 53 w 76"/>
                <a:gd name="T49" fmla="*/ 313 h 317"/>
                <a:gd name="T50" fmla="*/ 42 w 76"/>
                <a:gd name="T51" fmla="*/ 317 h 317"/>
                <a:gd name="T52" fmla="*/ 35 w 76"/>
                <a:gd name="T53" fmla="*/ 315 h 317"/>
                <a:gd name="T54" fmla="*/ 30 w 76"/>
                <a:gd name="T55" fmla="*/ 306 h 317"/>
                <a:gd name="T56" fmla="*/ 27 w 76"/>
                <a:gd name="T57" fmla="*/ 296 h 317"/>
                <a:gd name="T58" fmla="*/ 23 w 76"/>
                <a:gd name="T59" fmla="*/ 282 h 317"/>
                <a:gd name="T60" fmla="*/ 21 w 76"/>
                <a:gd name="T61" fmla="*/ 264 h 317"/>
                <a:gd name="T62" fmla="*/ 18 w 76"/>
                <a:gd name="T63" fmla="*/ 238 h 317"/>
                <a:gd name="T64" fmla="*/ 14 w 76"/>
                <a:gd name="T65" fmla="*/ 205 h 317"/>
                <a:gd name="T66" fmla="*/ 13 w 76"/>
                <a:gd name="T67" fmla="*/ 168 h 317"/>
                <a:gd name="T68" fmla="*/ 9 w 76"/>
                <a:gd name="T69" fmla="*/ 131 h 317"/>
                <a:gd name="T70" fmla="*/ 6 w 76"/>
                <a:gd name="T71" fmla="*/ 94 h 317"/>
                <a:gd name="T72" fmla="*/ 2 w 76"/>
                <a:gd name="T73" fmla="*/ 65 h 317"/>
                <a:gd name="T74" fmla="*/ 0 w 76"/>
                <a:gd name="T75" fmla="*/ 40 h 317"/>
                <a:gd name="T76" fmla="*/ 0 w 76"/>
                <a:gd name="T77" fmla="*/ 26 h 317"/>
                <a:gd name="T78" fmla="*/ 0 w 76"/>
                <a:gd name="T79" fmla="*/ 19 h 317"/>
                <a:gd name="T80" fmla="*/ 0 w 76"/>
                <a:gd name="T81" fmla="*/ 12 h 317"/>
                <a:gd name="T82" fmla="*/ 4 w 76"/>
                <a:gd name="T83" fmla="*/ 7 h 317"/>
                <a:gd name="T84" fmla="*/ 6 w 76"/>
                <a:gd name="T85" fmla="*/ 3 h 317"/>
                <a:gd name="T86" fmla="*/ 9 w 76"/>
                <a:gd name="T87" fmla="*/ 2 h 317"/>
                <a:gd name="T88" fmla="*/ 13 w 76"/>
                <a:gd name="T89" fmla="*/ 0 h 317"/>
                <a:gd name="T90" fmla="*/ 16 w 76"/>
                <a:gd name="T91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6" h="317">
                  <a:moveTo>
                    <a:pt x="16" y="0"/>
                  </a:moveTo>
                  <a:lnTo>
                    <a:pt x="21" y="0"/>
                  </a:lnTo>
                  <a:lnTo>
                    <a:pt x="28" y="3"/>
                  </a:lnTo>
                  <a:lnTo>
                    <a:pt x="34" y="10"/>
                  </a:lnTo>
                  <a:lnTo>
                    <a:pt x="35" y="24"/>
                  </a:lnTo>
                  <a:lnTo>
                    <a:pt x="35" y="47"/>
                  </a:lnTo>
                  <a:lnTo>
                    <a:pt x="37" y="72"/>
                  </a:lnTo>
                  <a:lnTo>
                    <a:pt x="37" y="103"/>
                  </a:lnTo>
                  <a:lnTo>
                    <a:pt x="39" y="142"/>
                  </a:lnTo>
                  <a:lnTo>
                    <a:pt x="42" y="180"/>
                  </a:lnTo>
                  <a:lnTo>
                    <a:pt x="46" y="219"/>
                  </a:lnTo>
                  <a:lnTo>
                    <a:pt x="51" y="255"/>
                  </a:lnTo>
                  <a:lnTo>
                    <a:pt x="53" y="254"/>
                  </a:lnTo>
                  <a:lnTo>
                    <a:pt x="56" y="252"/>
                  </a:lnTo>
                  <a:lnTo>
                    <a:pt x="60" y="250"/>
                  </a:lnTo>
                  <a:lnTo>
                    <a:pt x="62" y="248"/>
                  </a:lnTo>
                  <a:lnTo>
                    <a:pt x="65" y="247"/>
                  </a:lnTo>
                  <a:lnTo>
                    <a:pt x="69" y="247"/>
                  </a:lnTo>
                  <a:lnTo>
                    <a:pt x="70" y="248"/>
                  </a:lnTo>
                  <a:lnTo>
                    <a:pt x="74" y="250"/>
                  </a:lnTo>
                  <a:lnTo>
                    <a:pt x="74" y="255"/>
                  </a:lnTo>
                  <a:lnTo>
                    <a:pt x="76" y="261"/>
                  </a:lnTo>
                  <a:lnTo>
                    <a:pt x="72" y="283"/>
                  </a:lnTo>
                  <a:lnTo>
                    <a:pt x="63" y="301"/>
                  </a:lnTo>
                  <a:lnTo>
                    <a:pt x="53" y="313"/>
                  </a:lnTo>
                  <a:lnTo>
                    <a:pt x="42" y="317"/>
                  </a:lnTo>
                  <a:lnTo>
                    <a:pt x="35" y="315"/>
                  </a:lnTo>
                  <a:lnTo>
                    <a:pt x="30" y="306"/>
                  </a:lnTo>
                  <a:lnTo>
                    <a:pt x="27" y="296"/>
                  </a:lnTo>
                  <a:lnTo>
                    <a:pt x="23" y="282"/>
                  </a:lnTo>
                  <a:lnTo>
                    <a:pt x="21" y="264"/>
                  </a:lnTo>
                  <a:lnTo>
                    <a:pt x="18" y="238"/>
                  </a:lnTo>
                  <a:lnTo>
                    <a:pt x="14" y="205"/>
                  </a:lnTo>
                  <a:lnTo>
                    <a:pt x="13" y="168"/>
                  </a:lnTo>
                  <a:lnTo>
                    <a:pt x="9" y="131"/>
                  </a:lnTo>
                  <a:lnTo>
                    <a:pt x="6" y="94"/>
                  </a:lnTo>
                  <a:lnTo>
                    <a:pt x="2" y="65"/>
                  </a:lnTo>
                  <a:lnTo>
                    <a:pt x="0" y="40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0" y="12"/>
                  </a:lnTo>
                  <a:lnTo>
                    <a:pt x="4" y="7"/>
                  </a:lnTo>
                  <a:lnTo>
                    <a:pt x="6" y="3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6"/>
            <p:cNvSpPr>
              <a:spLocks/>
            </p:cNvSpPr>
            <p:nvPr userDrawn="1"/>
          </p:nvSpPr>
          <p:spPr bwMode="auto">
            <a:xfrm>
              <a:off x="9299576" y="5176838"/>
              <a:ext cx="312738" cy="74613"/>
            </a:xfrm>
            <a:custGeom>
              <a:avLst/>
              <a:gdLst>
                <a:gd name="T0" fmla="*/ 183 w 197"/>
                <a:gd name="T1" fmla="*/ 0 h 47"/>
                <a:gd name="T2" fmla="*/ 187 w 197"/>
                <a:gd name="T3" fmla="*/ 3 h 47"/>
                <a:gd name="T4" fmla="*/ 192 w 197"/>
                <a:gd name="T5" fmla="*/ 7 h 47"/>
                <a:gd name="T6" fmla="*/ 196 w 197"/>
                <a:gd name="T7" fmla="*/ 10 h 47"/>
                <a:gd name="T8" fmla="*/ 197 w 197"/>
                <a:gd name="T9" fmla="*/ 14 h 47"/>
                <a:gd name="T10" fmla="*/ 196 w 197"/>
                <a:gd name="T11" fmla="*/ 16 h 47"/>
                <a:gd name="T12" fmla="*/ 194 w 197"/>
                <a:gd name="T13" fmla="*/ 19 h 47"/>
                <a:gd name="T14" fmla="*/ 190 w 197"/>
                <a:gd name="T15" fmla="*/ 21 h 47"/>
                <a:gd name="T16" fmla="*/ 183 w 197"/>
                <a:gd name="T17" fmla="*/ 23 h 47"/>
                <a:gd name="T18" fmla="*/ 176 w 197"/>
                <a:gd name="T19" fmla="*/ 24 h 47"/>
                <a:gd name="T20" fmla="*/ 157 w 197"/>
                <a:gd name="T21" fmla="*/ 26 h 47"/>
                <a:gd name="T22" fmla="*/ 131 w 197"/>
                <a:gd name="T23" fmla="*/ 31 h 47"/>
                <a:gd name="T24" fmla="*/ 105 w 197"/>
                <a:gd name="T25" fmla="*/ 37 h 47"/>
                <a:gd name="T26" fmla="*/ 78 w 197"/>
                <a:gd name="T27" fmla="*/ 42 h 47"/>
                <a:gd name="T28" fmla="*/ 52 w 197"/>
                <a:gd name="T29" fmla="*/ 45 h 47"/>
                <a:gd name="T30" fmla="*/ 33 w 197"/>
                <a:gd name="T31" fmla="*/ 47 h 47"/>
                <a:gd name="T32" fmla="*/ 19 w 197"/>
                <a:gd name="T33" fmla="*/ 47 h 47"/>
                <a:gd name="T34" fmla="*/ 8 w 197"/>
                <a:gd name="T35" fmla="*/ 42 h 47"/>
                <a:gd name="T36" fmla="*/ 2 w 197"/>
                <a:gd name="T37" fmla="*/ 35 h 47"/>
                <a:gd name="T38" fmla="*/ 0 w 197"/>
                <a:gd name="T39" fmla="*/ 31 h 47"/>
                <a:gd name="T40" fmla="*/ 2 w 197"/>
                <a:gd name="T41" fmla="*/ 26 h 47"/>
                <a:gd name="T42" fmla="*/ 3 w 197"/>
                <a:gd name="T43" fmla="*/ 23 h 47"/>
                <a:gd name="T44" fmla="*/ 5 w 197"/>
                <a:gd name="T45" fmla="*/ 21 h 47"/>
                <a:gd name="T46" fmla="*/ 10 w 197"/>
                <a:gd name="T47" fmla="*/ 19 h 47"/>
                <a:gd name="T48" fmla="*/ 17 w 197"/>
                <a:gd name="T49" fmla="*/ 17 h 47"/>
                <a:gd name="T50" fmla="*/ 31 w 197"/>
                <a:gd name="T51" fmla="*/ 17 h 47"/>
                <a:gd name="T52" fmla="*/ 47 w 197"/>
                <a:gd name="T53" fmla="*/ 16 h 47"/>
                <a:gd name="T54" fmla="*/ 64 w 197"/>
                <a:gd name="T55" fmla="*/ 12 h 47"/>
                <a:gd name="T56" fmla="*/ 122 w 197"/>
                <a:gd name="T57" fmla="*/ 5 h 47"/>
                <a:gd name="T58" fmla="*/ 183 w 197"/>
                <a:gd name="T5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97" h="47">
                  <a:moveTo>
                    <a:pt x="183" y="0"/>
                  </a:moveTo>
                  <a:lnTo>
                    <a:pt x="187" y="3"/>
                  </a:lnTo>
                  <a:lnTo>
                    <a:pt x="192" y="7"/>
                  </a:lnTo>
                  <a:lnTo>
                    <a:pt x="196" y="10"/>
                  </a:lnTo>
                  <a:lnTo>
                    <a:pt x="197" y="14"/>
                  </a:lnTo>
                  <a:lnTo>
                    <a:pt x="196" y="16"/>
                  </a:lnTo>
                  <a:lnTo>
                    <a:pt x="194" y="19"/>
                  </a:lnTo>
                  <a:lnTo>
                    <a:pt x="190" y="21"/>
                  </a:lnTo>
                  <a:lnTo>
                    <a:pt x="183" y="23"/>
                  </a:lnTo>
                  <a:lnTo>
                    <a:pt x="176" y="24"/>
                  </a:lnTo>
                  <a:lnTo>
                    <a:pt x="157" y="26"/>
                  </a:lnTo>
                  <a:lnTo>
                    <a:pt x="131" y="31"/>
                  </a:lnTo>
                  <a:lnTo>
                    <a:pt x="105" y="37"/>
                  </a:lnTo>
                  <a:lnTo>
                    <a:pt x="78" y="42"/>
                  </a:lnTo>
                  <a:lnTo>
                    <a:pt x="52" y="45"/>
                  </a:lnTo>
                  <a:lnTo>
                    <a:pt x="33" y="47"/>
                  </a:lnTo>
                  <a:lnTo>
                    <a:pt x="19" y="47"/>
                  </a:lnTo>
                  <a:lnTo>
                    <a:pt x="8" y="42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2" y="26"/>
                  </a:lnTo>
                  <a:lnTo>
                    <a:pt x="3" y="23"/>
                  </a:lnTo>
                  <a:lnTo>
                    <a:pt x="5" y="21"/>
                  </a:lnTo>
                  <a:lnTo>
                    <a:pt x="10" y="19"/>
                  </a:lnTo>
                  <a:lnTo>
                    <a:pt x="17" y="17"/>
                  </a:lnTo>
                  <a:lnTo>
                    <a:pt x="31" y="17"/>
                  </a:lnTo>
                  <a:lnTo>
                    <a:pt x="47" y="16"/>
                  </a:lnTo>
                  <a:lnTo>
                    <a:pt x="64" y="12"/>
                  </a:lnTo>
                  <a:lnTo>
                    <a:pt x="122" y="5"/>
                  </a:lnTo>
                  <a:lnTo>
                    <a:pt x="18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7"/>
            <p:cNvSpPr>
              <a:spLocks/>
            </p:cNvSpPr>
            <p:nvPr userDrawn="1"/>
          </p:nvSpPr>
          <p:spPr bwMode="auto">
            <a:xfrm>
              <a:off x="9512301" y="5254625"/>
              <a:ext cx="277813" cy="300038"/>
            </a:xfrm>
            <a:custGeom>
              <a:avLst/>
              <a:gdLst>
                <a:gd name="T0" fmla="*/ 158 w 175"/>
                <a:gd name="T1" fmla="*/ 2 h 189"/>
                <a:gd name="T2" fmla="*/ 163 w 175"/>
                <a:gd name="T3" fmla="*/ 19 h 189"/>
                <a:gd name="T4" fmla="*/ 159 w 175"/>
                <a:gd name="T5" fmla="*/ 65 h 189"/>
                <a:gd name="T6" fmla="*/ 161 w 175"/>
                <a:gd name="T7" fmla="*/ 112 h 189"/>
                <a:gd name="T8" fmla="*/ 168 w 175"/>
                <a:gd name="T9" fmla="*/ 157 h 189"/>
                <a:gd name="T10" fmla="*/ 172 w 175"/>
                <a:gd name="T11" fmla="*/ 163 h 189"/>
                <a:gd name="T12" fmla="*/ 175 w 175"/>
                <a:gd name="T13" fmla="*/ 170 h 189"/>
                <a:gd name="T14" fmla="*/ 173 w 175"/>
                <a:gd name="T15" fmla="*/ 180 h 189"/>
                <a:gd name="T16" fmla="*/ 168 w 175"/>
                <a:gd name="T17" fmla="*/ 189 h 189"/>
                <a:gd name="T18" fmla="*/ 159 w 175"/>
                <a:gd name="T19" fmla="*/ 189 h 189"/>
                <a:gd name="T20" fmla="*/ 153 w 175"/>
                <a:gd name="T21" fmla="*/ 185 h 189"/>
                <a:gd name="T22" fmla="*/ 142 w 175"/>
                <a:gd name="T23" fmla="*/ 166 h 189"/>
                <a:gd name="T24" fmla="*/ 132 w 175"/>
                <a:gd name="T25" fmla="*/ 112 h 189"/>
                <a:gd name="T26" fmla="*/ 104 w 175"/>
                <a:gd name="T27" fmla="*/ 156 h 189"/>
                <a:gd name="T28" fmla="*/ 76 w 175"/>
                <a:gd name="T29" fmla="*/ 173 h 189"/>
                <a:gd name="T30" fmla="*/ 46 w 175"/>
                <a:gd name="T31" fmla="*/ 164 h 189"/>
                <a:gd name="T32" fmla="*/ 23 w 175"/>
                <a:gd name="T33" fmla="*/ 131 h 189"/>
                <a:gd name="T34" fmla="*/ 9 w 175"/>
                <a:gd name="T35" fmla="*/ 87 h 189"/>
                <a:gd name="T36" fmla="*/ 2 w 175"/>
                <a:gd name="T37" fmla="*/ 49 h 189"/>
                <a:gd name="T38" fmla="*/ 0 w 175"/>
                <a:gd name="T39" fmla="*/ 31 h 189"/>
                <a:gd name="T40" fmla="*/ 2 w 175"/>
                <a:gd name="T41" fmla="*/ 23 h 189"/>
                <a:gd name="T42" fmla="*/ 6 w 175"/>
                <a:gd name="T43" fmla="*/ 16 h 189"/>
                <a:gd name="T44" fmla="*/ 13 w 175"/>
                <a:gd name="T45" fmla="*/ 12 h 189"/>
                <a:gd name="T46" fmla="*/ 28 w 175"/>
                <a:gd name="T47" fmla="*/ 14 h 189"/>
                <a:gd name="T48" fmla="*/ 34 w 175"/>
                <a:gd name="T49" fmla="*/ 31 h 189"/>
                <a:gd name="T50" fmla="*/ 41 w 175"/>
                <a:gd name="T51" fmla="*/ 82 h 189"/>
                <a:gd name="T52" fmla="*/ 55 w 175"/>
                <a:gd name="T53" fmla="*/ 135 h 189"/>
                <a:gd name="T54" fmla="*/ 63 w 175"/>
                <a:gd name="T55" fmla="*/ 145 h 189"/>
                <a:gd name="T56" fmla="*/ 72 w 175"/>
                <a:gd name="T57" fmla="*/ 147 h 189"/>
                <a:gd name="T58" fmla="*/ 83 w 175"/>
                <a:gd name="T59" fmla="*/ 140 h 189"/>
                <a:gd name="T60" fmla="*/ 109 w 175"/>
                <a:gd name="T61" fmla="*/ 105 h 189"/>
                <a:gd name="T62" fmla="*/ 133 w 175"/>
                <a:gd name="T63" fmla="*/ 42 h 189"/>
                <a:gd name="T64" fmla="*/ 139 w 175"/>
                <a:gd name="T65" fmla="*/ 9 h 189"/>
                <a:gd name="T66" fmla="*/ 153 w 175"/>
                <a:gd name="T67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5" h="189">
                  <a:moveTo>
                    <a:pt x="153" y="0"/>
                  </a:moveTo>
                  <a:lnTo>
                    <a:pt x="158" y="2"/>
                  </a:lnTo>
                  <a:lnTo>
                    <a:pt x="161" y="9"/>
                  </a:lnTo>
                  <a:lnTo>
                    <a:pt x="163" y="19"/>
                  </a:lnTo>
                  <a:lnTo>
                    <a:pt x="163" y="35"/>
                  </a:lnTo>
                  <a:lnTo>
                    <a:pt x="159" y="65"/>
                  </a:lnTo>
                  <a:lnTo>
                    <a:pt x="159" y="89"/>
                  </a:lnTo>
                  <a:lnTo>
                    <a:pt x="161" y="112"/>
                  </a:lnTo>
                  <a:lnTo>
                    <a:pt x="163" y="133"/>
                  </a:lnTo>
                  <a:lnTo>
                    <a:pt x="168" y="157"/>
                  </a:lnTo>
                  <a:lnTo>
                    <a:pt x="170" y="159"/>
                  </a:lnTo>
                  <a:lnTo>
                    <a:pt x="172" y="163"/>
                  </a:lnTo>
                  <a:lnTo>
                    <a:pt x="173" y="166"/>
                  </a:lnTo>
                  <a:lnTo>
                    <a:pt x="175" y="170"/>
                  </a:lnTo>
                  <a:lnTo>
                    <a:pt x="175" y="175"/>
                  </a:lnTo>
                  <a:lnTo>
                    <a:pt x="173" y="180"/>
                  </a:lnTo>
                  <a:lnTo>
                    <a:pt x="170" y="185"/>
                  </a:lnTo>
                  <a:lnTo>
                    <a:pt x="168" y="189"/>
                  </a:lnTo>
                  <a:lnTo>
                    <a:pt x="163" y="189"/>
                  </a:lnTo>
                  <a:lnTo>
                    <a:pt x="159" y="189"/>
                  </a:lnTo>
                  <a:lnTo>
                    <a:pt x="156" y="189"/>
                  </a:lnTo>
                  <a:lnTo>
                    <a:pt x="153" y="185"/>
                  </a:lnTo>
                  <a:lnTo>
                    <a:pt x="149" y="182"/>
                  </a:lnTo>
                  <a:lnTo>
                    <a:pt x="142" y="166"/>
                  </a:lnTo>
                  <a:lnTo>
                    <a:pt x="137" y="142"/>
                  </a:lnTo>
                  <a:lnTo>
                    <a:pt x="132" y="112"/>
                  </a:lnTo>
                  <a:lnTo>
                    <a:pt x="119" y="135"/>
                  </a:lnTo>
                  <a:lnTo>
                    <a:pt x="104" y="156"/>
                  </a:lnTo>
                  <a:lnTo>
                    <a:pt x="91" y="168"/>
                  </a:lnTo>
                  <a:lnTo>
                    <a:pt x="76" y="173"/>
                  </a:lnTo>
                  <a:lnTo>
                    <a:pt x="62" y="173"/>
                  </a:lnTo>
                  <a:lnTo>
                    <a:pt x="46" y="164"/>
                  </a:lnTo>
                  <a:lnTo>
                    <a:pt x="32" y="149"/>
                  </a:lnTo>
                  <a:lnTo>
                    <a:pt x="23" y="131"/>
                  </a:lnTo>
                  <a:lnTo>
                    <a:pt x="16" y="108"/>
                  </a:lnTo>
                  <a:lnTo>
                    <a:pt x="9" y="87"/>
                  </a:lnTo>
                  <a:lnTo>
                    <a:pt x="6" y="66"/>
                  </a:lnTo>
                  <a:lnTo>
                    <a:pt x="2" y="49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6"/>
                  </a:lnTo>
                  <a:lnTo>
                    <a:pt x="9" y="12"/>
                  </a:lnTo>
                  <a:lnTo>
                    <a:pt x="13" y="12"/>
                  </a:lnTo>
                  <a:lnTo>
                    <a:pt x="20" y="10"/>
                  </a:lnTo>
                  <a:lnTo>
                    <a:pt x="28" y="14"/>
                  </a:lnTo>
                  <a:lnTo>
                    <a:pt x="32" y="19"/>
                  </a:lnTo>
                  <a:lnTo>
                    <a:pt x="34" y="31"/>
                  </a:lnTo>
                  <a:lnTo>
                    <a:pt x="37" y="51"/>
                  </a:lnTo>
                  <a:lnTo>
                    <a:pt x="41" y="82"/>
                  </a:lnTo>
                  <a:lnTo>
                    <a:pt x="48" y="112"/>
                  </a:lnTo>
                  <a:lnTo>
                    <a:pt x="55" y="135"/>
                  </a:lnTo>
                  <a:lnTo>
                    <a:pt x="58" y="142"/>
                  </a:lnTo>
                  <a:lnTo>
                    <a:pt x="63" y="145"/>
                  </a:lnTo>
                  <a:lnTo>
                    <a:pt x="69" y="147"/>
                  </a:lnTo>
                  <a:lnTo>
                    <a:pt x="72" y="147"/>
                  </a:lnTo>
                  <a:lnTo>
                    <a:pt x="77" y="145"/>
                  </a:lnTo>
                  <a:lnTo>
                    <a:pt x="83" y="140"/>
                  </a:lnTo>
                  <a:lnTo>
                    <a:pt x="97" y="126"/>
                  </a:lnTo>
                  <a:lnTo>
                    <a:pt x="109" y="105"/>
                  </a:lnTo>
                  <a:lnTo>
                    <a:pt x="123" y="77"/>
                  </a:lnTo>
                  <a:lnTo>
                    <a:pt x="133" y="42"/>
                  </a:lnTo>
                  <a:lnTo>
                    <a:pt x="135" y="23"/>
                  </a:lnTo>
                  <a:lnTo>
                    <a:pt x="139" y="9"/>
                  </a:lnTo>
                  <a:lnTo>
                    <a:pt x="144" y="0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8"/>
            <p:cNvSpPr>
              <a:spLocks/>
            </p:cNvSpPr>
            <p:nvPr userDrawn="1"/>
          </p:nvSpPr>
          <p:spPr bwMode="auto">
            <a:xfrm>
              <a:off x="9853613" y="5240338"/>
              <a:ext cx="217488" cy="314325"/>
            </a:xfrm>
            <a:custGeom>
              <a:avLst/>
              <a:gdLst>
                <a:gd name="T0" fmla="*/ 105 w 137"/>
                <a:gd name="T1" fmla="*/ 0 h 198"/>
                <a:gd name="T2" fmla="*/ 119 w 137"/>
                <a:gd name="T3" fmla="*/ 0 h 198"/>
                <a:gd name="T4" fmla="*/ 128 w 137"/>
                <a:gd name="T5" fmla="*/ 5 h 198"/>
                <a:gd name="T6" fmla="*/ 135 w 137"/>
                <a:gd name="T7" fmla="*/ 14 h 198"/>
                <a:gd name="T8" fmla="*/ 137 w 137"/>
                <a:gd name="T9" fmla="*/ 32 h 198"/>
                <a:gd name="T10" fmla="*/ 135 w 137"/>
                <a:gd name="T11" fmla="*/ 46 h 198"/>
                <a:gd name="T12" fmla="*/ 132 w 137"/>
                <a:gd name="T13" fmla="*/ 58 h 198"/>
                <a:gd name="T14" fmla="*/ 126 w 137"/>
                <a:gd name="T15" fmla="*/ 68 h 198"/>
                <a:gd name="T16" fmla="*/ 118 w 137"/>
                <a:gd name="T17" fmla="*/ 74 h 198"/>
                <a:gd name="T18" fmla="*/ 107 w 137"/>
                <a:gd name="T19" fmla="*/ 75 h 198"/>
                <a:gd name="T20" fmla="*/ 104 w 137"/>
                <a:gd name="T21" fmla="*/ 74 h 198"/>
                <a:gd name="T22" fmla="*/ 102 w 137"/>
                <a:gd name="T23" fmla="*/ 72 h 198"/>
                <a:gd name="T24" fmla="*/ 102 w 137"/>
                <a:gd name="T25" fmla="*/ 68 h 198"/>
                <a:gd name="T26" fmla="*/ 102 w 137"/>
                <a:gd name="T27" fmla="*/ 67 h 198"/>
                <a:gd name="T28" fmla="*/ 104 w 137"/>
                <a:gd name="T29" fmla="*/ 63 h 198"/>
                <a:gd name="T30" fmla="*/ 105 w 137"/>
                <a:gd name="T31" fmla="*/ 58 h 198"/>
                <a:gd name="T32" fmla="*/ 105 w 137"/>
                <a:gd name="T33" fmla="*/ 49 h 198"/>
                <a:gd name="T34" fmla="*/ 107 w 137"/>
                <a:gd name="T35" fmla="*/ 39 h 198"/>
                <a:gd name="T36" fmla="*/ 104 w 137"/>
                <a:gd name="T37" fmla="*/ 30 h 198"/>
                <a:gd name="T38" fmla="*/ 98 w 137"/>
                <a:gd name="T39" fmla="*/ 26 h 198"/>
                <a:gd name="T40" fmla="*/ 88 w 137"/>
                <a:gd name="T41" fmla="*/ 28 h 198"/>
                <a:gd name="T42" fmla="*/ 77 w 137"/>
                <a:gd name="T43" fmla="*/ 37 h 198"/>
                <a:gd name="T44" fmla="*/ 69 w 137"/>
                <a:gd name="T45" fmla="*/ 54 h 198"/>
                <a:gd name="T46" fmla="*/ 58 w 137"/>
                <a:gd name="T47" fmla="*/ 75 h 198"/>
                <a:gd name="T48" fmla="*/ 53 w 137"/>
                <a:gd name="T49" fmla="*/ 103 h 198"/>
                <a:gd name="T50" fmla="*/ 51 w 137"/>
                <a:gd name="T51" fmla="*/ 117 h 198"/>
                <a:gd name="T52" fmla="*/ 51 w 137"/>
                <a:gd name="T53" fmla="*/ 131 h 198"/>
                <a:gd name="T54" fmla="*/ 51 w 137"/>
                <a:gd name="T55" fmla="*/ 149 h 198"/>
                <a:gd name="T56" fmla="*/ 55 w 137"/>
                <a:gd name="T57" fmla="*/ 175 h 198"/>
                <a:gd name="T58" fmla="*/ 56 w 137"/>
                <a:gd name="T59" fmla="*/ 182 h 198"/>
                <a:gd name="T60" fmla="*/ 56 w 137"/>
                <a:gd name="T61" fmla="*/ 189 h 198"/>
                <a:gd name="T62" fmla="*/ 55 w 137"/>
                <a:gd name="T63" fmla="*/ 193 h 198"/>
                <a:gd name="T64" fmla="*/ 55 w 137"/>
                <a:gd name="T65" fmla="*/ 196 h 198"/>
                <a:gd name="T66" fmla="*/ 53 w 137"/>
                <a:gd name="T67" fmla="*/ 198 h 198"/>
                <a:gd name="T68" fmla="*/ 49 w 137"/>
                <a:gd name="T69" fmla="*/ 198 h 198"/>
                <a:gd name="T70" fmla="*/ 46 w 137"/>
                <a:gd name="T71" fmla="*/ 198 h 198"/>
                <a:gd name="T72" fmla="*/ 41 w 137"/>
                <a:gd name="T73" fmla="*/ 198 h 198"/>
                <a:gd name="T74" fmla="*/ 35 w 137"/>
                <a:gd name="T75" fmla="*/ 196 h 198"/>
                <a:gd name="T76" fmla="*/ 32 w 137"/>
                <a:gd name="T77" fmla="*/ 194 h 198"/>
                <a:gd name="T78" fmla="*/ 28 w 137"/>
                <a:gd name="T79" fmla="*/ 191 h 198"/>
                <a:gd name="T80" fmla="*/ 27 w 137"/>
                <a:gd name="T81" fmla="*/ 186 h 198"/>
                <a:gd name="T82" fmla="*/ 14 w 137"/>
                <a:gd name="T83" fmla="*/ 138 h 198"/>
                <a:gd name="T84" fmla="*/ 7 w 137"/>
                <a:gd name="T85" fmla="*/ 93 h 198"/>
                <a:gd name="T86" fmla="*/ 2 w 137"/>
                <a:gd name="T87" fmla="*/ 49 h 198"/>
                <a:gd name="T88" fmla="*/ 0 w 137"/>
                <a:gd name="T89" fmla="*/ 14 h 198"/>
                <a:gd name="T90" fmla="*/ 0 w 137"/>
                <a:gd name="T91" fmla="*/ 9 h 198"/>
                <a:gd name="T92" fmla="*/ 4 w 137"/>
                <a:gd name="T93" fmla="*/ 5 h 198"/>
                <a:gd name="T94" fmla="*/ 7 w 137"/>
                <a:gd name="T95" fmla="*/ 4 h 198"/>
                <a:gd name="T96" fmla="*/ 11 w 137"/>
                <a:gd name="T97" fmla="*/ 2 h 198"/>
                <a:gd name="T98" fmla="*/ 14 w 137"/>
                <a:gd name="T99" fmla="*/ 2 h 198"/>
                <a:gd name="T100" fmla="*/ 18 w 137"/>
                <a:gd name="T101" fmla="*/ 4 h 198"/>
                <a:gd name="T102" fmla="*/ 21 w 137"/>
                <a:gd name="T103" fmla="*/ 4 h 198"/>
                <a:gd name="T104" fmla="*/ 25 w 137"/>
                <a:gd name="T105" fmla="*/ 7 h 198"/>
                <a:gd name="T106" fmla="*/ 27 w 137"/>
                <a:gd name="T107" fmla="*/ 12 h 198"/>
                <a:gd name="T108" fmla="*/ 30 w 137"/>
                <a:gd name="T109" fmla="*/ 28 h 198"/>
                <a:gd name="T110" fmla="*/ 34 w 137"/>
                <a:gd name="T111" fmla="*/ 47 h 198"/>
                <a:gd name="T112" fmla="*/ 37 w 137"/>
                <a:gd name="T113" fmla="*/ 68 h 198"/>
                <a:gd name="T114" fmla="*/ 44 w 137"/>
                <a:gd name="T115" fmla="*/ 49 h 198"/>
                <a:gd name="T116" fmla="*/ 55 w 137"/>
                <a:gd name="T117" fmla="*/ 32 h 198"/>
                <a:gd name="T118" fmla="*/ 67 w 137"/>
                <a:gd name="T119" fmla="*/ 16 h 198"/>
                <a:gd name="T120" fmla="*/ 84 w 137"/>
                <a:gd name="T121" fmla="*/ 5 h 198"/>
                <a:gd name="T122" fmla="*/ 105 w 137"/>
                <a:gd name="T12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" h="198">
                  <a:moveTo>
                    <a:pt x="105" y="0"/>
                  </a:moveTo>
                  <a:lnTo>
                    <a:pt x="119" y="0"/>
                  </a:lnTo>
                  <a:lnTo>
                    <a:pt x="128" y="5"/>
                  </a:lnTo>
                  <a:lnTo>
                    <a:pt x="135" y="14"/>
                  </a:lnTo>
                  <a:lnTo>
                    <a:pt x="137" y="32"/>
                  </a:lnTo>
                  <a:lnTo>
                    <a:pt x="135" y="46"/>
                  </a:lnTo>
                  <a:lnTo>
                    <a:pt x="132" y="58"/>
                  </a:lnTo>
                  <a:lnTo>
                    <a:pt x="126" y="68"/>
                  </a:lnTo>
                  <a:lnTo>
                    <a:pt x="118" y="74"/>
                  </a:lnTo>
                  <a:lnTo>
                    <a:pt x="107" y="75"/>
                  </a:lnTo>
                  <a:lnTo>
                    <a:pt x="104" y="74"/>
                  </a:lnTo>
                  <a:lnTo>
                    <a:pt x="102" y="72"/>
                  </a:lnTo>
                  <a:lnTo>
                    <a:pt x="102" y="68"/>
                  </a:lnTo>
                  <a:lnTo>
                    <a:pt x="102" y="67"/>
                  </a:lnTo>
                  <a:lnTo>
                    <a:pt x="104" y="63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7" y="39"/>
                  </a:lnTo>
                  <a:lnTo>
                    <a:pt x="104" y="30"/>
                  </a:lnTo>
                  <a:lnTo>
                    <a:pt x="98" y="26"/>
                  </a:lnTo>
                  <a:lnTo>
                    <a:pt x="88" y="28"/>
                  </a:lnTo>
                  <a:lnTo>
                    <a:pt x="77" y="37"/>
                  </a:lnTo>
                  <a:lnTo>
                    <a:pt x="69" y="54"/>
                  </a:lnTo>
                  <a:lnTo>
                    <a:pt x="58" y="75"/>
                  </a:lnTo>
                  <a:lnTo>
                    <a:pt x="53" y="103"/>
                  </a:lnTo>
                  <a:lnTo>
                    <a:pt x="51" y="117"/>
                  </a:lnTo>
                  <a:lnTo>
                    <a:pt x="51" y="131"/>
                  </a:lnTo>
                  <a:lnTo>
                    <a:pt x="51" y="149"/>
                  </a:lnTo>
                  <a:lnTo>
                    <a:pt x="55" y="175"/>
                  </a:lnTo>
                  <a:lnTo>
                    <a:pt x="56" y="182"/>
                  </a:lnTo>
                  <a:lnTo>
                    <a:pt x="56" y="189"/>
                  </a:lnTo>
                  <a:lnTo>
                    <a:pt x="55" y="193"/>
                  </a:lnTo>
                  <a:lnTo>
                    <a:pt x="55" y="196"/>
                  </a:lnTo>
                  <a:lnTo>
                    <a:pt x="53" y="198"/>
                  </a:lnTo>
                  <a:lnTo>
                    <a:pt x="49" y="198"/>
                  </a:lnTo>
                  <a:lnTo>
                    <a:pt x="46" y="198"/>
                  </a:lnTo>
                  <a:lnTo>
                    <a:pt x="41" y="198"/>
                  </a:lnTo>
                  <a:lnTo>
                    <a:pt x="35" y="196"/>
                  </a:lnTo>
                  <a:lnTo>
                    <a:pt x="32" y="194"/>
                  </a:lnTo>
                  <a:lnTo>
                    <a:pt x="28" y="191"/>
                  </a:lnTo>
                  <a:lnTo>
                    <a:pt x="27" y="186"/>
                  </a:lnTo>
                  <a:lnTo>
                    <a:pt x="14" y="138"/>
                  </a:lnTo>
                  <a:lnTo>
                    <a:pt x="7" y="93"/>
                  </a:lnTo>
                  <a:lnTo>
                    <a:pt x="2" y="49"/>
                  </a:lnTo>
                  <a:lnTo>
                    <a:pt x="0" y="14"/>
                  </a:lnTo>
                  <a:lnTo>
                    <a:pt x="0" y="9"/>
                  </a:lnTo>
                  <a:lnTo>
                    <a:pt x="4" y="5"/>
                  </a:lnTo>
                  <a:lnTo>
                    <a:pt x="7" y="4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8" y="4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28"/>
                  </a:lnTo>
                  <a:lnTo>
                    <a:pt x="34" y="47"/>
                  </a:lnTo>
                  <a:lnTo>
                    <a:pt x="37" y="68"/>
                  </a:lnTo>
                  <a:lnTo>
                    <a:pt x="44" y="49"/>
                  </a:lnTo>
                  <a:lnTo>
                    <a:pt x="55" y="32"/>
                  </a:lnTo>
                  <a:lnTo>
                    <a:pt x="67" y="16"/>
                  </a:lnTo>
                  <a:lnTo>
                    <a:pt x="84" y="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59"/>
            <p:cNvSpPr>
              <a:spLocks noEditPoints="1"/>
            </p:cNvSpPr>
            <p:nvPr userDrawn="1"/>
          </p:nvSpPr>
          <p:spPr bwMode="auto">
            <a:xfrm>
              <a:off x="10059988" y="5268913"/>
              <a:ext cx="266700" cy="285750"/>
            </a:xfrm>
            <a:custGeom>
              <a:avLst/>
              <a:gdLst>
                <a:gd name="T0" fmla="*/ 110 w 168"/>
                <a:gd name="T1" fmla="*/ 26 h 180"/>
                <a:gd name="T2" fmla="*/ 84 w 168"/>
                <a:gd name="T3" fmla="*/ 42 h 180"/>
                <a:gd name="T4" fmla="*/ 59 w 168"/>
                <a:gd name="T5" fmla="*/ 68 h 180"/>
                <a:gd name="T6" fmla="*/ 51 w 168"/>
                <a:gd name="T7" fmla="*/ 87 h 180"/>
                <a:gd name="T8" fmla="*/ 86 w 168"/>
                <a:gd name="T9" fmla="*/ 80 h 180"/>
                <a:gd name="T10" fmla="*/ 124 w 168"/>
                <a:gd name="T11" fmla="*/ 59 h 180"/>
                <a:gd name="T12" fmla="*/ 138 w 168"/>
                <a:gd name="T13" fmla="*/ 35 h 180"/>
                <a:gd name="T14" fmla="*/ 124 w 168"/>
                <a:gd name="T15" fmla="*/ 22 h 180"/>
                <a:gd name="T16" fmla="*/ 134 w 168"/>
                <a:gd name="T17" fmla="*/ 1 h 180"/>
                <a:gd name="T18" fmla="*/ 162 w 168"/>
                <a:gd name="T19" fmla="*/ 22 h 180"/>
                <a:gd name="T20" fmla="*/ 164 w 168"/>
                <a:gd name="T21" fmla="*/ 57 h 180"/>
                <a:gd name="T22" fmla="*/ 136 w 168"/>
                <a:gd name="T23" fmla="*/ 87 h 180"/>
                <a:gd name="T24" fmla="*/ 91 w 168"/>
                <a:gd name="T25" fmla="*/ 108 h 180"/>
                <a:gd name="T26" fmla="*/ 51 w 168"/>
                <a:gd name="T27" fmla="*/ 115 h 180"/>
                <a:gd name="T28" fmla="*/ 59 w 168"/>
                <a:gd name="T29" fmla="*/ 138 h 180"/>
                <a:gd name="T30" fmla="*/ 93 w 168"/>
                <a:gd name="T31" fmla="*/ 155 h 180"/>
                <a:gd name="T32" fmla="*/ 138 w 168"/>
                <a:gd name="T33" fmla="*/ 150 h 180"/>
                <a:gd name="T34" fmla="*/ 148 w 168"/>
                <a:gd name="T35" fmla="*/ 147 h 180"/>
                <a:gd name="T36" fmla="*/ 155 w 168"/>
                <a:gd name="T37" fmla="*/ 148 h 180"/>
                <a:gd name="T38" fmla="*/ 157 w 168"/>
                <a:gd name="T39" fmla="*/ 154 h 180"/>
                <a:gd name="T40" fmla="*/ 154 w 168"/>
                <a:gd name="T41" fmla="*/ 162 h 180"/>
                <a:gd name="T42" fmla="*/ 147 w 168"/>
                <a:gd name="T43" fmla="*/ 171 h 180"/>
                <a:gd name="T44" fmla="*/ 117 w 168"/>
                <a:gd name="T45" fmla="*/ 180 h 180"/>
                <a:gd name="T46" fmla="*/ 66 w 168"/>
                <a:gd name="T47" fmla="*/ 175 h 180"/>
                <a:gd name="T48" fmla="*/ 28 w 168"/>
                <a:gd name="T49" fmla="*/ 145 h 180"/>
                <a:gd name="T50" fmla="*/ 19 w 168"/>
                <a:gd name="T51" fmla="*/ 112 h 180"/>
                <a:gd name="T52" fmla="*/ 5 w 168"/>
                <a:gd name="T53" fmla="*/ 105 h 180"/>
                <a:gd name="T54" fmla="*/ 0 w 168"/>
                <a:gd name="T55" fmla="*/ 98 h 180"/>
                <a:gd name="T56" fmla="*/ 2 w 168"/>
                <a:gd name="T57" fmla="*/ 91 h 180"/>
                <a:gd name="T58" fmla="*/ 9 w 168"/>
                <a:gd name="T59" fmla="*/ 84 h 180"/>
                <a:gd name="T60" fmla="*/ 23 w 168"/>
                <a:gd name="T61" fmla="*/ 80 h 180"/>
                <a:gd name="T62" fmla="*/ 51 w 168"/>
                <a:gd name="T63" fmla="*/ 35 h 180"/>
                <a:gd name="T64" fmla="*/ 91 w 168"/>
                <a:gd name="T65" fmla="*/ 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" h="180">
                  <a:moveTo>
                    <a:pt x="124" y="22"/>
                  </a:moveTo>
                  <a:lnTo>
                    <a:pt x="110" y="26"/>
                  </a:lnTo>
                  <a:lnTo>
                    <a:pt x="96" y="33"/>
                  </a:lnTo>
                  <a:lnTo>
                    <a:pt x="84" y="42"/>
                  </a:lnTo>
                  <a:lnTo>
                    <a:pt x="73" y="50"/>
                  </a:lnTo>
                  <a:lnTo>
                    <a:pt x="59" y="68"/>
                  </a:lnTo>
                  <a:lnTo>
                    <a:pt x="51" y="84"/>
                  </a:lnTo>
                  <a:lnTo>
                    <a:pt x="51" y="87"/>
                  </a:lnTo>
                  <a:lnTo>
                    <a:pt x="61" y="85"/>
                  </a:lnTo>
                  <a:lnTo>
                    <a:pt x="86" y="80"/>
                  </a:lnTo>
                  <a:lnTo>
                    <a:pt x="106" y="70"/>
                  </a:lnTo>
                  <a:lnTo>
                    <a:pt x="124" y="59"/>
                  </a:lnTo>
                  <a:lnTo>
                    <a:pt x="134" y="47"/>
                  </a:lnTo>
                  <a:lnTo>
                    <a:pt x="138" y="35"/>
                  </a:lnTo>
                  <a:lnTo>
                    <a:pt x="133" y="26"/>
                  </a:lnTo>
                  <a:lnTo>
                    <a:pt x="124" y="22"/>
                  </a:lnTo>
                  <a:close/>
                  <a:moveTo>
                    <a:pt x="113" y="0"/>
                  </a:moveTo>
                  <a:lnTo>
                    <a:pt x="134" y="1"/>
                  </a:lnTo>
                  <a:lnTo>
                    <a:pt x="154" y="10"/>
                  </a:lnTo>
                  <a:lnTo>
                    <a:pt x="162" y="22"/>
                  </a:lnTo>
                  <a:lnTo>
                    <a:pt x="168" y="38"/>
                  </a:lnTo>
                  <a:lnTo>
                    <a:pt x="164" y="57"/>
                  </a:lnTo>
                  <a:lnTo>
                    <a:pt x="154" y="71"/>
                  </a:lnTo>
                  <a:lnTo>
                    <a:pt x="136" y="87"/>
                  </a:lnTo>
                  <a:lnTo>
                    <a:pt x="115" y="99"/>
                  </a:lnTo>
                  <a:lnTo>
                    <a:pt x="91" y="108"/>
                  </a:lnTo>
                  <a:lnTo>
                    <a:pt x="68" y="113"/>
                  </a:lnTo>
                  <a:lnTo>
                    <a:pt x="51" y="115"/>
                  </a:lnTo>
                  <a:lnTo>
                    <a:pt x="51" y="122"/>
                  </a:lnTo>
                  <a:lnTo>
                    <a:pt x="59" y="138"/>
                  </a:lnTo>
                  <a:lnTo>
                    <a:pt x="73" y="148"/>
                  </a:lnTo>
                  <a:lnTo>
                    <a:pt x="93" y="155"/>
                  </a:lnTo>
                  <a:lnTo>
                    <a:pt x="113" y="155"/>
                  </a:lnTo>
                  <a:lnTo>
                    <a:pt x="138" y="150"/>
                  </a:lnTo>
                  <a:lnTo>
                    <a:pt x="143" y="148"/>
                  </a:lnTo>
                  <a:lnTo>
                    <a:pt x="148" y="147"/>
                  </a:lnTo>
                  <a:lnTo>
                    <a:pt x="152" y="147"/>
                  </a:lnTo>
                  <a:lnTo>
                    <a:pt x="155" y="148"/>
                  </a:lnTo>
                  <a:lnTo>
                    <a:pt x="157" y="150"/>
                  </a:lnTo>
                  <a:lnTo>
                    <a:pt x="157" y="154"/>
                  </a:lnTo>
                  <a:lnTo>
                    <a:pt x="157" y="159"/>
                  </a:lnTo>
                  <a:lnTo>
                    <a:pt x="154" y="162"/>
                  </a:lnTo>
                  <a:lnTo>
                    <a:pt x="152" y="168"/>
                  </a:lnTo>
                  <a:lnTo>
                    <a:pt x="147" y="171"/>
                  </a:lnTo>
                  <a:lnTo>
                    <a:pt x="143" y="173"/>
                  </a:lnTo>
                  <a:lnTo>
                    <a:pt x="117" y="180"/>
                  </a:lnTo>
                  <a:lnTo>
                    <a:pt x="91" y="180"/>
                  </a:lnTo>
                  <a:lnTo>
                    <a:pt x="66" y="175"/>
                  </a:lnTo>
                  <a:lnTo>
                    <a:pt x="45" y="162"/>
                  </a:lnTo>
                  <a:lnTo>
                    <a:pt x="28" y="145"/>
                  </a:lnTo>
                  <a:lnTo>
                    <a:pt x="21" y="126"/>
                  </a:lnTo>
                  <a:lnTo>
                    <a:pt x="19" y="112"/>
                  </a:lnTo>
                  <a:lnTo>
                    <a:pt x="10" y="110"/>
                  </a:lnTo>
                  <a:lnTo>
                    <a:pt x="5" y="105"/>
                  </a:lnTo>
                  <a:lnTo>
                    <a:pt x="2" y="101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2" y="91"/>
                  </a:lnTo>
                  <a:lnTo>
                    <a:pt x="3" y="87"/>
                  </a:lnTo>
                  <a:lnTo>
                    <a:pt x="9" y="84"/>
                  </a:lnTo>
                  <a:lnTo>
                    <a:pt x="21" y="85"/>
                  </a:lnTo>
                  <a:lnTo>
                    <a:pt x="23" y="80"/>
                  </a:lnTo>
                  <a:lnTo>
                    <a:pt x="33" y="57"/>
                  </a:lnTo>
                  <a:lnTo>
                    <a:pt x="51" y="35"/>
                  </a:lnTo>
                  <a:lnTo>
                    <a:pt x="70" y="19"/>
                  </a:lnTo>
                  <a:lnTo>
                    <a:pt x="91" y="7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9" name="Tekstvak 118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Menu dia - TRANSFER</a:t>
            </a:r>
          </a:p>
        </p:txBody>
      </p:sp>
      <p:grpSp>
        <p:nvGrpSpPr>
          <p:cNvPr id="120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121" name="Rechthoek 120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hthoek 122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Rechthoek 123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7" name="Rechthoek 126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Rechthoek 129"/>
            <p:cNvSpPr/>
            <p:nvPr userDrawn="1"/>
          </p:nvSpPr>
          <p:spPr>
            <a:xfrm>
              <a:off x="0" y="5924153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Rechthoek 131"/>
            <p:cNvSpPr/>
            <p:nvPr userDrawn="1"/>
          </p:nvSpPr>
          <p:spPr>
            <a:xfrm>
              <a:off x="0" y="1792697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Rechthoek 146"/>
            <p:cNvSpPr/>
            <p:nvPr userDrawn="1"/>
          </p:nvSpPr>
          <p:spPr>
            <a:xfrm rot="16200000">
              <a:off x="-172425" y="3331240"/>
              <a:ext cx="6853368" cy="19089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Rechthoek 147"/>
            <p:cNvSpPr/>
            <p:nvPr userDrawn="1"/>
          </p:nvSpPr>
          <p:spPr>
            <a:xfrm rot="16200000">
              <a:off x="1721455" y="3331240"/>
              <a:ext cx="6853368" cy="19089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Rechthoek 148"/>
            <p:cNvSpPr/>
            <p:nvPr userDrawn="1"/>
          </p:nvSpPr>
          <p:spPr>
            <a:xfrm rot="16200000">
              <a:off x="3615335" y="3331240"/>
              <a:ext cx="6853368" cy="19089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Rechthoek 149"/>
            <p:cNvSpPr/>
            <p:nvPr userDrawn="1"/>
          </p:nvSpPr>
          <p:spPr>
            <a:xfrm rot="16200000">
              <a:off x="5509215" y="3331241"/>
              <a:ext cx="6853368" cy="19089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34" name="Gras_achter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7" y="2523753"/>
            <a:ext cx="12208496" cy="3943351"/>
          </a:xfrm>
          <a:prstGeom prst="rect">
            <a:avLst/>
          </a:prstGeom>
        </p:spPr>
      </p:pic>
      <p:pic>
        <p:nvPicPr>
          <p:cNvPr id="135" name="Bloem1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0" y="4838701"/>
            <a:ext cx="1371448" cy="2019299"/>
          </a:xfrm>
          <a:prstGeom prst="rect">
            <a:avLst/>
          </a:prstGeom>
        </p:spPr>
      </p:pic>
      <p:pic>
        <p:nvPicPr>
          <p:cNvPr id="136" name="Bloem 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6050" y="5546816"/>
            <a:ext cx="1268102" cy="1311184"/>
          </a:xfrm>
          <a:prstGeom prst="rect">
            <a:avLst/>
          </a:prstGeom>
        </p:spPr>
      </p:pic>
      <p:sp>
        <p:nvSpPr>
          <p:cNvPr id="101" name="Graspol_rechts"/>
          <p:cNvSpPr>
            <a:spLocks noGrp="1"/>
          </p:cNvSpPr>
          <p:nvPr>
            <p:ph type="body" sz="quarter" idx="17" hasCustomPrompt="1"/>
          </p:nvPr>
        </p:nvSpPr>
        <p:spPr>
          <a:xfrm>
            <a:off x="10255456" y="6322557"/>
            <a:ext cx="1953039" cy="994887"/>
          </a:xfr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2" name="Graspol_links"/>
          <p:cNvSpPr>
            <a:spLocks noGrp="1"/>
          </p:cNvSpPr>
          <p:nvPr>
            <p:ph type="body" sz="quarter" idx="18" hasCustomPrompt="1"/>
          </p:nvPr>
        </p:nvSpPr>
        <p:spPr>
          <a:xfrm>
            <a:off x="-9938" y="6188754"/>
            <a:ext cx="1499778" cy="1335609"/>
          </a:xfr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37" name="Gras_voor"/>
          <p:cNvPicPr>
            <a:picLocks noChangeAspect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5287367"/>
            <a:ext cx="12208496" cy="1570633"/>
          </a:xfrm>
          <a:prstGeom prst="rect">
            <a:avLst/>
          </a:prstGeom>
        </p:spPr>
      </p:pic>
      <p:pic>
        <p:nvPicPr>
          <p:cNvPr id="146" name="Bloem_blur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4957904"/>
            <a:ext cx="12208496" cy="1900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29933"/>
      </p:ext>
    </p:extLst>
  </p:cSld>
  <p:clrMapOvr>
    <a:masterClrMapping/>
  </p:clrMapOvr>
  <p:transition xmlns:p14="http://schemas.microsoft.com/office/powerpoint/2010/main" spd="slow" advClick="0" advTm="0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14000" decel="86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3.7037E-7 L -0.00013 -0.4912 " pathEditMode="relative" rAng="0" ptsTypes="AA">
                                      <p:cBhvr>
                                        <p:cTn id="6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56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" presetClass="entr" presetSubtype="4" accel="16000" decel="84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4" accel="16000" decel="8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accel="16000" decel="8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accel="16000" decel="84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64" presetClass="path" presetSubtype="0" accel="11000" decel="89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3.95833E-6 -4.44444E-6 L -3.95833E-6 -0.12408 " pathEditMode="relative" rAng="0" ptsTypes="AA">
                                      <p:cBhvr>
                                        <p:cTn id="24" dur="75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111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4" presetClass="path" presetSubtype="0" accel="11000" decel="89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2.91667E-6 1.48148E-6 L 2.91667E-6 -0.16967 " pathEditMode="relative" rAng="0" ptsTypes="AA">
                                      <p:cBhvr>
                                        <p:cTn id="26" dur="75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241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2" presetClass="entr" presetSubtype="4" accel="16000" decel="84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>
        <p:tmplLst>
          <p:tmpl>
            <p:tnLst>
              <p:par>
                <p:cTn xmlns:p14="http://schemas.microsoft.com/office/powerpoint/2010/main" presetID="64" presetClass="path" presetSubtype="0" accel="11000" decel="89000" fill="hold" nodeType="withEffect">
                  <p:stCondLst>
                    <p:cond delay="750"/>
                  </p:stCondLst>
                  <p:childTnLst>
                    <p:animMotion origin="layout" path="M -3.95833E-6 -4.44444E-6 L -3.95833E-6 -0.12408 " pathEditMode="relative" rAng="0" ptsTypes="AA">
                      <p:cBhvr>
                        <p:cTn dur="750" fill="hold"/>
                        <p:tgtEl>
                          <p:spTgt spid="101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6111"/>
                    </p:animMotion>
                  </p:childTnLst>
                </p:cTn>
              </p:par>
            </p:tnLst>
          </p:tmpl>
        </p:tmplLst>
      </p:bldP>
      <p:bldP spid="102" grpId="0" animBg="1">
        <p:tmplLst>
          <p:tmpl>
            <p:tnLst>
              <p:par>
                <p:cTn xmlns:p14="http://schemas.microsoft.com/office/powerpoint/2010/main" presetID="64" presetClass="path" presetSubtype="0" accel="11000" decel="89000" fill="hold" nodeType="withEffect">
                  <p:stCondLst>
                    <p:cond delay="750"/>
                  </p:stCondLst>
                  <p:childTnLst>
                    <p:animMotion origin="layout" path="M 2.91667E-6 1.48148E-6 L 2.91667E-6 -0.16967 " pathEditMode="relative" rAng="0" ptsTypes="AA">
                      <p:cBhvr>
                        <p:cTn dur="750" fill="hold"/>
                        <p:tgtEl>
                          <p:spTgt spid="10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8241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s dia -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732" y="-1700079"/>
            <a:ext cx="12213464" cy="8548815"/>
          </a:xfrm>
          <a:prstGeom prst="rect">
            <a:avLst/>
          </a:prstGeom>
        </p:spPr>
      </p:pic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C2029F-7D9B-4351-9004-896ADE838879}" type="datetime1">
              <a:rPr lang="en-US" smtClean="0"/>
              <a:t>6/10/18</a:t>
            </a:fld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Gras_achter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7" y="2523753"/>
            <a:ext cx="12208496" cy="3943351"/>
          </a:xfrm>
          <a:prstGeom prst="rect">
            <a:avLst/>
          </a:prstGeom>
        </p:spPr>
      </p:pic>
      <p:sp>
        <p:nvSpPr>
          <p:cNvPr id="118" name="Ovaal 117"/>
          <p:cNvSpPr/>
          <p:nvPr userDrawn="1"/>
        </p:nvSpPr>
        <p:spPr>
          <a:xfrm>
            <a:off x="-1451082" y="-1719824"/>
            <a:ext cx="5289958" cy="5289958"/>
          </a:xfrm>
          <a:prstGeom prst="ellipse">
            <a:avLst/>
          </a:prstGeom>
          <a:solidFill>
            <a:schemeClr val="bg1">
              <a:alpha val="63000"/>
            </a:schemeClr>
          </a:solidFill>
          <a:ln>
            <a:noFill/>
          </a:ln>
          <a:effectLst>
            <a:softEdge rad="838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6-puntige ster 7"/>
          <p:cNvSpPr/>
          <p:nvPr userDrawn="1"/>
        </p:nvSpPr>
        <p:spPr>
          <a:xfrm rot="20040497">
            <a:off x="-3464863" y="-4112032"/>
            <a:ext cx="9068687" cy="9889645"/>
          </a:xfrm>
          <a:prstGeom prst="star6">
            <a:avLst>
              <a:gd name="adj" fmla="val 7354"/>
              <a:gd name="hf" fmla="val 115470"/>
            </a:avLst>
          </a:prstGeom>
          <a:solidFill>
            <a:schemeClr val="bg1">
              <a:alpha val="80000"/>
            </a:schemeClr>
          </a:solidFill>
          <a:ln>
            <a:noFill/>
          </a:ln>
          <a:effectLst>
            <a:softEdge rad="215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13" name="Lensflare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249" y="-1457264"/>
            <a:ext cx="4008747" cy="6320589"/>
          </a:xfrm>
          <a:prstGeom prst="rect">
            <a:avLst/>
          </a:prstGeom>
        </p:spPr>
      </p:pic>
      <p:grpSp>
        <p:nvGrpSpPr>
          <p:cNvPr id="35" name="Logo"/>
          <p:cNvGrpSpPr/>
          <p:nvPr userDrawn="1"/>
        </p:nvGrpSpPr>
        <p:grpSpPr>
          <a:xfrm>
            <a:off x="536692" y="543619"/>
            <a:ext cx="2189507" cy="1159485"/>
            <a:chOff x="1516063" y="1006475"/>
            <a:chExt cx="9155113" cy="4848225"/>
          </a:xfrm>
        </p:grpSpPr>
        <p:sp>
          <p:nvSpPr>
            <p:cNvPr id="36" name="Freeform 6"/>
            <p:cNvSpPr>
              <a:spLocks/>
            </p:cNvSpPr>
            <p:nvPr userDrawn="1"/>
          </p:nvSpPr>
          <p:spPr bwMode="auto">
            <a:xfrm>
              <a:off x="5629276" y="4187825"/>
              <a:ext cx="406400" cy="471488"/>
            </a:xfrm>
            <a:custGeom>
              <a:avLst/>
              <a:gdLst>
                <a:gd name="T0" fmla="*/ 131 w 256"/>
                <a:gd name="T1" fmla="*/ 0 h 297"/>
                <a:gd name="T2" fmla="*/ 163 w 256"/>
                <a:gd name="T3" fmla="*/ 3 h 297"/>
                <a:gd name="T4" fmla="*/ 191 w 256"/>
                <a:gd name="T5" fmla="*/ 14 h 297"/>
                <a:gd name="T6" fmla="*/ 212 w 256"/>
                <a:gd name="T7" fmla="*/ 28 h 297"/>
                <a:gd name="T8" fmla="*/ 231 w 256"/>
                <a:gd name="T9" fmla="*/ 47 h 297"/>
                <a:gd name="T10" fmla="*/ 243 w 256"/>
                <a:gd name="T11" fmla="*/ 70 h 297"/>
                <a:gd name="T12" fmla="*/ 252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3 w 256"/>
                <a:gd name="T21" fmla="*/ 297 h 297"/>
                <a:gd name="T22" fmla="*/ 173 w 256"/>
                <a:gd name="T23" fmla="*/ 140 h 297"/>
                <a:gd name="T24" fmla="*/ 173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1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1" y="0"/>
                  </a:moveTo>
                  <a:lnTo>
                    <a:pt x="163" y="3"/>
                  </a:lnTo>
                  <a:lnTo>
                    <a:pt x="191" y="14"/>
                  </a:lnTo>
                  <a:lnTo>
                    <a:pt x="212" y="28"/>
                  </a:lnTo>
                  <a:lnTo>
                    <a:pt x="231" y="47"/>
                  </a:lnTo>
                  <a:lnTo>
                    <a:pt x="243" y="70"/>
                  </a:lnTo>
                  <a:lnTo>
                    <a:pt x="252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8863013" y="4187825"/>
              <a:ext cx="406400" cy="471488"/>
            </a:xfrm>
            <a:custGeom>
              <a:avLst/>
              <a:gdLst>
                <a:gd name="T0" fmla="*/ 130 w 256"/>
                <a:gd name="T1" fmla="*/ 0 h 297"/>
                <a:gd name="T2" fmla="*/ 163 w 256"/>
                <a:gd name="T3" fmla="*/ 3 h 297"/>
                <a:gd name="T4" fmla="*/ 189 w 256"/>
                <a:gd name="T5" fmla="*/ 14 h 297"/>
                <a:gd name="T6" fmla="*/ 212 w 256"/>
                <a:gd name="T7" fmla="*/ 28 h 297"/>
                <a:gd name="T8" fmla="*/ 229 w 256"/>
                <a:gd name="T9" fmla="*/ 47 h 297"/>
                <a:gd name="T10" fmla="*/ 243 w 256"/>
                <a:gd name="T11" fmla="*/ 70 h 297"/>
                <a:gd name="T12" fmla="*/ 250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2 w 256"/>
                <a:gd name="T21" fmla="*/ 297 h 297"/>
                <a:gd name="T22" fmla="*/ 173 w 256"/>
                <a:gd name="T23" fmla="*/ 140 h 297"/>
                <a:gd name="T24" fmla="*/ 172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0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0" y="0"/>
                  </a:moveTo>
                  <a:lnTo>
                    <a:pt x="163" y="3"/>
                  </a:lnTo>
                  <a:lnTo>
                    <a:pt x="189" y="14"/>
                  </a:lnTo>
                  <a:lnTo>
                    <a:pt x="212" y="28"/>
                  </a:lnTo>
                  <a:lnTo>
                    <a:pt x="229" y="47"/>
                  </a:lnTo>
                  <a:lnTo>
                    <a:pt x="243" y="70"/>
                  </a:lnTo>
                  <a:lnTo>
                    <a:pt x="250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2" y="297"/>
                  </a:lnTo>
                  <a:lnTo>
                    <a:pt x="173" y="140"/>
                  </a:lnTo>
                  <a:lnTo>
                    <a:pt x="172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/>
            <p:cNvSpPr>
              <a:spLocks noEditPoints="1"/>
            </p:cNvSpPr>
            <p:nvPr userDrawn="1"/>
          </p:nvSpPr>
          <p:spPr bwMode="auto">
            <a:xfrm>
              <a:off x="5153026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2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1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8 w 253"/>
                <a:gd name="T51" fmla="*/ 295 h 299"/>
                <a:gd name="T52" fmla="*/ 188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6 w 253"/>
                <a:gd name="T61" fmla="*/ 280 h 299"/>
                <a:gd name="T62" fmla="*/ 167 w 253"/>
                <a:gd name="T63" fmla="*/ 287 h 299"/>
                <a:gd name="T64" fmla="*/ 155 w 253"/>
                <a:gd name="T65" fmla="*/ 292 h 299"/>
                <a:gd name="T66" fmla="*/ 139 w 253"/>
                <a:gd name="T67" fmla="*/ 297 h 299"/>
                <a:gd name="T68" fmla="*/ 118 w 253"/>
                <a:gd name="T69" fmla="*/ 299 h 299"/>
                <a:gd name="T70" fmla="*/ 87 w 253"/>
                <a:gd name="T71" fmla="*/ 294 h 299"/>
                <a:gd name="T72" fmla="*/ 59 w 253"/>
                <a:gd name="T73" fmla="*/ 278 h 299"/>
                <a:gd name="T74" fmla="*/ 34 w 253"/>
                <a:gd name="T75" fmla="*/ 253 h 299"/>
                <a:gd name="T76" fmla="*/ 15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7 w 253"/>
                <a:gd name="T87" fmla="*/ 57 h 299"/>
                <a:gd name="T88" fmla="*/ 48 w 253"/>
                <a:gd name="T89" fmla="*/ 36 h 299"/>
                <a:gd name="T90" fmla="*/ 71 w 253"/>
                <a:gd name="T91" fmla="*/ 21 h 299"/>
                <a:gd name="T92" fmla="*/ 97 w 253"/>
                <a:gd name="T93" fmla="*/ 8 h 299"/>
                <a:gd name="T94" fmla="*/ 125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2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1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8" y="295"/>
                  </a:lnTo>
                  <a:lnTo>
                    <a:pt x="188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6" y="280"/>
                  </a:lnTo>
                  <a:lnTo>
                    <a:pt x="167" y="287"/>
                  </a:lnTo>
                  <a:lnTo>
                    <a:pt x="155" y="292"/>
                  </a:lnTo>
                  <a:lnTo>
                    <a:pt x="139" y="297"/>
                  </a:lnTo>
                  <a:lnTo>
                    <a:pt x="118" y="299"/>
                  </a:lnTo>
                  <a:lnTo>
                    <a:pt x="87" y="294"/>
                  </a:lnTo>
                  <a:lnTo>
                    <a:pt x="59" y="278"/>
                  </a:lnTo>
                  <a:lnTo>
                    <a:pt x="34" y="253"/>
                  </a:lnTo>
                  <a:lnTo>
                    <a:pt x="15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7" y="57"/>
                  </a:lnTo>
                  <a:lnTo>
                    <a:pt x="48" y="36"/>
                  </a:lnTo>
                  <a:lnTo>
                    <a:pt x="71" y="21"/>
                  </a:lnTo>
                  <a:lnTo>
                    <a:pt x="97" y="8"/>
                  </a:lnTo>
                  <a:lnTo>
                    <a:pt x="125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/>
            <p:cNvSpPr>
              <a:spLocks noEditPoints="1"/>
            </p:cNvSpPr>
            <p:nvPr userDrawn="1"/>
          </p:nvSpPr>
          <p:spPr bwMode="auto">
            <a:xfrm>
              <a:off x="69850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9 w 253"/>
                <a:gd name="T41" fmla="*/ 5 h 299"/>
                <a:gd name="T42" fmla="*/ 234 w 253"/>
                <a:gd name="T43" fmla="*/ 10 h 299"/>
                <a:gd name="T44" fmla="*/ 253 w 253"/>
                <a:gd name="T45" fmla="*/ 15 h 299"/>
                <a:gd name="T46" fmla="*/ 253 w 253"/>
                <a:gd name="T47" fmla="*/ 295 h 299"/>
                <a:gd name="T48" fmla="*/ 190 w 253"/>
                <a:gd name="T49" fmla="*/ 295 h 299"/>
                <a:gd name="T50" fmla="*/ 190 w 253"/>
                <a:gd name="T51" fmla="*/ 295 h 299"/>
                <a:gd name="T52" fmla="*/ 188 w 253"/>
                <a:gd name="T53" fmla="*/ 292 h 299"/>
                <a:gd name="T54" fmla="*/ 187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4 w 253"/>
                <a:gd name="T61" fmla="*/ 281 h 299"/>
                <a:gd name="T62" fmla="*/ 162 w 253"/>
                <a:gd name="T63" fmla="*/ 290 h 299"/>
                <a:gd name="T64" fmla="*/ 145 w 253"/>
                <a:gd name="T65" fmla="*/ 297 h 299"/>
                <a:gd name="T66" fmla="*/ 118 w 253"/>
                <a:gd name="T67" fmla="*/ 299 h 299"/>
                <a:gd name="T68" fmla="*/ 89 w 253"/>
                <a:gd name="T69" fmla="*/ 294 h 299"/>
                <a:gd name="T70" fmla="*/ 61 w 253"/>
                <a:gd name="T71" fmla="*/ 278 h 299"/>
                <a:gd name="T72" fmla="*/ 36 w 253"/>
                <a:gd name="T73" fmla="*/ 253 h 299"/>
                <a:gd name="T74" fmla="*/ 17 w 253"/>
                <a:gd name="T75" fmla="*/ 222 h 299"/>
                <a:gd name="T76" fmla="*/ 5 w 253"/>
                <a:gd name="T77" fmla="*/ 185 h 299"/>
                <a:gd name="T78" fmla="*/ 0 w 253"/>
                <a:gd name="T79" fmla="*/ 147 h 299"/>
                <a:gd name="T80" fmla="*/ 3 w 253"/>
                <a:gd name="T81" fmla="*/ 112 h 299"/>
                <a:gd name="T82" fmla="*/ 14 w 253"/>
                <a:gd name="T83" fmla="*/ 82 h 299"/>
                <a:gd name="T84" fmla="*/ 29 w 253"/>
                <a:gd name="T85" fmla="*/ 57 h 299"/>
                <a:gd name="T86" fmla="*/ 48 w 253"/>
                <a:gd name="T87" fmla="*/ 36 h 299"/>
                <a:gd name="T88" fmla="*/ 73 w 253"/>
                <a:gd name="T89" fmla="*/ 21 h 299"/>
                <a:gd name="T90" fmla="*/ 99 w 253"/>
                <a:gd name="T91" fmla="*/ 8 h 299"/>
                <a:gd name="T92" fmla="*/ 127 w 253"/>
                <a:gd name="T93" fmla="*/ 1 h 299"/>
                <a:gd name="T94" fmla="*/ 155 w 253"/>
                <a:gd name="T95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9" y="5"/>
                  </a:lnTo>
                  <a:lnTo>
                    <a:pt x="234" y="10"/>
                  </a:lnTo>
                  <a:lnTo>
                    <a:pt x="253" y="15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90" y="295"/>
                  </a:lnTo>
                  <a:lnTo>
                    <a:pt x="188" y="292"/>
                  </a:lnTo>
                  <a:lnTo>
                    <a:pt x="187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4" y="281"/>
                  </a:lnTo>
                  <a:lnTo>
                    <a:pt x="162" y="290"/>
                  </a:lnTo>
                  <a:lnTo>
                    <a:pt x="145" y="297"/>
                  </a:lnTo>
                  <a:lnTo>
                    <a:pt x="118" y="299"/>
                  </a:lnTo>
                  <a:lnTo>
                    <a:pt x="89" y="294"/>
                  </a:lnTo>
                  <a:lnTo>
                    <a:pt x="61" y="278"/>
                  </a:lnTo>
                  <a:lnTo>
                    <a:pt x="36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9" y="57"/>
                  </a:lnTo>
                  <a:lnTo>
                    <a:pt x="48" y="36"/>
                  </a:lnTo>
                  <a:lnTo>
                    <a:pt x="73" y="21"/>
                  </a:lnTo>
                  <a:lnTo>
                    <a:pt x="99" y="8"/>
                  </a:lnTo>
                  <a:lnTo>
                    <a:pt x="127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/>
            <p:cNvSpPr>
              <a:spLocks noEditPoints="1"/>
            </p:cNvSpPr>
            <p:nvPr userDrawn="1"/>
          </p:nvSpPr>
          <p:spPr bwMode="auto">
            <a:xfrm>
              <a:off x="93218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6 w 253"/>
                <a:gd name="T21" fmla="*/ 234 h 299"/>
                <a:gd name="T22" fmla="*/ 136 w 253"/>
                <a:gd name="T23" fmla="*/ 236 h 299"/>
                <a:gd name="T24" fmla="*/ 154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2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3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9 w 253"/>
                <a:gd name="T51" fmla="*/ 295 h 299"/>
                <a:gd name="T52" fmla="*/ 189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2 w 253"/>
                <a:gd name="T59" fmla="*/ 276 h 299"/>
                <a:gd name="T60" fmla="*/ 176 w 253"/>
                <a:gd name="T61" fmla="*/ 280 h 299"/>
                <a:gd name="T62" fmla="*/ 168 w 253"/>
                <a:gd name="T63" fmla="*/ 287 h 299"/>
                <a:gd name="T64" fmla="*/ 155 w 253"/>
                <a:gd name="T65" fmla="*/ 292 h 299"/>
                <a:gd name="T66" fmla="*/ 140 w 253"/>
                <a:gd name="T67" fmla="*/ 297 h 299"/>
                <a:gd name="T68" fmla="*/ 119 w 253"/>
                <a:gd name="T69" fmla="*/ 299 h 299"/>
                <a:gd name="T70" fmla="*/ 89 w 253"/>
                <a:gd name="T71" fmla="*/ 294 h 299"/>
                <a:gd name="T72" fmla="*/ 59 w 253"/>
                <a:gd name="T73" fmla="*/ 278 h 299"/>
                <a:gd name="T74" fmla="*/ 35 w 253"/>
                <a:gd name="T75" fmla="*/ 253 h 299"/>
                <a:gd name="T76" fmla="*/ 17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8 w 253"/>
                <a:gd name="T87" fmla="*/ 57 h 299"/>
                <a:gd name="T88" fmla="*/ 49 w 253"/>
                <a:gd name="T89" fmla="*/ 36 h 299"/>
                <a:gd name="T90" fmla="*/ 71 w 253"/>
                <a:gd name="T91" fmla="*/ 21 h 299"/>
                <a:gd name="T92" fmla="*/ 98 w 253"/>
                <a:gd name="T93" fmla="*/ 8 h 299"/>
                <a:gd name="T94" fmla="*/ 126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6" y="234"/>
                  </a:lnTo>
                  <a:lnTo>
                    <a:pt x="136" y="236"/>
                  </a:lnTo>
                  <a:lnTo>
                    <a:pt x="154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2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3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9" y="295"/>
                  </a:lnTo>
                  <a:lnTo>
                    <a:pt x="189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2" y="276"/>
                  </a:lnTo>
                  <a:lnTo>
                    <a:pt x="176" y="280"/>
                  </a:lnTo>
                  <a:lnTo>
                    <a:pt x="168" y="287"/>
                  </a:lnTo>
                  <a:lnTo>
                    <a:pt x="155" y="292"/>
                  </a:lnTo>
                  <a:lnTo>
                    <a:pt x="140" y="297"/>
                  </a:lnTo>
                  <a:lnTo>
                    <a:pt x="119" y="299"/>
                  </a:lnTo>
                  <a:lnTo>
                    <a:pt x="89" y="294"/>
                  </a:lnTo>
                  <a:lnTo>
                    <a:pt x="59" y="278"/>
                  </a:lnTo>
                  <a:lnTo>
                    <a:pt x="35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8" y="57"/>
                  </a:lnTo>
                  <a:lnTo>
                    <a:pt x="49" y="36"/>
                  </a:lnTo>
                  <a:lnTo>
                    <a:pt x="71" y="21"/>
                  </a:lnTo>
                  <a:lnTo>
                    <a:pt x="98" y="8"/>
                  </a:lnTo>
                  <a:lnTo>
                    <a:pt x="126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/>
            <p:cNvSpPr>
              <a:spLocks/>
            </p:cNvSpPr>
            <p:nvPr userDrawn="1"/>
          </p:nvSpPr>
          <p:spPr bwMode="auto">
            <a:xfrm>
              <a:off x="7461251" y="4187825"/>
              <a:ext cx="681038" cy="471488"/>
            </a:xfrm>
            <a:custGeom>
              <a:avLst/>
              <a:gdLst>
                <a:gd name="T0" fmla="*/ 131 w 429"/>
                <a:gd name="T1" fmla="*/ 0 h 297"/>
                <a:gd name="T2" fmla="*/ 161 w 429"/>
                <a:gd name="T3" fmla="*/ 3 h 297"/>
                <a:gd name="T4" fmla="*/ 186 w 429"/>
                <a:gd name="T5" fmla="*/ 10 h 297"/>
                <a:gd name="T6" fmla="*/ 207 w 429"/>
                <a:gd name="T7" fmla="*/ 23 h 297"/>
                <a:gd name="T8" fmla="*/ 235 w 429"/>
                <a:gd name="T9" fmla="*/ 12 h 297"/>
                <a:gd name="T10" fmla="*/ 268 w 429"/>
                <a:gd name="T11" fmla="*/ 3 h 297"/>
                <a:gd name="T12" fmla="*/ 304 w 429"/>
                <a:gd name="T13" fmla="*/ 0 h 297"/>
                <a:gd name="T14" fmla="*/ 336 w 429"/>
                <a:gd name="T15" fmla="*/ 3 h 297"/>
                <a:gd name="T16" fmla="*/ 364 w 429"/>
                <a:gd name="T17" fmla="*/ 14 h 297"/>
                <a:gd name="T18" fmla="*/ 385 w 429"/>
                <a:gd name="T19" fmla="*/ 28 h 297"/>
                <a:gd name="T20" fmla="*/ 404 w 429"/>
                <a:gd name="T21" fmla="*/ 47 h 297"/>
                <a:gd name="T22" fmla="*/ 416 w 429"/>
                <a:gd name="T23" fmla="*/ 70 h 297"/>
                <a:gd name="T24" fmla="*/ 425 w 429"/>
                <a:gd name="T25" fmla="*/ 98 h 297"/>
                <a:gd name="T26" fmla="*/ 427 w 429"/>
                <a:gd name="T27" fmla="*/ 122 h 297"/>
                <a:gd name="T28" fmla="*/ 429 w 429"/>
                <a:gd name="T29" fmla="*/ 156 h 297"/>
                <a:gd name="T30" fmla="*/ 429 w 429"/>
                <a:gd name="T31" fmla="*/ 297 h 297"/>
                <a:gd name="T32" fmla="*/ 346 w 429"/>
                <a:gd name="T33" fmla="*/ 297 h 297"/>
                <a:gd name="T34" fmla="*/ 346 w 429"/>
                <a:gd name="T35" fmla="*/ 140 h 297"/>
                <a:gd name="T36" fmla="*/ 346 w 429"/>
                <a:gd name="T37" fmla="*/ 119 h 297"/>
                <a:gd name="T38" fmla="*/ 345 w 429"/>
                <a:gd name="T39" fmla="*/ 100 h 297"/>
                <a:gd name="T40" fmla="*/ 339 w 429"/>
                <a:gd name="T41" fmla="*/ 84 h 297"/>
                <a:gd name="T42" fmla="*/ 329 w 429"/>
                <a:gd name="T43" fmla="*/ 73 h 297"/>
                <a:gd name="T44" fmla="*/ 315 w 429"/>
                <a:gd name="T45" fmla="*/ 66 h 297"/>
                <a:gd name="T46" fmla="*/ 296 w 429"/>
                <a:gd name="T47" fmla="*/ 63 h 297"/>
                <a:gd name="T48" fmla="*/ 280 w 429"/>
                <a:gd name="T49" fmla="*/ 65 h 297"/>
                <a:gd name="T50" fmla="*/ 263 w 429"/>
                <a:gd name="T51" fmla="*/ 68 h 297"/>
                <a:gd name="T52" fmla="*/ 247 w 429"/>
                <a:gd name="T53" fmla="*/ 75 h 297"/>
                <a:gd name="T54" fmla="*/ 249 w 429"/>
                <a:gd name="T55" fmla="*/ 80 h 297"/>
                <a:gd name="T56" fmla="*/ 252 w 429"/>
                <a:gd name="T57" fmla="*/ 94 h 297"/>
                <a:gd name="T58" fmla="*/ 256 w 429"/>
                <a:gd name="T59" fmla="*/ 114 h 297"/>
                <a:gd name="T60" fmla="*/ 257 w 429"/>
                <a:gd name="T61" fmla="*/ 138 h 297"/>
                <a:gd name="T62" fmla="*/ 257 w 429"/>
                <a:gd name="T63" fmla="*/ 297 h 297"/>
                <a:gd name="T64" fmla="*/ 173 w 429"/>
                <a:gd name="T65" fmla="*/ 297 h 297"/>
                <a:gd name="T66" fmla="*/ 173 w 429"/>
                <a:gd name="T67" fmla="*/ 140 h 297"/>
                <a:gd name="T68" fmla="*/ 173 w 429"/>
                <a:gd name="T69" fmla="*/ 117 h 297"/>
                <a:gd name="T70" fmla="*/ 170 w 429"/>
                <a:gd name="T71" fmla="*/ 98 h 297"/>
                <a:gd name="T72" fmla="*/ 165 w 429"/>
                <a:gd name="T73" fmla="*/ 84 h 297"/>
                <a:gd name="T74" fmla="*/ 156 w 429"/>
                <a:gd name="T75" fmla="*/ 72 h 297"/>
                <a:gd name="T76" fmla="*/ 142 w 429"/>
                <a:gd name="T77" fmla="*/ 66 h 297"/>
                <a:gd name="T78" fmla="*/ 123 w 429"/>
                <a:gd name="T79" fmla="*/ 63 h 297"/>
                <a:gd name="T80" fmla="*/ 103 w 429"/>
                <a:gd name="T81" fmla="*/ 65 h 297"/>
                <a:gd name="T82" fmla="*/ 84 w 429"/>
                <a:gd name="T83" fmla="*/ 70 h 297"/>
                <a:gd name="T84" fmla="*/ 84 w 429"/>
                <a:gd name="T85" fmla="*/ 297 h 297"/>
                <a:gd name="T86" fmla="*/ 0 w 429"/>
                <a:gd name="T87" fmla="*/ 297 h 297"/>
                <a:gd name="T88" fmla="*/ 0 w 429"/>
                <a:gd name="T89" fmla="*/ 26 h 297"/>
                <a:gd name="T90" fmla="*/ 39 w 429"/>
                <a:gd name="T91" fmla="*/ 14 h 297"/>
                <a:gd name="T92" fmla="*/ 84 w 429"/>
                <a:gd name="T93" fmla="*/ 5 h 297"/>
                <a:gd name="T94" fmla="*/ 131 w 429"/>
                <a:gd name="T95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9" h="297">
                  <a:moveTo>
                    <a:pt x="131" y="0"/>
                  </a:moveTo>
                  <a:lnTo>
                    <a:pt x="161" y="3"/>
                  </a:lnTo>
                  <a:lnTo>
                    <a:pt x="186" y="10"/>
                  </a:lnTo>
                  <a:lnTo>
                    <a:pt x="207" y="23"/>
                  </a:lnTo>
                  <a:lnTo>
                    <a:pt x="235" y="12"/>
                  </a:lnTo>
                  <a:lnTo>
                    <a:pt x="268" y="3"/>
                  </a:lnTo>
                  <a:lnTo>
                    <a:pt x="304" y="0"/>
                  </a:lnTo>
                  <a:lnTo>
                    <a:pt x="336" y="3"/>
                  </a:lnTo>
                  <a:lnTo>
                    <a:pt x="364" y="14"/>
                  </a:lnTo>
                  <a:lnTo>
                    <a:pt x="385" y="28"/>
                  </a:lnTo>
                  <a:lnTo>
                    <a:pt x="404" y="47"/>
                  </a:lnTo>
                  <a:lnTo>
                    <a:pt x="416" y="70"/>
                  </a:lnTo>
                  <a:lnTo>
                    <a:pt x="425" y="98"/>
                  </a:lnTo>
                  <a:lnTo>
                    <a:pt x="427" y="122"/>
                  </a:lnTo>
                  <a:lnTo>
                    <a:pt x="429" y="156"/>
                  </a:lnTo>
                  <a:lnTo>
                    <a:pt x="429" y="297"/>
                  </a:lnTo>
                  <a:lnTo>
                    <a:pt x="346" y="297"/>
                  </a:lnTo>
                  <a:lnTo>
                    <a:pt x="346" y="140"/>
                  </a:lnTo>
                  <a:lnTo>
                    <a:pt x="346" y="119"/>
                  </a:lnTo>
                  <a:lnTo>
                    <a:pt x="345" y="100"/>
                  </a:lnTo>
                  <a:lnTo>
                    <a:pt x="339" y="84"/>
                  </a:lnTo>
                  <a:lnTo>
                    <a:pt x="329" y="73"/>
                  </a:lnTo>
                  <a:lnTo>
                    <a:pt x="315" y="66"/>
                  </a:lnTo>
                  <a:lnTo>
                    <a:pt x="296" y="63"/>
                  </a:lnTo>
                  <a:lnTo>
                    <a:pt x="280" y="65"/>
                  </a:lnTo>
                  <a:lnTo>
                    <a:pt x="263" y="68"/>
                  </a:lnTo>
                  <a:lnTo>
                    <a:pt x="247" y="75"/>
                  </a:lnTo>
                  <a:lnTo>
                    <a:pt x="249" y="80"/>
                  </a:lnTo>
                  <a:lnTo>
                    <a:pt x="252" y="94"/>
                  </a:lnTo>
                  <a:lnTo>
                    <a:pt x="256" y="114"/>
                  </a:lnTo>
                  <a:lnTo>
                    <a:pt x="257" y="138"/>
                  </a:lnTo>
                  <a:lnTo>
                    <a:pt x="257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7"/>
                  </a:lnTo>
                  <a:lnTo>
                    <a:pt x="170" y="98"/>
                  </a:lnTo>
                  <a:lnTo>
                    <a:pt x="165" y="84"/>
                  </a:lnTo>
                  <a:lnTo>
                    <a:pt x="156" y="72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4" y="70"/>
                  </a:lnTo>
                  <a:lnTo>
                    <a:pt x="84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39" y="14"/>
                  </a:lnTo>
                  <a:lnTo>
                    <a:pt x="84" y="5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"/>
            <p:cNvSpPr>
              <a:spLocks noEditPoints="1"/>
            </p:cNvSpPr>
            <p:nvPr userDrawn="1"/>
          </p:nvSpPr>
          <p:spPr bwMode="auto">
            <a:xfrm>
              <a:off x="8205788" y="4191000"/>
              <a:ext cx="396875" cy="685800"/>
            </a:xfrm>
            <a:custGeom>
              <a:avLst/>
              <a:gdLst>
                <a:gd name="T0" fmla="*/ 105 w 250"/>
                <a:gd name="T1" fmla="*/ 61 h 432"/>
                <a:gd name="T2" fmla="*/ 96 w 250"/>
                <a:gd name="T3" fmla="*/ 61 h 432"/>
                <a:gd name="T4" fmla="*/ 89 w 250"/>
                <a:gd name="T5" fmla="*/ 61 h 432"/>
                <a:gd name="T6" fmla="*/ 82 w 250"/>
                <a:gd name="T7" fmla="*/ 61 h 432"/>
                <a:gd name="T8" fmla="*/ 82 w 250"/>
                <a:gd name="T9" fmla="*/ 234 h 432"/>
                <a:gd name="T10" fmla="*/ 87 w 250"/>
                <a:gd name="T11" fmla="*/ 238 h 432"/>
                <a:gd name="T12" fmla="*/ 96 w 250"/>
                <a:gd name="T13" fmla="*/ 239 h 432"/>
                <a:gd name="T14" fmla="*/ 108 w 250"/>
                <a:gd name="T15" fmla="*/ 239 h 432"/>
                <a:gd name="T16" fmla="*/ 122 w 250"/>
                <a:gd name="T17" fmla="*/ 238 h 432"/>
                <a:gd name="T18" fmla="*/ 136 w 250"/>
                <a:gd name="T19" fmla="*/ 232 h 432"/>
                <a:gd name="T20" fmla="*/ 148 w 250"/>
                <a:gd name="T21" fmla="*/ 222 h 432"/>
                <a:gd name="T22" fmla="*/ 159 w 250"/>
                <a:gd name="T23" fmla="*/ 203 h 432"/>
                <a:gd name="T24" fmla="*/ 166 w 250"/>
                <a:gd name="T25" fmla="*/ 178 h 432"/>
                <a:gd name="T26" fmla="*/ 168 w 250"/>
                <a:gd name="T27" fmla="*/ 143 h 432"/>
                <a:gd name="T28" fmla="*/ 162 w 250"/>
                <a:gd name="T29" fmla="*/ 115 h 432"/>
                <a:gd name="T30" fmla="*/ 152 w 250"/>
                <a:gd name="T31" fmla="*/ 92 h 432"/>
                <a:gd name="T32" fmla="*/ 138 w 250"/>
                <a:gd name="T33" fmla="*/ 75 h 432"/>
                <a:gd name="T34" fmla="*/ 122 w 250"/>
                <a:gd name="T35" fmla="*/ 64 h 432"/>
                <a:gd name="T36" fmla="*/ 105 w 250"/>
                <a:gd name="T37" fmla="*/ 61 h 432"/>
                <a:gd name="T38" fmla="*/ 98 w 250"/>
                <a:gd name="T39" fmla="*/ 0 h 432"/>
                <a:gd name="T40" fmla="*/ 122 w 250"/>
                <a:gd name="T41" fmla="*/ 1 h 432"/>
                <a:gd name="T42" fmla="*/ 147 w 250"/>
                <a:gd name="T43" fmla="*/ 7 h 432"/>
                <a:gd name="T44" fmla="*/ 171 w 250"/>
                <a:gd name="T45" fmla="*/ 15 h 432"/>
                <a:gd name="T46" fmla="*/ 194 w 250"/>
                <a:gd name="T47" fmla="*/ 28 h 432"/>
                <a:gd name="T48" fmla="*/ 213 w 250"/>
                <a:gd name="T49" fmla="*/ 45 h 432"/>
                <a:gd name="T50" fmla="*/ 229 w 250"/>
                <a:gd name="T51" fmla="*/ 66 h 432"/>
                <a:gd name="T52" fmla="*/ 241 w 250"/>
                <a:gd name="T53" fmla="*/ 91 h 432"/>
                <a:gd name="T54" fmla="*/ 248 w 250"/>
                <a:gd name="T55" fmla="*/ 120 h 432"/>
                <a:gd name="T56" fmla="*/ 250 w 250"/>
                <a:gd name="T57" fmla="*/ 155 h 432"/>
                <a:gd name="T58" fmla="*/ 246 w 250"/>
                <a:gd name="T59" fmla="*/ 194 h 432"/>
                <a:gd name="T60" fmla="*/ 238 w 250"/>
                <a:gd name="T61" fmla="*/ 222 h 432"/>
                <a:gd name="T62" fmla="*/ 224 w 250"/>
                <a:gd name="T63" fmla="*/ 248 h 432"/>
                <a:gd name="T64" fmla="*/ 206 w 250"/>
                <a:gd name="T65" fmla="*/ 269 h 432"/>
                <a:gd name="T66" fmla="*/ 185 w 250"/>
                <a:gd name="T67" fmla="*/ 285 h 432"/>
                <a:gd name="T68" fmla="*/ 159 w 250"/>
                <a:gd name="T69" fmla="*/ 295 h 432"/>
                <a:gd name="T70" fmla="*/ 129 w 250"/>
                <a:gd name="T71" fmla="*/ 299 h 432"/>
                <a:gd name="T72" fmla="*/ 112 w 250"/>
                <a:gd name="T73" fmla="*/ 297 h 432"/>
                <a:gd name="T74" fmla="*/ 94 w 250"/>
                <a:gd name="T75" fmla="*/ 294 h 432"/>
                <a:gd name="T76" fmla="*/ 82 w 250"/>
                <a:gd name="T77" fmla="*/ 290 h 432"/>
                <a:gd name="T78" fmla="*/ 82 w 250"/>
                <a:gd name="T79" fmla="*/ 432 h 432"/>
                <a:gd name="T80" fmla="*/ 0 w 250"/>
                <a:gd name="T81" fmla="*/ 432 h 432"/>
                <a:gd name="T82" fmla="*/ 0 w 250"/>
                <a:gd name="T83" fmla="*/ 12 h 432"/>
                <a:gd name="T84" fmla="*/ 28 w 250"/>
                <a:gd name="T85" fmla="*/ 5 h 432"/>
                <a:gd name="T86" fmla="*/ 61 w 250"/>
                <a:gd name="T87" fmla="*/ 1 h 432"/>
                <a:gd name="T88" fmla="*/ 98 w 250"/>
                <a:gd name="T89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0" h="432">
                  <a:moveTo>
                    <a:pt x="105" y="61"/>
                  </a:moveTo>
                  <a:lnTo>
                    <a:pt x="96" y="61"/>
                  </a:lnTo>
                  <a:lnTo>
                    <a:pt x="89" y="61"/>
                  </a:lnTo>
                  <a:lnTo>
                    <a:pt x="82" y="61"/>
                  </a:lnTo>
                  <a:lnTo>
                    <a:pt x="82" y="234"/>
                  </a:lnTo>
                  <a:lnTo>
                    <a:pt x="87" y="238"/>
                  </a:lnTo>
                  <a:lnTo>
                    <a:pt x="96" y="239"/>
                  </a:lnTo>
                  <a:lnTo>
                    <a:pt x="108" y="239"/>
                  </a:lnTo>
                  <a:lnTo>
                    <a:pt x="122" y="238"/>
                  </a:lnTo>
                  <a:lnTo>
                    <a:pt x="136" y="232"/>
                  </a:lnTo>
                  <a:lnTo>
                    <a:pt x="148" y="222"/>
                  </a:lnTo>
                  <a:lnTo>
                    <a:pt x="159" y="203"/>
                  </a:lnTo>
                  <a:lnTo>
                    <a:pt x="166" y="178"/>
                  </a:lnTo>
                  <a:lnTo>
                    <a:pt x="168" y="143"/>
                  </a:lnTo>
                  <a:lnTo>
                    <a:pt x="162" y="115"/>
                  </a:lnTo>
                  <a:lnTo>
                    <a:pt x="152" y="92"/>
                  </a:lnTo>
                  <a:lnTo>
                    <a:pt x="138" y="75"/>
                  </a:lnTo>
                  <a:lnTo>
                    <a:pt x="122" y="64"/>
                  </a:lnTo>
                  <a:lnTo>
                    <a:pt x="105" y="61"/>
                  </a:lnTo>
                  <a:close/>
                  <a:moveTo>
                    <a:pt x="98" y="0"/>
                  </a:moveTo>
                  <a:lnTo>
                    <a:pt x="122" y="1"/>
                  </a:lnTo>
                  <a:lnTo>
                    <a:pt x="147" y="7"/>
                  </a:lnTo>
                  <a:lnTo>
                    <a:pt x="171" y="15"/>
                  </a:lnTo>
                  <a:lnTo>
                    <a:pt x="194" y="28"/>
                  </a:lnTo>
                  <a:lnTo>
                    <a:pt x="213" y="45"/>
                  </a:lnTo>
                  <a:lnTo>
                    <a:pt x="229" y="66"/>
                  </a:lnTo>
                  <a:lnTo>
                    <a:pt x="241" y="91"/>
                  </a:lnTo>
                  <a:lnTo>
                    <a:pt x="248" y="120"/>
                  </a:lnTo>
                  <a:lnTo>
                    <a:pt x="250" y="155"/>
                  </a:lnTo>
                  <a:lnTo>
                    <a:pt x="246" y="194"/>
                  </a:lnTo>
                  <a:lnTo>
                    <a:pt x="238" y="222"/>
                  </a:lnTo>
                  <a:lnTo>
                    <a:pt x="224" y="248"/>
                  </a:lnTo>
                  <a:lnTo>
                    <a:pt x="206" y="269"/>
                  </a:lnTo>
                  <a:lnTo>
                    <a:pt x="185" y="285"/>
                  </a:lnTo>
                  <a:lnTo>
                    <a:pt x="159" y="295"/>
                  </a:lnTo>
                  <a:lnTo>
                    <a:pt x="129" y="299"/>
                  </a:lnTo>
                  <a:lnTo>
                    <a:pt x="112" y="297"/>
                  </a:lnTo>
                  <a:lnTo>
                    <a:pt x="94" y="294"/>
                  </a:lnTo>
                  <a:lnTo>
                    <a:pt x="82" y="290"/>
                  </a:lnTo>
                  <a:lnTo>
                    <a:pt x="82" y="432"/>
                  </a:lnTo>
                  <a:lnTo>
                    <a:pt x="0" y="432"/>
                  </a:lnTo>
                  <a:lnTo>
                    <a:pt x="0" y="12"/>
                  </a:lnTo>
                  <a:lnTo>
                    <a:pt x="28" y="5"/>
                  </a:lnTo>
                  <a:lnTo>
                    <a:pt x="61" y="1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"/>
            <p:cNvSpPr>
              <a:spLocks/>
            </p:cNvSpPr>
            <p:nvPr userDrawn="1"/>
          </p:nvSpPr>
          <p:spPr bwMode="auto">
            <a:xfrm>
              <a:off x="4591051" y="4187825"/>
              <a:ext cx="311150" cy="485775"/>
            </a:xfrm>
            <a:custGeom>
              <a:avLst/>
              <a:gdLst>
                <a:gd name="T0" fmla="*/ 91 w 196"/>
                <a:gd name="T1" fmla="*/ 0 h 306"/>
                <a:gd name="T2" fmla="*/ 110 w 196"/>
                <a:gd name="T3" fmla="*/ 2 h 306"/>
                <a:gd name="T4" fmla="*/ 128 w 196"/>
                <a:gd name="T5" fmla="*/ 3 h 306"/>
                <a:gd name="T6" fmla="*/ 145 w 196"/>
                <a:gd name="T7" fmla="*/ 9 h 306"/>
                <a:gd name="T8" fmla="*/ 168 w 196"/>
                <a:gd name="T9" fmla="*/ 17 h 306"/>
                <a:gd name="T10" fmla="*/ 168 w 196"/>
                <a:gd name="T11" fmla="*/ 79 h 306"/>
                <a:gd name="T12" fmla="*/ 149 w 196"/>
                <a:gd name="T13" fmla="*/ 68 h 306"/>
                <a:gd name="T14" fmla="*/ 131 w 196"/>
                <a:gd name="T15" fmla="*/ 61 h 306"/>
                <a:gd name="T16" fmla="*/ 117 w 196"/>
                <a:gd name="T17" fmla="*/ 58 h 306"/>
                <a:gd name="T18" fmla="*/ 102 w 196"/>
                <a:gd name="T19" fmla="*/ 56 h 306"/>
                <a:gd name="T20" fmla="*/ 89 w 196"/>
                <a:gd name="T21" fmla="*/ 59 h 306"/>
                <a:gd name="T22" fmla="*/ 81 w 196"/>
                <a:gd name="T23" fmla="*/ 65 h 306"/>
                <a:gd name="T24" fmla="*/ 76 w 196"/>
                <a:gd name="T25" fmla="*/ 72 h 306"/>
                <a:gd name="T26" fmla="*/ 74 w 196"/>
                <a:gd name="T27" fmla="*/ 80 h 306"/>
                <a:gd name="T28" fmla="*/ 74 w 196"/>
                <a:gd name="T29" fmla="*/ 87 h 306"/>
                <a:gd name="T30" fmla="*/ 83 w 196"/>
                <a:gd name="T31" fmla="*/ 100 h 306"/>
                <a:gd name="T32" fmla="*/ 100 w 196"/>
                <a:gd name="T33" fmla="*/ 112 h 306"/>
                <a:gd name="T34" fmla="*/ 128 w 196"/>
                <a:gd name="T35" fmla="*/ 128 h 306"/>
                <a:gd name="T36" fmla="*/ 151 w 196"/>
                <a:gd name="T37" fmla="*/ 142 h 306"/>
                <a:gd name="T38" fmla="*/ 170 w 196"/>
                <a:gd name="T39" fmla="*/ 157 h 306"/>
                <a:gd name="T40" fmla="*/ 184 w 196"/>
                <a:gd name="T41" fmla="*/ 178 h 306"/>
                <a:gd name="T42" fmla="*/ 194 w 196"/>
                <a:gd name="T43" fmla="*/ 205 h 306"/>
                <a:gd name="T44" fmla="*/ 196 w 196"/>
                <a:gd name="T45" fmla="*/ 233 h 306"/>
                <a:gd name="T46" fmla="*/ 191 w 196"/>
                <a:gd name="T47" fmla="*/ 255 h 306"/>
                <a:gd name="T48" fmla="*/ 179 w 196"/>
                <a:gd name="T49" fmla="*/ 275 h 306"/>
                <a:gd name="T50" fmla="*/ 161 w 196"/>
                <a:gd name="T51" fmla="*/ 289 h 306"/>
                <a:gd name="T52" fmla="*/ 138 w 196"/>
                <a:gd name="T53" fmla="*/ 299 h 306"/>
                <a:gd name="T54" fmla="*/ 112 w 196"/>
                <a:gd name="T55" fmla="*/ 304 h 306"/>
                <a:gd name="T56" fmla="*/ 83 w 196"/>
                <a:gd name="T57" fmla="*/ 306 h 306"/>
                <a:gd name="T58" fmla="*/ 55 w 196"/>
                <a:gd name="T59" fmla="*/ 304 h 306"/>
                <a:gd name="T60" fmla="*/ 30 w 196"/>
                <a:gd name="T61" fmla="*/ 299 h 306"/>
                <a:gd name="T62" fmla="*/ 7 w 196"/>
                <a:gd name="T63" fmla="*/ 292 h 306"/>
                <a:gd name="T64" fmla="*/ 7 w 196"/>
                <a:gd name="T65" fmla="*/ 229 h 306"/>
                <a:gd name="T66" fmla="*/ 30 w 196"/>
                <a:gd name="T67" fmla="*/ 240 h 306"/>
                <a:gd name="T68" fmla="*/ 51 w 196"/>
                <a:gd name="T69" fmla="*/ 248 h 306"/>
                <a:gd name="T70" fmla="*/ 74 w 196"/>
                <a:gd name="T71" fmla="*/ 254 h 306"/>
                <a:gd name="T72" fmla="*/ 93 w 196"/>
                <a:gd name="T73" fmla="*/ 250 h 306"/>
                <a:gd name="T74" fmla="*/ 107 w 196"/>
                <a:gd name="T75" fmla="*/ 245 h 306"/>
                <a:gd name="T76" fmla="*/ 114 w 196"/>
                <a:gd name="T77" fmla="*/ 236 h 306"/>
                <a:gd name="T78" fmla="*/ 117 w 196"/>
                <a:gd name="T79" fmla="*/ 226 h 306"/>
                <a:gd name="T80" fmla="*/ 117 w 196"/>
                <a:gd name="T81" fmla="*/ 215 h 306"/>
                <a:gd name="T82" fmla="*/ 109 w 196"/>
                <a:gd name="T83" fmla="*/ 201 h 306"/>
                <a:gd name="T84" fmla="*/ 95 w 196"/>
                <a:gd name="T85" fmla="*/ 187 h 306"/>
                <a:gd name="T86" fmla="*/ 76 w 196"/>
                <a:gd name="T87" fmla="*/ 175 h 306"/>
                <a:gd name="T88" fmla="*/ 55 w 196"/>
                <a:gd name="T89" fmla="*/ 161 h 306"/>
                <a:gd name="T90" fmla="*/ 37 w 196"/>
                <a:gd name="T91" fmla="*/ 149 h 306"/>
                <a:gd name="T92" fmla="*/ 21 w 196"/>
                <a:gd name="T93" fmla="*/ 133 h 306"/>
                <a:gd name="T94" fmla="*/ 9 w 196"/>
                <a:gd name="T95" fmla="*/ 115 h 306"/>
                <a:gd name="T96" fmla="*/ 2 w 196"/>
                <a:gd name="T97" fmla="*/ 93 h 306"/>
                <a:gd name="T98" fmla="*/ 0 w 196"/>
                <a:gd name="T99" fmla="*/ 68 h 306"/>
                <a:gd name="T100" fmla="*/ 6 w 196"/>
                <a:gd name="T101" fmla="*/ 47 h 306"/>
                <a:gd name="T102" fmla="*/ 14 w 196"/>
                <a:gd name="T103" fmla="*/ 30 h 306"/>
                <a:gd name="T104" fmla="*/ 30 w 196"/>
                <a:gd name="T105" fmla="*/ 17 h 306"/>
                <a:gd name="T106" fmla="*/ 48 w 196"/>
                <a:gd name="T107" fmla="*/ 9 h 306"/>
                <a:gd name="T108" fmla="*/ 69 w 196"/>
                <a:gd name="T109" fmla="*/ 2 h 306"/>
                <a:gd name="T110" fmla="*/ 91 w 196"/>
                <a:gd name="T111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6" h="306">
                  <a:moveTo>
                    <a:pt x="91" y="0"/>
                  </a:moveTo>
                  <a:lnTo>
                    <a:pt x="110" y="2"/>
                  </a:lnTo>
                  <a:lnTo>
                    <a:pt x="128" y="3"/>
                  </a:lnTo>
                  <a:lnTo>
                    <a:pt x="145" y="9"/>
                  </a:lnTo>
                  <a:lnTo>
                    <a:pt x="168" y="17"/>
                  </a:lnTo>
                  <a:lnTo>
                    <a:pt x="168" y="79"/>
                  </a:lnTo>
                  <a:lnTo>
                    <a:pt x="149" y="68"/>
                  </a:lnTo>
                  <a:lnTo>
                    <a:pt x="131" y="61"/>
                  </a:lnTo>
                  <a:lnTo>
                    <a:pt x="117" y="58"/>
                  </a:lnTo>
                  <a:lnTo>
                    <a:pt x="102" y="56"/>
                  </a:lnTo>
                  <a:lnTo>
                    <a:pt x="89" y="59"/>
                  </a:lnTo>
                  <a:lnTo>
                    <a:pt x="81" y="65"/>
                  </a:lnTo>
                  <a:lnTo>
                    <a:pt x="76" y="72"/>
                  </a:lnTo>
                  <a:lnTo>
                    <a:pt x="74" y="80"/>
                  </a:lnTo>
                  <a:lnTo>
                    <a:pt x="74" y="87"/>
                  </a:lnTo>
                  <a:lnTo>
                    <a:pt x="83" y="100"/>
                  </a:lnTo>
                  <a:lnTo>
                    <a:pt x="100" y="112"/>
                  </a:lnTo>
                  <a:lnTo>
                    <a:pt x="128" y="128"/>
                  </a:lnTo>
                  <a:lnTo>
                    <a:pt x="151" y="142"/>
                  </a:lnTo>
                  <a:lnTo>
                    <a:pt x="170" y="157"/>
                  </a:lnTo>
                  <a:lnTo>
                    <a:pt x="184" y="178"/>
                  </a:lnTo>
                  <a:lnTo>
                    <a:pt x="194" y="205"/>
                  </a:lnTo>
                  <a:lnTo>
                    <a:pt x="196" y="233"/>
                  </a:lnTo>
                  <a:lnTo>
                    <a:pt x="191" y="255"/>
                  </a:lnTo>
                  <a:lnTo>
                    <a:pt x="179" y="275"/>
                  </a:lnTo>
                  <a:lnTo>
                    <a:pt x="161" y="289"/>
                  </a:lnTo>
                  <a:lnTo>
                    <a:pt x="138" y="299"/>
                  </a:lnTo>
                  <a:lnTo>
                    <a:pt x="112" y="304"/>
                  </a:lnTo>
                  <a:lnTo>
                    <a:pt x="83" y="306"/>
                  </a:lnTo>
                  <a:lnTo>
                    <a:pt x="55" y="304"/>
                  </a:lnTo>
                  <a:lnTo>
                    <a:pt x="30" y="299"/>
                  </a:lnTo>
                  <a:lnTo>
                    <a:pt x="7" y="292"/>
                  </a:lnTo>
                  <a:lnTo>
                    <a:pt x="7" y="229"/>
                  </a:lnTo>
                  <a:lnTo>
                    <a:pt x="30" y="240"/>
                  </a:lnTo>
                  <a:lnTo>
                    <a:pt x="51" y="248"/>
                  </a:lnTo>
                  <a:lnTo>
                    <a:pt x="74" y="254"/>
                  </a:lnTo>
                  <a:lnTo>
                    <a:pt x="93" y="250"/>
                  </a:lnTo>
                  <a:lnTo>
                    <a:pt x="107" y="245"/>
                  </a:lnTo>
                  <a:lnTo>
                    <a:pt x="114" y="236"/>
                  </a:lnTo>
                  <a:lnTo>
                    <a:pt x="117" y="226"/>
                  </a:lnTo>
                  <a:lnTo>
                    <a:pt x="117" y="215"/>
                  </a:lnTo>
                  <a:lnTo>
                    <a:pt x="109" y="201"/>
                  </a:lnTo>
                  <a:lnTo>
                    <a:pt x="95" y="187"/>
                  </a:lnTo>
                  <a:lnTo>
                    <a:pt x="76" y="175"/>
                  </a:lnTo>
                  <a:lnTo>
                    <a:pt x="55" y="161"/>
                  </a:lnTo>
                  <a:lnTo>
                    <a:pt x="37" y="149"/>
                  </a:lnTo>
                  <a:lnTo>
                    <a:pt x="21" y="133"/>
                  </a:lnTo>
                  <a:lnTo>
                    <a:pt x="9" y="115"/>
                  </a:lnTo>
                  <a:lnTo>
                    <a:pt x="2" y="93"/>
                  </a:lnTo>
                  <a:lnTo>
                    <a:pt x="0" y="68"/>
                  </a:lnTo>
                  <a:lnTo>
                    <a:pt x="6" y="47"/>
                  </a:lnTo>
                  <a:lnTo>
                    <a:pt x="14" y="30"/>
                  </a:lnTo>
                  <a:lnTo>
                    <a:pt x="30" y="17"/>
                  </a:lnTo>
                  <a:lnTo>
                    <a:pt x="48" y="9"/>
                  </a:lnTo>
                  <a:lnTo>
                    <a:pt x="69" y="2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4"/>
            <p:cNvSpPr>
              <a:spLocks/>
            </p:cNvSpPr>
            <p:nvPr userDrawn="1"/>
          </p:nvSpPr>
          <p:spPr bwMode="auto">
            <a:xfrm>
              <a:off x="3719513" y="4195763"/>
              <a:ext cx="230188" cy="463550"/>
            </a:xfrm>
            <a:custGeom>
              <a:avLst/>
              <a:gdLst>
                <a:gd name="T0" fmla="*/ 140 w 145"/>
                <a:gd name="T1" fmla="*/ 0 h 292"/>
                <a:gd name="T2" fmla="*/ 145 w 145"/>
                <a:gd name="T3" fmla="*/ 0 h 292"/>
                <a:gd name="T4" fmla="*/ 145 w 145"/>
                <a:gd name="T5" fmla="*/ 61 h 292"/>
                <a:gd name="T6" fmla="*/ 138 w 145"/>
                <a:gd name="T7" fmla="*/ 61 h 292"/>
                <a:gd name="T8" fmla="*/ 133 w 145"/>
                <a:gd name="T9" fmla="*/ 61 h 292"/>
                <a:gd name="T10" fmla="*/ 117 w 145"/>
                <a:gd name="T11" fmla="*/ 61 h 292"/>
                <a:gd name="T12" fmla="*/ 98 w 145"/>
                <a:gd name="T13" fmla="*/ 63 h 292"/>
                <a:gd name="T14" fmla="*/ 82 w 145"/>
                <a:gd name="T15" fmla="*/ 68 h 292"/>
                <a:gd name="T16" fmla="*/ 84 w 145"/>
                <a:gd name="T17" fmla="*/ 292 h 292"/>
                <a:gd name="T18" fmla="*/ 0 w 145"/>
                <a:gd name="T19" fmla="*/ 292 h 292"/>
                <a:gd name="T20" fmla="*/ 0 w 145"/>
                <a:gd name="T21" fmla="*/ 25 h 292"/>
                <a:gd name="T22" fmla="*/ 21 w 145"/>
                <a:gd name="T23" fmla="*/ 18 h 292"/>
                <a:gd name="T24" fmla="*/ 44 w 145"/>
                <a:gd name="T25" fmla="*/ 11 h 292"/>
                <a:gd name="T26" fmla="*/ 72 w 145"/>
                <a:gd name="T27" fmla="*/ 5 h 292"/>
                <a:gd name="T28" fmla="*/ 103 w 145"/>
                <a:gd name="T29" fmla="*/ 2 h 292"/>
                <a:gd name="T30" fmla="*/ 140 w 145"/>
                <a:gd name="T3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92">
                  <a:moveTo>
                    <a:pt x="140" y="0"/>
                  </a:moveTo>
                  <a:lnTo>
                    <a:pt x="145" y="0"/>
                  </a:lnTo>
                  <a:lnTo>
                    <a:pt x="145" y="61"/>
                  </a:lnTo>
                  <a:lnTo>
                    <a:pt x="138" y="61"/>
                  </a:lnTo>
                  <a:lnTo>
                    <a:pt x="133" y="61"/>
                  </a:lnTo>
                  <a:lnTo>
                    <a:pt x="117" y="61"/>
                  </a:lnTo>
                  <a:lnTo>
                    <a:pt x="98" y="63"/>
                  </a:lnTo>
                  <a:lnTo>
                    <a:pt x="82" y="68"/>
                  </a:lnTo>
                  <a:lnTo>
                    <a:pt x="84" y="292"/>
                  </a:lnTo>
                  <a:lnTo>
                    <a:pt x="0" y="292"/>
                  </a:lnTo>
                  <a:lnTo>
                    <a:pt x="0" y="25"/>
                  </a:lnTo>
                  <a:lnTo>
                    <a:pt x="21" y="18"/>
                  </a:lnTo>
                  <a:lnTo>
                    <a:pt x="44" y="11"/>
                  </a:lnTo>
                  <a:lnTo>
                    <a:pt x="72" y="5"/>
                  </a:lnTo>
                  <a:lnTo>
                    <a:pt x="103" y="2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 userDrawn="1"/>
          </p:nvSpPr>
          <p:spPr bwMode="auto">
            <a:xfrm>
              <a:off x="4003676" y="4191000"/>
              <a:ext cx="127000" cy="468313"/>
            </a:xfrm>
            <a:custGeom>
              <a:avLst/>
              <a:gdLst>
                <a:gd name="T0" fmla="*/ 40 w 80"/>
                <a:gd name="T1" fmla="*/ 0 h 295"/>
                <a:gd name="T2" fmla="*/ 61 w 80"/>
                <a:gd name="T3" fmla="*/ 1 h 295"/>
                <a:gd name="T4" fmla="*/ 73 w 80"/>
                <a:gd name="T5" fmla="*/ 1 h 295"/>
                <a:gd name="T6" fmla="*/ 78 w 80"/>
                <a:gd name="T7" fmla="*/ 3 h 295"/>
                <a:gd name="T8" fmla="*/ 80 w 80"/>
                <a:gd name="T9" fmla="*/ 3 h 295"/>
                <a:gd name="T10" fmla="*/ 80 w 80"/>
                <a:gd name="T11" fmla="*/ 295 h 295"/>
                <a:gd name="T12" fmla="*/ 0 w 80"/>
                <a:gd name="T13" fmla="*/ 295 h 295"/>
                <a:gd name="T14" fmla="*/ 0 w 80"/>
                <a:gd name="T15" fmla="*/ 3 h 295"/>
                <a:gd name="T16" fmla="*/ 1 w 80"/>
                <a:gd name="T17" fmla="*/ 3 h 295"/>
                <a:gd name="T18" fmla="*/ 8 w 80"/>
                <a:gd name="T19" fmla="*/ 1 h 295"/>
                <a:gd name="T20" fmla="*/ 21 w 80"/>
                <a:gd name="T21" fmla="*/ 1 h 295"/>
                <a:gd name="T22" fmla="*/ 40 w 80"/>
                <a:gd name="T23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295">
                  <a:moveTo>
                    <a:pt x="40" y="0"/>
                  </a:moveTo>
                  <a:lnTo>
                    <a:pt x="61" y="1"/>
                  </a:lnTo>
                  <a:lnTo>
                    <a:pt x="73" y="1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0" y="295"/>
                  </a:lnTo>
                  <a:lnTo>
                    <a:pt x="0" y="295"/>
                  </a:lnTo>
                  <a:lnTo>
                    <a:pt x="0" y="3"/>
                  </a:lnTo>
                  <a:lnTo>
                    <a:pt x="1" y="3"/>
                  </a:lnTo>
                  <a:lnTo>
                    <a:pt x="8" y="1"/>
                  </a:lnTo>
                  <a:lnTo>
                    <a:pt x="21" y="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6"/>
            <p:cNvSpPr>
              <a:spLocks/>
            </p:cNvSpPr>
            <p:nvPr userDrawn="1"/>
          </p:nvSpPr>
          <p:spPr bwMode="auto">
            <a:xfrm>
              <a:off x="4943476" y="4043363"/>
              <a:ext cx="217488" cy="630238"/>
            </a:xfrm>
            <a:custGeom>
              <a:avLst/>
              <a:gdLst>
                <a:gd name="T0" fmla="*/ 42 w 137"/>
                <a:gd name="T1" fmla="*/ 0 h 397"/>
                <a:gd name="T2" fmla="*/ 63 w 137"/>
                <a:gd name="T3" fmla="*/ 0 h 397"/>
                <a:gd name="T4" fmla="*/ 76 w 137"/>
                <a:gd name="T5" fmla="*/ 2 h 397"/>
                <a:gd name="T6" fmla="*/ 83 w 137"/>
                <a:gd name="T7" fmla="*/ 3 h 397"/>
                <a:gd name="T8" fmla="*/ 84 w 137"/>
                <a:gd name="T9" fmla="*/ 3 h 397"/>
                <a:gd name="T10" fmla="*/ 84 w 137"/>
                <a:gd name="T11" fmla="*/ 289 h 397"/>
                <a:gd name="T12" fmla="*/ 86 w 137"/>
                <a:gd name="T13" fmla="*/ 306 h 397"/>
                <a:gd name="T14" fmla="*/ 90 w 137"/>
                <a:gd name="T15" fmla="*/ 317 h 397"/>
                <a:gd name="T16" fmla="*/ 98 w 137"/>
                <a:gd name="T17" fmla="*/ 324 h 397"/>
                <a:gd name="T18" fmla="*/ 109 w 137"/>
                <a:gd name="T19" fmla="*/ 325 h 397"/>
                <a:gd name="T20" fmla="*/ 114 w 137"/>
                <a:gd name="T21" fmla="*/ 325 h 397"/>
                <a:gd name="T22" fmla="*/ 119 w 137"/>
                <a:gd name="T23" fmla="*/ 324 h 397"/>
                <a:gd name="T24" fmla="*/ 137 w 137"/>
                <a:gd name="T25" fmla="*/ 390 h 397"/>
                <a:gd name="T26" fmla="*/ 116 w 137"/>
                <a:gd name="T27" fmla="*/ 395 h 397"/>
                <a:gd name="T28" fmla="*/ 88 w 137"/>
                <a:gd name="T29" fmla="*/ 397 h 397"/>
                <a:gd name="T30" fmla="*/ 74 w 137"/>
                <a:gd name="T31" fmla="*/ 397 h 397"/>
                <a:gd name="T32" fmla="*/ 60 w 137"/>
                <a:gd name="T33" fmla="*/ 394 h 397"/>
                <a:gd name="T34" fmla="*/ 46 w 137"/>
                <a:gd name="T35" fmla="*/ 388 h 397"/>
                <a:gd name="T36" fmla="*/ 32 w 137"/>
                <a:gd name="T37" fmla="*/ 380 h 397"/>
                <a:gd name="T38" fmla="*/ 20 w 137"/>
                <a:gd name="T39" fmla="*/ 366 h 397"/>
                <a:gd name="T40" fmla="*/ 9 w 137"/>
                <a:gd name="T41" fmla="*/ 348 h 397"/>
                <a:gd name="T42" fmla="*/ 4 w 137"/>
                <a:gd name="T43" fmla="*/ 324 h 397"/>
                <a:gd name="T44" fmla="*/ 0 w 137"/>
                <a:gd name="T45" fmla="*/ 292 h 397"/>
                <a:gd name="T46" fmla="*/ 0 w 137"/>
                <a:gd name="T47" fmla="*/ 3 h 397"/>
                <a:gd name="T48" fmla="*/ 2 w 137"/>
                <a:gd name="T49" fmla="*/ 3 h 397"/>
                <a:gd name="T50" fmla="*/ 4 w 137"/>
                <a:gd name="T51" fmla="*/ 3 h 397"/>
                <a:gd name="T52" fmla="*/ 11 w 137"/>
                <a:gd name="T53" fmla="*/ 2 h 397"/>
                <a:gd name="T54" fmla="*/ 23 w 137"/>
                <a:gd name="T55" fmla="*/ 0 h 397"/>
                <a:gd name="T56" fmla="*/ 42 w 137"/>
                <a:gd name="T5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397">
                  <a:moveTo>
                    <a:pt x="42" y="0"/>
                  </a:moveTo>
                  <a:lnTo>
                    <a:pt x="63" y="0"/>
                  </a:lnTo>
                  <a:lnTo>
                    <a:pt x="76" y="2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289"/>
                  </a:lnTo>
                  <a:lnTo>
                    <a:pt x="86" y="306"/>
                  </a:lnTo>
                  <a:lnTo>
                    <a:pt x="90" y="317"/>
                  </a:lnTo>
                  <a:lnTo>
                    <a:pt x="98" y="324"/>
                  </a:lnTo>
                  <a:lnTo>
                    <a:pt x="109" y="325"/>
                  </a:lnTo>
                  <a:lnTo>
                    <a:pt x="114" y="325"/>
                  </a:lnTo>
                  <a:lnTo>
                    <a:pt x="119" y="324"/>
                  </a:lnTo>
                  <a:lnTo>
                    <a:pt x="137" y="390"/>
                  </a:lnTo>
                  <a:lnTo>
                    <a:pt x="116" y="395"/>
                  </a:lnTo>
                  <a:lnTo>
                    <a:pt x="88" y="397"/>
                  </a:lnTo>
                  <a:lnTo>
                    <a:pt x="74" y="397"/>
                  </a:lnTo>
                  <a:lnTo>
                    <a:pt x="60" y="394"/>
                  </a:lnTo>
                  <a:lnTo>
                    <a:pt x="46" y="388"/>
                  </a:lnTo>
                  <a:lnTo>
                    <a:pt x="32" y="380"/>
                  </a:lnTo>
                  <a:lnTo>
                    <a:pt x="20" y="366"/>
                  </a:lnTo>
                  <a:lnTo>
                    <a:pt x="9" y="348"/>
                  </a:lnTo>
                  <a:lnTo>
                    <a:pt x="4" y="324"/>
                  </a:lnTo>
                  <a:lnTo>
                    <a:pt x="0" y="292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7"/>
            <p:cNvSpPr>
              <a:spLocks/>
            </p:cNvSpPr>
            <p:nvPr userDrawn="1"/>
          </p:nvSpPr>
          <p:spPr bwMode="auto">
            <a:xfrm>
              <a:off x="8655051" y="4195763"/>
              <a:ext cx="130175" cy="463550"/>
            </a:xfrm>
            <a:custGeom>
              <a:avLst/>
              <a:gdLst>
                <a:gd name="T0" fmla="*/ 42 w 82"/>
                <a:gd name="T1" fmla="*/ 0 h 292"/>
                <a:gd name="T2" fmla="*/ 63 w 82"/>
                <a:gd name="T3" fmla="*/ 0 h 292"/>
                <a:gd name="T4" fmla="*/ 75 w 82"/>
                <a:gd name="T5" fmla="*/ 2 h 292"/>
                <a:gd name="T6" fmla="*/ 81 w 82"/>
                <a:gd name="T7" fmla="*/ 5 h 292"/>
                <a:gd name="T8" fmla="*/ 82 w 82"/>
                <a:gd name="T9" fmla="*/ 5 h 292"/>
                <a:gd name="T10" fmla="*/ 82 w 82"/>
                <a:gd name="T11" fmla="*/ 292 h 292"/>
                <a:gd name="T12" fmla="*/ 0 w 82"/>
                <a:gd name="T13" fmla="*/ 292 h 292"/>
                <a:gd name="T14" fmla="*/ 2 w 82"/>
                <a:gd name="T15" fmla="*/ 5 h 292"/>
                <a:gd name="T16" fmla="*/ 4 w 82"/>
                <a:gd name="T17" fmla="*/ 5 h 292"/>
                <a:gd name="T18" fmla="*/ 11 w 82"/>
                <a:gd name="T19" fmla="*/ 2 h 292"/>
                <a:gd name="T20" fmla="*/ 23 w 82"/>
                <a:gd name="T21" fmla="*/ 0 h 292"/>
                <a:gd name="T22" fmla="*/ 42 w 82"/>
                <a:gd name="T2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292">
                  <a:moveTo>
                    <a:pt x="42" y="0"/>
                  </a:moveTo>
                  <a:lnTo>
                    <a:pt x="63" y="0"/>
                  </a:lnTo>
                  <a:lnTo>
                    <a:pt x="75" y="2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292"/>
                  </a:lnTo>
                  <a:lnTo>
                    <a:pt x="0" y="292"/>
                  </a:lnTo>
                  <a:lnTo>
                    <a:pt x="2" y="5"/>
                  </a:lnTo>
                  <a:lnTo>
                    <a:pt x="4" y="5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8"/>
            <p:cNvSpPr>
              <a:spLocks/>
            </p:cNvSpPr>
            <p:nvPr userDrawn="1"/>
          </p:nvSpPr>
          <p:spPr bwMode="auto">
            <a:xfrm>
              <a:off x="6584951" y="4043363"/>
              <a:ext cx="422275" cy="636588"/>
            </a:xfrm>
            <a:custGeom>
              <a:avLst/>
              <a:gdLst>
                <a:gd name="T0" fmla="*/ 166 w 266"/>
                <a:gd name="T1" fmla="*/ 0 h 401"/>
                <a:gd name="T2" fmla="*/ 199 w 266"/>
                <a:gd name="T3" fmla="*/ 3 h 401"/>
                <a:gd name="T4" fmla="*/ 225 w 266"/>
                <a:gd name="T5" fmla="*/ 10 h 401"/>
                <a:gd name="T6" fmla="*/ 248 w 266"/>
                <a:gd name="T7" fmla="*/ 21 h 401"/>
                <a:gd name="T8" fmla="*/ 266 w 266"/>
                <a:gd name="T9" fmla="*/ 35 h 401"/>
                <a:gd name="T10" fmla="*/ 224 w 266"/>
                <a:gd name="T11" fmla="*/ 91 h 401"/>
                <a:gd name="T12" fmla="*/ 204 w 266"/>
                <a:gd name="T13" fmla="*/ 77 h 401"/>
                <a:gd name="T14" fmla="*/ 183 w 266"/>
                <a:gd name="T15" fmla="*/ 72 h 401"/>
                <a:gd name="T16" fmla="*/ 166 w 266"/>
                <a:gd name="T17" fmla="*/ 70 h 401"/>
                <a:gd name="T18" fmla="*/ 143 w 266"/>
                <a:gd name="T19" fmla="*/ 73 h 401"/>
                <a:gd name="T20" fmla="*/ 124 w 266"/>
                <a:gd name="T21" fmla="*/ 84 h 401"/>
                <a:gd name="T22" fmla="*/ 110 w 266"/>
                <a:gd name="T23" fmla="*/ 100 h 401"/>
                <a:gd name="T24" fmla="*/ 101 w 266"/>
                <a:gd name="T25" fmla="*/ 121 h 401"/>
                <a:gd name="T26" fmla="*/ 94 w 266"/>
                <a:gd name="T27" fmla="*/ 145 h 401"/>
                <a:gd name="T28" fmla="*/ 91 w 266"/>
                <a:gd name="T29" fmla="*/ 171 h 401"/>
                <a:gd name="T30" fmla="*/ 89 w 266"/>
                <a:gd name="T31" fmla="*/ 199 h 401"/>
                <a:gd name="T32" fmla="*/ 91 w 266"/>
                <a:gd name="T33" fmla="*/ 229 h 401"/>
                <a:gd name="T34" fmla="*/ 94 w 266"/>
                <a:gd name="T35" fmla="*/ 257 h 401"/>
                <a:gd name="T36" fmla="*/ 103 w 266"/>
                <a:gd name="T37" fmla="*/ 282 h 401"/>
                <a:gd name="T38" fmla="*/ 113 w 266"/>
                <a:gd name="T39" fmla="*/ 301 h 401"/>
                <a:gd name="T40" fmla="*/ 127 w 266"/>
                <a:gd name="T41" fmla="*/ 317 h 401"/>
                <a:gd name="T42" fmla="*/ 147 w 266"/>
                <a:gd name="T43" fmla="*/ 327 h 401"/>
                <a:gd name="T44" fmla="*/ 168 w 266"/>
                <a:gd name="T45" fmla="*/ 329 h 401"/>
                <a:gd name="T46" fmla="*/ 199 w 266"/>
                <a:gd name="T47" fmla="*/ 325 h 401"/>
                <a:gd name="T48" fmla="*/ 227 w 266"/>
                <a:gd name="T49" fmla="*/ 318 h 401"/>
                <a:gd name="T50" fmla="*/ 260 w 266"/>
                <a:gd name="T51" fmla="*/ 383 h 401"/>
                <a:gd name="T52" fmla="*/ 239 w 266"/>
                <a:gd name="T53" fmla="*/ 388 h 401"/>
                <a:gd name="T54" fmla="*/ 215 w 266"/>
                <a:gd name="T55" fmla="*/ 394 h 401"/>
                <a:gd name="T56" fmla="*/ 190 w 266"/>
                <a:gd name="T57" fmla="*/ 399 h 401"/>
                <a:gd name="T58" fmla="*/ 166 w 266"/>
                <a:gd name="T59" fmla="*/ 401 h 401"/>
                <a:gd name="T60" fmla="*/ 134 w 266"/>
                <a:gd name="T61" fmla="*/ 397 h 401"/>
                <a:gd name="T62" fmla="*/ 105 w 266"/>
                <a:gd name="T63" fmla="*/ 392 h 401"/>
                <a:gd name="T64" fmla="*/ 78 w 266"/>
                <a:gd name="T65" fmla="*/ 380 h 401"/>
                <a:gd name="T66" fmla="*/ 56 w 266"/>
                <a:gd name="T67" fmla="*/ 364 h 401"/>
                <a:gd name="T68" fmla="*/ 36 w 266"/>
                <a:gd name="T69" fmla="*/ 343 h 401"/>
                <a:gd name="T70" fmla="*/ 21 w 266"/>
                <a:gd name="T71" fmla="*/ 315 h 401"/>
                <a:gd name="T72" fmla="*/ 8 w 266"/>
                <a:gd name="T73" fmla="*/ 283 h 401"/>
                <a:gd name="T74" fmla="*/ 1 w 266"/>
                <a:gd name="T75" fmla="*/ 245 h 401"/>
                <a:gd name="T76" fmla="*/ 0 w 266"/>
                <a:gd name="T77" fmla="*/ 199 h 401"/>
                <a:gd name="T78" fmla="*/ 1 w 266"/>
                <a:gd name="T79" fmla="*/ 156 h 401"/>
                <a:gd name="T80" fmla="*/ 10 w 266"/>
                <a:gd name="T81" fmla="*/ 119 h 401"/>
                <a:gd name="T82" fmla="*/ 22 w 266"/>
                <a:gd name="T83" fmla="*/ 86 h 401"/>
                <a:gd name="T84" fmla="*/ 38 w 266"/>
                <a:gd name="T85" fmla="*/ 59 h 401"/>
                <a:gd name="T86" fmla="*/ 59 w 266"/>
                <a:gd name="T87" fmla="*/ 38 h 401"/>
                <a:gd name="T88" fmla="*/ 82 w 266"/>
                <a:gd name="T89" fmla="*/ 21 h 401"/>
                <a:gd name="T90" fmla="*/ 108 w 266"/>
                <a:gd name="T91" fmla="*/ 9 h 401"/>
                <a:gd name="T92" fmla="*/ 136 w 266"/>
                <a:gd name="T93" fmla="*/ 3 h 401"/>
                <a:gd name="T94" fmla="*/ 166 w 266"/>
                <a:gd name="T95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6" h="401">
                  <a:moveTo>
                    <a:pt x="166" y="0"/>
                  </a:moveTo>
                  <a:lnTo>
                    <a:pt x="199" y="3"/>
                  </a:lnTo>
                  <a:lnTo>
                    <a:pt x="225" y="10"/>
                  </a:lnTo>
                  <a:lnTo>
                    <a:pt x="248" y="21"/>
                  </a:lnTo>
                  <a:lnTo>
                    <a:pt x="266" y="35"/>
                  </a:lnTo>
                  <a:lnTo>
                    <a:pt x="224" y="91"/>
                  </a:lnTo>
                  <a:lnTo>
                    <a:pt x="204" y="77"/>
                  </a:lnTo>
                  <a:lnTo>
                    <a:pt x="183" y="72"/>
                  </a:lnTo>
                  <a:lnTo>
                    <a:pt x="166" y="70"/>
                  </a:lnTo>
                  <a:lnTo>
                    <a:pt x="143" y="73"/>
                  </a:lnTo>
                  <a:lnTo>
                    <a:pt x="124" y="84"/>
                  </a:lnTo>
                  <a:lnTo>
                    <a:pt x="110" y="100"/>
                  </a:lnTo>
                  <a:lnTo>
                    <a:pt x="101" y="121"/>
                  </a:lnTo>
                  <a:lnTo>
                    <a:pt x="94" y="145"/>
                  </a:lnTo>
                  <a:lnTo>
                    <a:pt x="91" y="171"/>
                  </a:lnTo>
                  <a:lnTo>
                    <a:pt x="89" y="199"/>
                  </a:lnTo>
                  <a:lnTo>
                    <a:pt x="91" y="229"/>
                  </a:lnTo>
                  <a:lnTo>
                    <a:pt x="94" y="257"/>
                  </a:lnTo>
                  <a:lnTo>
                    <a:pt x="103" y="282"/>
                  </a:lnTo>
                  <a:lnTo>
                    <a:pt x="113" y="301"/>
                  </a:lnTo>
                  <a:lnTo>
                    <a:pt x="127" y="317"/>
                  </a:lnTo>
                  <a:lnTo>
                    <a:pt x="147" y="327"/>
                  </a:lnTo>
                  <a:lnTo>
                    <a:pt x="168" y="329"/>
                  </a:lnTo>
                  <a:lnTo>
                    <a:pt x="199" y="325"/>
                  </a:lnTo>
                  <a:lnTo>
                    <a:pt x="227" y="318"/>
                  </a:lnTo>
                  <a:lnTo>
                    <a:pt x="260" y="383"/>
                  </a:lnTo>
                  <a:lnTo>
                    <a:pt x="239" y="388"/>
                  </a:lnTo>
                  <a:lnTo>
                    <a:pt x="215" y="394"/>
                  </a:lnTo>
                  <a:lnTo>
                    <a:pt x="190" y="399"/>
                  </a:lnTo>
                  <a:lnTo>
                    <a:pt x="166" y="401"/>
                  </a:lnTo>
                  <a:lnTo>
                    <a:pt x="134" y="397"/>
                  </a:lnTo>
                  <a:lnTo>
                    <a:pt x="105" y="392"/>
                  </a:lnTo>
                  <a:lnTo>
                    <a:pt x="78" y="380"/>
                  </a:lnTo>
                  <a:lnTo>
                    <a:pt x="56" y="364"/>
                  </a:lnTo>
                  <a:lnTo>
                    <a:pt x="36" y="343"/>
                  </a:lnTo>
                  <a:lnTo>
                    <a:pt x="21" y="315"/>
                  </a:lnTo>
                  <a:lnTo>
                    <a:pt x="8" y="283"/>
                  </a:lnTo>
                  <a:lnTo>
                    <a:pt x="1" y="245"/>
                  </a:lnTo>
                  <a:lnTo>
                    <a:pt x="0" y="199"/>
                  </a:lnTo>
                  <a:lnTo>
                    <a:pt x="1" y="156"/>
                  </a:lnTo>
                  <a:lnTo>
                    <a:pt x="10" y="119"/>
                  </a:lnTo>
                  <a:lnTo>
                    <a:pt x="22" y="86"/>
                  </a:lnTo>
                  <a:lnTo>
                    <a:pt x="38" y="59"/>
                  </a:lnTo>
                  <a:lnTo>
                    <a:pt x="59" y="38"/>
                  </a:lnTo>
                  <a:lnTo>
                    <a:pt x="82" y="21"/>
                  </a:lnTo>
                  <a:lnTo>
                    <a:pt x="108" y="9"/>
                  </a:lnTo>
                  <a:lnTo>
                    <a:pt x="136" y="3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9"/>
            <p:cNvSpPr>
              <a:spLocks noEditPoints="1"/>
            </p:cNvSpPr>
            <p:nvPr userDrawn="1"/>
          </p:nvSpPr>
          <p:spPr bwMode="auto">
            <a:xfrm>
              <a:off x="6092826" y="4043363"/>
              <a:ext cx="406400" cy="630238"/>
            </a:xfrm>
            <a:custGeom>
              <a:avLst/>
              <a:gdLst>
                <a:gd name="T0" fmla="*/ 156 w 256"/>
                <a:gd name="T1" fmla="*/ 152 h 397"/>
                <a:gd name="T2" fmla="*/ 137 w 256"/>
                <a:gd name="T3" fmla="*/ 152 h 397"/>
                <a:gd name="T4" fmla="*/ 117 w 256"/>
                <a:gd name="T5" fmla="*/ 159 h 397"/>
                <a:gd name="T6" fmla="*/ 103 w 256"/>
                <a:gd name="T7" fmla="*/ 175 h 397"/>
                <a:gd name="T8" fmla="*/ 93 w 256"/>
                <a:gd name="T9" fmla="*/ 196 h 397"/>
                <a:gd name="T10" fmla="*/ 86 w 256"/>
                <a:gd name="T11" fmla="*/ 220 h 397"/>
                <a:gd name="T12" fmla="*/ 84 w 256"/>
                <a:gd name="T13" fmla="*/ 247 h 397"/>
                <a:gd name="T14" fmla="*/ 86 w 256"/>
                <a:gd name="T15" fmla="*/ 273 h 397"/>
                <a:gd name="T16" fmla="*/ 93 w 256"/>
                <a:gd name="T17" fmla="*/ 297 h 397"/>
                <a:gd name="T18" fmla="*/ 102 w 256"/>
                <a:gd name="T19" fmla="*/ 313 h 397"/>
                <a:gd name="T20" fmla="*/ 112 w 256"/>
                <a:gd name="T21" fmla="*/ 324 h 397"/>
                <a:gd name="T22" fmla="*/ 124 w 256"/>
                <a:gd name="T23" fmla="*/ 331 h 397"/>
                <a:gd name="T24" fmla="*/ 135 w 256"/>
                <a:gd name="T25" fmla="*/ 332 h 397"/>
                <a:gd name="T26" fmla="*/ 154 w 256"/>
                <a:gd name="T27" fmla="*/ 329 h 397"/>
                <a:gd name="T28" fmla="*/ 172 w 256"/>
                <a:gd name="T29" fmla="*/ 317 h 397"/>
                <a:gd name="T30" fmla="*/ 172 w 256"/>
                <a:gd name="T31" fmla="*/ 156 h 397"/>
                <a:gd name="T32" fmla="*/ 156 w 256"/>
                <a:gd name="T33" fmla="*/ 152 h 397"/>
                <a:gd name="T34" fmla="*/ 214 w 256"/>
                <a:gd name="T35" fmla="*/ 0 h 397"/>
                <a:gd name="T36" fmla="*/ 235 w 256"/>
                <a:gd name="T37" fmla="*/ 0 h 397"/>
                <a:gd name="T38" fmla="*/ 247 w 256"/>
                <a:gd name="T39" fmla="*/ 2 h 397"/>
                <a:gd name="T40" fmla="*/ 254 w 256"/>
                <a:gd name="T41" fmla="*/ 3 h 397"/>
                <a:gd name="T42" fmla="*/ 256 w 256"/>
                <a:gd name="T43" fmla="*/ 3 h 397"/>
                <a:gd name="T44" fmla="*/ 256 w 256"/>
                <a:gd name="T45" fmla="*/ 388 h 397"/>
                <a:gd name="T46" fmla="*/ 193 w 256"/>
                <a:gd name="T47" fmla="*/ 388 h 397"/>
                <a:gd name="T48" fmla="*/ 184 w 256"/>
                <a:gd name="T49" fmla="*/ 373 h 397"/>
                <a:gd name="T50" fmla="*/ 165 w 256"/>
                <a:gd name="T51" fmla="*/ 385 h 397"/>
                <a:gd name="T52" fmla="*/ 145 w 256"/>
                <a:gd name="T53" fmla="*/ 394 h 397"/>
                <a:gd name="T54" fmla="*/ 124 w 256"/>
                <a:gd name="T55" fmla="*/ 397 h 397"/>
                <a:gd name="T56" fmla="*/ 91 w 256"/>
                <a:gd name="T57" fmla="*/ 390 h 397"/>
                <a:gd name="T58" fmla="*/ 61 w 256"/>
                <a:gd name="T59" fmla="*/ 374 h 397"/>
                <a:gd name="T60" fmla="*/ 35 w 256"/>
                <a:gd name="T61" fmla="*/ 352 h 397"/>
                <a:gd name="T62" fmla="*/ 16 w 256"/>
                <a:gd name="T63" fmla="*/ 318 h 397"/>
                <a:gd name="T64" fmla="*/ 4 w 256"/>
                <a:gd name="T65" fmla="*/ 282 h 397"/>
                <a:gd name="T66" fmla="*/ 0 w 256"/>
                <a:gd name="T67" fmla="*/ 243 h 397"/>
                <a:gd name="T68" fmla="*/ 0 w 256"/>
                <a:gd name="T69" fmla="*/ 210 h 397"/>
                <a:gd name="T70" fmla="*/ 7 w 256"/>
                <a:gd name="T71" fmla="*/ 180 h 397"/>
                <a:gd name="T72" fmla="*/ 19 w 256"/>
                <a:gd name="T73" fmla="*/ 156 h 397"/>
                <a:gd name="T74" fmla="*/ 35 w 256"/>
                <a:gd name="T75" fmla="*/ 136 h 397"/>
                <a:gd name="T76" fmla="*/ 54 w 256"/>
                <a:gd name="T77" fmla="*/ 119 h 397"/>
                <a:gd name="T78" fmla="*/ 75 w 256"/>
                <a:gd name="T79" fmla="*/ 107 h 397"/>
                <a:gd name="T80" fmla="*/ 100 w 256"/>
                <a:gd name="T81" fmla="*/ 98 h 397"/>
                <a:gd name="T82" fmla="*/ 124 w 256"/>
                <a:gd name="T83" fmla="*/ 93 h 397"/>
                <a:gd name="T84" fmla="*/ 149 w 256"/>
                <a:gd name="T85" fmla="*/ 91 h 397"/>
                <a:gd name="T86" fmla="*/ 158 w 256"/>
                <a:gd name="T87" fmla="*/ 93 h 397"/>
                <a:gd name="T88" fmla="*/ 165 w 256"/>
                <a:gd name="T89" fmla="*/ 93 h 397"/>
                <a:gd name="T90" fmla="*/ 172 w 256"/>
                <a:gd name="T91" fmla="*/ 94 h 397"/>
                <a:gd name="T92" fmla="*/ 172 w 256"/>
                <a:gd name="T93" fmla="*/ 3 h 397"/>
                <a:gd name="T94" fmla="*/ 173 w 256"/>
                <a:gd name="T95" fmla="*/ 3 h 397"/>
                <a:gd name="T96" fmla="*/ 180 w 256"/>
                <a:gd name="T97" fmla="*/ 2 h 397"/>
                <a:gd name="T98" fmla="*/ 194 w 256"/>
                <a:gd name="T99" fmla="*/ 0 h 397"/>
                <a:gd name="T100" fmla="*/ 214 w 256"/>
                <a:gd name="T10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6" h="397">
                  <a:moveTo>
                    <a:pt x="156" y="152"/>
                  </a:moveTo>
                  <a:lnTo>
                    <a:pt x="137" y="152"/>
                  </a:lnTo>
                  <a:lnTo>
                    <a:pt x="117" y="159"/>
                  </a:lnTo>
                  <a:lnTo>
                    <a:pt x="103" y="175"/>
                  </a:lnTo>
                  <a:lnTo>
                    <a:pt x="93" y="196"/>
                  </a:lnTo>
                  <a:lnTo>
                    <a:pt x="86" y="220"/>
                  </a:lnTo>
                  <a:lnTo>
                    <a:pt x="84" y="247"/>
                  </a:lnTo>
                  <a:lnTo>
                    <a:pt x="86" y="273"/>
                  </a:lnTo>
                  <a:lnTo>
                    <a:pt x="93" y="297"/>
                  </a:lnTo>
                  <a:lnTo>
                    <a:pt x="102" y="313"/>
                  </a:lnTo>
                  <a:lnTo>
                    <a:pt x="112" y="324"/>
                  </a:lnTo>
                  <a:lnTo>
                    <a:pt x="124" y="331"/>
                  </a:lnTo>
                  <a:lnTo>
                    <a:pt x="135" y="332"/>
                  </a:lnTo>
                  <a:lnTo>
                    <a:pt x="154" y="329"/>
                  </a:lnTo>
                  <a:lnTo>
                    <a:pt x="172" y="317"/>
                  </a:lnTo>
                  <a:lnTo>
                    <a:pt x="172" y="156"/>
                  </a:lnTo>
                  <a:lnTo>
                    <a:pt x="156" y="152"/>
                  </a:lnTo>
                  <a:close/>
                  <a:moveTo>
                    <a:pt x="214" y="0"/>
                  </a:moveTo>
                  <a:lnTo>
                    <a:pt x="235" y="0"/>
                  </a:lnTo>
                  <a:lnTo>
                    <a:pt x="247" y="2"/>
                  </a:lnTo>
                  <a:lnTo>
                    <a:pt x="254" y="3"/>
                  </a:lnTo>
                  <a:lnTo>
                    <a:pt x="256" y="3"/>
                  </a:lnTo>
                  <a:lnTo>
                    <a:pt x="256" y="388"/>
                  </a:lnTo>
                  <a:lnTo>
                    <a:pt x="193" y="388"/>
                  </a:lnTo>
                  <a:lnTo>
                    <a:pt x="184" y="373"/>
                  </a:lnTo>
                  <a:lnTo>
                    <a:pt x="165" y="385"/>
                  </a:lnTo>
                  <a:lnTo>
                    <a:pt x="145" y="394"/>
                  </a:lnTo>
                  <a:lnTo>
                    <a:pt x="124" y="397"/>
                  </a:lnTo>
                  <a:lnTo>
                    <a:pt x="91" y="390"/>
                  </a:lnTo>
                  <a:lnTo>
                    <a:pt x="61" y="374"/>
                  </a:lnTo>
                  <a:lnTo>
                    <a:pt x="35" y="352"/>
                  </a:lnTo>
                  <a:lnTo>
                    <a:pt x="16" y="318"/>
                  </a:lnTo>
                  <a:lnTo>
                    <a:pt x="4" y="282"/>
                  </a:lnTo>
                  <a:lnTo>
                    <a:pt x="0" y="243"/>
                  </a:lnTo>
                  <a:lnTo>
                    <a:pt x="0" y="210"/>
                  </a:lnTo>
                  <a:lnTo>
                    <a:pt x="7" y="180"/>
                  </a:lnTo>
                  <a:lnTo>
                    <a:pt x="19" y="156"/>
                  </a:lnTo>
                  <a:lnTo>
                    <a:pt x="35" y="136"/>
                  </a:lnTo>
                  <a:lnTo>
                    <a:pt x="54" y="119"/>
                  </a:lnTo>
                  <a:lnTo>
                    <a:pt x="75" y="107"/>
                  </a:lnTo>
                  <a:lnTo>
                    <a:pt x="100" y="98"/>
                  </a:lnTo>
                  <a:lnTo>
                    <a:pt x="124" y="93"/>
                  </a:lnTo>
                  <a:lnTo>
                    <a:pt x="149" y="91"/>
                  </a:lnTo>
                  <a:lnTo>
                    <a:pt x="158" y="93"/>
                  </a:lnTo>
                  <a:lnTo>
                    <a:pt x="165" y="93"/>
                  </a:lnTo>
                  <a:lnTo>
                    <a:pt x="172" y="94"/>
                  </a:lnTo>
                  <a:lnTo>
                    <a:pt x="172" y="3"/>
                  </a:lnTo>
                  <a:lnTo>
                    <a:pt x="173" y="3"/>
                  </a:lnTo>
                  <a:lnTo>
                    <a:pt x="180" y="2"/>
                  </a:lnTo>
                  <a:lnTo>
                    <a:pt x="194" y="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0"/>
            <p:cNvSpPr>
              <a:spLocks noEditPoints="1"/>
            </p:cNvSpPr>
            <p:nvPr userDrawn="1"/>
          </p:nvSpPr>
          <p:spPr bwMode="auto">
            <a:xfrm>
              <a:off x="4181476" y="4187825"/>
              <a:ext cx="371475" cy="488950"/>
            </a:xfrm>
            <a:custGeom>
              <a:avLst/>
              <a:gdLst>
                <a:gd name="T0" fmla="*/ 111 w 234"/>
                <a:gd name="T1" fmla="*/ 61 h 308"/>
                <a:gd name="T2" fmla="*/ 90 w 234"/>
                <a:gd name="T3" fmla="*/ 84 h 308"/>
                <a:gd name="T4" fmla="*/ 82 w 234"/>
                <a:gd name="T5" fmla="*/ 112 h 308"/>
                <a:gd name="T6" fmla="*/ 80 w 234"/>
                <a:gd name="T7" fmla="*/ 131 h 308"/>
                <a:gd name="T8" fmla="*/ 171 w 234"/>
                <a:gd name="T9" fmla="*/ 135 h 308"/>
                <a:gd name="T10" fmla="*/ 167 w 234"/>
                <a:gd name="T11" fmla="*/ 93 h 308"/>
                <a:gd name="T12" fmla="*/ 146 w 234"/>
                <a:gd name="T13" fmla="*/ 61 h 308"/>
                <a:gd name="T14" fmla="*/ 131 w 234"/>
                <a:gd name="T15" fmla="*/ 58 h 308"/>
                <a:gd name="T16" fmla="*/ 127 w 234"/>
                <a:gd name="T17" fmla="*/ 0 h 308"/>
                <a:gd name="T18" fmla="*/ 167 w 234"/>
                <a:gd name="T19" fmla="*/ 7 h 308"/>
                <a:gd name="T20" fmla="*/ 202 w 234"/>
                <a:gd name="T21" fmla="*/ 28 h 308"/>
                <a:gd name="T22" fmla="*/ 225 w 234"/>
                <a:gd name="T23" fmla="*/ 66 h 308"/>
                <a:gd name="T24" fmla="*/ 234 w 234"/>
                <a:gd name="T25" fmla="*/ 128 h 308"/>
                <a:gd name="T26" fmla="*/ 232 w 234"/>
                <a:gd name="T27" fmla="*/ 166 h 308"/>
                <a:gd name="T28" fmla="*/ 229 w 234"/>
                <a:gd name="T29" fmla="*/ 182 h 308"/>
                <a:gd name="T30" fmla="*/ 185 w 234"/>
                <a:gd name="T31" fmla="*/ 184 h 308"/>
                <a:gd name="T32" fmla="*/ 80 w 234"/>
                <a:gd name="T33" fmla="*/ 184 h 308"/>
                <a:gd name="T34" fmla="*/ 80 w 234"/>
                <a:gd name="T35" fmla="*/ 194 h 308"/>
                <a:gd name="T36" fmla="*/ 83 w 234"/>
                <a:gd name="T37" fmla="*/ 213 h 308"/>
                <a:gd name="T38" fmla="*/ 101 w 234"/>
                <a:gd name="T39" fmla="*/ 234 h 308"/>
                <a:gd name="T40" fmla="*/ 138 w 234"/>
                <a:gd name="T41" fmla="*/ 247 h 308"/>
                <a:gd name="T42" fmla="*/ 180 w 234"/>
                <a:gd name="T43" fmla="*/ 241 h 308"/>
                <a:gd name="T44" fmla="*/ 222 w 234"/>
                <a:gd name="T45" fmla="*/ 226 h 308"/>
                <a:gd name="T46" fmla="*/ 187 w 234"/>
                <a:gd name="T47" fmla="*/ 299 h 308"/>
                <a:gd name="T48" fmla="*/ 131 w 234"/>
                <a:gd name="T49" fmla="*/ 308 h 308"/>
                <a:gd name="T50" fmla="*/ 131 w 234"/>
                <a:gd name="T51" fmla="*/ 308 h 308"/>
                <a:gd name="T52" fmla="*/ 76 w 234"/>
                <a:gd name="T53" fmla="*/ 297 h 308"/>
                <a:gd name="T54" fmla="*/ 36 w 234"/>
                <a:gd name="T55" fmla="*/ 271 h 308"/>
                <a:gd name="T56" fmla="*/ 10 w 234"/>
                <a:gd name="T57" fmla="*/ 224 h 308"/>
                <a:gd name="T58" fmla="*/ 0 w 234"/>
                <a:gd name="T59" fmla="*/ 154 h 308"/>
                <a:gd name="T60" fmla="*/ 3 w 234"/>
                <a:gd name="T61" fmla="*/ 115 h 308"/>
                <a:gd name="T62" fmla="*/ 21 w 234"/>
                <a:gd name="T63" fmla="*/ 58 h 308"/>
                <a:gd name="T64" fmla="*/ 54 w 234"/>
                <a:gd name="T65" fmla="*/ 21 h 308"/>
                <a:gd name="T66" fmla="*/ 99 w 234"/>
                <a:gd name="T67" fmla="*/ 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4" h="308">
                  <a:moveTo>
                    <a:pt x="131" y="58"/>
                  </a:moveTo>
                  <a:lnTo>
                    <a:pt x="111" y="61"/>
                  </a:lnTo>
                  <a:lnTo>
                    <a:pt x="99" y="70"/>
                  </a:lnTo>
                  <a:lnTo>
                    <a:pt x="90" y="84"/>
                  </a:lnTo>
                  <a:lnTo>
                    <a:pt x="85" y="98"/>
                  </a:lnTo>
                  <a:lnTo>
                    <a:pt x="82" y="112"/>
                  </a:lnTo>
                  <a:lnTo>
                    <a:pt x="80" y="122"/>
                  </a:lnTo>
                  <a:lnTo>
                    <a:pt x="80" y="131"/>
                  </a:lnTo>
                  <a:lnTo>
                    <a:pt x="82" y="135"/>
                  </a:lnTo>
                  <a:lnTo>
                    <a:pt x="171" y="135"/>
                  </a:lnTo>
                  <a:lnTo>
                    <a:pt x="171" y="117"/>
                  </a:lnTo>
                  <a:lnTo>
                    <a:pt x="167" y="93"/>
                  </a:lnTo>
                  <a:lnTo>
                    <a:pt x="159" y="73"/>
                  </a:lnTo>
                  <a:lnTo>
                    <a:pt x="146" y="61"/>
                  </a:lnTo>
                  <a:lnTo>
                    <a:pt x="131" y="58"/>
                  </a:lnTo>
                  <a:lnTo>
                    <a:pt x="131" y="58"/>
                  </a:lnTo>
                  <a:close/>
                  <a:moveTo>
                    <a:pt x="125" y="0"/>
                  </a:moveTo>
                  <a:lnTo>
                    <a:pt x="127" y="0"/>
                  </a:lnTo>
                  <a:lnTo>
                    <a:pt x="148" y="2"/>
                  </a:lnTo>
                  <a:lnTo>
                    <a:pt x="167" y="7"/>
                  </a:lnTo>
                  <a:lnTo>
                    <a:pt x="187" y="16"/>
                  </a:lnTo>
                  <a:lnTo>
                    <a:pt x="202" y="28"/>
                  </a:lnTo>
                  <a:lnTo>
                    <a:pt x="215" y="45"/>
                  </a:lnTo>
                  <a:lnTo>
                    <a:pt x="225" y="66"/>
                  </a:lnTo>
                  <a:lnTo>
                    <a:pt x="232" y="94"/>
                  </a:lnTo>
                  <a:lnTo>
                    <a:pt x="234" y="128"/>
                  </a:lnTo>
                  <a:lnTo>
                    <a:pt x="234" y="149"/>
                  </a:lnTo>
                  <a:lnTo>
                    <a:pt x="232" y="166"/>
                  </a:lnTo>
                  <a:lnTo>
                    <a:pt x="230" y="177"/>
                  </a:lnTo>
                  <a:lnTo>
                    <a:pt x="229" y="182"/>
                  </a:lnTo>
                  <a:lnTo>
                    <a:pt x="211" y="184"/>
                  </a:lnTo>
                  <a:lnTo>
                    <a:pt x="185" y="184"/>
                  </a:lnTo>
                  <a:lnTo>
                    <a:pt x="157" y="184"/>
                  </a:lnTo>
                  <a:lnTo>
                    <a:pt x="80" y="184"/>
                  </a:lnTo>
                  <a:lnTo>
                    <a:pt x="80" y="187"/>
                  </a:lnTo>
                  <a:lnTo>
                    <a:pt x="80" y="194"/>
                  </a:lnTo>
                  <a:lnTo>
                    <a:pt x="80" y="203"/>
                  </a:lnTo>
                  <a:lnTo>
                    <a:pt x="83" y="213"/>
                  </a:lnTo>
                  <a:lnTo>
                    <a:pt x="90" y="226"/>
                  </a:lnTo>
                  <a:lnTo>
                    <a:pt x="101" y="234"/>
                  </a:lnTo>
                  <a:lnTo>
                    <a:pt x="117" y="243"/>
                  </a:lnTo>
                  <a:lnTo>
                    <a:pt x="138" y="247"/>
                  </a:lnTo>
                  <a:lnTo>
                    <a:pt x="160" y="247"/>
                  </a:lnTo>
                  <a:lnTo>
                    <a:pt x="180" y="241"/>
                  </a:lnTo>
                  <a:lnTo>
                    <a:pt x="199" y="234"/>
                  </a:lnTo>
                  <a:lnTo>
                    <a:pt x="222" y="226"/>
                  </a:lnTo>
                  <a:lnTo>
                    <a:pt x="222" y="287"/>
                  </a:lnTo>
                  <a:lnTo>
                    <a:pt x="187" y="299"/>
                  </a:lnTo>
                  <a:lnTo>
                    <a:pt x="155" y="306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03" y="304"/>
                  </a:lnTo>
                  <a:lnTo>
                    <a:pt x="76" y="297"/>
                  </a:lnTo>
                  <a:lnTo>
                    <a:pt x="55" y="287"/>
                  </a:lnTo>
                  <a:lnTo>
                    <a:pt x="36" y="271"/>
                  </a:lnTo>
                  <a:lnTo>
                    <a:pt x="22" y="250"/>
                  </a:lnTo>
                  <a:lnTo>
                    <a:pt x="10" y="224"/>
                  </a:lnTo>
                  <a:lnTo>
                    <a:pt x="3" y="192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3" y="115"/>
                  </a:lnTo>
                  <a:lnTo>
                    <a:pt x="10" y="84"/>
                  </a:lnTo>
                  <a:lnTo>
                    <a:pt x="21" y="58"/>
                  </a:lnTo>
                  <a:lnTo>
                    <a:pt x="35" y="37"/>
                  </a:lnTo>
                  <a:lnTo>
                    <a:pt x="54" y="21"/>
                  </a:lnTo>
                  <a:lnTo>
                    <a:pt x="75" y="10"/>
                  </a:lnTo>
                  <a:lnTo>
                    <a:pt x="99" y="3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1"/>
            <p:cNvSpPr>
              <a:spLocks/>
            </p:cNvSpPr>
            <p:nvPr userDrawn="1"/>
          </p:nvSpPr>
          <p:spPr bwMode="auto">
            <a:xfrm>
              <a:off x="3332163" y="4029075"/>
              <a:ext cx="415925" cy="633413"/>
            </a:xfrm>
            <a:custGeom>
              <a:avLst/>
              <a:gdLst>
                <a:gd name="T0" fmla="*/ 162 w 262"/>
                <a:gd name="T1" fmla="*/ 0 h 399"/>
                <a:gd name="T2" fmla="*/ 197 w 262"/>
                <a:gd name="T3" fmla="*/ 2 h 399"/>
                <a:gd name="T4" fmla="*/ 225 w 262"/>
                <a:gd name="T5" fmla="*/ 5 h 399"/>
                <a:gd name="T6" fmla="*/ 244 w 262"/>
                <a:gd name="T7" fmla="*/ 11 h 399"/>
                <a:gd name="T8" fmla="*/ 257 w 262"/>
                <a:gd name="T9" fmla="*/ 16 h 399"/>
                <a:gd name="T10" fmla="*/ 262 w 262"/>
                <a:gd name="T11" fmla="*/ 18 h 399"/>
                <a:gd name="T12" fmla="*/ 243 w 262"/>
                <a:gd name="T13" fmla="*/ 79 h 399"/>
                <a:gd name="T14" fmla="*/ 239 w 262"/>
                <a:gd name="T15" fmla="*/ 79 h 399"/>
                <a:gd name="T16" fmla="*/ 230 w 262"/>
                <a:gd name="T17" fmla="*/ 75 h 399"/>
                <a:gd name="T18" fmla="*/ 213 w 262"/>
                <a:gd name="T19" fmla="*/ 70 h 399"/>
                <a:gd name="T20" fmla="*/ 188 w 262"/>
                <a:gd name="T21" fmla="*/ 67 h 399"/>
                <a:gd name="T22" fmla="*/ 157 w 262"/>
                <a:gd name="T23" fmla="*/ 67 h 399"/>
                <a:gd name="T24" fmla="*/ 136 w 262"/>
                <a:gd name="T25" fmla="*/ 67 h 399"/>
                <a:gd name="T26" fmla="*/ 117 w 262"/>
                <a:gd name="T27" fmla="*/ 68 h 399"/>
                <a:gd name="T28" fmla="*/ 99 w 262"/>
                <a:gd name="T29" fmla="*/ 74 h 399"/>
                <a:gd name="T30" fmla="*/ 89 w 262"/>
                <a:gd name="T31" fmla="*/ 81 h 399"/>
                <a:gd name="T32" fmla="*/ 89 w 262"/>
                <a:gd name="T33" fmla="*/ 168 h 399"/>
                <a:gd name="T34" fmla="*/ 215 w 262"/>
                <a:gd name="T35" fmla="*/ 168 h 399"/>
                <a:gd name="T36" fmla="*/ 215 w 262"/>
                <a:gd name="T37" fmla="*/ 236 h 399"/>
                <a:gd name="T38" fmla="*/ 89 w 262"/>
                <a:gd name="T39" fmla="*/ 236 h 399"/>
                <a:gd name="T40" fmla="*/ 87 w 262"/>
                <a:gd name="T41" fmla="*/ 399 h 399"/>
                <a:gd name="T42" fmla="*/ 0 w 262"/>
                <a:gd name="T43" fmla="*/ 399 h 399"/>
                <a:gd name="T44" fmla="*/ 0 w 262"/>
                <a:gd name="T45" fmla="*/ 33 h 399"/>
                <a:gd name="T46" fmla="*/ 3 w 262"/>
                <a:gd name="T47" fmla="*/ 32 h 399"/>
                <a:gd name="T48" fmla="*/ 10 w 262"/>
                <a:gd name="T49" fmla="*/ 26 h 399"/>
                <a:gd name="T50" fmla="*/ 26 w 262"/>
                <a:gd name="T51" fmla="*/ 19 h 399"/>
                <a:gd name="T52" fmla="*/ 47 w 262"/>
                <a:gd name="T53" fmla="*/ 12 h 399"/>
                <a:gd name="T54" fmla="*/ 78 w 262"/>
                <a:gd name="T55" fmla="*/ 5 h 399"/>
                <a:gd name="T56" fmla="*/ 118 w 262"/>
                <a:gd name="T57" fmla="*/ 2 h 399"/>
                <a:gd name="T58" fmla="*/ 162 w 262"/>
                <a:gd name="T59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2" h="399">
                  <a:moveTo>
                    <a:pt x="162" y="0"/>
                  </a:moveTo>
                  <a:lnTo>
                    <a:pt x="197" y="2"/>
                  </a:lnTo>
                  <a:lnTo>
                    <a:pt x="225" y="5"/>
                  </a:lnTo>
                  <a:lnTo>
                    <a:pt x="244" y="11"/>
                  </a:lnTo>
                  <a:lnTo>
                    <a:pt x="257" y="16"/>
                  </a:lnTo>
                  <a:lnTo>
                    <a:pt x="262" y="18"/>
                  </a:lnTo>
                  <a:lnTo>
                    <a:pt x="243" y="79"/>
                  </a:lnTo>
                  <a:lnTo>
                    <a:pt x="239" y="79"/>
                  </a:lnTo>
                  <a:lnTo>
                    <a:pt x="230" y="75"/>
                  </a:lnTo>
                  <a:lnTo>
                    <a:pt x="213" y="70"/>
                  </a:lnTo>
                  <a:lnTo>
                    <a:pt x="188" y="67"/>
                  </a:lnTo>
                  <a:lnTo>
                    <a:pt x="157" y="67"/>
                  </a:lnTo>
                  <a:lnTo>
                    <a:pt x="136" y="67"/>
                  </a:lnTo>
                  <a:lnTo>
                    <a:pt x="117" y="68"/>
                  </a:lnTo>
                  <a:lnTo>
                    <a:pt x="99" y="74"/>
                  </a:lnTo>
                  <a:lnTo>
                    <a:pt x="89" y="81"/>
                  </a:lnTo>
                  <a:lnTo>
                    <a:pt x="89" y="168"/>
                  </a:lnTo>
                  <a:lnTo>
                    <a:pt x="215" y="168"/>
                  </a:lnTo>
                  <a:lnTo>
                    <a:pt x="215" y="236"/>
                  </a:lnTo>
                  <a:lnTo>
                    <a:pt x="89" y="236"/>
                  </a:lnTo>
                  <a:lnTo>
                    <a:pt x="87" y="399"/>
                  </a:lnTo>
                  <a:lnTo>
                    <a:pt x="0" y="399"/>
                  </a:lnTo>
                  <a:lnTo>
                    <a:pt x="0" y="33"/>
                  </a:lnTo>
                  <a:lnTo>
                    <a:pt x="3" y="32"/>
                  </a:lnTo>
                  <a:lnTo>
                    <a:pt x="10" y="26"/>
                  </a:lnTo>
                  <a:lnTo>
                    <a:pt x="26" y="19"/>
                  </a:lnTo>
                  <a:lnTo>
                    <a:pt x="47" y="12"/>
                  </a:lnTo>
                  <a:lnTo>
                    <a:pt x="78" y="5"/>
                  </a:lnTo>
                  <a:lnTo>
                    <a:pt x="118" y="2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2"/>
            <p:cNvSpPr>
              <a:spLocks/>
            </p:cNvSpPr>
            <p:nvPr userDrawn="1"/>
          </p:nvSpPr>
          <p:spPr bwMode="auto">
            <a:xfrm>
              <a:off x="10212388" y="4037013"/>
              <a:ext cx="136525" cy="136525"/>
            </a:xfrm>
            <a:custGeom>
              <a:avLst/>
              <a:gdLst>
                <a:gd name="T0" fmla="*/ 42 w 86"/>
                <a:gd name="T1" fmla="*/ 0 h 86"/>
                <a:gd name="T2" fmla="*/ 59 w 86"/>
                <a:gd name="T3" fmla="*/ 4 h 86"/>
                <a:gd name="T4" fmla="*/ 73 w 86"/>
                <a:gd name="T5" fmla="*/ 13 h 86"/>
                <a:gd name="T6" fmla="*/ 82 w 86"/>
                <a:gd name="T7" fmla="*/ 27 h 86"/>
                <a:gd name="T8" fmla="*/ 86 w 86"/>
                <a:gd name="T9" fmla="*/ 44 h 86"/>
                <a:gd name="T10" fmla="*/ 82 w 86"/>
                <a:gd name="T11" fmla="*/ 60 h 86"/>
                <a:gd name="T12" fmla="*/ 73 w 86"/>
                <a:gd name="T13" fmla="*/ 74 h 86"/>
                <a:gd name="T14" fmla="*/ 59 w 86"/>
                <a:gd name="T15" fmla="*/ 83 h 86"/>
                <a:gd name="T16" fmla="*/ 42 w 86"/>
                <a:gd name="T17" fmla="*/ 86 h 86"/>
                <a:gd name="T18" fmla="*/ 26 w 86"/>
                <a:gd name="T19" fmla="*/ 83 h 86"/>
                <a:gd name="T20" fmla="*/ 12 w 86"/>
                <a:gd name="T21" fmla="*/ 74 h 86"/>
                <a:gd name="T22" fmla="*/ 4 w 86"/>
                <a:gd name="T23" fmla="*/ 60 h 86"/>
                <a:gd name="T24" fmla="*/ 0 w 86"/>
                <a:gd name="T25" fmla="*/ 44 h 86"/>
                <a:gd name="T26" fmla="*/ 4 w 86"/>
                <a:gd name="T27" fmla="*/ 27 h 86"/>
                <a:gd name="T28" fmla="*/ 12 w 86"/>
                <a:gd name="T29" fmla="*/ 13 h 86"/>
                <a:gd name="T30" fmla="*/ 26 w 86"/>
                <a:gd name="T31" fmla="*/ 4 h 86"/>
                <a:gd name="T32" fmla="*/ 42 w 86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59" y="4"/>
                  </a:lnTo>
                  <a:lnTo>
                    <a:pt x="73" y="13"/>
                  </a:lnTo>
                  <a:lnTo>
                    <a:pt x="82" y="27"/>
                  </a:lnTo>
                  <a:lnTo>
                    <a:pt x="86" y="44"/>
                  </a:lnTo>
                  <a:lnTo>
                    <a:pt x="82" y="60"/>
                  </a:lnTo>
                  <a:lnTo>
                    <a:pt x="73" y="74"/>
                  </a:lnTo>
                  <a:lnTo>
                    <a:pt x="59" y="83"/>
                  </a:lnTo>
                  <a:lnTo>
                    <a:pt x="42" y="86"/>
                  </a:lnTo>
                  <a:lnTo>
                    <a:pt x="26" y="83"/>
                  </a:lnTo>
                  <a:lnTo>
                    <a:pt x="12" y="74"/>
                  </a:lnTo>
                  <a:lnTo>
                    <a:pt x="4" y="60"/>
                  </a:lnTo>
                  <a:lnTo>
                    <a:pt x="0" y="44"/>
                  </a:lnTo>
                  <a:lnTo>
                    <a:pt x="4" y="27"/>
                  </a:lnTo>
                  <a:lnTo>
                    <a:pt x="12" y="13"/>
                  </a:lnTo>
                  <a:lnTo>
                    <a:pt x="26" y="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"/>
            <p:cNvSpPr>
              <a:spLocks/>
            </p:cNvSpPr>
            <p:nvPr userDrawn="1"/>
          </p:nvSpPr>
          <p:spPr bwMode="auto">
            <a:xfrm>
              <a:off x="10387013" y="4191000"/>
              <a:ext cx="284163" cy="338138"/>
            </a:xfrm>
            <a:custGeom>
              <a:avLst/>
              <a:gdLst>
                <a:gd name="T0" fmla="*/ 100 w 179"/>
                <a:gd name="T1" fmla="*/ 0 h 213"/>
                <a:gd name="T2" fmla="*/ 119 w 179"/>
                <a:gd name="T3" fmla="*/ 1 h 213"/>
                <a:gd name="T4" fmla="*/ 137 w 179"/>
                <a:gd name="T5" fmla="*/ 5 h 213"/>
                <a:gd name="T6" fmla="*/ 152 w 179"/>
                <a:gd name="T7" fmla="*/ 12 h 213"/>
                <a:gd name="T8" fmla="*/ 166 w 179"/>
                <a:gd name="T9" fmla="*/ 26 h 213"/>
                <a:gd name="T10" fmla="*/ 175 w 179"/>
                <a:gd name="T11" fmla="*/ 43 h 213"/>
                <a:gd name="T12" fmla="*/ 179 w 179"/>
                <a:gd name="T13" fmla="*/ 68 h 213"/>
                <a:gd name="T14" fmla="*/ 177 w 179"/>
                <a:gd name="T15" fmla="*/ 85 h 213"/>
                <a:gd name="T16" fmla="*/ 173 w 179"/>
                <a:gd name="T17" fmla="*/ 105 h 213"/>
                <a:gd name="T18" fmla="*/ 170 w 179"/>
                <a:gd name="T19" fmla="*/ 119 h 213"/>
                <a:gd name="T20" fmla="*/ 165 w 179"/>
                <a:gd name="T21" fmla="*/ 136 h 213"/>
                <a:gd name="T22" fmla="*/ 158 w 179"/>
                <a:gd name="T23" fmla="*/ 157 h 213"/>
                <a:gd name="T24" fmla="*/ 149 w 179"/>
                <a:gd name="T25" fmla="*/ 178 h 213"/>
                <a:gd name="T26" fmla="*/ 144 w 179"/>
                <a:gd name="T27" fmla="*/ 196 h 213"/>
                <a:gd name="T28" fmla="*/ 138 w 179"/>
                <a:gd name="T29" fmla="*/ 208 h 213"/>
                <a:gd name="T30" fmla="*/ 137 w 179"/>
                <a:gd name="T31" fmla="*/ 213 h 213"/>
                <a:gd name="T32" fmla="*/ 93 w 179"/>
                <a:gd name="T33" fmla="*/ 213 h 213"/>
                <a:gd name="T34" fmla="*/ 93 w 179"/>
                <a:gd name="T35" fmla="*/ 150 h 213"/>
                <a:gd name="T36" fmla="*/ 100 w 179"/>
                <a:gd name="T37" fmla="*/ 127 h 213"/>
                <a:gd name="T38" fmla="*/ 109 w 179"/>
                <a:gd name="T39" fmla="*/ 103 h 213"/>
                <a:gd name="T40" fmla="*/ 110 w 179"/>
                <a:gd name="T41" fmla="*/ 92 h 213"/>
                <a:gd name="T42" fmla="*/ 112 w 179"/>
                <a:gd name="T43" fmla="*/ 84 h 213"/>
                <a:gd name="T44" fmla="*/ 114 w 179"/>
                <a:gd name="T45" fmla="*/ 78 h 213"/>
                <a:gd name="T46" fmla="*/ 112 w 179"/>
                <a:gd name="T47" fmla="*/ 73 h 213"/>
                <a:gd name="T48" fmla="*/ 112 w 179"/>
                <a:gd name="T49" fmla="*/ 70 h 213"/>
                <a:gd name="T50" fmla="*/ 110 w 179"/>
                <a:gd name="T51" fmla="*/ 68 h 213"/>
                <a:gd name="T52" fmla="*/ 109 w 179"/>
                <a:gd name="T53" fmla="*/ 66 h 213"/>
                <a:gd name="T54" fmla="*/ 107 w 179"/>
                <a:gd name="T55" fmla="*/ 64 h 213"/>
                <a:gd name="T56" fmla="*/ 100 w 179"/>
                <a:gd name="T57" fmla="*/ 63 h 213"/>
                <a:gd name="T58" fmla="*/ 93 w 179"/>
                <a:gd name="T59" fmla="*/ 63 h 213"/>
                <a:gd name="T60" fmla="*/ 81 w 179"/>
                <a:gd name="T61" fmla="*/ 63 h 213"/>
                <a:gd name="T62" fmla="*/ 63 w 179"/>
                <a:gd name="T63" fmla="*/ 66 h 213"/>
                <a:gd name="T64" fmla="*/ 63 w 179"/>
                <a:gd name="T65" fmla="*/ 213 h 213"/>
                <a:gd name="T66" fmla="*/ 0 w 179"/>
                <a:gd name="T67" fmla="*/ 213 h 213"/>
                <a:gd name="T68" fmla="*/ 0 w 179"/>
                <a:gd name="T69" fmla="*/ 17 h 213"/>
                <a:gd name="T70" fmla="*/ 19 w 179"/>
                <a:gd name="T71" fmla="*/ 12 h 213"/>
                <a:gd name="T72" fmla="*/ 47 w 179"/>
                <a:gd name="T73" fmla="*/ 5 h 213"/>
                <a:gd name="T74" fmla="*/ 81 w 179"/>
                <a:gd name="T75" fmla="*/ 1 h 213"/>
                <a:gd name="T76" fmla="*/ 89 w 179"/>
                <a:gd name="T77" fmla="*/ 0 h 213"/>
                <a:gd name="T78" fmla="*/ 100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100" y="0"/>
                  </a:moveTo>
                  <a:lnTo>
                    <a:pt x="119" y="1"/>
                  </a:lnTo>
                  <a:lnTo>
                    <a:pt x="137" y="5"/>
                  </a:lnTo>
                  <a:lnTo>
                    <a:pt x="152" y="12"/>
                  </a:lnTo>
                  <a:lnTo>
                    <a:pt x="166" y="26"/>
                  </a:lnTo>
                  <a:lnTo>
                    <a:pt x="175" y="43"/>
                  </a:lnTo>
                  <a:lnTo>
                    <a:pt x="179" y="68"/>
                  </a:lnTo>
                  <a:lnTo>
                    <a:pt x="177" y="85"/>
                  </a:lnTo>
                  <a:lnTo>
                    <a:pt x="173" y="105"/>
                  </a:lnTo>
                  <a:lnTo>
                    <a:pt x="170" y="119"/>
                  </a:lnTo>
                  <a:lnTo>
                    <a:pt x="165" y="136"/>
                  </a:lnTo>
                  <a:lnTo>
                    <a:pt x="158" y="157"/>
                  </a:lnTo>
                  <a:lnTo>
                    <a:pt x="149" y="178"/>
                  </a:lnTo>
                  <a:lnTo>
                    <a:pt x="144" y="196"/>
                  </a:lnTo>
                  <a:lnTo>
                    <a:pt x="138" y="208"/>
                  </a:lnTo>
                  <a:lnTo>
                    <a:pt x="137" y="213"/>
                  </a:lnTo>
                  <a:lnTo>
                    <a:pt x="93" y="213"/>
                  </a:lnTo>
                  <a:lnTo>
                    <a:pt x="93" y="150"/>
                  </a:lnTo>
                  <a:lnTo>
                    <a:pt x="100" y="127"/>
                  </a:lnTo>
                  <a:lnTo>
                    <a:pt x="109" y="103"/>
                  </a:lnTo>
                  <a:lnTo>
                    <a:pt x="110" y="92"/>
                  </a:lnTo>
                  <a:lnTo>
                    <a:pt x="112" y="84"/>
                  </a:lnTo>
                  <a:lnTo>
                    <a:pt x="114" y="78"/>
                  </a:lnTo>
                  <a:lnTo>
                    <a:pt x="112" y="73"/>
                  </a:lnTo>
                  <a:lnTo>
                    <a:pt x="112" y="70"/>
                  </a:lnTo>
                  <a:lnTo>
                    <a:pt x="110" y="68"/>
                  </a:lnTo>
                  <a:lnTo>
                    <a:pt x="109" y="66"/>
                  </a:lnTo>
                  <a:lnTo>
                    <a:pt x="107" y="64"/>
                  </a:lnTo>
                  <a:lnTo>
                    <a:pt x="100" y="63"/>
                  </a:lnTo>
                  <a:lnTo>
                    <a:pt x="93" y="63"/>
                  </a:lnTo>
                  <a:lnTo>
                    <a:pt x="81" y="63"/>
                  </a:lnTo>
                  <a:lnTo>
                    <a:pt x="63" y="66"/>
                  </a:lnTo>
                  <a:lnTo>
                    <a:pt x="63" y="213"/>
                  </a:lnTo>
                  <a:lnTo>
                    <a:pt x="0" y="213"/>
                  </a:lnTo>
                  <a:lnTo>
                    <a:pt x="0" y="17"/>
                  </a:lnTo>
                  <a:lnTo>
                    <a:pt x="19" y="12"/>
                  </a:lnTo>
                  <a:lnTo>
                    <a:pt x="47" y="5"/>
                  </a:lnTo>
                  <a:lnTo>
                    <a:pt x="81" y="1"/>
                  </a:lnTo>
                  <a:lnTo>
                    <a:pt x="89" y="0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24"/>
            <p:cNvSpPr>
              <a:spLocks noChangeArrowheads="1"/>
            </p:cNvSpPr>
            <p:nvPr userDrawn="1"/>
          </p:nvSpPr>
          <p:spPr bwMode="auto">
            <a:xfrm>
              <a:off x="9975851" y="4570413"/>
              <a:ext cx="608013" cy="88900"/>
            </a:xfrm>
            <a:prstGeom prst="rect">
              <a:avLst/>
            </a:prstGeom>
            <a:solidFill>
              <a:schemeClr val="accent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"/>
            <p:cNvSpPr>
              <a:spLocks/>
            </p:cNvSpPr>
            <p:nvPr userDrawn="1"/>
          </p:nvSpPr>
          <p:spPr bwMode="auto">
            <a:xfrm>
              <a:off x="10223501" y="4217988"/>
              <a:ext cx="111125" cy="311150"/>
            </a:xfrm>
            <a:custGeom>
              <a:avLst/>
              <a:gdLst>
                <a:gd name="T0" fmla="*/ 35 w 70"/>
                <a:gd name="T1" fmla="*/ 0 h 196"/>
                <a:gd name="T2" fmla="*/ 56 w 70"/>
                <a:gd name="T3" fmla="*/ 0 h 196"/>
                <a:gd name="T4" fmla="*/ 66 w 70"/>
                <a:gd name="T5" fmla="*/ 2 h 196"/>
                <a:gd name="T6" fmla="*/ 70 w 70"/>
                <a:gd name="T7" fmla="*/ 2 h 196"/>
                <a:gd name="T8" fmla="*/ 70 w 70"/>
                <a:gd name="T9" fmla="*/ 196 h 196"/>
                <a:gd name="T10" fmla="*/ 0 w 70"/>
                <a:gd name="T11" fmla="*/ 196 h 196"/>
                <a:gd name="T12" fmla="*/ 0 w 70"/>
                <a:gd name="T13" fmla="*/ 2 h 196"/>
                <a:gd name="T14" fmla="*/ 5 w 70"/>
                <a:gd name="T15" fmla="*/ 2 h 196"/>
                <a:gd name="T16" fmla="*/ 17 w 70"/>
                <a:gd name="T17" fmla="*/ 0 h 196"/>
                <a:gd name="T18" fmla="*/ 35 w 70"/>
                <a:gd name="T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96">
                  <a:moveTo>
                    <a:pt x="35" y="0"/>
                  </a:moveTo>
                  <a:lnTo>
                    <a:pt x="56" y="0"/>
                  </a:lnTo>
                  <a:lnTo>
                    <a:pt x="66" y="2"/>
                  </a:lnTo>
                  <a:lnTo>
                    <a:pt x="70" y="2"/>
                  </a:lnTo>
                  <a:lnTo>
                    <a:pt x="70" y="196"/>
                  </a:lnTo>
                  <a:lnTo>
                    <a:pt x="0" y="196"/>
                  </a:lnTo>
                  <a:lnTo>
                    <a:pt x="0" y="2"/>
                  </a:lnTo>
                  <a:lnTo>
                    <a:pt x="5" y="2"/>
                  </a:lnTo>
                  <a:lnTo>
                    <a:pt x="17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"/>
            <p:cNvSpPr>
              <a:spLocks/>
            </p:cNvSpPr>
            <p:nvPr userDrawn="1"/>
          </p:nvSpPr>
          <p:spPr bwMode="auto">
            <a:xfrm>
              <a:off x="9890126" y="4191000"/>
              <a:ext cx="284163" cy="338138"/>
            </a:xfrm>
            <a:custGeom>
              <a:avLst/>
              <a:gdLst>
                <a:gd name="T0" fmla="*/ 77 w 179"/>
                <a:gd name="T1" fmla="*/ 0 h 213"/>
                <a:gd name="T2" fmla="*/ 88 w 179"/>
                <a:gd name="T3" fmla="*/ 0 h 213"/>
                <a:gd name="T4" fmla="*/ 98 w 179"/>
                <a:gd name="T5" fmla="*/ 1 h 213"/>
                <a:gd name="T6" fmla="*/ 131 w 179"/>
                <a:gd name="T7" fmla="*/ 5 h 213"/>
                <a:gd name="T8" fmla="*/ 159 w 179"/>
                <a:gd name="T9" fmla="*/ 12 h 213"/>
                <a:gd name="T10" fmla="*/ 179 w 179"/>
                <a:gd name="T11" fmla="*/ 17 h 213"/>
                <a:gd name="T12" fmla="*/ 179 w 179"/>
                <a:gd name="T13" fmla="*/ 213 h 213"/>
                <a:gd name="T14" fmla="*/ 114 w 179"/>
                <a:gd name="T15" fmla="*/ 213 h 213"/>
                <a:gd name="T16" fmla="*/ 114 w 179"/>
                <a:gd name="T17" fmla="*/ 66 h 213"/>
                <a:gd name="T18" fmla="*/ 98 w 179"/>
                <a:gd name="T19" fmla="*/ 63 h 213"/>
                <a:gd name="T20" fmla="*/ 86 w 179"/>
                <a:gd name="T21" fmla="*/ 63 h 213"/>
                <a:gd name="T22" fmla="*/ 77 w 179"/>
                <a:gd name="T23" fmla="*/ 63 h 213"/>
                <a:gd name="T24" fmla="*/ 72 w 179"/>
                <a:gd name="T25" fmla="*/ 64 h 213"/>
                <a:gd name="T26" fmla="*/ 68 w 179"/>
                <a:gd name="T27" fmla="*/ 66 h 213"/>
                <a:gd name="T28" fmla="*/ 67 w 179"/>
                <a:gd name="T29" fmla="*/ 68 h 213"/>
                <a:gd name="T30" fmla="*/ 67 w 179"/>
                <a:gd name="T31" fmla="*/ 70 h 213"/>
                <a:gd name="T32" fmla="*/ 65 w 179"/>
                <a:gd name="T33" fmla="*/ 73 h 213"/>
                <a:gd name="T34" fmla="*/ 65 w 179"/>
                <a:gd name="T35" fmla="*/ 78 h 213"/>
                <a:gd name="T36" fmla="*/ 65 w 179"/>
                <a:gd name="T37" fmla="*/ 84 h 213"/>
                <a:gd name="T38" fmla="*/ 67 w 179"/>
                <a:gd name="T39" fmla="*/ 92 h 213"/>
                <a:gd name="T40" fmla="*/ 70 w 179"/>
                <a:gd name="T41" fmla="*/ 103 h 213"/>
                <a:gd name="T42" fmla="*/ 77 w 179"/>
                <a:gd name="T43" fmla="*/ 127 h 213"/>
                <a:gd name="T44" fmla="*/ 86 w 179"/>
                <a:gd name="T45" fmla="*/ 150 h 213"/>
                <a:gd name="T46" fmla="*/ 86 w 179"/>
                <a:gd name="T47" fmla="*/ 213 h 213"/>
                <a:gd name="T48" fmla="*/ 42 w 179"/>
                <a:gd name="T49" fmla="*/ 213 h 213"/>
                <a:gd name="T50" fmla="*/ 40 w 179"/>
                <a:gd name="T51" fmla="*/ 208 h 213"/>
                <a:gd name="T52" fmla="*/ 35 w 179"/>
                <a:gd name="T53" fmla="*/ 196 h 213"/>
                <a:gd name="T54" fmla="*/ 28 w 179"/>
                <a:gd name="T55" fmla="*/ 178 h 213"/>
                <a:gd name="T56" fmla="*/ 21 w 179"/>
                <a:gd name="T57" fmla="*/ 157 h 213"/>
                <a:gd name="T58" fmla="*/ 14 w 179"/>
                <a:gd name="T59" fmla="*/ 136 h 213"/>
                <a:gd name="T60" fmla="*/ 7 w 179"/>
                <a:gd name="T61" fmla="*/ 119 h 213"/>
                <a:gd name="T62" fmla="*/ 4 w 179"/>
                <a:gd name="T63" fmla="*/ 105 h 213"/>
                <a:gd name="T64" fmla="*/ 0 w 179"/>
                <a:gd name="T65" fmla="*/ 85 h 213"/>
                <a:gd name="T66" fmla="*/ 0 w 179"/>
                <a:gd name="T67" fmla="*/ 68 h 213"/>
                <a:gd name="T68" fmla="*/ 2 w 179"/>
                <a:gd name="T69" fmla="*/ 43 h 213"/>
                <a:gd name="T70" fmla="*/ 12 w 179"/>
                <a:gd name="T71" fmla="*/ 26 h 213"/>
                <a:gd name="T72" fmla="*/ 25 w 179"/>
                <a:gd name="T73" fmla="*/ 12 h 213"/>
                <a:gd name="T74" fmla="*/ 42 w 179"/>
                <a:gd name="T75" fmla="*/ 5 h 213"/>
                <a:gd name="T76" fmla="*/ 60 w 179"/>
                <a:gd name="T77" fmla="*/ 1 h 213"/>
                <a:gd name="T78" fmla="*/ 77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77" y="0"/>
                  </a:moveTo>
                  <a:lnTo>
                    <a:pt x="88" y="0"/>
                  </a:lnTo>
                  <a:lnTo>
                    <a:pt x="98" y="1"/>
                  </a:lnTo>
                  <a:lnTo>
                    <a:pt x="131" y="5"/>
                  </a:lnTo>
                  <a:lnTo>
                    <a:pt x="159" y="12"/>
                  </a:lnTo>
                  <a:lnTo>
                    <a:pt x="179" y="17"/>
                  </a:lnTo>
                  <a:lnTo>
                    <a:pt x="179" y="213"/>
                  </a:lnTo>
                  <a:lnTo>
                    <a:pt x="114" y="213"/>
                  </a:lnTo>
                  <a:lnTo>
                    <a:pt x="114" y="66"/>
                  </a:lnTo>
                  <a:lnTo>
                    <a:pt x="98" y="63"/>
                  </a:lnTo>
                  <a:lnTo>
                    <a:pt x="86" y="63"/>
                  </a:lnTo>
                  <a:lnTo>
                    <a:pt x="77" y="63"/>
                  </a:lnTo>
                  <a:lnTo>
                    <a:pt x="72" y="64"/>
                  </a:lnTo>
                  <a:lnTo>
                    <a:pt x="68" y="66"/>
                  </a:lnTo>
                  <a:lnTo>
                    <a:pt x="67" y="68"/>
                  </a:lnTo>
                  <a:lnTo>
                    <a:pt x="67" y="70"/>
                  </a:lnTo>
                  <a:lnTo>
                    <a:pt x="65" y="73"/>
                  </a:lnTo>
                  <a:lnTo>
                    <a:pt x="65" y="78"/>
                  </a:lnTo>
                  <a:lnTo>
                    <a:pt x="65" y="84"/>
                  </a:lnTo>
                  <a:lnTo>
                    <a:pt x="67" y="92"/>
                  </a:lnTo>
                  <a:lnTo>
                    <a:pt x="70" y="103"/>
                  </a:lnTo>
                  <a:lnTo>
                    <a:pt x="77" y="127"/>
                  </a:lnTo>
                  <a:lnTo>
                    <a:pt x="86" y="150"/>
                  </a:lnTo>
                  <a:lnTo>
                    <a:pt x="86" y="213"/>
                  </a:lnTo>
                  <a:lnTo>
                    <a:pt x="42" y="213"/>
                  </a:lnTo>
                  <a:lnTo>
                    <a:pt x="40" y="208"/>
                  </a:lnTo>
                  <a:lnTo>
                    <a:pt x="35" y="196"/>
                  </a:lnTo>
                  <a:lnTo>
                    <a:pt x="28" y="178"/>
                  </a:lnTo>
                  <a:lnTo>
                    <a:pt x="21" y="157"/>
                  </a:lnTo>
                  <a:lnTo>
                    <a:pt x="14" y="136"/>
                  </a:lnTo>
                  <a:lnTo>
                    <a:pt x="7" y="119"/>
                  </a:lnTo>
                  <a:lnTo>
                    <a:pt x="4" y="105"/>
                  </a:lnTo>
                  <a:lnTo>
                    <a:pt x="0" y="85"/>
                  </a:lnTo>
                  <a:lnTo>
                    <a:pt x="0" y="68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5"/>
                  </a:lnTo>
                  <a:lnTo>
                    <a:pt x="60" y="1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"/>
            <p:cNvSpPr>
              <a:spLocks/>
            </p:cNvSpPr>
            <p:nvPr userDrawn="1"/>
          </p:nvSpPr>
          <p:spPr bwMode="auto">
            <a:xfrm>
              <a:off x="3489326" y="1066800"/>
              <a:ext cx="1693863" cy="1184275"/>
            </a:xfrm>
            <a:custGeom>
              <a:avLst/>
              <a:gdLst>
                <a:gd name="T0" fmla="*/ 152 w 1067"/>
                <a:gd name="T1" fmla="*/ 0 h 746"/>
                <a:gd name="T2" fmla="*/ 152 w 1067"/>
                <a:gd name="T3" fmla="*/ 2 h 746"/>
                <a:gd name="T4" fmla="*/ 151 w 1067"/>
                <a:gd name="T5" fmla="*/ 6 h 746"/>
                <a:gd name="T6" fmla="*/ 151 w 1067"/>
                <a:gd name="T7" fmla="*/ 9 h 746"/>
                <a:gd name="T8" fmla="*/ 149 w 1067"/>
                <a:gd name="T9" fmla="*/ 13 h 746"/>
                <a:gd name="T10" fmla="*/ 149 w 1067"/>
                <a:gd name="T11" fmla="*/ 13 h 746"/>
                <a:gd name="T12" fmla="*/ 131 w 1067"/>
                <a:gd name="T13" fmla="*/ 62 h 746"/>
                <a:gd name="T14" fmla="*/ 117 w 1067"/>
                <a:gd name="T15" fmla="*/ 109 h 746"/>
                <a:gd name="T16" fmla="*/ 98 w 1067"/>
                <a:gd name="T17" fmla="*/ 179 h 746"/>
                <a:gd name="T18" fmla="*/ 82 w 1067"/>
                <a:gd name="T19" fmla="*/ 252 h 746"/>
                <a:gd name="T20" fmla="*/ 72 w 1067"/>
                <a:gd name="T21" fmla="*/ 326 h 746"/>
                <a:gd name="T22" fmla="*/ 68 w 1067"/>
                <a:gd name="T23" fmla="*/ 401 h 746"/>
                <a:gd name="T24" fmla="*/ 72 w 1067"/>
                <a:gd name="T25" fmla="*/ 459 h 746"/>
                <a:gd name="T26" fmla="*/ 84 w 1067"/>
                <a:gd name="T27" fmla="*/ 517 h 746"/>
                <a:gd name="T28" fmla="*/ 100 w 1067"/>
                <a:gd name="T29" fmla="*/ 553 h 746"/>
                <a:gd name="T30" fmla="*/ 121 w 1067"/>
                <a:gd name="T31" fmla="*/ 587 h 746"/>
                <a:gd name="T32" fmla="*/ 149 w 1067"/>
                <a:gd name="T33" fmla="*/ 620 h 746"/>
                <a:gd name="T34" fmla="*/ 184 w 1067"/>
                <a:gd name="T35" fmla="*/ 646 h 746"/>
                <a:gd name="T36" fmla="*/ 224 w 1067"/>
                <a:gd name="T37" fmla="*/ 664 h 746"/>
                <a:gd name="T38" fmla="*/ 264 w 1067"/>
                <a:gd name="T39" fmla="*/ 678 h 746"/>
                <a:gd name="T40" fmla="*/ 310 w 1067"/>
                <a:gd name="T41" fmla="*/ 686 h 746"/>
                <a:gd name="T42" fmla="*/ 373 w 1067"/>
                <a:gd name="T43" fmla="*/ 695 h 746"/>
                <a:gd name="T44" fmla="*/ 441 w 1067"/>
                <a:gd name="T45" fmla="*/ 699 h 746"/>
                <a:gd name="T46" fmla="*/ 512 w 1067"/>
                <a:gd name="T47" fmla="*/ 699 h 746"/>
                <a:gd name="T48" fmla="*/ 619 w 1067"/>
                <a:gd name="T49" fmla="*/ 695 h 746"/>
                <a:gd name="T50" fmla="*/ 731 w 1067"/>
                <a:gd name="T51" fmla="*/ 686 h 746"/>
                <a:gd name="T52" fmla="*/ 845 w 1067"/>
                <a:gd name="T53" fmla="*/ 676 h 746"/>
                <a:gd name="T54" fmla="*/ 957 w 1067"/>
                <a:gd name="T55" fmla="*/ 662 h 746"/>
                <a:gd name="T56" fmla="*/ 1067 w 1067"/>
                <a:gd name="T57" fmla="*/ 648 h 746"/>
                <a:gd name="T58" fmla="*/ 1016 w 1067"/>
                <a:gd name="T59" fmla="*/ 657 h 746"/>
                <a:gd name="T60" fmla="*/ 958 w 1067"/>
                <a:gd name="T61" fmla="*/ 665 h 746"/>
                <a:gd name="T62" fmla="*/ 892 w 1067"/>
                <a:gd name="T63" fmla="*/ 676 h 746"/>
                <a:gd name="T64" fmla="*/ 824 w 1067"/>
                <a:gd name="T65" fmla="*/ 686 h 746"/>
                <a:gd name="T66" fmla="*/ 756 w 1067"/>
                <a:gd name="T67" fmla="*/ 697 h 746"/>
                <a:gd name="T68" fmla="*/ 689 w 1067"/>
                <a:gd name="T69" fmla="*/ 706 h 746"/>
                <a:gd name="T70" fmla="*/ 628 w 1067"/>
                <a:gd name="T71" fmla="*/ 714 h 746"/>
                <a:gd name="T72" fmla="*/ 577 w 1067"/>
                <a:gd name="T73" fmla="*/ 721 h 746"/>
                <a:gd name="T74" fmla="*/ 490 w 1067"/>
                <a:gd name="T75" fmla="*/ 732 h 746"/>
                <a:gd name="T76" fmla="*/ 406 w 1067"/>
                <a:gd name="T77" fmla="*/ 739 h 746"/>
                <a:gd name="T78" fmla="*/ 325 w 1067"/>
                <a:gd name="T79" fmla="*/ 744 h 746"/>
                <a:gd name="T80" fmla="*/ 252 w 1067"/>
                <a:gd name="T81" fmla="*/ 746 h 746"/>
                <a:gd name="T82" fmla="*/ 186 w 1067"/>
                <a:gd name="T83" fmla="*/ 744 h 746"/>
                <a:gd name="T84" fmla="*/ 126 w 1067"/>
                <a:gd name="T85" fmla="*/ 735 h 746"/>
                <a:gd name="T86" fmla="*/ 105 w 1067"/>
                <a:gd name="T87" fmla="*/ 730 h 746"/>
                <a:gd name="T88" fmla="*/ 82 w 1067"/>
                <a:gd name="T89" fmla="*/ 721 h 746"/>
                <a:gd name="T90" fmla="*/ 61 w 1067"/>
                <a:gd name="T91" fmla="*/ 711 h 746"/>
                <a:gd name="T92" fmla="*/ 42 w 1067"/>
                <a:gd name="T93" fmla="*/ 695 h 746"/>
                <a:gd name="T94" fmla="*/ 26 w 1067"/>
                <a:gd name="T95" fmla="*/ 676 h 746"/>
                <a:gd name="T96" fmla="*/ 12 w 1067"/>
                <a:gd name="T97" fmla="*/ 650 h 746"/>
                <a:gd name="T98" fmla="*/ 4 w 1067"/>
                <a:gd name="T99" fmla="*/ 618 h 746"/>
                <a:gd name="T100" fmla="*/ 0 w 1067"/>
                <a:gd name="T101" fmla="*/ 581 h 746"/>
                <a:gd name="T102" fmla="*/ 0 w 1067"/>
                <a:gd name="T103" fmla="*/ 550 h 746"/>
                <a:gd name="T104" fmla="*/ 2 w 1067"/>
                <a:gd name="T105" fmla="*/ 517 h 746"/>
                <a:gd name="T106" fmla="*/ 7 w 1067"/>
                <a:gd name="T107" fmla="*/ 478 h 746"/>
                <a:gd name="T108" fmla="*/ 16 w 1067"/>
                <a:gd name="T109" fmla="*/ 436 h 746"/>
                <a:gd name="T110" fmla="*/ 26 w 1067"/>
                <a:gd name="T111" fmla="*/ 392 h 746"/>
                <a:gd name="T112" fmla="*/ 39 w 1067"/>
                <a:gd name="T113" fmla="*/ 347 h 746"/>
                <a:gd name="T114" fmla="*/ 54 w 1067"/>
                <a:gd name="T115" fmla="*/ 294 h 746"/>
                <a:gd name="T116" fmla="*/ 72 w 1067"/>
                <a:gd name="T117" fmla="*/ 235 h 746"/>
                <a:gd name="T118" fmla="*/ 93 w 1067"/>
                <a:gd name="T119" fmla="*/ 170 h 746"/>
                <a:gd name="T120" fmla="*/ 119 w 1067"/>
                <a:gd name="T121" fmla="*/ 95 h 746"/>
                <a:gd name="T122" fmla="*/ 149 w 1067"/>
                <a:gd name="T123" fmla="*/ 13 h 746"/>
                <a:gd name="T124" fmla="*/ 152 w 1067"/>
                <a:gd name="T125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746">
                  <a:moveTo>
                    <a:pt x="152" y="0"/>
                  </a:moveTo>
                  <a:lnTo>
                    <a:pt x="152" y="2"/>
                  </a:lnTo>
                  <a:lnTo>
                    <a:pt x="151" y="6"/>
                  </a:lnTo>
                  <a:lnTo>
                    <a:pt x="151" y="9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31" y="62"/>
                  </a:lnTo>
                  <a:lnTo>
                    <a:pt x="117" y="109"/>
                  </a:lnTo>
                  <a:lnTo>
                    <a:pt x="98" y="179"/>
                  </a:lnTo>
                  <a:lnTo>
                    <a:pt x="82" y="252"/>
                  </a:lnTo>
                  <a:lnTo>
                    <a:pt x="72" y="326"/>
                  </a:lnTo>
                  <a:lnTo>
                    <a:pt x="68" y="401"/>
                  </a:lnTo>
                  <a:lnTo>
                    <a:pt x="72" y="459"/>
                  </a:lnTo>
                  <a:lnTo>
                    <a:pt x="84" y="517"/>
                  </a:lnTo>
                  <a:lnTo>
                    <a:pt x="100" y="553"/>
                  </a:lnTo>
                  <a:lnTo>
                    <a:pt x="121" y="587"/>
                  </a:lnTo>
                  <a:lnTo>
                    <a:pt x="149" y="620"/>
                  </a:lnTo>
                  <a:lnTo>
                    <a:pt x="184" y="646"/>
                  </a:lnTo>
                  <a:lnTo>
                    <a:pt x="224" y="664"/>
                  </a:lnTo>
                  <a:lnTo>
                    <a:pt x="264" y="678"/>
                  </a:lnTo>
                  <a:lnTo>
                    <a:pt x="310" y="686"/>
                  </a:lnTo>
                  <a:lnTo>
                    <a:pt x="373" y="695"/>
                  </a:lnTo>
                  <a:lnTo>
                    <a:pt x="441" y="699"/>
                  </a:lnTo>
                  <a:lnTo>
                    <a:pt x="512" y="699"/>
                  </a:lnTo>
                  <a:lnTo>
                    <a:pt x="619" y="695"/>
                  </a:lnTo>
                  <a:lnTo>
                    <a:pt x="731" y="686"/>
                  </a:lnTo>
                  <a:lnTo>
                    <a:pt x="845" y="676"/>
                  </a:lnTo>
                  <a:lnTo>
                    <a:pt x="957" y="662"/>
                  </a:lnTo>
                  <a:lnTo>
                    <a:pt x="1067" y="648"/>
                  </a:lnTo>
                  <a:lnTo>
                    <a:pt x="1016" y="657"/>
                  </a:lnTo>
                  <a:lnTo>
                    <a:pt x="958" y="665"/>
                  </a:lnTo>
                  <a:lnTo>
                    <a:pt x="892" y="676"/>
                  </a:lnTo>
                  <a:lnTo>
                    <a:pt x="824" y="686"/>
                  </a:lnTo>
                  <a:lnTo>
                    <a:pt x="756" y="697"/>
                  </a:lnTo>
                  <a:lnTo>
                    <a:pt x="689" y="706"/>
                  </a:lnTo>
                  <a:lnTo>
                    <a:pt x="628" y="714"/>
                  </a:lnTo>
                  <a:lnTo>
                    <a:pt x="577" y="721"/>
                  </a:lnTo>
                  <a:lnTo>
                    <a:pt x="490" y="732"/>
                  </a:lnTo>
                  <a:lnTo>
                    <a:pt x="406" y="739"/>
                  </a:lnTo>
                  <a:lnTo>
                    <a:pt x="325" y="744"/>
                  </a:lnTo>
                  <a:lnTo>
                    <a:pt x="252" y="746"/>
                  </a:lnTo>
                  <a:lnTo>
                    <a:pt x="186" y="744"/>
                  </a:lnTo>
                  <a:lnTo>
                    <a:pt x="126" y="735"/>
                  </a:lnTo>
                  <a:lnTo>
                    <a:pt x="105" y="730"/>
                  </a:lnTo>
                  <a:lnTo>
                    <a:pt x="82" y="721"/>
                  </a:lnTo>
                  <a:lnTo>
                    <a:pt x="61" y="711"/>
                  </a:lnTo>
                  <a:lnTo>
                    <a:pt x="42" y="695"/>
                  </a:lnTo>
                  <a:lnTo>
                    <a:pt x="26" y="676"/>
                  </a:lnTo>
                  <a:lnTo>
                    <a:pt x="12" y="650"/>
                  </a:lnTo>
                  <a:lnTo>
                    <a:pt x="4" y="618"/>
                  </a:lnTo>
                  <a:lnTo>
                    <a:pt x="0" y="581"/>
                  </a:lnTo>
                  <a:lnTo>
                    <a:pt x="0" y="550"/>
                  </a:lnTo>
                  <a:lnTo>
                    <a:pt x="2" y="517"/>
                  </a:lnTo>
                  <a:lnTo>
                    <a:pt x="7" y="478"/>
                  </a:lnTo>
                  <a:lnTo>
                    <a:pt x="16" y="436"/>
                  </a:lnTo>
                  <a:lnTo>
                    <a:pt x="26" y="392"/>
                  </a:lnTo>
                  <a:lnTo>
                    <a:pt x="39" y="347"/>
                  </a:lnTo>
                  <a:lnTo>
                    <a:pt x="54" y="294"/>
                  </a:lnTo>
                  <a:lnTo>
                    <a:pt x="72" y="235"/>
                  </a:lnTo>
                  <a:lnTo>
                    <a:pt x="93" y="170"/>
                  </a:lnTo>
                  <a:lnTo>
                    <a:pt x="119" y="95"/>
                  </a:lnTo>
                  <a:lnTo>
                    <a:pt x="149" y="1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AED4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8"/>
            <p:cNvSpPr>
              <a:spLocks/>
            </p:cNvSpPr>
            <p:nvPr userDrawn="1"/>
          </p:nvSpPr>
          <p:spPr bwMode="auto">
            <a:xfrm>
              <a:off x="3597276" y="1039813"/>
              <a:ext cx="1643063" cy="1136650"/>
            </a:xfrm>
            <a:custGeom>
              <a:avLst/>
              <a:gdLst>
                <a:gd name="T0" fmla="*/ 91 w 1035"/>
                <a:gd name="T1" fmla="*/ 0 h 716"/>
                <a:gd name="T2" fmla="*/ 133 w 1035"/>
                <a:gd name="T3" fmla="*/ 17 h 716"/>
                <a:gd name="T4" fmla="*/ 172 w 1035"/>
                <a:gd name="T5" fmla="*/ 38 h 716"/>
                <a:gd name="T6" fmla="*/ 205 w 1035"/>
                <a:gd name="T7" fmla="*/ 61 h 716"/>
                <a:gd name="T8" fmla="*/ 193 w 1035"/>
                <a:gd name="T9" fmla="*/ 105 h 716"/>
                <a:gd name="T10" fmla="*/ 180 w 1035"/>
                <a:gd name="T11" fmla="*/ 152 h 716"/>
                <a:gd name="T12" fmla="*/ 170 w 1035"/>
                <a:gd name="T13" fmla="*/ 199 h 716"/>
                <a:gd name="T14" fmla="*/ 159 w 1035"/>
                <a:gd name="T15" fmla="*/ 247 h 716"/>
                <a:gd name="T16" fmla="*/ 152 w 1035"/>
                <a:gd name="T17" fmla="*/ 292 h 716"/>
                <a:gd name="T18" fmla="*/ 149 w 1035"/>
                <a:gd name="T19" fmla="*/ 338 h 716"/>
                <a:gd name="T20" fmla="*/ 145 w 1035"/>
                <a:gd name="T21" fmla="*/ 378 h 716"/>
                <a:gd name="T22" fmla="*/ 147 w 1035"/>
                <a:gd name="T23" fmla="*/ 416 h 716"/>
                <a:gd name="T24" fmla="*/ 154 w 1035"/>
                <a:gd name="T25" fmla="*/ 450 h 716"/>
                <a:gd name="T26" fmla="*/ 163 w 1035"/>
                <a:gd name="T27" fmla="*/ 478 h 716"/>
                <a:gd name="T28" fmla="*/ 179 w 1035"/>
                <a:gd name="T29" fmla="*/ 499 h 716"/>
                <a:gd name="T30" fmla="*/ 203 w 1035"/>
                <a:gd name="T31" fmla="*/ 518 h 716"/>
                <a:gd name="T32" fmla="*/ 235 w 1035"/>
                <a:gd name="T33" fmla="*/ 532 h 716"/>
                <a:gd name="T34" fmla="*/ 271 w 1035"/>
                <a:gd name="T35" fmla="*/ 542 h 716"/>
                <a:gd name="T36" fmla="*/ 317 w 1035"/>
                <a:gd name="T37" fmla="*/ 549 h 716"/>
                <a:gd name="T38" fmla="*/ 366 w 1035"/>
                <a:gd name="T39" fmla="*/ 553 h 716"/>
                <a:gd name="T40" fmla="*/ 420 w 1035"/>
                <a:gd name="T41" fmla="*/ 555 h 716"/>
                <a:gd name="T42" fmla="*/ 478 w 1035"/>
                <a:gd name="T43" fmla="*/ 553 h 716"/>
                <a:gd name="T44" fmla="*/ 539 w 1035"/>
                <a:gd name="T45" fmla="*/ 548 h 716"/>
                <a:gd name="T46" fmla="*/ 602 w 1035"/>
                <a:gd name="T47" fmla="*/ 542 h 716"/>
                <a:gd name="T48" fmla="*/ 668 w 1035"/>
                <a:gd name="T49" fmla="*/ 534 h 716"/>
                <a:gd name="T50" fmla="*/ 820 w 1035"/>
                <a:gd name="T51" fmla="*/ 514 h 716"/>
                <a:gd name="T52" fmla="*/ 969 w 1035"/>
                <a:gd name="T53" fmla="*/ 495 h 716"/>
                <a:gd name="T54" fmla="*/ 990 w 1035"/>
                <a:gd name="T55" fmla="*/ 534 h 716"/>
                <a:gd name="T56" fmla="*/ 1009 w 1035"/>
                <a:gd name="T57" fmla="*/ 576 h 716"/>
                <a:gd name="T58" fmla="*/ 1025 w 1035"/>
                <a:gd name="T59" fmla="*/ 621 h 716"/>
                <a:gd name="T60" fmla="*/ 1035 w 1035"/>
                <a:gd name="T61" fmla="*/ 660 h 716"/>
                <a:gd name="T62" fmla="*/ 999 w 1035"/>
                <a:gd name="T63" fmla="*/ 665 h 716"/>
                <a:gd name="T64" fmla="*/ 889 w 1035"/>
                <a:gd name="T65" fmla="*/ 679 h 716"/>
                <a:gd name="T66" fmla="*/ 777 w 1035"/>
                <a:gd name="T67" fmla="*/ 693 h 716"/>
                <a:gd name="T68" fmla="*/ 663 w 1035"/>
                <a:gd name="T69" fmla="*/ 703 h 716"/>
                <a:gd name="T70" fmla="*/ 551 w 1035"/>
                <a:gd name="T71" fmla="*/ 712 h 716"/>
                <a:gd name="T72" fmla="*/ 444 w 1035"/>
                <a:gd name="T73" fmla="*/ 716 h 716"/>
                <a:gd name="T74" fmla="*/ 373 w 1035"/>
                <a:gd name="T75" fmla="*/ 716 h 716"/>
                <a:gd name="T76" fmla="*/ 305 w 1035"/>
                <a:gd name="T77" fmla="*/ 712 h 716"/>
                <a:gd name="T78" fmla="*/ 242 w 1035"/>
                <a:gd name="T79" fmla="*/ 703 h 716"/>
                <a:gd name="T80" fmla="*/ 196 w 1035"/>
                <a:gd name="T81" fmla="*/ 695 h 716"/>
                <a:gd name="T82" fmla="*/ 156 w 1035"/>
                <a:gd name="T83" fmla="*/ 681 h 716"/>
                <a:gd name="T84" fmla="*/ 116 w 1035"/>
                <a:gd name="T85" fmla="*/ 663 h 716"/>
                <a:gd name="T86" fmla="*/ 81 w 1035"/>
                <a:gd name="T87" fmla="*/ 637 h 716"/>
                <a:gd name="T88" fmla="*/ 53 w 1035"/>
                <a:gd name="T89" fmla="*/ 605 h 716"/>
                <a:gd name="T90" fmla="*/ 32 w 1035"/>
                <a:gd name="T91" fmla="*/ 570 h 716"/>
                <a:gd name="T92" fmla="*/ 16 w 1035"/>
                <a:gd name="T93" fmla="*/ 534 h 716"/>
                <a:gd name="T94" fmla="*/ 4 w 1035"/>
                <a:gd name="T95" fmla="*/ 476 h 716"/>
                <a:gd name="T96" fmla="*/ 0 w 1035"/>
                <a:gd name="T97" fmla="*/ 418 h 716"/>
                <a:gd name="T98" fmla="*/ 4 w 1035"/>
                <a:gd name="T99" fmla="*/ 343 h 716"/>
                <a:gd name="T100" fmla="*/ 14 w 1035"/>
                <a:gd name="T101" fmla="*/ 269 h 716"/>
                <a:gd name="T102" fmla="*/ 30 w 1035"/>
                <a:gd name="T103" fmla="*/ 196 h 716"/>
                <a:gd name="T104" fmla="*/ 49 w 1035"/>
                <a:gd name="T105" fmla="*/ 126 h 716"/>
                <a:gd name="T106" fmla="*/ 69 w 1035"/>
                <a:gd name="T107" fmla="*/ 65 h 716"/>
                <a:gd name="T108" fmla="*/ 88 w 1035"/>
                <a:gd name="T109" fmla="*/ 10 h 716"/>
                <a:gd name="T110" fmla="*/ 91 w 1035"/>
                <a:gd name="T111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5" h="716">
                  <a:moveTo>
                    <a:pt x="91" y="0"/>
                  </a:moveTo>
                  <a:lnTo>
                    <a:pt x="133" y="17"/>
                  </a:lnTo>
                  <a:lnTo>
                    <a:pt x="172" y="38"/>
                  </a:lnTo>
                  <a:lnTo>
                    <a:pt x="205" y="61"/>
                  </a:lnTo>
                  <a:lnTo>
                    <a:pt x="193" y="105"/>
                  </a:lnTo>
                  <a:lnTo>
                    <a:pt x="180" y="152"/>
                  </a:lnTo>
                  <a:lnTo>
                    <a:pt x="170" y="199"/>
                  </a:lnTo>
                  <a:lnTo>
                    <a:pt x="159" y="247"/>
                  </a:lnTo>
                  <a:lnTo>
                    <a:pt x="152" y="292"/>
                  </a:lnTo>
                  <a:lnTo>
                    <a:pt x="149" y="338"/>
                  </a:lnTo>
                  <a:lnTo>
                    <a:pt x="145" y="378"/>
                  </a:lnTo>
                  <a:lnTo>
                    <a:pt x="147" y="416"/>
                  </a:lnTo>
                  <a:lnTo>
                    <a:pt x="154" y="450"/>
                  </a:lnTo>
                  <a:lnTo>
                    <a:pt x="163" y="478"/>
                  </a:lnTo>
                  <a:lnTo>
                    <a:pt x="179" y="499"/>
                  </a:lnTo>
                  <a:lnTo>
                    <a:pt x="203" y="518"/>
                  </a:lnTo>
                  <a:lnTo>
                    <a:pt x="235" y="532"/>
                  </a:lnTo>
                  <a:lnTo>
                    <a:pt x="271" y="542"/>
                  </a:lnTo>
                  <a:lnTo>
                    <a:pt x="317" y="549"/>
                  </a:lnTo>
                  <a:lnTo>
                    <a:pt x="366" y="553"/>
                  </a:lnTo>
                  <a:lnTo>
                    <a:pt x="420" y="555"/>
                  </a:lnTo>
                  <a:lnTo>
                    <a:pt x="478" y="553"/>
                  </a:lnTo>
                  <a:lnTo>
                    <a:pt x="539" y="548"/>
                  </a:lnTo>
                  <a:lnTo>
                    <a:pt x="602" y="542"/>
                  </a:lnTo>
                  <a:lnTo>
                    <a:pt x="668" y="534"/>
                  </a:lnTo>
                  <a:lnTo>
                    <a:pt x="820" y="514"/>
                  </a:lnTo>
                  <a:lnTo>
                    <a:pt x="969" y="495"/>
                  </a:lnTo>
                  <a:lnTo>
                    <a:pt x="990" y="534"/>
                  </a:lnTo>
                  <a:lnTo>
                    <a:pt x="1009" y="576"/>
                  </a:lnTo>
                  <a:lnTo>
                    <a:pt x="1025" y="621"/>
                  </a:lnTo>
                  <a:lnTo>
                    <a:pt x="1035" y="660"/>
                  </a:lnTo>
                  <a:lnTo>
                    <a:pt x="999" y="665"/>
                  </a:lnTo>
                  <a:lnTo>
                    <a:pt x="889" y="679"/>
                  </a:lnTo>
                  <a:lnTo>
                    <a:pt x="777" y="693"/>
                  </a:lnTo>
                  <a:lnTo>
                    <a:pt x="663" y="703"/>
                  </a:lnTo>
                  <a:lnTo>
                    <a:pt x="551" y="712"/>
                  </a:lnTo>
                  <a:lnTo>
                    <a:pt x="444" y="716"/>
                  </a:lnTo>
                  <a:lnTo>
                    <a:pt x="373" y="716"/>
                  </a:lnTo>
                  <a:lnTo>
                    <a:pt x="305" y="712"/>
                  </a:lnTo>
                  <a:lnTo>
                    <a:pt x="242" y="703"/>
                  </a:lnTo>
                  <a:lnTo>
                    <a:pt x="196" y="695"/>
                  </a:lnTo>
                  <a:lnTo>
                    <a:pt x="156" y="681"/>
                  </a:lnTo>
                  <a:lnTo>
                    <a:pt x="116" y="663"/>
                  </a:lnTo>
                  <a:lnTo>
                    <a:pt x="81" y="637"/>
                  </a:lnTo>
                  <a:lnTo>
                    <a:pt x="53" y="605"/>
                  </a:lnTo>
                  <a:lnTo>
                    <a:pt x="32" y="570"/>
                  </a:lnTo>
                  <a:lnTo>
                    <a:pt x="16" y="534"/>
                  </a:lnTo>
                  <a:lnTo>
                    <a:pt x="4" y="476"/>
                  </a:lnTo>
                  <a:lnTo>
                    <a:pt x="0" y="418"/>
                  </a:lnTo>
                  <a:lnTo>
                    <a:pt x="4" y="343"/>
                  </a:lnTo>
                  <a:lnTo>
                    <a:pt x="14" y="269"/>
                  </a:lnTo>
                  <a:lnTo>
                    <a:pt x="30" y="196"/>
                  </a:lnTo>
                  <a:lnTo>
                    <a:pt x="49" y="126"/>
                  </a:lnTo>
                  <a:lnTo>
                    <a:pt x="69" y="65"/>
                  </a:lnTo>
                  <a:lnTo>
                    <a:pt x="88" y="1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9"/>
            <p:cNvSpPr>
              <a:spLocks noEditPoints="1"/>
            </p:cNvSpPr>
            <p:nvPr userDrawn="1"/>
          </p:nvSpPr>
          <p:spPr bwMode="auto">
            <a:xfrm>
              <a:off x="2420938" y="2798763"/>
              <a:ext cx="1690688" cy="1414463"/>
            </a:xfrm>
            <a:custGeom>
              <a:avLst/>
              <a:gdLst>
                <a:gd name="T0" fmla="*/ 0 w 1065"/>
                <a:gd name="T1" fmla="*/ 891 h 891"/>
                <a:gd name="T2" fmla="*/ 0 w 1065"/>
                <a:gd name="T3" fmla="*/ 891 h 891"/>
                <a:gd name="T4" fmla="*/ 546 w 1065"/>
                <a:gd name="T5" fmla="*/ 1 h 891"/>
                <a:gd name="T6" fmla="*/ 603 w 1065"/>
                <a:gd name="T7" fmla="*/ 21 h 891"/>
                <a:gd name="T8" fmla="*/ 678 w 1065"/>
                <a:gd name="T9" fmla="*/ 70 h 891"/>
                <a:gd name="T10" fmla="*/ 775 w 1065"/>
                <a:gd name="T11" fmla="*/ 159 h 891"/>
                <a:gd name="T12" fmla="*/ 843 w 1065"/>
                <a:gd name="T13" fmla="*/ 234 h 891"/>
                <a:gd name="T14" fmla="*/ 892 w 1065"/>
                <a:gd name="T15" fmla="*/ 292 h 891"/>
                <a:gd name="T16" fmla="*/ 942 w 1065"/>
                <a:gd name="T17" fmla="*/ 355 h 891"/>
                <a:gd name="T18" fmla="*/ 990 w 1065"/>
                <a:gd name="T19" fmla="*/ 415 h 891"/>
                <a:gd name="T20" fmla="*/ 1028 w 1065"/>
                <a:gd name="T21" fmla="*/ 467 h 891"/>
                <a:gd name="T22" fmla="*/ 1056 w 1065"/>
                <a:gd name="T23" fmla="*/ 504 h 891"/>
                <a:gd name="T24" fmla="*/ 1065 w 1065"/>
                <a:gd name="T25" fmla="*/ 518 h 891"/>
                <a:gd name="T26" fmla="*/ 1063 w 1065"/>
                <a:gd name="T27" fmla="*/ 514 h 891"/>
                <a:gd name="T28" fmla="*/ 1044 w 1065"/>
                <a:gd name="T29" fmla="*/ 490 h 891"/>
                <a:gd name="T30" fmla="*/ 1011 w 1065"/>
                <a:gd name="T31" fmla="*/ 448 h 891"/>
                <a:gd name="T32" fmla="*/ 967 w 1065"/>
                <a:gd name="T33" fmla="*/ 395 h 891"/>
                <a:gd name="T34" fmla="*/ 920 w 1065"/>
                <a:gd name="T35" fmla="*/ 339 h 891"/>
                <a:gd name="T36" fmla="*/ 873 w 1065"/>
                <a:gd name="T37" fmla="*/ 287 h 891"/>
                <a:gd name="T38" fmla="*/ 832 w 1065"/>
                <a:gd name="T39" fmla="*/ 246 h 891"/>
                <a:gd name="T40" fmla="*/ 747 w 1065"/>
                <a:gd name="T41" fmla="*/ 180 h 891"/>
                <a:gd name="T42" fmla="*/ 668 w 1065"/>
                <a:gd name="T43" fmla="*/ 134 h 891"/>
                <a:gd name="T44" fmla="*/ 596 w 1065"/>
                <a:gd name="T45" fmla="*/ 112 h 891"/>
                <a:gd name="T46" fmla="*/ 526 w 1065"/>
                <a:gd name="T47" fmla="*/ 112 h 891"/>
                <a:gd name="T48" fmla="*/ 463 w 1065"/>
                <a:gd name="T49" fmla="*/ 131 h 891"/>
                <a:gd name="T50" fmla="*/ 409 w 1065"/>
                <a:gd name="T51" fmla="*/ 166 h 891"/>
                <a:gd name="T52" fmla="*/ 323 w 1065"/>
                <a:gd name="T53" fmla="*/ 257 h 891"/>
                <a:gd name="T54" fmla="*/ 241 w 1065"/>
                <a:gd name="T55" fmla="*/ 379 h 891"/>
                <a:gd name="T56" fmla="*/ 159 w 1065"/>
                <a:gd name="T57" fmla="*/ 528 h 891"/>
                <a:gd name="T58" fmla="*/ 87 w 1065"/>
                <a:gd name="T59" fmla="*/ 682 h 891"/>
                <a:gd name="T60" fmla="*/ 24 w 1065"/>
                <a:gd name="T61" fmla="*/ 828 h 891"/>
                <a:gd name="T62" fmla="*/ 21 w 1065"/>
                <a:gd name="T63" fmla="*/ 833 h 891"/>
                <a:gd name="T64" fmla="*/ 75 w 1065"/>
                <a:gd name="T65" fmla="*/ 696 h 891"/>
                <a:gd name="T66" fmla="*/ 138 w 1065"/>
                <a:gd name="T67" fmla="*/ 542 h 891"/>
                <a:gd name="T68" fmla="*/ 208 w 1065"/>
                <a:gd name="T69" fmla="*/ 388 h 891"/>
                <a:gd name="T70" fmla="*/ 278 w 1065"/>
                <a:gd name="T71" fmla="*/ 245 h 891"/>
                <a:gd name="T72" fmla="*/ 332 w 1065"/>
                <a:gd name="T73" fmla="*/ 145 h 891"/>
                <a:gd name="T74" fmla="*/ 388 w 1065"/>
                <a:gd name="T75" fmla="*/ 64 h 891"/>
                <a:gd name="T76" fmla="*/ 423 w 1065"/>
                <a:gd name="T77" fmla="*/ 29 h 891"/>
                <a:gd name="T78" fmla="*/ 476 w 1065"/>
                <a:gd name="T79" fmla="*/ 3 h 891"/>
                <a:gd name="T80" fmla="*/ 512 w 1065"/>
                <a:gd name="T81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65" h="891">
                  <a:moveTo>
                    <a:pt x="0" y="891"/>
                  </a:moveTo>
                  <a:lnTo>
                    <a:pt x="0" y="891"/>
                  </a:lnTo>
                  <a:lnTo>
                    <a:pt x="0" y="891"/>
                  </a:lnTo>
                  <a:lnTo>
                    <a:pt x="0" y="891"/>
                  </a:lnTo>
                  <a:close/>
                  <a:moveTo>
                    <a:pt x="512" y="0"/>
                  </a:moveTo>
                  <a:lnTo>
                    <a:pt x="546" y="1"/>
                  </a:lnTo>
                  <a:lnTo>
                    <a:pt x="575" y="10"/>
                  </a:lnTo>
                  <a:lnTo>
                    <a:pt x="603" y="21"/>
                  </a:lnTo>
                  <a:lnTo>
                    <a:pt x="642" y="43"/>
                  </a:lnTo>
                  <a:lnTo>
                    <a:pt x="678" y="70"/>
                  </a:lnTo>
                  <a:lnTo>
                    <a:pt x="727" y="112"/>
                  </a:lnTo>
                  <a:lnTo>
                    <a:pt x="775" y="159"/>
                  </a:lnTo>
                  <a:lnTo>
                    <a:pt x="822" y="210"/>
                  </a:lnTo>
                  <a:lnTo>
                    <a:pt x="843" y="234"/>
                  </a:lnTo>
                  <a:lnTo>
                    <a:pt x="867" y="262"/>
                  </a:lnTo>
                  <a:lnTo>
                    <a:pt x="892" y="292"/>
                  </a:lnTo>
                  <a:lnTo>
                    <a:pt x="916" y="323"/>
                  </a:lnTo>
                  <a:lnTo>
                    <a:pt x="942" y="355"/>
                  </a:lnTo>
                  <a:lnTo>
                    <a:pt x="967" y="385"/>
                  </a:lnTo>
                  <a:lnTo>
                    <a:pt x="990" y="415"/>
                  </a:lnTo>
                  <a:lnTo>
                    <a:pt x="1011" y="443"/>
                  </a:lnTo>
                  <a:lnTo>
                    <a:pt x="1028" y="467"/>
                  </a:lnTo>
                  <a:lnTo>
                    <a:pt x="1044" y="488"/>
                  </a:lnTo>
                  <a:lnTo>
                    <a:pt x="1056" y="504"/>
                  </a:lnTo>
                  <a:lnTo>
                    <a:pt x="1063" y="514"/>
                  </a:lnTo>
                  <a:lnTo>
                    <a:pt x="1065" y="518"/>
                  </a:lnTo>
                  <a:lnTo>
                    <a:pt x="1065" y="518"/>
                  </a:lnTo>
                  <a:lnTo>
                    <a:pt x="1063" y="514"/>
                  </a:lnTo>
                  <a:lnTo>
                    <a:pt x="1054" y="504"/>
                  </a:lnTo>
                  <a:lnTo>
                    <a:pt x="1044" y="490"/>
                  </a:lnTo>
                  <a:lnTo>
                    <a:pt x="1028" y="471"/>
                  </a:lnTo>
                  <a:lnTo>
                    <a:pt x="1011" y="448"/>
                  </a:lnTo>
                  <a:lnTo>
                    <a:pt x="990" y="422"/>
                  </a:lnTo>
                  <a:lnTo>
                    <a:pt x="967" y="395"/>
                  </a:lnTo>
                  <a:lnTo>
                    <a:pt x="944" y="367"/>
                  </a:lnTo>
                  <a:lnTo>
                    <a:pt x="920" y="339"/>
                  </a:lnTo>
                  <a:lnTo>
                    <a:pt x="897" y="313"/>
                  </a:lnTo>
                  <a:lnTo>
                    <a:pt x="873" y="287"/>
                  </a:lnTo>
                  <a:lnTo>
                    <a:pt x="852" y="266"/>
                  </a:lnTo>
                  <a:lnTo>
                    <a:pt x="832" y="246"/>
                  </a:lnTo>
                  <a:lnTo>
                    <a:pt x="790" y="211"/>
                  </a:lnTo>
                  <a:lnTo>
                    <a:pt x="747" y="180"/>
                  </a:lnTo>
                  <a:lnTo>
                    <a:pt x="701" y="152"/>
                  </a:lnTo>
                  <a:lnTo>
                    <a:pt x="668" y="134"/>
                  </a:lnTo>
                  <a:lnTo>
                    <a:pt x="633" y="120"/>
                  </a:lnTo>
                  <a:lnTo>
                    <a:pt x="596" y="112"/>
                  </a:lnTo>
                  <a:lnTo>
                    <a:pt x="556" y="110"/>
                  </a:lnTo>
                  <a:lnTo>
                    <a:pt x="526" y="112"/>
                  </a:lnTo>
                  <a:lnTo>
                    <a:pt x="497" y="117"/>
                  </a:lnTo>
                  <a:lnTo>
                    <a:pt x="463" y="131"/>
                  </a:lnTo>
                  <a:lnTo>
                    <a:pt x="435" y="147"/>
                  </a:lnTo>
                  <a:lnTo>
                    <a:pt x="409" y="166"/>
                  </a:lnTo>
                  <a:lnTo>
                    <a:pt x="365" y="208"/>
                  </a:lnTo>
                  <a:lnTo>
                    <a:pt x="323" y="257"/>
                  </a:lnTo>
                  <a:lnTo>
                    <a:pt x="283" y="315"/>
                  </a:lnTo>
                  <a:lnTo>
                    <a:pt x="241" y="379"/>
                  </a:lnTo>
                  <a:lnTo>
                    <a:pt x="199" y="451"/>
                  </a:lnTo>
                  <a:lnTo>
                    <a:pt x="159" y="528"/>
                  </a:lnTo>
                  <a:lnTo>
                    <a:pt x="122" y="605"/>
                  </a:lnTo>
                  <a:lnTo>
                    <a:pt x="87" y="682"/>
                  </a:lnTo>
                  <a:lnTo>
                    <a:pt x="54" y="758"/>
                  </a:lnTo>
                  <a:lnTo>
                    <a:pt x="24" y="828"/>
                  </a:lnTo>
                  <a:lnTo>
                    <a:pt x="0" y="891"/>
                  </a:lnTo>
                  <a:lnTo>
                    <a:pt x="21" y="833"/>
                  </a:lnTo>
                  <a:lnTo>
                    <a:pt x="47" y="766"/>
                  </a:lnTo>
                  <a:lnTo>
                    <a:pt x="75" y="696"/>
                  </a:lnTo>
                  <a:lnTo>
                    <a:pt x="107" y="621"/>
                  </a:lnTo>
                  <a:lnTo>
                    <a:pt x="138" y="542"/>
                  </a:lnTo>
                  <a:lnTo>
                    <a:pt x="173" y="465"/>
                  </a:lnTo>
                  <a:lnTo>
                    <a:pt x="208" y="388"/>
                  </a:lnTo>
                  <a:lnTo>
                    <a:pt x="243" y="315"/>
                  </a:lnTo>
                  <a:lnTo>
                    <a:pt x="278" y="245"/>
                  </a:lnTo>
                  <a:lnTo>
                    <a:pt x="304" y="194"/>
                  </a:lnTo>
                  <a:lnTo>
                    <a:pt x="332" y="145"/>
                  </a:lnTo>
                  <a:lnTo>
                    <a:pt x="360" y="101"/>
                  </a:lnTo>
                  <a:lnTo>
                    <a:pt x="388" y="64"/>
                  </a:lnTo>
                  <a:lnTo>
                    <a:pt x="406" y="47"/>
                  </a:lnTo>
                  <a:lnTo>
                    <a:pt x="423" y="29"/>
                  </a:lnTo>
                  <a:lnTo>
                    <a:pt x="448" y="15"/>
                  </a:lnTo>
                  <a:lnTo>
                    <a:pt x="476" y="3"/>
                  </a:lnTo>
                  <a:lnTo>
                    <a:pt x="495" y="0"/>
                  </a:lnTo>
                  <a:lnTo>
                    <a:pt x="512" y="0"/>
                  </a:lnTo>
                  <a:close/>
                </a:path>
              </a:pathLst>
            </a:custGeom>
            <a:solidFill>
              <a:srgbClr val="F29FC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0"/>
            <p:cNvSpPr>
              <a:spLocks/>
            </p:cNvSpPr>
            <p:nvPr userDrawn="1"/>
          </p:nvSpPr>
          <p:spPr bwMode="auto">
            <a:xfrm>
              <a:off x="2420938" y="2973388"/>
              <a:ext cx="1690688" cy="1273175"/>
            </a:xfrm>
            <a:custGeom>
              <a:avLst/>
              <a:gdLst>
                <a:gd name="T0" fmla="*/ 596 w 1065"/>
                <a:gd name="T1" fmla="*/ 2 h 802"/>
                <a:gd name="T2" fmla="*/ 668 w 1065"/>
                <a:gd name="T3" fmla="*/ 24 h 802"/>
                <a:gd name="T4" fmla="*/ 747 w 1065"/>
                <a:gd name="T5" fmla="*/ 70 h 802"/>
                <a:gd name="T6" fmla="*/ 832 w 1065"/>
                <a:gd name="T7" fmla="*/ 136 h 802"/>
                <a:gd name="T8" fmla="*/ 873 w 1065"/>
                <a:gd name="T9" fmla="*/ 177 h 802"/>
                <a:gd name="T10" fmla="*/ 920 w 1065"/>
                <a:gd name="T11" fmla="*/ 229 h 802"/>
                <a:gd name="T12" fmla="*/ 967 w 1065"/>
                <a:gd name="T13" fmla="*/ 285 h 802"/>
                <a:gd name="T14" fmla="*/ 1011 w 1065"/>
                <a:gd name="T15" fmla="*/ 338 h 802"/>
                <a:gd name="T16" fmla="*/ 1044 w 1065"/>
                <a:gd name="T17" fmla="*/ 380 h 802"/>
                <a:gd name="T18" fmla="*/ 1063 w 1065"/>
                <a:gd name="T19" fmla="*/ 404 h 802"/>
                <a:gd name="T20" fmla="*/ 1030 w 1065"/>
                <a:gd name="T21" fmla="*/ 420 h 802"/>
                <a:gd name="T22" fmla="*/ 956 w 1065"/>
                <a:gd name="T23" fmla="*/ 438 h 802"/>
                <a:gd name="T24" fmla="*/ 911 w 1065"/>
                <a:gd name="T25" fmla="*/ 425 h 802"/>
                <a:gd name="T26" fmla="*/ 876 w 1065"/>
                <a:gd name="T27" fmla="*/ 378 h 802"/>
                <a:gd name="T28" fmla="*/ 825 w 1065"/>
                <a:gd name="T29" fmla="*/ 319 h 802"/>
                <a:gd name="T30" fmla="*/ 764 w 1065"/>
                <a:gd name="T31" fmla="*/ 255 h 802"/>
                <a:gd name="T32" fmla="*/ 699 w 1065"/>
                <a:gd name="T33" fmla="*/ 199 h 802"/>
                <a:gd name="T34" fmla="*/ 635 w 1065"/>
                <a:gd name="T35" fmla="*/ 163 h 802"/>
                <a:gd name="T36" fmla="*/ 574 w 1065"/>
                <a:gd name="T37" fmla="*/ 154 h 802"/>
                <a:gd name="T38" fmla="*/ 521 w 1065"/>
                <a:gd name="T39" fmla="*/ 180 h 802"/>
                <a:gd name="T40" fmla="*/ 467 w 1065"/>
                <a:gd name="T41" fmla="*/ 236 h 802"/>
                <a:gd name="T42" fmla="*/ 409 w 1065"/>
                <a:gd name="T43" fmla="*/ 315 h 802"/>
                <a:gd name="T44" fmla="*/ 355 w 1065"/>
                <a:gd name="T45" fmla="*/ 408 h 802"/>
                <a:gd name="T46" fmla="*/ 304 w 1065"/>
                <a:gd name="T47" fmla="*/ 508 h 802"/>
                <a:gd name="T48" fmla="*/ 257 w 1065"/>
                <a:gd name="T49" fmla="*/ 604 h 802"/>
                <a:gd name="T50" fmla="*/ 220 w 1065"/>
                <a:gd name="T51" fmla="*/ 690 h 802"/>
                <a:gd name="T52" fmla="*/ 192 w 1065"/>
                <a:gd name="T53" fmla="*/ 756 h 802"/>
                <a:gd name="T54" fmla="*/ 177 w 1065"/>
                <a:gd name="T55" fmla="*/ 795 h 802"/>
                <a:gd name="T56" fmla="*/ 119 w 1065"/>
                <a:gd name="T57" fmla="*/ 802 h 802"/>
                <a:gd name="T58" fmla="*/ 30 w 1065"/>
                <a:gd name="T59" fmla="*/ 789 h 802"/>
                <a:gd name="T60" fmla="*/ 24 w 1065"/>
                <a:gd name="T61" fmla="*/ 718 h 802"/>
                <a:gd name="T62" fmla="*/ 87 w 1065"/>
                <a:gd name="T63" fmla="*/ 572 h 802"/>
                <a:gd name="T64" fmla="*/ 159 w 1065"/>
                <a:gd name="T65" fmla="*/ 418 h 802"/>
                <a:gd name="T66" fmla="*/ 241 w 1065"/>
                <a:gd name="T67" fmla="*/ 269 h 802"/>
                <a:gd name="T68" fmla="*/ 323 w 1065"/>
                <a:gd name="T69" fmla="*/ 147 h 802"/>
                <a:gd name="T70" fmla="*/ 409 w 1065"/>
                <a:gd name="T71" fmla="*/ 56 h 802"/>
                <a:gd name="T72" fmla="*/ 463 w 1065"/>
                <a:gd name="T73" fmla="*/ 21 h 802"/>
                <a:gd name="T74" fmla="*/ 526 w 1065"/>
                <a:gd name="T75" fmla="*/ 2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65" h="802">
                  <a:moveTo>
                    <a:pt x="556" y="0"/>
                  </a:moveTo>
                  <a:lnTo>
                    <a:pt x="596" y="2"/>
                  </a:lnTo>
                  <a:lnTo>
                    <a:pt x="633" y="10"/>
                  </a:lnTo>
                  <a:lnTo>
                    <a:pt x="668" y="24"/>
                  </a:lnTo>
                  <a:lnTo>
                    <a:pt x="701" y="42"/>
                  </a:lnTo>
                  <a:lnTo>
                    <a:pt x="747" y="70"/>
                  </a:lnTo>
                  <a:lnTo>
                    <a:pt x="790" y="101"/>
                  </a:lnTo>
                  <a:lnTo>
                    <a:pt x="832" y="136"/>
                  </a:lnTo>
                  <a:lnTo>
                    <a:pt x="852" y="156"/>
                  </a:lnTo>
                  <a:lnTo>
                    <a:pt x="873" y="177"/>
                  </a:lnTo>
                  <a:lnTo>
                    <a:pt x="897" y="203"/>
                  </a:lnTo>
                  <a:lnTo>
                    <a:pt x="920" y="229"/>
                  </a:lnTo>
                  <a:lnTo>
                    <a:pt x="944" y="257"/>
                  </a:lnTo>
                  <a:lnTo>
                    <a:pt x="967" y="285"/>
                  </a:lnTo>
                  <a:lnTo>
                    <a:pt x="990" y="312"/>
                  </a:lnTo>
                  <a:lnTo>
                    <a:pt x="1011" y="338"/>
                  </a:lnTo>
                  <a:lnTo>
                    <a:pt x="1028" y="361"/>
                  </a:lnTo>
                  <a:lnTo>
                    <a:pt x="1044" y="380"/>
                  </a:lnTo>
                  <a:lnTo>
                    <a:pt x="1054" y="394"/>
                  </a:lnTo>
                  <a:lnTo>
                    <a:pt x="1063" y="404"/>
                  </a:lnTo>
                  <a:lnTo>
                    <a:pt x="1065" y="408"/>
                  </a:lnTo>
                  <a:lnTo>
                    <a:pt x="1030" y="420"/>
                  </a:lnTo>
                  <a:lnTo>
                    <a:pt x="991" y="431"/>
                  </a:lnTo>
                  <a:lnTo>
                    <a:pt x="956" y="438"/>
                  </a:lnTo>
                  <a:lnTo>
                    <a:pt x="923" y="439"/>
                  </a:lnTo>
                  <a:lnTo>
                    <a:pt x="911" y="425"/>
                  </a:lnTo>
                  <a:lnTo>
                    <a:pt x="895" y="404"/>
                  </a:lnTo>
                  <a:lnTo>
                    <a:pt x="876" y="378"/>
                  </a:lnTo>
                  <a:lnTo>
                    <a:pt x="852" y="350"/>
                  </a:lnTo>
                  <a:lnTo>
                    <a:pt x="825" y="319"/>
                  </a:lnTo>
                  <a:lnTo>
                    <a:pt x="796" y="285"/>
                  </a:lnTo>
                  <a:lnTo>
                    <a:pt x="764" y="255"/>
                  </a:lnTo>
                  <a:lnTo>
                    <a:pt x="733" y="226"/>
                  </a:lnTo>
                  <a:lnTo>
                    <a:pt x="699" y="199"/>
                  </a:lnTo>
                  <a:lnTo>
                    <a:pt x="666" y="178"/>
                  </a:lnTo>
                  <a:lnTo>
                    <a:pt x="635" y="163"/>
                  </a:lnTo>
                  <a:lnTo>
                    <a:pt x="603" y="154"/>
                  </a:lnTo>
                  <a:lnTo>
                    <a:pt x="574" y="154"/>
                  </a:lnTo>
                  <a:lnTo>
                    <a:pt x="547" y="163"/>
                  </a:lnTo>
                  <a:lnTo>
                    <a:pt x="521" y="180"/>
                  </a:lnTo>
                  <a:lnTo>
                    <a:pt x="493" y="205"/>
                  </a:lnTo>
                  <a:lnTo>
                    <a:pt x="467" y="236"/>
                  </a:lnTo>
                  <a:lnTo>
                    <a:pt x="437" y="273"/>
                  </a:lnTo>
                  <a:lnTo>
                    <a:pt x="409" y="315"/>
                  </a:lnTo>
                  <a:lnTo>
                    <a:pt x="383" y="361"/>
                  </a:lnTo>
                  <a:lnTo>
                    <a:pt x="355" y="408"/>
                  </a:lnTo>
                  <a:lnTo>
                    <a:pt x="329" y="457"/>
                  </a:lnTo>
                  <a:lnTo>
                    <a:pt x="304" y="508"/>
                  </a:lnTo>
                  <a:lnTo>
                    <a:pt x="280" y="557"/>
                  </a:lnTo>
                  <a:lnTo>
                    <a:pt x="257" y="604"/>
                  </a:lnTo>
                  <a:lnTo>
                    <a:pt x="238" y="648"/>
                  </a:lnTo>
                  <a:lnTo>
                    <a:pt x="220" y="690"/>
                  </a:lnTo>
                  <a:lnTo>
                    <a:pt x="205" y="725"/>
                  </a:lnTo>
                  <a:lnTo>
                    <a:pt x="192" y="756"/>
                  </a:lnTo>
                  <a:lnTo>
                    <a:pt x="182" y="779"/>
                  </a:lnTo>
                  <a:lnTo>
                    <a:pt x="177" y="795"/>
                  </a:lnTo>
                  <a:lnTo>
                    <a:pt x="173" y="802"/>
                  </a:lnTo>
                  <a:lnTo>
                    <a:pt x="119" y="802"/>
                  </a:lnTo>
                  <a:lnTo>
                    <a:pt x="72" y="796"/>
                  </a:lnTo>
                  <a:lnTo>
                    <a:pt x="30" y="789"/>
                  </a:lnTo>
                  <a:lnTo>
                    <a:pt x="0" y="781"/>
                  </a:lnTo>
                  <a:lnTo>
                    <a:pt x="24" y="718"/>
                  </a:lnTo>
                  <a:lnTo>
                    <a:pt x="54" y="648"/>
                  </a:lnTo>
                  <a:lnTo>
                    <a:pt x="87" y="572"/>
                  </a:lnTo>
                  <a:lnTo>
                    <a:pt x="122" y="495"/>
                  </a:lnTo>
                  <a:lnTo>
                    <a:pt x="159" y="418"/>
                  </a:lnTo>
                  <a:lnTo>
                    <a:pt x="199" y="341"/>
                  </a:lnTo>
                  <a:lnTo>
                    <a:pt x="241" y="269"/>
                  </a:lnTo>
                  <a:lnTo>
                    <a:pt x="283" y="205"/>
                  </a:lnTo>
                  <a:lnTo>
                    <a:pt x="323" y="147"/>
                  </a:lnTo>
                  <a:lnTo>
                    <a:pt x="365" y="98"/>
                  </a:lnTo>
                  <a:lnTo>
                    <a:pt x="409" y="56"/>
                  </a:lnTo>
                  <a:lnTo>
                    <a:pt x="435" y="37"/>
                  </a:lnTo>
                  <a:lnTo>
                    <a:pt x="463" y="21"/>
                  </a:lnTo>
                  <a:lnTo>
                    <a:pt x="497" y="7"/>
                  </a:lnTo>
                  <a:lnTo>
                    <a:pt x="526" y="2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"/>
            <p:cNvSpPr>
              <a:spLocks/>
            </p:cNvSpPr>
            <p:nvPr userDrawn="1"/>
          </p:nvSpPr>
          <p:spPr bwMode="auto">
            <a:xfrm>
              <a:off x="3589338" y="2143125"/>
              <a:ext cx="1660525" cy="1444625"/>
            </a:xfrm>
            <a:custGeom>
              <a:avLst/>
              <a:gdLst>
                <a:gd name="T0" fmla="*/ 1019 w 1046"/>
                <a:gd name="T1" fmla="*/ 5 h 910"/>
                <a:gd name="T2" fmla="*/ 941 w 1046"/>
                <a:gd name="T3" fmla="*/ 17 h 910"/>
                <a:gd name="T4" fmla="*/ 827 w 1046"/>
                <a:gd name="T5" fmla="*/ 36 h 910"/>
                <a:gd name="T6" fmla="*/ 687 w 1046"/>
                <a:gd name="T7" fmla="*/ 64 h 910"/>
                <a:gd name="T8" fmla="*/ 523 w 1046"/>
                <a:gd name="T9" fmla="*/ 103 h 910"/>
                <a:gd name="T10" fmla="*/ 425 w 1046"/>
                <a:gd name="T11" fmla="*/ 131 h 910"/>
                <a:gd name="T12" fmla="*/ 336 w 1046"/>
                <a:gd name="T13" fmla="*/ 166 h 910"/>
                <a:gd name="T14" fmla="*/ 255 w 1046"/>
                <a:gd name="T15" fmla="*/ 210 h 910"/>
                <a:gd name="T16" fmla="*/ 192 w 1046"/>
                <a:gd name="T17" fmla="*/ 264 h 910"/>
                <a:gd name="T18" fmla="*/ 147 w 1046"/>
                <a:gd name="T19" fmla="*/ 330 h 910"/>
                <a:gd name="T20" fmla="*/ 126 w 1046"/>
                <a:gd name="T21" fmla="*/ 409 h 910"/>
                <a:gd name="T22" fmla="*/ 131 w 1046"/>
                <a:gd name="T23" fmla="*/ 502 h 910"/>
                <a:gd name="T24" fmla="*/ 170 w 1046"/>
                <a:gd name="T25" fmla="*/ 612 h 910"/>
                <a:gd name="T26" fmla="*/ 201 w 1046"/>
                <a:gd name="T27" fmla="*/ 672 h 910"/>
                <a:gd name="T28" fmla="*/ 240 w 1046"/>
                <a:gd name="T29" fmla="*/ 738 h 910"/>
                <a:gd name="T30" fmla="*/ 283 w 1046"/>
                <a:gd name="T31" fmla="*/ 803 h 910"/>
                <a:gd name="T32" fmla="*/ 322 w 1046"/>
                <a:gd name="T33" fmla="*/ 859 h 910"/>
                <a:gd name="T34" fmla="*/ 352 w 1046"/>
                <a:gd name="T35" fmla="*/ 898 h 910"/>
                <a:gd name="T36" fmla="*/ 350 w 1046"/>
                <a:gd name="T37" fmla="*/ 898 h 910"/>
                <a:gd name="T38" fmla="*/ 317 w 1046"/>
                <a:gd name="T39" fmla="*/ 859 h 910"/>
                <a:gd name="T40" fmla="*/ 269 w 1046"/>
                <a:gd name="T41" fmla="*/ 799 h 910"/>
                <a:gd name="T42" fmla="*/ 212 w 1046"/>
                <a:gd name="T43" fmla="*/ 726 h 910"/>
                <a:gd name="T44" fmla="*/ 154 w 1046"/>
                <a:gd name="T45" fmla="*/ 645 h 910"/>
                <a:gd name="T46" fmla="*/ 96 w 1046"/>
                <a:gd name="T47" fmla="*/ 561 h 910"/>
                <a:gd name="T48" fmla="*/ 49 w 1046"/>
                <a:gd name="T49" fmla="*/ 479 h 910"/>
                <a:gd name="T50" fmla="*/ 16 w 1046"/>
                <a:gd name="T51" fmla="*/ 407 h 910"/>
                <a:gd name="T52" fmla="*/ 0 w 1046"/>
                <a:gd name="T53" fmla="*/ 327 h 910"/>
                <a:gd name="T54" fmla="*/ 18 w 1046"/>
                <a:gd name="T55" fmla="*/ 264 h 910"/>
                <a:gd name="T56" fmla="*/ 63 w 1046"/>
                <a:gd name="T57" fmla="*/ 213 h 910"/>
                <a:gd name="T58" fmla="*/ 140 w 1046"/>
                <a:gd name="T59" fmla="*/ 175 h 910"/>
                <a:gd name="T60" fmla="*/ 243 w 1046"/>
                <a:gd name="T61" fmla="*/ 141 h 910"/>
                <a:gd name="T62" fmla="*/ 371 w 1046"/>
                <a:gd name="T63" fmla="*/ 113 h 910"/>
                <a:gd name="T64" fmla="*/ 525 w 1046"/>
                <a:gd name="T65" fmla="*/ 84 h 910"/>
                <a:gd name="T66" fmla="*/ 677 w 1046"/>
                <a:gd name="T67" fmla="*/ 57 h 910"/>
                <a:gd name="T68" fmla="*/ 815 w 1046"/>
                <a:gd name="T69" fmla="*/ 35 h 910"/>
                <a:gd name="T70" fmla="*/ 932 w 1046"/>
                <a:gd name="T71" fmla="*/ 17 h 910"/>
                <a:gd name="T72" fmla="*/ 1018 w 1046"/>
                <a:gd name="T73" fmla="*/ 5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6" h="910">
                  <a:moveTo>
                    <a:pt x="1046" y="0"/>
                  </a:moveTo>
                  <a:lnTo>
                    <a:pt x="1019" y="5"/>
                  </a:lnTo>
                  <a:lnTo>
                    <a:pt x="985" y="10"/>
                  </a:lnTo>
                  <a:lnTo>
                    <a:pt x="941" y="17"/>
                  </a:lnTo>
                  <a:lnTo>
                    <a:pt x="888" y="26"/>
                  </a:lnTo>
                  <a:lnTo>
                    <a:pt x="827" y="36"/>
                  </a:lnTo>
                  <a:lnTo>
                    <a:pt x="761" y="49"/>
                  </a:lnTo>
                  <a:lnTo>
                    <a:pt x="687" y="64"/>
                  </a:lnTo>
                  <a:lnTo>
                    <a:pt x="607" y="82"/>
                  </a:lnTo>
                  <a:lnTo>
                    <a:pt x="523" y="103"/>
                  </a:lnTo>
                  <a:lnTo>
                    <a:pt x="474" y="115"/>
                  </a:lnTo>
                  <a:lnTo>
                    <a:pt x="425" y="131"/>
                  </a:lnTo>
                  <a:lnTo>
                    <a:pt x="380" y="147"/>
                  </a:lnTo>
                  <a:lnTo>
                    <a:pt x="336" y="166"/>
                  </a:lnTo>
                  <a:lnTo>
                    <a:pt x="294" y="187"/>
                  </a:lnTo>
                  <a:lnTo>
                    <a:pt x="255" y="210"/>
                  </a:lnTo>
                  <a:lnTo>
                    <a:pt x="222" y="236"/>
                  </a:lnTo>
                  <a:lnTo>
                    <a:pt x="192" y="264"/>
                  </a:lnTo>
                  <a:lnTo>
                    <a:pt x="166" y="295"/>
                  </a:lnTo>
                  <a:lnTo>
                    <a:pt x="147" y="330"/>
                  </a:lnTo>
                  <a:lnTo>
                    <a:pt x="133" y="367"/>
                  </a:lnTo>
                  <a:lnTo>
                    <a:pt x="126" y="409"/>
                  </a:lnTo>
                  <a:lnTo>
                    <a:pt x="124" y="453"/>
                  </a:lnTo>
                  <a:lnTo>
                    <a:pt x="131" y="502"/>
                  </a:lnTo>
                  <a:lnTo>
                    <a:pt x="147" y="554"/>
                  </a:lnTo>
                  <a:lnTo>
                    <a:pt x="170" y="612"/>
                  </a:lnTo>
                  <a:lnTo>
                    <a:pt x="184" y="640"/>
                  </a:lnTo>
                  <a:lnTo>
                    <a:pt x="201" y="672"/>
                  </a:lnTo>
                  <a:lnTo>
                    <a:pt x="219" y="705"/>
                  </a:lnTo>
                  <a:lnTo>
                    <a:pt x="240" y="738"/>
                  </a:lnTo>
                  <a:lnTo>
                    <a:pt x="262" y="771"/>
                  </a:lnTo>
                  <a:lnTo>
                    <a:pt x="283" y="803"/>
                  </a:lnTo>
                  <a:lnTo>
                    <a:pt x="303" y="833"/>
                  </a:lnTo>
                  <a:lnTo>
                    <a:pt x="322" y="859"/>
                  </a:lnTo>
                  <a:lnTo>
                    <a:pt x="338" y="880"/>
                  </a:lnTo>
                  <a:lnTo>
                    <a:pt x="352" y="898"/>
                  </a:lnTo>
                  <a:lnTo>
                    <a:pt x="360" y="910"/>
                  </a:lnTo>
                  <a:lnTo>
                    <a:pt x="350" y="898"/>
                  </a:lnTo>
                  <a:lnTo>
                    <a:pt x="336" y="882"/>
                  </a:lnTo>
                  <a:lnTo>
                    <a:pt x="317" y="859"/>
                  </a:lnTo>
                  <a:lnTo>
                    <a:pt x="294" y="831"/>
                  </a:lnTo>
                  <a:lnTo>
                    <a:pt x="269" y="799"/>
                  </a:lnTo>
                  <a:lnTo>
                    <a:pt x="241" y="764"/>
                  </a:lnTo>
                  <a:lnTo>
                    <a:pt x="212" y="726"/>
                  </a:lnTo>
                  <a:lnTo>
                    <a:pt x="184" y="686"/>
                  </a:lnTo>
                  <a:lnTo>
                    <a:pt x="154" y="645"/>
                  </a:lnTo>
                  <a:lnTo>
                    <a:pt x="124" y="603"/>
                  </a:lnTo>
                  <a:lnTo>
                    <a:pt x="96" y="561"/>
                  </a:lnTo>
                  <a:lnTo>
                    <a:pt x="72" y="519"/>
                  </a:lnTo>
                  <a:lnTo>
                    <a:pt x="49" y="479"/>
                  </a:lnTo>
                  <a:lnTo>
                    <a:pt x="30" y="442"/>
                  </a:lnTo>
                  <a:lnTo>
                    <a:pt x="16" y="407"/>
                  </a:lnTo>
                  <a:lnTo>
                    <a:pt x="4" y="364"/>
                  </a:lnTo>
                  <a:lnTo>
                    <a:pt x="0" y="327"/>
                  </a:lnTo>
                  <a:lnTo>
                    <a:pt x="5" y="294"/>
                  </a:lnTo>
                  <a:lnTo>
                    <a:pt x="18" y="264"/>
                  </a:lnTo>
                  <a:lnTo>
                    <a:pt x="37" y="238"/>
                  </a:lnTo>
                  <a:lnTo>
                    <a:pt x="63" y="213"/>
                  </a:lnTo>
                  <a:lnTo>
                    <a:pt x="98" y="192"/>
                  </a:lnTo>
                  <a:lnTo>
                    <a:pt x="140" y="175"/>
                  </a:lnTo>
                  <a:lnTo>
                    <a:pt x="187" y="157"/>
                  </a:lnTo>
                  <a:lnTo>
                    <a:pt x="243" y="141"/>
                  </a:lnTo>
                  <a:lnTo>
                    <a:pt x="304" y="127"/>
                  </a:lnTo>
                  <a:lnTo>
                    <a:pt x="371" y="113"/>
                  </a:lnTo>
                  <a:lnTo>
                    <a:pt x="448" y="98"/>
                  </a:lnTo>
                  <a:lnTo>
                    <a:pt x="525" y="84"/>
                  </a:lnTo>
                  <a:lnTo>
                    <a:pt x="602" y="70"/>
                  </a:lnTo>
                  <a:lnTo>
                    <a:pt x="677" y="57"/>
                  </a:lnTo>
                  <a:lnTo>
                    <a:pt x="748" y="45"/>
                  </a:lnTo>
                  <a:lnTo>
                    <a:pt x="815" y="35"/>
                  </a:lnTo>
                  <a:lnTo>
                    <a:pt x="878" y="24"/>
                  </a:lnTo>
                  <a:lnTo>
                    <a:pt x="932" y="17"/>
                  </a:lnTo>
                  <a:lnTo>
                    <a:pt x="979" y="10"/>
                  </a:lnTo>
                  <a:lnTo>
                    <a:pt x="1018" y="5"/>
                  </a:lnTo>
                  <a:lnTo>
                    <a:pt x="1046" y="0"/>
                  </a:lnTo>
                  <a:close/>
                </a:path>
              </a:pathLst>
            </a:custGeom>
            <a:solidFill>
              <a:srgbClr val="86C2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2"/>
            <p:cNvSpPr>
              <a:spLocks/>
            </p:cNvSpPr>
            <p:nvPr userDrawn="1"/>
          </p:nvSpPr>
          <p:spPr bwMode="auto">
            <a:xfrm>
              <a:off x="3786188" y="2143125"/>
              <a:ext cx="1474788" cy="1449388"/>
            </a:xfrm>
            <a:custGeom>
              <a:avLst/>
              <a:gdLst>
                <a:gd name="T0" fmla="*/ 927 w 929"/>
                <a:gd name="T1" fmla="*/ 29 h 913"/>
                <a:gd name="T2" fmla="*/ 929 w 929"/>
                <a:gd name="T3" fmla="*/ 84 h 913"/>
                <a:gd name="T4" fmla="*/ 923 w 929"/>
                <a:gd name="T5" fmla="*/ 124 h 913"/>
                <a:gd name="T6" fmla="*/ 922 w 929"/>
                <a:gd name="T7" fmla="*/ 138 h 913"/>
                <a:gd name="T8" fmla="*/ 840 w 929"/>
                <a:gd name="T9" fmla="*/ 152 h 913"/>
                <a:gd name="T10" fmla="*/ 735 w 929"/>
                <a:gd name="T11" fmla="*/ 173 h 913"/>
                <a:gd name="T12" fmla="*/ 616 w 929"/>
                <a:gd name="T13" fmla="*/ 199 h 913"/>
                <a:gd name="T14" fmla="*/ 493 w 929"/>
                <a:gd name="T15" fmla="*/ 231 h 913"/>
                <a:gd name="T16" fmla="*/ 380 w 929"/>
                <a:gd name="T17" fmla="*/ 267 h 913"/>
                <a:gd name="T18" fmla="*/ 282 w 929"/>
                <a:gd name="T19" fmla="*/ 309 h 913"/>
                <a:gd name="T20" fmla="*/ 214 w 929"/>
                <a:gd name="T21" fmla="*/ 353 h 913"/>
                <a:gd name="T22" fmla="*/ 182 w 929"/>
                <a:gd name="T23" fmla="*/ 402 h 913"/>
                <a:gd name="T24" fmla="*/ 186 w 929"/>
                <a:gd name="T25" fmla="*/ 456 h 913"/>
                <a:gd name="T26" fmla="*/ 207 w 929"/>
                <a:gd name="T27" fmla="*/ 523 h 913"/>
                <a:gd name="T28" fmla="*/ 238 w 929"/>
                <a:gd name="T29" fmla="*/ 593 h 913"/>
                <a:gd name="T30" fmla="*/ 277 w 929"/>
                <a:gd name="T31" fmla="*/ 659 h 913"/>
                <a:gd name="T32" fmla="*/ 313 w 929"/>
                <a:gd name="T33" fmla="*/ 719 h 913"/>
                <a:gd name="T34" fmla="*/ 345 w 929"/>
                <a:gd name="T35" fmla="*/ 763 h 913"/>
                <a:gd name="T36" fmla="*/ 360 w 929"/>
                <a:gd name="T37" fmla="*/ 787 h 913"/>
                <a:gd name="T38" fmla="*/ 360 w 929"/>
                <a:gd name="T39" fmla="*/ 794 h 913"/>
                <a:gd name="T40" fmla="*/ 322 w 929"/>
                <a:gd name="T41" fmla="*/ 843 h 913"/>
                <a:gd name="T42" fmla="*/ 284 w 929"/>
                <a:gd name="T43" fmla="*/ 882 h 913"/>
                <a:gd name="T44" fmla="*/ 252 w 929"/>
                <a:gd name="T45" fmla="*/ 906 h 913"/>
                <a:gd name="T46" fmla="*/ 240 w 929"/>
                <a:gd name="T47" fmla="*/ 913 h 913"/>
                <a:gd name="T48" fmla="*/ 238 w 929"/>
                <a:gd name="T49" fmla="*/ 912 h 913"/>
                <a:gd name="T50" fmla="*/ 228 w 929"/>
                <a:gd name="T51" fmla="*/ 898 h 913"/>
                <a:gd name="T52" fmla="*/ 198 w 929"/>
                <a:gd name="T53" fmla="*/ 859 h 913"/>
                <a:gd name="T54" fmla="*/ 159 w 929"/>
                <a:gd name="T55" fmla="*/ 803 h 913"/>
                <a:gd name="T56" fmla="*/ 116 w 929"/>
                <a:gd name="T57" fmla="*/ 738 h 913"/>
                <a:gd name="T58" fmla="*/ 77 w 929"/>
                <a:gd name="T59" fmla="*/ 672 h 913"/>
                <a:gd name="T60" fmla="*/ 46 w 929"/>
                <a:gd name="T61" fmla="*/ 612 h 913"/>
                <a:gd name="T62" fmla="*/ 7 w 929"/>
                <a:gd name="T63" fmla="*/ 502 h 913"/>
                <a:gd name="T64" fmla="*/ 2 w 929"/>
                <a:gd name="T65" fmla="*/ 409 h 913"/>
                <a:gd name="T66" fmla="*/ 23 w 929"/>
                <a:gd name="T67" fmla="*/ 330 h 913"/>
                <a:gd name="T68" fmla="*/ 68 w 929"/>
                <a:gd name="T69" fmla="*/ 264 h 913"/>
                <a:gd name="T70" fmla="*/ 131 w 929"/>
                <a:gd name="T71" fmla="*/ 210 h 913"/>
                <a:gd name="T72" fmla="*/ 212 w 929"/>
                <a:gd name="T73" fmla="*/ 166 h 913"/>
                <a:gd name="T74" fmla="*/ 301 w 929"/>
                <a:gd name="T75" fmla="*/ 131 h 913"/>
                <a:gd name="T76" fmla="*/ 399 w 929"/>
                <a:gd name="T77" fmla="*/ 103 h 913"/>
                <a:gd name="T78" fmla="*/ 563 w 929"/>
                <a:gd name="T79" fmla="*/ 64 h 913"/>
                <a:gd name="T80" fmla="*/ 703 w 929"/>
                <a:gd name="T81" fmla="*/ 36 h 913"/>
                <a:gd name="T82" fmla="*/ 817 w 929"/>
                <a:gd name="T83" fmla="*/ 17 h 913"/>
                <a:gd name="T84" fmla="*/ 895 w 929"/>
                <a:gd name="T85" fmla="*/ 5 h 913"/>
                <a:gd name="T86" fmla="*/ 922 w 929"/>
                <a:gd name="T87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29" h="913">
                  <a:moveTo>
                    <a:pt x="922" y="0"/>
                  </a:moveTo>
                  <a:lnTo>
                    <a:pt x="927" y="29"/>
                  </a:lnTo>
                  <a:lnTo>
                    <a:pt x="929" y="57"/>
                  </a:lnTo>
                  <a:lnTo>
                    <a:pt x="929" y="84"/>
                  </a:lnTo>
                  <a:lnTo>
                    <a:pt x="927" y="106"/>
                  </a:lnTo>
                  <a:lnTo>
                    <a:pt x="923" y="124"/>
                  </a:lnTo>
                  <a:lnTo>
                    <a:pt x="922" y="134"/>
                  </a:lnTo>
                  <a:lnTo>
                    <a:pt x="922" y="138"/>
                  </a:lnTo>
                  <a:lnTo>
                    <a:pt x="885" y="145"/>
                  </a:lnTo>
                  <a:lnTo>
                    <a:pt x="840" y="152"/>
                  </a:lnTo>
                  <a:lnTo>
                    <a:pt x="789" y="162"/>
                  </a:lnTo>
                  <a:lnTo>
                    <a:pt x="735" y="173"/>
                  </a:lnTo>
                  <a:lnTo>
                    <a:pt x="677" y="185"/>
                  </a:lnTo>
                  <a:lnTo>
                    <a:pt x="616" y="199"/>
                  </a:lnTo>
                  <a:lnTo>
                    <a:pt x="555" y="215"/>
                  </a:lnTo>
                  <a:lnTo>
                    <a:pt x="493" y="231"/>
                  </a:lnTo>
                  <a:lnTo>
                    <a:pt x="436" y="248"/>
                  </a:lnTo>
                  <a:lnTo>
                    <a:pt x="380" y="267"/>
                  </a:lnTo>
                  <a:lnTo>
                    <a:pt x="327" y="288"/>
                  </a:lnTo>
                  <a:lnTo>
                    <a:pt x="282" y="309"/>
                  </a:lnTo>
                  <a:lnTo>
                    <a:pt x="243" y="330"/>
                  </a:lnTo>
                  <a:lnTo>
                    <a:pt x="214" y="353"/>
                  </a:lnTo>
                  <a:lnTo>
                    <a:pt x="193" y="378"/>
                  </a:lnTo>
                  <a:lnTo>
                    <a:pt x="182" y="402"/>
                  </a:lnTo>
                  <a:lnTo>
                    <a:pt x="180" y="428"/>
                  </a:lnTo>
                  <a:lnTo>
                    <a:pt x="186" y="456"/>
                  </a:lnTo>
                  <a:lnTo>
                    <a:pt x="193" y="490"/>
                  </a:lnTo>
                  <a:lnTo>
                    <a:pt x="207" y="523"/>
                  </a:lnTo>
                  <a:lnTo>
                    <a:pt x="221" y="558"/>
                  </a:lnTo>
                  <a:lnTo>
                    <a:pt x="238" y="593"/>
                  </a:lnTo>
                  <a:lnTo>
                    <a:pt x="257" y="626"/>
                  </a:lnTo>
                  <a:lnTo>
                    <a:pt x="277" y="659"/>
                  </a:lnTo>
                  <a:lnTo>
                    <a:pt x="296" y="691"/>
                  </a:lnTo>
                  <a:lnTo>
                    <a:pt x="313" y="719"/>
                  </a:lnTo>
                  <a:lnTo>
                    <a:pt x="331" y="743"/>
                  </a:lnTo>
                  <a:lnTo>
                    <a:pt x="345" y="763"/>
                  </a:lnTo>
                  <a:lnTo>
                    <a:pt x="355" y="778"/>
                  </a:lnTo>
                  <a:lnTo>
                    <a:pt x="360" y="787"/>
                  </a:lnTo>
                  <a:lnTo>
                    <a:pt x="362" y="789"/>
                  </a:lnTo>
                  <a:lnTo>
                    <a:pt x="360" y="794"/>
                  </a:lnTo>
                  <a:lnTo>
                    <a:pt x="341" y="821"/>
                  </a:lnTo>
                  <a:lnTo>
                    <a:pt x="322" y="843"/>
                  </a:lnTo>
                  <a:lnTo>
                    <a:pt x="303" y="864"/>
                  </a:lnTo>
                  <a:lnTo>
                    <a:pt x="284" y="882"/>
                  </a:lnTo>
                  <a:lnTo>
                    <a:pt x="266" y="896"/>
                  </a:lnTo>
                  <a:lnTo>
                    <a:pt x="252" y="906"/>
                  </a:lnTo>
                  <a:lnTo>
                    <a:pt x="243" y="912"/>
                  </a:lnTo>
                  <a:lnTo>
                    <a:pt x="240" y="913"/>
                  </a:lnTo>
                  <a:lnTo>
                    <a:pt x="238" y="913"/>
                  </a:lnTo>
                  <a:lnTo>
                    <a:pt x="238" y="912"/>
                  </a:lnTo>
                  <a:lnTo>
                    <a:pt x="236" y="910"/>
                  </a:lnTo>
                  <a:lnTo>
                    <a:pt x="228" y="898"/>
                  </a:lnTo>
                  <a:lnTo>
                    <a:pt x="214" y="880"/>
                  </a:lnTo>
                  <a:lnTo>
                    <a:pt x="198" y="859"/>
                  </a:lnTo>
                  <a:lnTo>
                    <a:pt x="179" y="833"/>
                  </a:lnTo>
                  <a:lnTo>
                    <a:pt x="159" y="803"/>
                  </a:lnTo>
                  <a:lnTo>
                    <a:pt x="138" y="771"/>
                  </a:lnTo>
                  <a:lnTo>
                    <a:pt x="116" y="738"/>
                  </a:lnTo>
                  <a:lnTo>
                    <a:pt x="95" y="705"/>
                  </a:lnTo>
                  <a:lnTo>
                    <a:pt x="77" y="672"/>
                  </a:lnTo>
                  <a:lnTo>
                    <a:pt x="60" y="640"/>
                  </a:lnTo>
                  <a:lnTo>
                    <a:pt x="46" y="612"/>
                  </a:lnTo>
                  <a:lnTo>
                    <a:pt x="23" y="554"/>
                  </a:lnTo>
                  <a:lnTo>
                    <a:pt x="7" y="502"/>
                  </a:lnTo>
                  <a:lnTo>
                    <a:pt x="0" y="453"/>
                  </a:lnTo>
                  <a:lnTo>
                    <a:pt x="2" y="409"/>
                  </a:lnTo>
                  <a:lnTo>
                    <a:pt x="9" y="367"/>
                  </a:lnTo>
                  <a:lnTo>
                    <a:pt x="23" y="330"/>
                  </a:lnTo>
                  <a:lnTo>
                    <a:pt x="42" y="295"/>
                  </a:lnTo>
                  <a:lnTo>
                    <a:pt x="68" y="264"/>
                  </a:lnTo>
                  <a:lnTo>
                    <a:pt x="98" y="236"/>
                  </a:lnTo>
                  <a:lnTo>
                    <a:pt x="131" y="210"/>
                  </a:lnTo>
                  <a:lnTo>
                    <a:pt x="170" y="187"/>
                  </a:lnTo>
                  <a:lnTo>
                    <a:pt x="212" y="166"/>
                  </a:lnTo>
                  <a:lnTo>
                    <a:pt x="256" y="147"/>
                  </a:lnTo>
                  <a:lnTo>
                    <a:pt x="301" y="131"/>
                  </a:lnTo>
                  <a:lnTo>
                    <a:pt x="350" y="115"/>
                  </a:lnTo>
                  <a:lnTo>
                    <a:pt x="399" y="103"/>
                  </a:lnTo>
                  <a:lnTo>
                    <a:pt x="483" y="82"/>
                  </a:lnTo>
                  <a:lnTo>
                    <a:pt x="563" y="64"/>
                  </a:lnTo>
                  <a:lnTo>
                    <a:pt x="637" y="49"/>
                  </a:lnTo>
                  <a:lnTo>
                    <a:pt x="703" y="36"/>
                  </a:lnTo>
                  <a:lnTo>
                    <a:pt x="764" y="26"/>
                  </a:lnTo>
                  <a:lnTo>
                    <a:pt x="817" y="17"/>
                  </a:lnTo>
                  <a:lnTo>
                    <a:pt x="861" y="10"/>
                  </a:lnTo>
                  <a:lnTo>
                    <a:pt x="895" y="5"/>
                  </a:lnTo>
                  <a:lnTo>
                    <a:pt x="922" y="0"/>
                  </a:lnTo>
                  <a:lnTo>
                    <a:pt x="92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3"/>
            <p:cNvSpPr>
              <a:spLocks/>
            </p:cNvSpPr>
            <p:nvPr userDrawn="1"/>
          </p:nvSpPr>
          <p:spPr bwMode="auto">
            <a:xfrm>
              <a:off x="2128838" y="1058863"/>
              <a:ext cx="1546225" cy="974725"/>
            </a:xfrm>
            <a:custGeom>
              <a:avLst/>
              <a:gdLst>
                <a:gd name="T0" fmla="*/ 974 w 974"/>
                <a:gd name="T1" fmla="*/ 0 h 614"/>
                <a:gd name="T2" fmla="*/ 948 w 974"/>
                <a:gd name="T3" fmla="*/ 79 h 614"/>
                <a:gd name="T4" fmla="*/ 920 w 974"/>
                <a:gd name="T5" fmla="*/ 159 h 614"/>
                <a:gd name="T6" fmla="*/ 894 w 974"/>
                <a:gd name="T7" fmla="*/ 231 h 614"/>
                <a:gd name="T8" fmla="*/ 866 w 974"/>
                <a:gd name="T9" fmla="*/ 301 h 614"/>
                <a:gd name="T10" fmla="*/ 838 w 974"/>
                <a:gd name="T11" fmla="*/ 368 h 614"/>
                <a:gd name="T12" fmla="*/ 806 w 974"/>
                <a:gd name="T13" fmla="*/ 431 h 614"/>
                <a:gd name="T14" fmla="*/ 785 w 974"/>
                <a:gd name="T15" fmla="*/ 469 h 614"/>
                <a:gd name="T16" fmla="*/ 761 w 974"/>
                <a:gd name="T17" fmla="*/ 506 h 614"/>
                <a:gd name="T18" fmla="*/ 733 w 974"/>
                <a:gd name="T19" fmla="*/ 539 h 614"/>
                <a:gd name="T20" fmla="*/ 703 w 974"/>
                <a:gd name="T21" fmla="*/ 569 h 614"/>
                <a:gd name="T22" fmla="*/ 668 w 974"/>
                <a:gd name="T23" fmla="*/ 593 h 614"/>
                <a:gd name="T24" fmla="*/ 633 w 974"/>
                <a:gd name="T25" fmla="*/ 607 h 614"/>
                <a:gd name="T26" fmla="*/ 598 w 974"/>
                <a:gd name="T27" fmla="*/ 614 h 614"/>
                <a:gd name="T28" fmla="*/ 562 w 974"/>
                <a:gd name="T29" fmla="*/ 613 h 614"/>
                <a:gd name="T30" fmla="*/ 527 w 974"/>
                <a:gd name="T31" fmla="*/ 604 h 614"/>
                <a:gd name="T32" fmla="*/ 490 w 974"/>
                <a:gd name="T33" fmla="*/ 588 h 614"/>
                <a:gd name="T34" fmla="*/ 445 w 974"/>
                <a:gd name="T35" fmla="*/ 560 h 614"/>
                <a:gd name="T36" fmla="*/ 403 w 974"/>
                <a:gd name="T37" fmla="*/ 529 h 614"/>
                <a:gd name="T38" fmla="*/ 345 w 974"/>
                <a:gd name="T39" fmla="*/ 478 h 614"/>
                <a:gd name="T40" fmla="*/ 285 w 974"/>
                <a:gd name="T41" fmla="*/ 418 h 614"/>
                <a:gd name="T42" fmla="*/ 226 w 974"/>
                <a:gd name="T43" fmla="*/ 354 h 614"/>
                <a:gd name="T44" fmla="*/ 177 w 974"/>
                <a:gd name="T45" fmla="*/ 299 h 614"/>
                <a:gd name="T46" fmla="*/ 133 w 974"/>
                <a:gd name="T47" fmla="*/ 249 h 614"/>
                <a:gd name="T48" fmla="*/ 95 w 974"/>
                <a:gd name="T49" fmla="*/ 201 h 614"/>
                <a:gd name="T50" fmla="*/ 60 w 974"/>
                <a:gd name="T51" fmla="*/ 159 h 614"/>
                <a:gd name="T52" fmla="*/ 28 w 974"/>
                <a:gd name="T53" fmla="*/ 123 h 614"/>
                <a:gd name="T54" fmla="*/ 4 w 974"/>
                <a:gd name="T55" fmla="*/ 91 h 614"/>
                <a:gd name="T56" fmla="*/ 2 w 974"/>
                <a:gd name="T57" fmla="*/ 89 h 614"/>
                <a:gd name="T58" fmla="*/ 0 w 974"/>
                <a:gd name="T59" fmla="*/ 88 h 614"/>
                <a:gd name="T60" fmla="*/ 0 w 974"/>
                <a:gd name="T61" fmla="*/ 86 h 614"/>
                <a:gd name="T62" fmla="*/ 2 w 974"/>
                <a:gd name="T63" fmla="*/ 88 h 614"/>
                <a:gd name="T64" fmla="*/ 4 w 974"/>
                <a:gd name="T65" fmla="*/ 91 h 614"/>
                <a:gd name="T66" fmla="*/ 63 w 974"/>
                <a:gd name="T67" fmla="*/ 161 h 614"/>
                <a:gd name="T68" fmla="*/ 126 w 974"/>
                <a:gd name="T69" fmla="*/ 231 h 614"/>
                <a:gd name="T70" fmla="*/ 188 w 974"/>
                <a:gd name="T71" fmla="*/ 296 h 614"/>
                <a:gd name="T72" fmla="*/ 242 w 974"/>
                <a:gd name="T73" fmla="*/ 347 h 614"/>
                <a:gd name="T74" fmla="*/ 296 w 974"/>
                <a:gd name="T75" fmla="*/ 394 h 614"/>
                <a:gd name="T76" fmla="*/ 350 w 974"/>
                <a:gd name="T77" fmla="*/ 434 h 614"/>
                <a:gd name="T78" fmla="*/ 394 w 974"/>
                <a:gd name="T79" fmla="*/ 459 h 614"/>
                <a:gd name="T80" fmla="*/ 436 w 974"/>
                <a:gd name="T81" fmla="*/ 480 h 614"/>
                <a:gd name="T82" fmla="*/ 481 w 974"/>
                <a:gd name="T83" fmla="*/ 494 h 614"/>
                <a:gd name="T84" fmla="*/ 530 w 974"/>
                <a:gd name="T85" fmla="*/ 499 h 614"/>
                <a:gd name="T86" fmla="*/ 549 w 974"/>
                <a:gd name="T87" fmla="*/ 497 h 614"/>
                <a:gd name="T88" fmla="*/ 602 w 974"/>
                <a:gd name="T89" fmla="*/ 488 h 614"/>
                <a:gd name="T90" fmla="*/ 651 w 974"/>
                <a:gd name="T91" fmla="*/ 469 h 614"/>
                <a:gd name="T92" fmla="*/ 695 w 974"/>
                <a:gd name="T93" fmla="*/ 445 h 614"/>
                <a:gd name="T94" fmla="*/ 733 w 974"/>
                <a:gd name="T95" fmla="*/ 415 h 614"/>
                <a:gd name="T96" fmla="*/ 775 w 974"/>
                <a:gd name="T97" fmla="*/ 375 h 614"/>
                <a:gd name="T98" fmla="*/ 812 w 974"/>
                <a:gd name="T99" fmla="*/ 329 h 614"/>
                <a:gd name="T100" fmla="*/ 843 w 974"/>
                <a:gd name="T101" fmla="*/ 280 h 614"/>
                <a:gd name="T102" fmla="*/ 873 w 974"/>
                <a:gd name="T103" fmla="*/ 229 h 614"/>
                <a:gd name="T104" fmla="*/ 899 w 974"/>
                <a:gd name="T105" fmla="*/ 177 h 614"/>
                <a:gd name="T106" fmla="*/ 939 w 974"/>
                <a:gd name="T107" fmla="*/ 88 h 614"/>
                <a:gd name="T108" fmla="*/ 974 w 974"/>
                <a:gd name="T109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4" h="614">
                  <a:moveTo>
                    <a:pt x="974" y="0"/>
                  </a:moveTo>
                  <a:lnTo>
                    <a:pt x="948" y="79"/>
                  </a:lnTo>
                  <a:lnTo>
                    <a:pt x="920" y="159"/>
                  </a:lnTo>
                  <a:lnTo>
                    <a:pt x="894" y="231"/>
                  </a:lnTo>
                  <a:lnTo>
                    <a:pt x="866" y="301"/>
                  </a:lnTo>
                  <a:lnTo>
                    <a:pt x="838" y="368"/>
                  </a:lnTo>
                  <a:lnTo>
                    <a:pt x="806" y="431"/>
                  </a:lnTo>
                  <a:lnTo>
                    <a:pt x="785" y="469"/>
                  </a:lnTo>
                  <a:lnTo>
                    <a:pt x="761" y="506"/>
                  </a:lnTo>
                  <a:lnTo>
                    <a:pt x="733" y="539"/>
                  </a:lnTo>
                  <a:lnTo>
                    <a:pt x="703" y="569"/>
                  </a:lnTo>
                  <a:lnTo>
                    <a:pt x="668" y="593"/>
                  </a:lnTo>
                  <a:lnTo>
                    <a:pt x="633" y="607"/>
                  </a:lnTo>
                  <a:lnTo>
                    <a:pt x="598" y="614"/>
                  </a:lnTo>
                  <a:lnTo>
                    <a:pt x="562" y="613"/>
                  </a:lnTo>
                  <a:lnTo>
                    <a:pt x="527" y="604"/>
                  </a:lnTo>
                  <a:lnTo>
                    <a:pt x="490" y="588"/>
                  </a:lnTo>
                  <a:lnTo>
                    <a:pt x="445" y="560"/>
                  </a:lnTo>
                  <a:lnTo>
                    <a:pt x="403" y="529"/>
                  </a:lnTo>
                  <a:lnTo>
                    <a:pt x="345" y="478"/>
                  </a:lnTo>
                  <a:lnTo>
                    <a:pt x="285" y="418"/>
                  </a:lnTo>
                  <a:lnTo>
                    <a:pt x="226" y="354"/>
                  </a:lnTo>
                  <a:lnTo>
                    <a:pt x="177" y="299"/>
                  </a:lnTo>
                  <a:lnTo>
                    <a:pt x="133" y="249"/>
                  </a:lnTo>
                  <a:lnTo>
                    <a:pt x="95" y="201"/>
                  </a:lnTo>
                  <a:lnTo>
                    <a:pt x="60" y="159"/>
                  </a:lnTo>
                  <a:lnTo>
                    <a:pt x="28" y="123"/>
                  </a:lnTo>
                  <a:lnTo>
                    <a:pt x="4" y="91"/>
                  </a:lnTo>
                  <a:lnTo>
                    <a:pt x="2" y="89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4" y="91"/>
                  </a:lnTo>
                  <a:lnTo>
                    <a:pt x="63" y="161"/>
                  </a:lnTo>
                  <a:lnTo>
                    <a:pt x="126" y="231"/>
                  </a:lnTo>
                  <a:lnTo>
                    <a:pt x="188" y="296"/>
                  </a:lnTo>
                  <a:lnTo>
                    <a:pt x="242" y="347"/>
                  </a:lnTo>
                  <a:lnTo>
                    <a:pt x="296" y="394"/>
                  </a:lnTo>
                  <a:lnTo>
                    <a:pt x="350" y="434"/>
                  </a:lnTo>
                  <a:lnTo>
                    <a:pt x="394" y="459"/>
                  </a:lnTo>
                  <a:lnTo>
                    <a:pt x="436" y="480"/>
                  </a:lnTo>
                  <a:lnTo>
                    <a:pt x="481" y="494"/>
                  </a:lnTo>
                  <a:lnTo>
                    <a:pt x="530" y="499"/>
                  </a:lnTo>
                  <a:lnTo>
                    <a:pt x="549" y="497"/>
                  </a:lnTo>
                  <a:lnTo>
                    <a:pt x="602" y="488"/>
                  </a:lnTo>
                  <a:lnTo>
                    <a:pt x="651" y="469"/>
                  </a:lnTo>
                  <a:lnTo>
                    <a:pt x="695" y="445"/>
                  </a:lnTo>
                  <a:lnTo>
                    <a:pt x="733" y="415"/>
                  </a:lnTo>
                  <a:lnTo>
                    <a:pt x="775" y="375"/>
                  </a:lnTo>
                  <a:lnTo>
                    <a:pt x="812" y="329"/>
                  </a:lnTo>
                  <a:lnTo>
                    <a:pt x="843" y="280"/>
                  </a:lnTo>
                  <a:lnTo>
                    <a:pt x="873" y="229"/>
                  </a:lnTo>
                  <a:lnTo>
                    <a:pt x="899" y="177"/>
                  </a:lnTo>
                  <a:lnTo>
                    <a:pt x="939" y="88"/>
                  </a:lnTo>
                  <a:lnTo>
                    <a:pt x="974" y="0"/>
                  </a:lnTo>
                  <a:close/>
                </a:path>
              </a:pathLst>
            </a:custGeom>
            <a:solidFill>
              <a:srgbClr val="EEED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4"/>
            <p:cNvSpPr>
              <a:spLocks/>
            </p:cNvSpPr>
            <p:nvPr userDrawn="1"/>
          </p:nvSpPr>
          <p:spPr bwMode="auto">
            <a:xfrm>
              <a:off x="2079626" y="1006475"/>
              <a:ext cx="1609725" cy="844550"/>
            </a:xfrm>
            <a:custGeom>
              <a:avLst/>
              <a:gdLst>
                <a:gd name="T0" fmla="*/ 885 w 1014"/>
                <a:gd name="T1" fmla="*/ 0 h 532"/>
                <a:gd name="T2" fmla="*/ 941 w 1014"/>
                <a:gd name="T3" fmla="*/ 0 h 532"/>
                <a:gd name="T4" fmla="*/ 1002 w 1014"/>
                <a:gd name="T5" fmla="*/ 9 h 532"/>
                <a:gd name="T6" fmla="*/ 1014 w 1014"/>
                <a:gd name="T7" fmla="*/ 10 h 532"/>
                <a:gd name="T8" fmla="*/ 1012 w 1014"/>
                <a:gd name="T9" fmla="*/ 16 h 532"/>
                <a:gd name="T10" fmla="*/ 1011 w 1014"/>
                <a:gd name="T11" fmla="*/ 21 h 532"/>
                <a:gd name="T12" fmla="*/ 1009 w 1014"/>
                <a:gd name="T13" fmla="*/ 24 h 532"/>
                <a:gd name="T14" fmla="*/ 1007 w 1014"/>
                <a:gd name="T15" fmla="*/ 28 h 532"/>
                <a:gd name="T16" fmla="*/ 1005 w 1014"/>
                <a:gd name="T17" fmla="*/ 33 h 532"/>
                <a:gd name="T18" fmla="*/ 970 w 1014"/>
                <a:gd name="T19" fmla="*/ 121 h 532"/>
                <a:gd name="T20" fmla="*/ 930 w 1014"/>
                <a:gd name="T21" fmla="*/ 210 h 532"/>
                <a:gd name="T22" fmla="*/ 904 w 1014"/>
                <a:gd name="T23" fmla="*/ 262 h 532"/>
                <a:gd name="T24" fmla="*/ 874 w 1014"/>
                <a:gd name="T25" fmla="*/ 313 h 532"/>
                <a:gd name="T26" fmla="*/ 843 w 1014"/>
                <a:gd name="T27" fmla="*/ 362 h 532"/>
                <a:gd name="T28" fmla="*/ 806 w 1014"/>
                <a:gd name="T29" fmla="*/ 408 h 532"/>
                <a:gd name="T30" fmla="*/ 764 w 1014"/>
                <a:gd name="T31" fmla="*/ 448 h 532"/>
                <a:gd name="T32" fmla="*/ 726 w 1014"/>
                <a:gd name="T33" fmla="*/ 478 h 532"/>
                <a:gd name="T34" fmla="*/ 682 w 1014"/>
                <a:gd name="T35" fmla="*/ 502 h 532"/>
                <a:gd name="T36" fmla="*/ 633 w 1014"/>
                <a:gd name="T37" fmla="*/ 521 h 532"/>
                <a:gd name="T38" fmla="*/ 580 w 1014"/>
                <a:gd name="T39" fmla="*/ 530 h 532"/>
                <a:gd name="T40" fmla="*/ 561 w 1014"/>
                <a:gd name="T41" fmla="*/ 532 h 532"/>
                <a:gd name="T42" fmla="*/ 512 w 1014"/>
                <a:gd name="T43" fmla="*/ 527 h 532"/>
                <a:gd name="T44" fmla="*/ 467 w 1014"/>
                <a:gd name="T45" fmla="*/ 513 h 532"/>
                <a:gd name="T46" fmla="*/ 425 w 1014"/>
                <a:gd name="T47" fmla="*/ 492 h 532"/>
                <a:gd name="T48" fmla="*/ 381 w 1014"/>
                <a:gd name="T49" fmla="*/ 467 h 532"/>
                <a:gd name="T50" fmla="*/ 327 w 1014"/>
                <a:gd name="T51" fmla="*/ 427 h 532"/>
                <a:gd name="T52" fmla="*/ 273 w 1014"/>
                <a:gd name="T53" fmla="*/ 380 h 532"/>
                <a:gd name="T54" fmla="*/ 219 w 1014"/>
                <a:gd name="T55" fmla="*/ 329 h 532"/>
                <a:gd name="T56" fmla="*/ 145 w 1014"/>
                <a:gd name="T57" fmla="*/ 252 h 532"/>
                <a:gd name="T58" fmla="*/ 73 w 1014"/>
                <a:gd name="T59" fmla="*/ 170 h 532"/>
                <a:gd name="T60" fmla="*/ 3 w 1014"/>
                <a:gd name="T61" fmla="*/ 86 h 532"/>
                <a:gd name="T62" fmla="*/ 2 w 1014"/>
                <a:gd name="T63" fmla="*/ 84 h 532"/>
                <a:gd name="T64" fmla="*/ 2 w 1014"/>
                <a:gd name="T65" fmla="*/ 82 h 532"/>
                <a:gd name="T66" fmla="*/ 0 w 1014"/>
                <a:gd name="T67" fmla="*/ 82 h 532"/>
                <a:gd name="T68" fmla="*/ 0 w 1014"/>
                <a:gd name="T69" fmla="*/ 80 h 532"/>
                <a:gd name="T70" fmla="*/ 28 w 1014"/>
                <a:gd name="T71" fmla="*/ 63 h 532"/>
                <a:gd name="T72" fmla="*/ 59 w 1014"/>
                <a:gd name="T73" fmla="*/ 47 h 532"/>
                <a:gd name="T74" fmla="*/ 94 w 1014"/>
                <a:gd name="T75" fmla="*/ 33 h 532"/>
                <a:gd name="T76" fmla="*/ 126 w 1014"/>
                <a:gd name="T77" fmla="*/ 23 h 532"/>
                <a:gd name="T78" fmla="*/ 170 w 1014"/>
                <a:gd name="T79" fmla="*/ 75 h 532"/>
                <a:gd name="T80" fmla="*/ 212 w 1014"/>
                <a:gd name="T81" fmla="*/ 124 h 532"/>
                <a:gd name="T82" fmla="*/ 253 w 1014"/>
                <a:gd name="T83" fmla="*/ 171 h 532"/>
                <a:gd name="T84" fmla="*/ 295 w 1014"/>
                <a:gd name="T85" fmla="*/ 217 h 532"/>
                <a:gd name="T86" fmla="*/ 337 w 1014"/>
                <a:gd name="T87" fmla="*/ 259 h 532"/>
                <a:gd name="T88" fmla="*/ 378 w 1014"/>
                <a:gd name="T89" fmla="*/ 296 h 532"/>
                <a:gd name="T90" fmla="*/ 418 w 1014"/>
                <a:gd name="T91" fmla="*/ 327 h 532"/>
                <a:gd name="T92" fmla="*/ 455 w 1014"/>
                <a:gd name="T93" fmla="*/ 352 h 532"/>
                <a:gd name="T94" fmla="*/ 493 w 1014"/>
                <a:gd name="T95" fmla="*/ 369 h 532"/>
                <a:gd name="T96" fmla="*/ 528 w 1014"/>
                <a:gd name="T97" fmla="*/ 378 h 532"/>
                <a:gd name="T98" fmla="*/ 561 w 1014"/>
                <a:gd name="T99" fmla="*/ 378 h 532"/>
                <a:gd name="T100" fmla="*/ 594 w 1014"/>
                <a:gd name="T101" fmla="*/ 367 h 532"/>
                <a:gd name="T102" fmla="*/ 628 w 1014"/>
                <a:gd name="T103" fmla="*/ 348 h 532"/>
                <a:gd name="T104" fmla="*/ 657 w 1014"/>
                <a:gd name="T105" fmla="*/ 322 h 532"/>
                <a:gd name="T106" fmla="*/ 687 w 1014"/>
                <a:gd name="T107" fmla="*/ 290 h 532"/>
                <a:gd name="T108" fmla="*/ 713 w 1014"/>
                <a:gd name="T109" fmla="*/ 254 h 532"/>
                <a:gd name="T110" fmla="*/ 738 w 1014"/>
                <a:gd name="T111" fmla="*/ 213 h 532"/>
                <a:gd name="T112" fmla="*/ 761 w 1014"/>
                <a:gd name="T113" fmla="*/ 173 h 532"/>
                <a:gd name="T114" fmla="*/ 780 w 1014"/>
                <a:gd name="T115" fmla="*/ 133 h 532"/>
                <a:gd name="T116" fmla="*/ 797 w 1014"/>
                <a:gd name="T117" fmla="*/ 94 h 532"/>
                <a:gd name="T118" fmla="*/ 811 w 1014"/>
                <a:gd name="T119" fmla="*/ 59 h 532"/>
                <a:gd name="T120" fmla="*/ 823 w 1014"/>
                <a:gd name="T121" fmla="*/ 30 h 532"/>
                <a:gd name="T122" fmla="*/ 832 w 1014"/>
                <a:gd name="T123" fmla="*/ 7 h 532"/>
                <a:gd name="T124" fmla="*/ 885 w 1014"/>
                <a:gd name="T125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14" h="532">
                  <a:moveTo>
                    <a:pt x="885" y="0"/>
                  </a:moveTo>
                  <a:lnTo>
                    <a:pt x="941" y="0"/>
                  </a:lnTo>
                  <a:lnTo>
                    <a:pt x="1002" y="9"/>
                  </a:lnTo>
                  <a:lnTo>
                    <a:pt x="1014" y="10"/>
                  </a:lnTo>
                  <a:lnTo>
                    <a:pt x="1012" y="16"/>
                  </a:lnTo>
                  <a:lnTo>
                    <a:pt x="1011" y="21"/>
                  </a:lnTo>
                  <a:lnTo>
                    <a:pt x="1009" y="24"/>
                  </a:lnTo>
                  <a:lnTo>
                    <a:pt x="1007" y="28"/>
                  </a:lnTo>
                  <a:lnTo>
                    <a:pt x="1005" y="33"/>
                  </a:lnTo>
                  <a:lnTo>
                    <a:pt x="970" y="121"/>
                  </a:lnTo>
                  <a:lnTo>
                    <a:pt x="930" y="210"/>
                  </a:lnTo>
                  <a:lnTo>
                    <a:pt x="904" y="262"/>
                  </a:lnTo>
                  <a:lnTo>
                    <a:pt x="874" y="313"/>
                  </a:lnTo>
                  <a:lnTo>
                    <a:pt x="843" y="362"/>
                  </a:lnTo>
                  <a:lnTo>
                    <a:pt x="806" y="408"/>
                  </a:lnTo>
                  <a:lnTo>
                    <a:pt x="764" y="448"/>
                  </a:lnTo>
                  <a:lnTo>
                    <a:pt x="726" y="478"/>
                  </a:lnTo>
                  <a:lnTo>
                    <a:pt x="682" y="502"/>
                  </a:lnTo>
                  <a:lnTo>
                    <a:pt x="633" y="521"/>
                  </a:lnTo>
                  <a:lnTo>
                    <a:pt x="580" y="530"/>
                  </a:lnTo>
                  <a:lnTo>
                    <a:pt x="561" y="532"/>
                  </a:lnTo>
                  <a:lnTo>
                    <a:pt x="512" y="527"/>
                  </a:lnTo>
                  <a:lnTo>
                    <a:pt x="467" y="513"/>
                  </a:lnTo>
                  <a:lnTo>
                    <a:pt x="425" y="492"/>
                  </a:lnTo>
                  <a:lnTo>
                    <a:pt x="381" y="467"/>
                  </a:lnTo>
                  <a:lnTo>
                    <a:pt x="327" y="427"/>
                  </a:lnTo>
                  <a:lnTo>
                    <a:pt x="273" y="380"/>
                  </a:lnTo>
                  <a:lnTo>
                    <a:pt x="219" y="329"/>
                  </a:lnTo>
                  <a:lnTo>
                    <a:pt x="145" y="252"/>
                  </a:lnTo>
                  <a:lnTo>
                    <a:pt x="73" y="170"/>
                  </a:lnTo>
                  <a:lnTo>
                    <a:pt x="3" y="86"/>
                  </a:lnTo>
                  <a:lnTo>
                    <a:pt x="2" y="84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28" y="63"/>
                  </a:lnTo>
                  <a:lnTo>
                    <a:pt x="59" y="47"/>
                  </a:lnTo>
                  <a:lnTo>
                    <a:pt x="94" y="33"/>
                  </a:lnTo>
                  <a:lnTo>
                    <a:pt x="126" y="23"/>
                  </a:lnTo>
                  <a:lnTo>
                    <a:pt x="170" y="75"/>
                  </a:lnTo>
                  <a:lnTo>
                    <a:pt x="212" y="124"/>
                  </a:lnTo>
                  <a:lnTo>
                    <a:pt x="253" y="171"/>
                  </a:lnTo>
                  <a:lnTo>
                    <a:pt x="295" y="217"/>
                  </a:lnTo>
                  <a:lnTo>
                    <a:pt x="337" y="259"/>
                  </a:lnTo>
                  <a:lnTo>
                    <a:pt x="378" y="296"/>
                  </a:lnTo>
                  <a:lnTo>
                    <a:pt x="418" y="327"/>
                  </a:lnTo>
                  <a:lnTo>
                    <a:pt x="455" y="352"/>
                  </a:lnTo>
                  <a:lnTo>
                    <a:pt x="493" y="369"/>
                  </a:lnTo>
                  <a:lnTo>
                    <a:pt x="528" y="378"/>
                  </a:lnTo>
                  <a:lnTo>
                    <a:pt x="561" y="378"/>
                  </a:lnTo>
                  <a:lnTo>
                    <a:pt x="594" y="367"/>
                  </a:lnTo>
                  <a:lnTo>
                    <a:pt x="628" y="348"/>
                  </a:lnTo>
                  <a:lnTo>
                    <a:pt x="657" y="322"/>
                  </a:lnTo>
                  <a:lnTo>
                    <a:pt x="687" y="290"/>
                  </a:lnTo>
                  <a:lnTo>
                    <a:pt x="713" y="254"/>
                  </a:lnTo>
                  <a:lnTo>
                    <a:pt x="738" y="213"/>
                  </a:lnTo>
                  <a:lnTo>
                    <a:pt x="761" y="173"/>
                  </a:lnTo>
                  <a:lnTo>
                    <a:pt x="780" y="133"/>
                  </a:lnTo>
                  <a:lnTo>
                    <a:pt x="797" y="94"/>
                  </a:lnTo>
                  <a:lnTo>
                    <a:pt x="811" y="59"/>
                  </a:lnTo>
                  <a:lnTo>
                    <a:pt x="823" y="30"/>
                  </a:lnTo>
                  <a:lnTo>
                    <a:pt x="832" y="7"/>
                  </a:lnTo>
                  <a:lnTo>
                    <a:pt x="885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5"/>
            <p:cNvSpPr>
              <a:spLocks/>
            </p:cNvSpPr>
            <p:nvPr userDrawn="1"/>
          </p:nvSpPr>
          <p:spPr bwMode="auto">
            <a:xfrm>
              <a:off x="1520826" y="1173163"/>
              <a:ext cx="1233488" cy="1449388"/>
            </a:xfrm>
            <a:custGeom>
              <a:avLst/>
              <a:gdLst>
                <a:gd name="T0" fmla="*/ 320 w 777"/>
                <a:gd name="T1" fmla="*/ 0 h 913"/>
                <a:gd name="T2" fmla="*/ 320 w 777"/>
                <a:gd name="T3" fmla="*/ 0 h 913"/>
                <a:gd name="T4" fmla="*/ 373 w 777"/>
                <a:gd name="T5" fmla="*/ 58 h 913"/>
                <a:gd name="T6" fmla="*/ 481 w 777"/>
                <a:gd name="T7" fmla="*/ 182 h 913"/>
                <a:gd name="T8" fmla="*/ 584 w 777"/>
                <a:gd name="T9" fmla="*/ 311 h 913"/>
                <a:gd name="T10" fmla="*/ 632 w 777"/>
                <a:gd name="T11" fmla="*/ 373 h 913"/>
                <a:gd name="T12" fmla="*/ 675 w 777"/>
                <a:gd name="T13" fmla="*/ 436 h 913"/>
                <a:gd name="T14" fmla="*/ 705 w 777"/>
                <a:gd name="T15" fmla="*/ 483 h 913"/>
                <a:gd name="T16" fmla="*/ 733 w 777"/>
                <a:gd name="T17" fmla="*/ 530 h 913"/>
                <a:gd name="T18" fmla="*/ 758 w 777"/>
                <a:gd name="T19" fmla="*/ 579 h 913"/>
                <a:gd name="T20" fmla="*/ 768 w 777"/>
                <a:gd name="T21" fmla="*/ 609 h 913"/>
                <a:gd name="T22" fmla="*/ 775 w 777"/>
                <a:gd name="T23" fmla="*/ 640 h 913"/>
                <a:gd name="T24" fmla="*/ 777 w 777"/>
                <a:gd name="T25" fmla="*/ 674 h 913"/>
                <a:gd name="T26" fmla="*/ 768 w 777"/>
                <a:gd name="T27" fmla="*/ 707 h 913"/>
                <a:gd name="T28" fmla="*/ 751 w 777"/>
                <a:gd name="T29" fmla="*/ 735 h 913"/>
                <a:gd name="T30" fmla="*/ 726 w 777"/>
                <a:gd name="T31" fmla="*/ 759 h 913"/>
                <a:gd name="T32" fmla="*/ 695 w 777"/>
                <a:gd name="T33" fmla="*/ 782 h 913"/>
                <a:gd name="T34" fmla="*/ 660 w 777"/>
                <a:gd name="T35" fmla="*/ 800 h 913"/>
                <a:gd name="T36" fmla="*/ 621 w 777"/>
                <a:gd name="T37" fmla="*/ 812 h 913"/>
                <a:gd name="T38" fmla="*/ 583 w 777"/>
                <a:gd name="T39" fmla="*/ 822 h 913"/>
                <a:gd name="T40" fmla="*/ 544 w 777"/>
                <a:gd name="T41" fmla="*/ 833 h 913"/>
                <a:gd name="T42" fmla="*/ 432 w 777"/>
                <a:gd name="T43" fmla="*/ 856 h 913"/>
                <a:gd name="T44" fmla="*/ 319 w 777"/>
                <a:gd name="T45" fmla="*/ 873 h 913"/>
                <a:gd name="T46" fmla="*/ 160 w 777"/>
                <a:gd name="T47" fmla="*/ 894 h 913"/>
                <a:gd name="T48" fmla="*/ 0 w 777"/>
                <a:gd name="T49" fmla="*/ 913 h 913"/>
                <a:gd name="T50" fmla="*/ 69 w 777"/>
                <a:gd name="T51" fmla="*/ 903 h 913"/>
                <a:gd name="T52" fmla="*/ 137 w 777"/>
                <a:gd name="T53" fmla="*/ 892 h 913"/>
                <a:gd name="T54" fmla="*/ 203 w 777"/>
                <a:gd name="T55" fmla="*/ 880 h 913"/>
                <a:gd name="T56" fmla="*/ 270 w 777"/>
                <a:gd name="T57" fmla="*/ 868 h 913"/>
                <a:gd name="T58" fmla="*/ 333 w 777"/>
                <a:gd name="T59" fmla="*/ 854 h 913"/>
                <a:gd name="T60" fmla="*/ 394 w 777"/>
                <a:gd name="T61" fmla="*/ 836 h 913"/>
                <a:gd name="T62" fmla="*/ 450 w 777"/>
                <a:gd name="T63" fmla="*/ 817 h 913"/>
                <a:gd name="T64" fmla="*/ 501 w 777"/>
                <a:gd name="T65" fmla="*/ 794 h 913"/>
                <a:gd name="T66" fmla="*/ 548 w 777"/>
                <a:gd name="T67" fmla="*/ 768 h 913"/>
                <a:gd name="T68" fmla="*/ 586 w 777"/>
                <a:gd name="T69" fmla="*/ 738 h 913"/>
                <a:gd name="T70" fmla="*/ 614 w 777"/>
                <a:gd name="T71" fmla="*/ 709 h 913"/>
                <a:gd name="T72" fmla="*/ 633 w 777"/>
                <a:gd name="T73" fmla="*/ 677 h 913"/>
                <a:gd name="T74" fmla="*/ 646 w 777"/>
                <a:gd name="T75" fmla="*/ 646 h 913"/>
                <a:gd name="T76" fmla="*/ 653 w 777"/>
                <a:gd name="T77" fmla="*/ 612 h 913"/>
                <a:gd name="T78" fmla="*/ 654 w 777"/>
                <a:gd name="T79" fmla="*/ 579 h 913"/>
                <a:gd name="T80" fmla="*/ 651 w 777"/>
                <a:gd name="T81" fmla="*/ 546 h 913"/>
                <a:gd name="T82" fmla="*/ 646 w 777"/>
                <a:gd name="T83" fmla="*/ 516 h 913"/>
                <a:gd name="T84" fmla="*/ 637 w 777"/>
                <a:gd name="T85" fmla="*/ 486 h 913"/>
                <a:gd name="T86" fmla="*/ 628 w 777"/>
                <a:gd name="T87" fmla="*/ 462 h 913"/>
                <a:gd name="T88" fmla="*/ 619 w 777"/>
                <a:gd name="T89" fmla="*/ 439 h 913"/>
                <a:gd name="T90" fmla="*/ 612 w 777"/>
                <a:gd name="T91" fmla="*/ 422 h 913"/>
                <a:gd name="T92" fmla="*/ 571 w 777"/>
                <a:gd name="T93" fmla="*/ 341 h 913"/>
                <a:gd name="T94" fmla="*/ 529 w 777"/>
                <a:gd name="T95" fmla="*/ 268 h 913"/>
                <a:gd name="T96" fmla="*/ 483 w 777"/>
                <a:gd name="T97" fmla="*/ 201 h 913"/>
                <a:gd name="T98" fmla="*/ 438 w 777"/>
                <a:gd name="T99" fmla="*/ 140 h 913"/>
                <a:gd name="T100" fmla="*/ 396 w 777"/>
                <a:gd name="T101" fmla="*/ 86 h 913"/>
                <a:gd name="T102" fmla="*/ 355 w 777"/>
                <a:gd name="T103" fmla="*/ 38 h 913"/>
                <a:gd name="T104" fmla="*/ 320 w 777"/>
                <a:gd name="T105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7" h="913">
                  <a:moveTo>
                    <a:pt x="320" y="0"/>
                  </a:moveTo>
                  <a:lnTo>
                    <a:pt x="320" y="0"/>
                  </a:lnTo>
                  <a:lnTo>
                    <a:pt x="373" y="58"/>
                  </a:lnTo>
                  <a:lnTo>
                    <a:pt x="481" y="182"/>
                  </a:lnTo>
                  <a:lnTo>
                    <a:pt x="584" y="311"/>
                  </a:lnTo>
                  <a:lnTo>
                    <a:pt x="632" y="373"/>
                  </a:lnTo>
                  <a:lnTo>
                    <a:pt x="675" y="436"/>
                  </a:lnTo>
                  <a:lnTo>
                    <a:pt x="705" y="483"/>
                  </a:lnTo>
                  <a:lnTo>
                    <a:pt x="733" y="530"/>
                  </a:lnTo>
                  <a:lnTo>
                    <a:pt x="758" y="579"/>
                  </a:lnTo>
                  <a:lnTo>
                    <a:pt x="768" y="609"/>
                  </a:lnTo>
                  <a:lnTo>
                    <a:pt x="775" y="640"/>
                  </a:lnTo>
                  <a:lnTo>
                    <a:pt x="777" y="674"/>
                  </a:lnTo>
                  <a:lnTo>
                    <a:pt x="768" y="707"/>
                  </a:lnTo>
                  <a:lnTo>
                    <a:pt x="751" y="735"/>
                  </a:lnTo>
                  <a:lnTo>
                    <a:pt x="726" y="759"/>
                  </a:lnTo>
                  <a:lnTo>
                    <a:pt x="695" y="782"/>
                  </a:lnTo>
                  <a:lnTo>
                    <a:pt x="660" y="800"/>
                  </a:lnTo>
                  <a:lnTo>
                    <a:pt x="621" y="812"/>
                  </a:lnTo>
                  <a:lnTo>
                    <a:pt x="583" y="822"/>
                  </a:lnTo>
                  <a:lnTo>
                    <a:pt x="544" y="833"/>
                  </a:lnTo>
                  <a:lnTo>
                    <a:pt x="432" y="856"/>
                  </a:lnTo>
                  <a:lnTo>
                    <a:pt x="319" y="873"/>
                  </a:lnTo>
                  <a:lnTo>
                    <a:pt x="160" y="894"/>
                  </a:lnTo>
                  <a:lnTo>
                    <a:pt x="0" y="913"/>
                  </a:lnTo>
                  <a:lnTo>
                    <a:pt x="69" y="903"/>
                  </a:lnTo>
                  <a:lnTo>
                    <a:pt x="137" y="892"/>
                  </a:lnTo>
                  <a:lnTo>
                    <a:pt x="203" y="880"/>
                  </a:lnTo>
                  <a:lnTo>
                    <a:pt x="270" y="868"/>
                  </a:lnTo>
                  <a:lnTo>
                    <a:pt x="333" y="854"/>
                  </a:lnTo>
                  <a:lnTo>
                    <a:pt x="394" y="836"/>
                  </a:lnTo>
                  <a:lnTo>
                    <a:pt x="450" y="817"/>
                  </a:lnTo>
                  <a:lnTo>
                    <a:pt x="501" y="794"/>
                  </a:lnTo>
                  <a:lnTo>
                    <a:pt x="548" y="768"/>
                  </a:lnTo>
                  <a:lnTo>
                    <a:pt x="586" y="738"/>
                  </a:lnTo>
                  <a:lnTo>
                    <a:pt x="614" y="709"/>
                  </a:lnTo>
                  <a:lnTo>
                    <a:pt x="633" y="677"/>
                  </a:lnTo>
                  <a:lnTo>
                    <a:pt x="646" y="646"/>
                  </a:lnTo>
                  <a:lnTo>
                    <a:pt x="653" y="612"/>
                  </a:lnTo>
                  <a:lnTo>
                    <a:pt x="654" y="579"/>
                  </a:lnTo>
                  <a:lnTo>
                    <a:pt x="651" y="546"/>
                  </a:lnTo>
                  <a:lnTo>
                    <a:pt x="646" y="516"/>
                  </a:lnTo>
                  <a:lnTo>
                    <a:pt x="637" y="486"/>
                  </a:lnTo>
                  <a:lnTo>
                    <a:pt x="628" y="462"/>
                  </a:lnTo>
                  <a:lnTo>
                    <a:pt x="619" y="439"/>
                  </a:lnTo>
                  <a:lnTo>
                    <a:pt x="612" y="422"/>
                  </a:lnTo>
                  <a:lnTo>
                    <a:pt x="571" y="341"/>
                  </a:lnTo>
                  <a:lnTo>
                    <a:pt x="529" y="268"/>
                  </a:lnTo>
                  <a:lnTo>
                    <a:pt x="483" y="201"/>
                  </a:lnTo>
                  <a:lnTo>
                    <a:pt x="438" y="140"/>
                  </a:lnTo>
                  <a:lnTo>
                    <a:pt x="396" y="86"/>
                  </a:lnTo>
                  <a:lnTo>
                    <a:pt x="355" y="38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CCC8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6"/>
            <p:cNvSpPr>
              <a:spLocks/>
            </p:cNvSpPr>
            <p:nvPr userDrawn="1"/>
          </p:nvSpPr>
          <p:spPr bwMode="auto">
            <a:xfrm>
              <a:off x="1516063" y="1169988"/>
              <a:ext cx="1042988" cy="1452563"/>
            </a:xfrm>
            <a:custGeom>
              <a:avLst/>
              <a:gdLst>
                <a:gd name="T0" fmla="*/ 322 w 657"/>
                <a:gd name="T1" fmla="*/ 0 h 915"/>
                <a:gd name="T2" fmla="*/ 358 w 657"/>
                <a:gd name="T3" fmla="*/ 40 h 915"/>
                <a:gd name="T4" fmla="*/ 441 w 657"/>
                <a:gd name="T5" fmla="*/ 142 h 915"/>
                <a:gd name="T6" fmla="*/ 532 w 657"/>
                <a:gd name="T7" fmla="*/ 270 h 915"/>
                <a:gd name="T8" fmla="*/ 615 w 657"/>
                <a:gd name="T9" fmla="*/ 424 h 915"/>
                <a:gd name="T10" fmla="*/ 631 w 657"/>
                <a:gd name="T11" fmla="*/ 464 h 915"/>
                <a:gd name="T12" fmla="*/ 649 w 657"/>
                <a:gd name="T13" fmla="*/ 518 h 915"/>
                <a:gd name="T14" fmla="*/ 657 w 657"/>
                <a:gd name="T15" fmla="*/ 581 h 915"/>
                <a:gd name="T16" fmla="*/ 649 w 657"/>
                <a:gd name="T17" fmla="*/ 648 h 915"/>
                <a:gd name="T18" fmla="*/ 617 w 657"/>
                <a:gd name="T19" fmla="*/ 711 h 915"/>
                <a:gd name="T20" fmla="*/ 551 w 657"/>
                <a:gd name="T21" fmla="*/ 770 h 915"/>
                <a:gd name="T22" fmla="*/ 453 w 657"/>
                <a:gd name="T23" fmla="*/ 819 h 915"/>
                <a:gd name="T24" fmla="*/ 336 w 657"/>
                <a:gd name="T25" fmla="*/ 856 h 915"/>
                <a:gd name="T26" fmla="*/ 206 w 657"/>
                <a:gd name="T27" fmla="*/ 882 h 915"/>
                <a:gd name="T28" fmla="*/ 72 w 657"/>
                <a:gd name="T29" fmla="*/ 905 h 915"/>
                <a:gd name="T30" fmla="*/ 3 w 657"/>
                <a:gd name="T31" fmla="*/ 915 h 915"/>
                <a:gd name="T32" fmla="*/ 3 w 657"/>
                <a:gd name="T33" fmla="*/ 816 h 915"/>
                <a:gd name="T34" fmla="*/ 16 w 657"/>
                <a:gd name="T35" fmla="*/ 774 h 915"/>
                <a:gd name="T36" fmla="*/ 37 w 657"/>
                <a:gd name="T37" fmla="*/ 770 h 915"/>
                <a:gd name="T38" fmla="*/ 89 w 657"/>
                <a:gd name="T39" fmla="*/ 760 h 915"/>
                <a:gd name="T40" fmla="*/ 164 w 657"/>
                <a:gd name="T41" fmla="*/ 746 h 915"/>
                <a:gd name="T42" fmla="*/ 243 w 657"/>
                <a:gd name="T43" fmla="*/ 730 h 915"/>
                <a:gd name="T44" fmla="*/ 316 w 657"/>
                <a:gd name="T45" fmla="*/ 712 h 915"/>
                <a:gd name="T46" fmla="*/ 371 w 657"/>
                <a:gd name="T47" fmla="*/ 697 h 915"/>
                <a:gd name="T48" fmla="*/ 418 w 657"/>
                <a:gd name="T49" fmla="*/ 676 h 915"/>
                <a:gd name="T50" fmla="*/ 456 w 657"/>
                <a:gd name="T51" fmla="*/ 651 h 915"/>
                <a:gd name="T52" fmla="*/ 483 w 657"/>
                <a:gd name="T53" fmla="*/ 620 h 915"/>
                <a:gd name="T54" fmla="*/ 493 w 657"/>
                <a:gd name="T55" fmla="*/ 578 h 915"/>
                <a:gd name="T56" fmla="*/ 483 w 657"/>
                <a:gd name="T57" fmla="*/ 522 h 915"/>
                <a:gd name="T58" fmla="*/ 441 w 657"/>
                <a:gd name="T59" fmla="*/ 434 h 915"/>
                <a:gd name="T60" fmla="*/ 390 w 657"/>
                <a:gd name="T61" fmla="*/ 350 h 915"/>
                <a:gd name="T62" fmla="*/ 341 w 657"/>
                <a:gd name="T63" fmla="*/ 282 h 915"/>
                <a:gd name="T64" fmla="*/ 285 w 657"/>
                <a:gd name="T65" fmla="*/ 215 h 915"/>
                <a:gd name="T66" fmla="*/ 217 w 657"/>
                <a:gd name="T67" fmla="*/ 137 h 915"/>
                <a:gd name="T68" fmla="*/ 220 w 657"/>
                <a:gd name="T69" fmla="*/ 126 h 915"/>
                <a:gd name="T70" fmla="*/ 241 w 657"/>
                <a:gd name="T71" fmla="*/ 91 h 915"/>
                <a:gd name="T72" fmla="*/ 282 w 657"/>
                <a:gd name="T73" fmla="*/ 40 h 915"/>
                <a:gd name="T74" fmla="*/ 322 w 657"/>
                <a:gd name="T75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7" h="915">
                  <a:moveTo>
                    <a:pt x="322" y="0"/>
                  </a:moveTo>
                  <a:lnTo>
                    <a:pt x="322" y="0"/>
                  </a:lnTo>
                  <a:lnTo>
                    <a:pt x="323" y="2"/>
                  </a:lnTo>
                  <a:lnTo>
                    <a:pt x="358" y="40"/>
                  </a:lnTo>
                  <a:lnTo>
                    <a:pt x="399" y="88"/>
                  </a:lnTo>
                  <a:lnTo>
                    <a:pt x="441" y="142"/>
                  </a:lnTo>
                  <a:lnTo>
                    <a:pt x="486" y="203"/>
                  </a:lnTo>
                  <a:lnTo>
                    <a:pt x="532" y="270"/>
                  </a:lnTo>
                  <a:lnTo>
                    <a:pt x="574" y="343"/>
                  </a:lnTo>
                  <a:lnTo>
                    <a:pt x="615" y="424"/>
                  </a:lnTo>
                  <a:lnTo>
                    <a:pt x="622" y="441"/>
                  </a:lnTo>
                  <a:lnTo>
                    <a:pt x="631" y="464"/>
                  </a:lnTo>
                  <a:lnTo>
                    <a:pt x="640" y="488"/>
                  </a:lnTo>
                  <a:lnTo>
                    <a:pt x="649" y="518"/>
                  </a:lnTo>
                  <a:lnTo>
                    <a:pt x="654" y="548"/>
                  </a:lnTo>
                  <a:lnTo>
                    <a:pt x="657" y="581"/>
                  </a:lnTo>
                  <a:lnTo>
                    <a:pt x="656" y="614"/>
                  </a:lnTo>
                  <a:lnTo>
                    <a:pt x="649" y="648"/>
                  </a:lnTo>
                  <a:lnTo>
                    <a:pt x="636" y="679"/>
                  </a:lnTo>
                  <a:lnTo>
                    <a:pt x="617" y="711"/>
                  </a:lnTo>
                  <a:lnTo>
                    <a:pt x="589" y="740"/>
                  </a:lnTo>
                  <a:lnTo>
                    <a:pt x="551" y="770"/>
                  </a:lnTo>
                  <a:lnTo>
                    <a:pt x="504" y="796"/>
                  </a:lnTo>
                  <a:lnTo>
                    <a:pt x="453" y="819"/>
                  </a:lnTo>
                  <a:lnTo>
                    <a:pt x="397" y="838"/>
                  </a:lnTo>
                  <a:lnTo>
                    <a:pt x="336" y="856"/>
                  </a:lnTo>
                  <a:lnTo>
                    <a:pt x="273" y="870"/>
                  </a:lnTo>
                  <a:lnTo>
                    <a:pt x="206" y="882"/>
                  </a:lnTo>
                  <a:lnTo>
                    <a:pt x="140" y="894"/>
                  </a:lnTo>
                  <a:lnTo>
                    <a:pt x="72" y="905"/>
                  </a:lnTo>
                  <a:lnTo>
                    <a:pt x="3" y="915"/>
                  </a:lnTo>
                  <a:lnTo>
                    <a:pt x="3" y="915"/>
                  </a:lnTo>
                  <a:lnTo>
                    <a:pt x="0" y="863"/>
                  </a:lnTo>
                  <a:lnTo>
                    <a:pt x="3" y="816"/>
                  </a:lnTo>
                  <a:lnTo>
                    <a:pt x="14" y="774"/>
                  </a:lnTo>
                  <a:lnTo>
                    <a:pt x="16" y="774"/>
                  </a:lnTo>
                  <a:lnTo>
                    <a:pt x="21" y="772"/>
                  </a:lnTo>
                  <a:lnTo>
                    <a:pt x="37" y="770"/>
                  </a:lnTo>
                  <a:lnTo>
                    <a:pt x="59" y="765"/>
                  </a:lnTo>
                  <a:lnTo>
                    <a:pt x="89" y="760"/>
                  </a:lnTo>
                  <a:lnTo>
                    <a:pt x="126" y="754"/>
                  </a:lnTo>
                  <a:lnTo>
                    <a:pt x="164" y="746"/>
                  </a:lnTo>
                  <a:lnTo>
                    <a:pt x="205" y="739"/>
                  </a:lnTo>
                  <a:lnTo>
                    <a:pt x="243" y="730"/>
                  </a:lnTo>
                  <a:lnTo>
                    <a:pt x="282" y="721"/>
                  </a:lnTo>
                  <a:lnTo>
                    <a:pt x="316" y="712"/>
                  </a:lnTo>
                  <a:lnTo>
                    <a:pt x="346" y="705"/>
                  </a:lnTo>
                  <a:lnTo>
                    <a:pt x="371" y="697"/>
                  </a:lnTo>
                  <a:lnTo>
                    <a:pt x="395" y="686"/>
                  </a:lnTo>
                  <a:lnTo>
                    <a:pt x="418" y="676"/>
                  </a:lnTo>
                  <a:lnTo>
                    <a:pt x="437" y="665"/>
                  </a:lnTo>
                  <a:lnTo>
                    <a:pt x="456" y="651"/>
                  </a:lnTo>
                  <a:lnTo>
                    <a:pt x="472" y="637"/>
                  </a:lnTo>
                  <a:lnTo>
                    <a:pt x="483" y="620"/>
                  </a:lnTo>
                  <a:lnTo>
                    <a:pt x="491" y="600"/>
                  </a:lnTo>
                  <a:lnTo>
                    <a:pt x="493" y="578"/>
                  </a:lnTo>
                  <a:lnTo>
                    <a:pt x="491" y="551"/>
                  </a:lnTo>
                  <a:lnTo>
                    <a:pt x="483" y="522"/>
                  </a:lnTo>
                  <a:lnTo>
                    <a:pt x="467" y="487"/>
                  </a:lnTo>
                  <a:lnTo>
                    <a:pt x="441" y="434"/>
                  </a:lnTo>
                  <a:lnTo>
                    <a:pt x="414" y="389"/>
                  </a:lnTo>
                  <a:lnTo>
                    <a:pt x="390" y="350"/>
                  </a:lnTo>
                  <a:lnTo>
                    <a:pt x="365" y="313"/>
                  </a:lnTo>
                  <a:lnTo>
                    <a:pt x="341" y="282"/>
                  </a:lnTo>
                  <a:lnTo>
                    <a:pt x="315" y="249"/>
                  </a:lnTo>
                  <a:lnTo>
                    <a:pt x="285" y="215"/>
                  </a:lnTo>
                  <a:lnTo>
                    <a:pt x="254" y="179"/>
                  </a:lnTo>
                  <a:lnTo>
                    <a:pt x="217" y="137"/>
                  </a:lnTo>
                  <a:lnTo>
                    <a:pt x="217" y="137"/>
                  </a:lnTo>
                  <a:lnTo>
                    <a:pt x="220" y="126"/>
                  </a:lnTo>
                  <a:lnTo>
                    <a:pt x="229" y="110"/>
                  </a:lnTo>
                  <a:lnTo>
                    <a:pt x="241" y="91"/>
                  </a:lnTo>
                  <a:lnTo>
                    <a:pt x="257" y="68"/>
                  </a:lnTo>
                  <a:lnTo>
                    <a:pt x="282" y="40"/>
                  </a:lnTo>
                  <a:lnTo>
                    <a:pt x="302" y="18"/>
                  </a:lnTo>
                  <a:lnTo>
                    <a:pt x="322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7"/>
            <p:cNvSpPr>
              <a:spLocks/>
            </p:cNvSpPr>
            <p:nvPr userDrawn="1"/>
          </p:nvSpPr>
          <p:spPr bwMode="auto">
            <a:xfrm>
              <a:off x="1530351" y="2603500"/>
              <a:ext cx="1246188" cy="1592263"/>
            </a:xfrm>
            <a:custGeom>
              <a:avLst/>
              <a:gdLst>
                <a:gd name="T0" fmla="*/ 482 w 785"/>
                <a:gd name="T1" fmla="*/ 0 h 1003"/>
                <a:gd name="T2" fmla="*/ 551 w 785"/>
                <a:gd name="T3" fmla="*/ 2 h 1003"/>
                <a:gd name="T4" fmla="*/ 619 w 785"/>
                <a:gd name="T5" fmla="*/ 7 h 1003"/>
                <a:gd name="T6" fmla="*/ 654 w 785"/>
                <a:gd name="T7" fmla="*/ 16 h 1003"/>
                <a:gd name="T8" fmla="*/ 687 w 785"/>
                <a:gd name="T9" fmla="*/ 26 h 1003"/>
                <a:gd name="T10" fmla="*/ 718 w 785"/>
                <a:gd name="T11" fmla="*/ 42 h 1003"/>
                <a:gd name="T12" fmla="*/ 746 w 785"/>
                <a:gd name="T13" fmla="*/ 65 h 1003"/>
                <a:gd name="T14" fmla="*/ 766 w 785"/>
                <a:gd name="T15" fmla="*/ 91 h 1003"/>
                <a:gd name="T16" fmla="*/ 776 w 785"/>
                <a:gd name="T17" fmla="*/ 119 h 1003"/>
                <a:gd name="T18" fmla="*/ 783 w 785"/>
                <a:gd name="T19" fmla="*/ 151 h 1003"/>
                <a:gd name="T20" fmla="*/ 785 w 785"/>
                <a:gd name="T21" fmla="*/ 182 h 1003"/>
                <a:gd name="T22" fmla="*/ 780 w 785"/>
                <a:gd name="T23" fmla="*/ 235 h 1003"/>
                <a:gd name="T24" fmla="*/ 773 w 785"/>
                <a:gd name="T25" fmla="*/ 287 h 1003"/>
                <a:gd name="T26" fmla="*/ 760 w 785"/>
                <a:gd name="T27" fmla="*/ 338 h 1003"/>
                <a:gd name="T28" fmla="*/ 729 w 785"/>
                <a:gd name="T29" fmla="*/ 455 h 1003"/>
                <a:gd name="T30" fmla="*/ 692 w 785"/>
                <a:gd name="T31" fmla="*/ 571 h 1003"/>
                <a:gd name="T32" fmla="*/ 652 w 785"/>
                <a:gd name="T33" fmla="*/ 685 h 1003"/>
                <a:gd name="T34" fmla="*/ 592 w 785"/>
                <a:gd name="T35" fmla="*/ 844 h 1003"/>
                <a:gd name="T36" fmla="*/ 530 w 785"/>
                <a:gd name="T37" fmla="*/ 1003 h 1003"/>
                <a:gd name="T38" fmla="*/ 561 w 785"/>
                <a:gd name="T39" fmla="*/ 912 h 1003"/>
                <a:gd name="T40" fmla="*/ 592 w 785"/>
                <a:gd name="T41" fmla="*/ 812 h 1003"/>
                <a:gd name="T42" fmla="*/ 622 w 785"/>
                <a:gd name="T43" fmla="*/ 709 h 1003"/>
                <a:gd name="T44" fmla="*/ 643 w 785"/>
                <a:gd name="T45" fmla="*/ 623 h 1003"/>
                <a:gd name="T46" fmla="*/ 662 w 785"/>
                <a:gd name="T47" fmla="*/ 539 h 1003"/>
                <a:gd name="T48" fmla="*/ 676 w 785"/>
                <a:gd name="T49" fmla="*/ 459 h 1003"/>
                <a:gd name="T50" fmla="*/ 687 w 785"/>
                <a:gd name="T51" fmla="*/ 382 h 1003"/>
                <a:gd name="T52" fmla="*/ 690 w 785"/>
                <a:gd name="T53" fmla="*/ 312 h 1003"/>
                <a:gd name="T54" fmla="*/ 689 w 785"/>
                <a:gd name="T55" fmla="*/ 268 h 1003"/>
                <a:gd name="T56" fmla="*/ 682 w 785"/>
                <a:gd name="T57" fmla="*/ 228 h 1003"/>
                <a:gd name="T58" fmla="*/ 673 w 785"/>
                <a:gd name="T59" fmla="*/ 191 h 1003"/>
                <a:gd name="T60" fmla="*/ 657 w 785"/>
                <a:gd name="T61" fmla="*/ 156 h 1003"/>
                <a:gd name="T62" fmla="*/ 638 w 785"/>
                <a:gd name="T63" fmla="*/ 124 h 1003"/>
                <a:gd name="T64" fmla="*/ 612 w 785"/>
                <a:gd name="T65" fmla="*/ 96 h 1003"/>
                <a:gd name="T66" fmla="*/ 578 w 785"/>
                <a:gd name="T67" fmla="*/ 72 h 1003"/>
                <a:gd name="T68" fmla="*/ 538 w 785"/>
                <a:gd name="T69" fmla="*/ 53 h 1003"/>
                <a:gd name="T70" fmla="*/ 535 w 785"/>
                <a:gd name="T71" fmla="*/ 53 h 1003"/>
                <a:gd name="T72" fmla="*/ 530 w 785"/>
                <a:gd name="T73" fmla="*/ 49 h 1003"/>
                <a:gd name="T74" fmla="*/ 519 w 785"/>
                <a:gd name="T75" fmla="*/ 46 h 1003"/>
                <a:gd name="T76" fmla="*/ 481 w 785"/>
                <a:gd name="T77" fmla="*/ 35 h 1003"/>
                <a:gd name="T78" fmla="*/ 435 w 785"/>
                <a:gd name="T79" fmla="*/ 28 h 1003"/>
                <a:gd name="T80" fmla="*/ 383 w 785"/>
                <a:gd name="T81" fmla="*/ 23 h 1003"/>
                <a:gd name="T82" fmla="*/ 323 w 785"/>
                <a:gd name="T83" fmla="*/ 21 h 1003"/>
                <a:gd name="T84" fmla="*/ 271 w 785"/>
                <a:gd name="T85" fmla="*/ 23 h 1003"/>
                <a:gd name="T86" fmla="*/ 213 w 785"/>
                <a:gd name="T87" fmla="*/ 25 h 1003"/>
                <a:gd name="T88" fmla="*/ 150 w 785"/>
                <a:gd name="T89" fmla="*/ 30 h 1003"/>
                <a:gd name="T90" fmla="*/ 78 w 785"/>
                <a:gd name="T91" fmla="*/ 37 h 1003"/>
                <a:gd name="T92" fmla="*/ 0 w 785"/>
                <a:gd name="T93" fmla="*/ 46 h 1003"/>
                <a:gd name="T94" fmla="*/ 0 w 785"/>
                <a:gd name="T95" fmla="*/ 46 h 1003"/>
                <a:gd name="T96" fmla="*/ 161 w 785"/>
                <a:gd name="T97" fmla="*/ 25 h 1003"/>
                <a:gd name="T98" fmla="*/ 321 w 785"/>
                <a:gd name="T99" fmla="*/ 9 h 1003"/>
                <a:gd name="T100" fmla="*/ 482 w 785"/>
                <a:gd name="T101" fmla="*/ 0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5" h="1003">
                  <a:moveTo>
                    <a:pt x="482" y="0"/>
                  </a:moveTo>
                  <a:lnTo>
                    <a:pt x="551" y="2"/>
                  </a:lnTo>
                  <a:lnTo>
                    <a:pt x="619" y="7"/>
                  </a:lnTo>
                  <a:lnTo>
                    <a:pt x="654" y="16"/>
                  </a:lnTo>
                  <a:lnTo>
                    <a:pt x="687" y="26"/>
                  </a:lnTo>
                  <a:lnTo>
                    <a:pt x="718" y="42"/>
                  </a:lnTo>
                  <a:lnTo>
                    <a:pt x="746" y="65"/>
                  </a:lnTo>
                  <a:lnTo>
                    <a:pt x="766" y="91"/>
                  </a:lnTo>
                  <a:lnTo>
                    <a:pt x="776" y="119"/>
                  </a:lnTo>
                  <a:lnTo>
                    <a:pt x="783" y="151"/>
                  </a:lnTo>
                  <a:lnTo>
                    <a:pt x="785" y="182"/>
                  </a:lnTo>
                  <a:lnTo>
                    <a:pt x="780" y="235"/>
                  </a:lnTo>
                  <a:lnTo>
                    <a:pt x="773" y="287"/>
                  </a:lnTo>
                  <a:lnTo>
                    <a:pt x="760" y="338"/>
                  </a:lnTo>
                  <a:lnTo>
                    <a:pt x="729" y="455"/>
                  </a:lnTo>
                  <a:lnTo>
                    <a:pt x="692" y="571"/>
                  </a:lnTo>
                  <a:lnTo>
                    <a:pt x="652" y="685"/>
                  </a:lnTo>
                  <a:lnTo>
                    <a:pt x="592" y="844"/>
                  </a:lnTo>
                  <a:lnTo>
                    <a:pt x="530" y="1003"/>
                  </a:lnTo>
                  <a:lnTo>
                    <a:pt x="561" y="912"/>
                  </a:lnTo>
                  <a:lnTo>
                    <a:pt x="592" y="812"/>
                  </a:lnTo>
                  <a:lnTo>
                    <a:pt x="622" y="709"/>
                  </a:lnTo>
                  <a:lnTo>
                    <a:pt x="643" y="623"/>
                  </a:lnTo>
                  <a:lnTo>
                    <a:pt x="662" y="539"/>
                  </a:lnTo>
                  <a:lnTo>
                    <a:pt x="676" y="459"/>
                  </a:lnTo>
                  <a:lnTo>
                    <a:pt x="687" y="382"/>
                  </a:lnTo>
                  <a:lnTo>
                    <a:pt x="690" y="312"/>
                  </a:lnTo>
                  <a:lnTo>
                    <a:pt x="689" y="268"/>
                  </a:lnTo>
                  <a:lnTo>
                    <a:pt x="682" y="228"/>
                  </a:lnTo>
                  <a:lnTo>
                    <a:pt x="673" y="191"/>
                  </a:lnTo>
                  <a:lnTo>
                    <a:pt x="657" y="156"/>
                  </a:lnTo>
                  <a:lnTo>
                    <a:pt x="638" y="124"/>
                  </a:lnTo>
                  <a:lnTo>
                    <a:pt x="612" y="96"/>
                  </a:lnTo>
                  <a:lnTo>
                    <a:pt x="578" y="72"/>
                  </a:lnTo>
                  <a:lnTo>
                    <a:pt x="538" y="53"/>
                  </a:lnTo>
                  <a:lnTo>
                    <a:pt x="535" y="53"/>
                  </a:lnTo>
                  <a:lnTo>
                    <a:pt x="530" y="49"/>
                  </a:lnTo>
                  <a:lnTo>
                    <a:pt x="519" y="46"/>
                  </a:lnTo>
                  <a:lnTo>
                    <a:pt x="481" y="35"/>
                  </a:lnTo>
                  <a:lnTo>
                    <a:pt x="435" y="28"/>
                  </a:lnTo>
                  <a:lnTo>
                    <a:pt x="383" y="23"/>
                  </a:lnTo>
                  <a:lnTo>
                    <a:pt x="323" y="21"/>
                  </a:lnTo>
                  <a:lnTo>
                    <a:pt x="271" y="23"/>
                  </a:lnTo>
                  <a:lnTo>
                    <a:pt x="213" y="25"/>
                  </a:lnTo>
                  <a:lnTo>
                    <a:pt x="150" y="30"/>
                  </a:lnTo>
                  <a:lnTo>
                    <a:pt x="78" y="3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61" y="25"/>
                  </a:lnTo>
                  <a:lnTo>
                    <a:pt x="321" y="9"/>
                  </a:lnTo>
                  <a:lnTo>
                    <a:pt x="482" y="0"/>
                  </a:lnTo>
                  <a:close/>
                </a:path>
              </a:pathLst>
            </a:custGeom>
            <a:solidFill>
              <a:srgbClr val="F3997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8"/>
            <p:cNvSpPr>
              <a:spLocks/>
            </p:cNvSpPr>
            <p:nvPr userDrawn="1"/>
          </p:nvSpPr>
          <p:spPr bwMode="auto">
            <a:xfrm>
              <a:off x="1530351" y="2636838"/>
              <a:ext cx="1095375" cy="1558925"/>
            </a:xfrm>
            <a:custGeom>
              <a:avLst/>
              <a:gdLst>
                <a:gd name="T0" fmla="*/ 383 w 690"/>
                <a:gd name="T1" fmla="*/ 2 h 982"/>
                <a:gd name="T2" fmla="*/ 481 w 690"/>
                <a:gd name="T3" fmla="*/ 14 h 982"/>
                <a:gd name="T4" fmla="*/ 530 w 690"/>
                <a:gd name="T5" fmla="*/ 28 h 982"/>
                <a:gd name="T6" fmla="*/ 538 w 690"/>
                <a:gd name="T7" fmla="*/ 32 h 982"/>
                <a:gd name="T8" fmla="*/ 612 w 690"/>
                <a:gd name="T9" fmla="*/ 75 h 982"/>
                <a:gd name="T10" fmla="*/ 657 w 690"/>
                <a:gd name="T11" fmla="*/ 135 h 982"/>
                <a:gd name="T12" fmla="*/ 682 w 690"/>
                <a:gd name="T13" fmla="*/ 207 h 982"/>
                <a:gd name="T14" fmla="*/ 690 w 690"/>
                <a:gd name="T15" fmla="*/ 291 h 982"/>
                <a:gd name="T16" fmla="*/ 676 w 690"/>
                <a:gd name="T17" fmla="*/ 438 h 982"/>
                <a:gd name="T18" fmla="*/ 643 w 690"/>
                <a:gd name="T19" fmla="*/ 602 h 982"/>
                <a:gd name="T20" fmla="*/ 592 w 690"/>
                <a:gd name="T21" fmla="*/ 791 h 982"/>
                <a:gd name="T22" fmla="*/ 530 w 690"/>
                <a:gd name="T23" fmla="*/ 982 h 982"/>
                <a:gd name="T24" fmla="*/ 524 w 690"/>
                <a:gd name="T25" fmla="*/ 980 h 982"/>
                <a:gd name="T26" fmla="*/ 496 w 690"/>
                <a:gd name="T27" fmla="*/ 968 h 982"/>
                <a:gd name="T28" fmla="*/ 458 w 690"/>
                <a:gd name="T29" fmla="*/ 947 h 982"/>
                <a:gd name="T30" fmla="*/ 432 w 690"/>
                <a:gd name="T31" fmla="*/ 928 h 982"/>
                <a:gd name="T32" fmla="*/ 414 w 690"/>
                <a:gd name="T33" fmla="*/ 914 h 982"/>
                <a:gd name="T34" fmla="*/ 421 w 690"/>
                <a:gd name="T35" fmla="*/ 893 h 982"/>
                <a:gd name="T36" fmla="*/ 444 w 690"/>
                <a:gd name="T37" fmla="*/ 833 h 982"/>
                <a:gd name="T38" fmla="*/ 475 w 690"/>
                <a:gd name="T39" fmla="*/ 751 h 982"/>
                <a:gd name="T40" fmla="*/ 505 w 690"/>
                <a:gd name="T41" fmla="*/ 657 h 982"/>
                <a:gd name="T42" fmla="*/ 533 w 690"/>
                <a:gd name="T43" fmla="*/ 559 h 982"/>
                <a:gd name="T44" fmla="*/ 551 w 690"/>
                <a:gd name="T45" fmla="*/ 467 h 982"/>
                <a:gd name="T46" fmla="*/ 558 w 690"/>
                <a:gd name="T47" fmla="*/ 382 h 982"/>
                <a:gd name="T48" fmla="*/ 558 w 690"/>
                <a:gd name="T49" fmla="*/ 306 h 982"/>
                <a:gd name="T50" fmla="*/ 545 w 690"/>
                <a:gd name="T51" fmla="*/ 249 h 982"/>
                <a:gd name="T52" fmla="*/ 516 w 690"/>
                <a:gd name="T53" fmla="*/ 208 h 982"/>
                <a:gd name="T54" fmla="*/ 461 w 690"/>
                <a:gd name="T55" fmla="*/ 182 h 982"/>
                <a:gd name="T56" fmla="*/ 377 w 690"/>
                <a:gd name="T57" fmla="*/ 172 h 982"/>
                <a:gd name="T58" fmla="*/ 271 w 690"/>
                <a:gd name="T59" fmla="*/ 172 h 982"/>
                <a:gd name="T60" fmla="*/ 143 w 690"/>
                <a:gd name="T61" fmla="*/ 179 h 982"/>
                <a:gd name="T62" fmla="*/ 52 w 690"/>
                <a:gd name="T63" fmla="*/ 172 h 982"/>
                <a:gd name="T64" fmla="*/ 24 w 690"/>
                <a:gd name="T65" fmla="*/ 114 h 982"/>
                <a:gd name="T66" fmla="*/ 0 w 690"/>
                <a:gd name="T67" fmla="*/ 25 h 982"/>
                <a:gd name="T68" fmla="*/ 150 w 690"/>
                <a:gd name="T69" fmla="*/ 9 h 982"/>
                <a:gd name="T70" fmla="*/ 271 w 690"/>
                <a:gd name="T71" fmla="*/ 2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0" h="982">
                  <a:moveTo>
                    <a:pt x="323" y="0"/>
                  </a:moveTo>
                  <a:lnTo>
                    <a:pt x="383" y="2"/>
                  </a:lnTo>
                  <a:lnTo>
                    <a:pt x="435" y="7"/>
                  </a:lnTo>
                  <a:lnTo>
                    <a:pt x="481" y="14"/>
                  </a:lnTo>
                  <a:lnTo>
                    <a:pt x="519" y="25"/>
                  </a:lnTo>
                  <a:lnTo>
                    <a:pt x="530" y="28"/>
                  </a:lnTo>
                  <a:lnTo>
                    <a:pt x="535" y="32"/>
                  </a:lnTo>
                  <a:lnTo>
                    <a:pt x="538" y="32"/>
                  </a:lnTo>
                  <a:lnTo>
                    <a:pt x="578" y="51"/>
                  </a:lnTo>
                  <a:lnTo>
                    <a:pt x="612" y="75"/>
                  </a:lnTo>
                  <a:lnTo>
                    <a:pt x="638" y="103"/>
                  </a:lnTo>
                  <a:lnTo>
                    <a:pt x="657" y="135"/>
                  </a:lnTo>
                  <a:lnTo>
                    <a:pt x="673" y="170"/>
                  </a:lnTo>
                  <a:lnTo>
                    <a:pt x="682" y="207"/>
                  </a:lnTo>
                  <a:lnTo>
                    <a:pt x="689" y="247"/>
                  </a:lnTo>
                  <a:lnTo>
                    <a:pt x="690" y="291"/>
                  </a:lnTo>
                  <a:lnTo>
                    <a:pt x="687" y="361"/>
                  </a:lnTo>
                  <a:lnTo>
                    <a:pt x="676" y="438"/>
                  </a:lnTo>
                  <a:lnTo>
                    <a:pt x="662" y="518"/>
                  </a:lnTo>
                  <a:lnTo>
                    <a:pt x="643" y="602"/>
                  </a:lnTo>
                  <a:lnTo>
                    <a:pt x="622" y="688"/>
                  </a:lnTo>
                  <a:lnTo>
                    <a:pt x="592" y="791"/>
                  </a:lnTo>
                  <a:lnTo>
                    <a:pt x="561" y="891"/>
                  </a:lnTo>
                  <a:lnTo>
                    <a:pt x="530" y="982"/>
                  </a:lnTo>
                  <a:lnTo>
                    <a:pt x="530" y="982"/>
                  </a:lnTo>
                  <a:lnTo>
                    <a:pt x="524" y="980"/>
                  </a:lnTo>
                  <a:lnTo>
                    <a:pt x="512" y="975"/>
                  </a:lnTo>
                  <a:lnTo>
                    <a:pt x="496" y="968"/>
                  </a:lnTo>
                  <a:lnTo>
                    <a:pt x="477" y="958"/>
                  </a:lnTo>
                  <a:lnTo>
                    <a:pt x="458" y="947"/>
                  </a:lnTo>
                  <a:lnTo>
                    <a:pt x="444" y="937"/>
                  </a:lnTo>
                  <a:lnTo>
                    <a:pt x="432" y="928"/>
                  </a:lnTo>
                  <a:lnTo>
                    <a:pt x="421" y="919"/>
                  </a:lnTo>
                  <a:lnTo>
                    <a:pt x="414" y="914"/>
                  </a:lnTo>
                  <a:lnTo>
                    <a:pt x="412" y="912"/>
                  </a:lnTo>
                  <a:lnTo>
                    <a:pt x="421" y="893"/>
                  </a:lnTo>
                  <a:lnTo>
                    <a:pt x="432" y="867"/>
                  </a:lnTo>
                  <a:lnTo>
                    <a:pt x="444" y="833"/>
                  </a:lnTo>
                  <a:lnTo>
                    <a:pt x="460" y="795"/>
                  </a:lnTo>
                  <a:lnTo>
                    <a:pt x="475" y="751"/>
                  </a:lnTo>
                  <a:lnTo>
                    <a:pt x="489" y="706"/>
                  </a:lnTo>
                  <a:lnTo>
                    <a:pt x="505" y="657"/>
                  </a:lnTo>
                  <a:lnTo>
                    <a:pt x="519" y="608"/>
                  </a:lnTo>
                  <a:lnTo>
                    <a:pt x="533" y="559"/>
                  </a:lnTo>
                  <a:lnTo>
                    <a:pt x="544" y="511"/>
                  </a:lnTo>
                  <a:lnTo>
                    <a:pt x="551" y="467"/>
                  </a:lnTo>
                  <a:lnTo>
                    <a:pt x="556" y="425"/>
                  </a:lnTo>
                  <a:lnTo>
                    <a:pt x="558" y="382"/>
                  </a:lnTo>
                  <a:lnTo>
                    <a:pt x="559" y="341"/>
                  </a:lnTo>
                  <a:lnTo>
                    <a:pt x="558" y="306"/>
                  </a:lnTo>
                  <a:lnTo>
                    <a:pt x="554" y="275"/>
                  </a:lnTo>
                  <a:lnTo>
                    <a:pt x="545" y="249"/>
                  </a:lnTo>
                  <a:lnTo>
                    <a:pt x="533" y="228"/>
                  </a:lnTo>
                  <a:lnTo>
                    <a:pt x="516" y="208"/>
                  </a:lnTo>
                  <a:lnTo>
                    <a:pt x="493" y="194"/>
                  </a:lnTo>
                  <a:lnTo>
                    <a:pt x="461" y="182"/>
                  </a:lnTo>
                  <a:lnTo>
                    <a:pt x="425" y="175"/>
                  </a:lnTo>
                  <a:lnTo>
                    <a:pt x="377" y="172"/>
                  </a:lnTo>
                  <a:lnTo>
                    <a:pt x="323" y="170"/>
                  </a:lnTo>
                  <a:lnTo>
                    <a:pt x="271" y="172"/>
                  </a:lnTo>
                  <a:lnTo>
                    <a:pt x="211" y="173"/>
                  </a:lnTo>
                  <a:lnTo>
                    <a:pt x="143" y="179"/>
                  </a:lnTo>
                  <a:lnTo>
                    <a:pt x="64" y="187"/>
                  </a:lnTo>
                  <a:lnTo>
                    <a:pt x="52" y="172"/>
                  </a:lnTo>
                  <a:lnTo>
                    <a:pt x="38" y="147"/>
                  </a:lnTo>
                  <a:lnTo>
                    <a:pt x="24" y="114"/>
                  </a:lnTo>
                  <a:lnTo>
                    <a:pt x="10" y="74"/>
                  </a:lnTo>
                  <a:lnTo>
                    <a:pt x="0" y="25"/>
                  </a:lnTo>
                  <a:lnTo>
                    <a:pt x="78" y="16"/>
                  </a:lnTo>
                  <a:lnTo>
                    <a:pt x="150" y="9"/>
                  </a:lnTo>
                  <a:lnTo>
                    <a:pt x="213" y="4"/>
                  </a:lnTo>
                  <a:lnTo>
                    <a:pt x="271" y="2"/>
                  </a:lnTo>
                  <a:lnTo>
                    <a:pt x="323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9"/>
            <p:cNvSpPr>
              <a:spLocks/>
            </p:cNvSpPr>
            <p:nvPr userDrawn="1"/>
          </p:nvSpPr>
          <p:spPr bwMode="auto">
            <a:xfrm>
              <a:off x="5127626" y="5248275"/>
              <a:ext cx="290513" cy="325438"/>
            </a:xfrm>
            <a:custGeom>
              <a:avLst/>
              <a:gdLst>
                <a:gd name="T0" fmla="*/ 148 w 183"/>
                <a:gd name="T1" fmla="*/ 6 h 205"/>
                <a:gd name="T2" fmla="*/ 162 w 183"/>
                <a:gd name="T3" fmla="*/ 35 h 205"/>
                <a:gd name="T4" fmla="*/ 164 w 183"/>
                <a:gd name="T5" fmla="*/ 70 h 205"/>
                <a:gd name="T6" fmla="*/ 168 w 183"/>
                <a:gd name="T7" fmla="*/ 121 h 205"/>
                <a:gd name="T8" fmla="*/ 169 w 183"/>
                <a:gd name="T9" fmla="*/ 158 h 205"/>
                <a:gd name="T10" fmla="*/ 173 w 183"/>
                <a:gd name="T11" fmla="*/ 174 h 205"/>
                <a:gd name="T12" fmla="*/ 180 w 183"/>
                <a:gd name="T13" fmla="*/ 186 h 205"/>
                <a:gd name="T14" fmla="*/ 183 w 183"/>
                <a:gd name="T15" fmla="*/ 191 h 205"/>
                <a:gd name="T16" fmla="*/ 182 w 183"/>
                <a:gd name="T17" fmla="*/ 200 h 205"/>
                <a:gd name="T18" fmla="*/ 173 w 183"/>
                <a:gd name="T19" fmla="*/ 205 h 205"/>
                <a:gd name="T20" fmla="*/ 164 w 183"/>
                <a:gd name="T21" fmla="*/ 203 h 205"/>
                <a:gd name="T22" fmla="*/ 155 w 183"/>
                <a:gd name="T23" fmla="*/ 198 h 205"/>
                <a:gd name="T24" fmla="*/ 147 w 183"/>
                <a:gd name="T25" fmla="*/ 179 h 205"/>
                <a:gd name="T26" fmla="*/ 143 w 183"/>
                <a:gd name="T27" fmla="*/ 139 h 205"/>
                <a:gd name="T28" fmla="*/ 138 w 183"/>
                <a:gd name="T29" fmla="*/ 81 h 205"/>
                <a:gd name="T30" fmla="*/ 131 w 183"/>
                <a:gd name="T31" fmla="*/ 49 h 205"/>
                <a:gd name="T32" fmla="*/ 126 w 183"/>
                <a:gd name="T33" fmla="*/ 42 h 205"/>
                <a:gd name="T34" fmla="*/ 120 w 183"/>
                <a:gd name="T35" fmla="*/ 42 h 205"/>
                <a:gd name="T36" fmla="*/ 115 w 183"/>
                <a:gd name="T37" fmla="*/ 49 h 205"/>
                <a:gd name="T38" fmla="*/ 103 w 183"/>
                <a:gd name="T39" fmla="*/ 70 h 205"/>
                <a:gd name="T40" fmla="*/ 82 w 183"/>
                <a:gd name="T41" fmla="*/ 109 h 205"/>
                <a:gd name="T42" fmla="*/ 68 w 183"/>
                <a:gd name="T43" fmla="*/ 140 h 205"/>
                <a:gd name="T44" fmla="*/ 63 w 183"/>
                <a:gd name="T45" fmla="*/ 151 h 205"/>
                <a:gd name="T46" fmla="*/ 57 w 183"/>
                <a:gd name="T47" fmla="*/ 160 h 205"/>
                <a:gd name="T48" fmla="*/ 49 w 183"/>
                <a:gd name="T49" fmla="*/ 165 h 205"/>
                <a:gd name="T50" fmla="*/ 30 w 183"/>
                <a:gd name="T51" fmla="*/ 163 h 205"/>
                <a:gd name="T52" fmla="*/ 14 w 183"/>
                <a:gd name="T53" fmla="*/ 137 h 205"/>
                <a:gd name="T54" fmla="*/ 0 w 183"/>
                <a:gd name="T55" fmla="*/ 62 h 205"/>
                <a:gd name="T56" fmla="*/ 5 w 183"/>
                <a:gd name="T57" fmla="*/ 13 h 205"/>
                <a:gd name="T58" fmla="*/ 10 w 183"/>
                <a:gd name="T59" fmla="*/ 7 h 205"/>
                <a:gd name="T60" fmla="*/ 19 w 183"/>
                <a:gd name="T61" fmla="*/ 4 h 205"/>
                <a:gd name="T62" fmla="*/ 28 w 183"/>
                <a:gd name="T63" fmla="*/ 6 h 205"/>
                <a:gd name="T64" fmla="*/ 35 w 183"/>
                <a:gd name="T65" fmla="*/ 13 h 205"/>
                <a:gd name="T66" fmla="*/ 35 w 183"/>
                <a:gd name="T67" fmla="*/ 25 h 205"/>
                <a:gd name="T68" fmla="*/ 33 w 183"/>
                <a:gd name="T69" fmla="*/ 56 h 205"/>
                <a:gd name="T70" fmla="*/ 38 w 183"/>
                <a:gd name="T71" fmla="*/ 104 h 205"/>
                <a:gd name="T72" fmla="*/ 59 w 183"/>
                <a:gd name="T73" fmla="*/ 95 h 205"/>
                <a:gd name="T74" fmla="*/ 85 w 183"/>
                <a:gd name="T75" fmla="*/ 42 h 205"/>
                <a:gd name="T76" fmla="*/ 103 w 183"/>
                <a:gd name="T77" fmla="*/ 16 h 205"/>
                <a:gd name="T78" fmla="*/ 124 w 183"/>
                <a:gd name="T79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3" h="205">
                  <a:moveTo>
                    <a:pt x="134" y="0"/>
                  </a:moveTo>
                  <a:lnTo>
                    <a:pt x="148" y="6"/>
                  </a:lnTo>
                  <a:lnTo>
                    <a:pt x="157" y="18"/>
                  </a:lnTo>
                  <a:lnTo>
                    <a:pt x="162" y="35"/>
                  </a:lnTo>
                  <a:lnTo>
                    <a:pt x="162" y="48"/>
                  </a:lnTo>
                  <a:lnTo>
                    <a:pt x="164" y="70"/>
                  </a:lnTo>
                  <a:lnTo>
                    <a:pt x="166" y="95"/>
                  </a:lnTo>
                  <a:lnTo>
                    <a:pt x="168" y="121"/>
                  </a:lnTo>
                  <a:lnTo>
                    <a:pt x="169" y="144"/>
                  </a:lnTo>
                  <a:lnTo>
                    <a:pt x="169" y="158"/>
                  </a:lnTo>
                  <a:lnTo>
                    <a:pt x="171" y="167"/>
                  </a:lnTo>
                  <a:lnTo>
                    <a:pt x="173" y="174"/>
                  </a:lnTo>
                  <a:lnTo>
                    <a:pt x="176" y="181"/>
                  </a:lnTo>
                  <a:lnTo>
                    <a:pt x="180" y="186"/>
                  </a:lnTo>
                  <a:lnTo>
                    <a:pt x="182" y="188"/>
                  </a:lnTo>
                  <a:lnTo>
                    <a:pt x="183" y="191"/>
                  </a:lnTo>
                  <a:lnTo>
                    <a:pt x="183" y="196"/>
                  </a:lnTo>
                  <a:lnTo>
                    <a:pt x="182" y="200"/>
                  </a:lnTo>
                  <a:lnTo>
                    <a:pt x="178" y="203"/>
                  </a:lnTo>
                  <a:lnTo>
                    <a:pt x="173" y="205"/>
                  </a:lnTo>
                  <a:lnTo>
                    <a:pt x="169" y="205"/>
                  </a:lnTo>
                  <a:lnTo>
                    <a:pt x="164" y="203"/>
                  </a:lnTo>
                  <a:lnTo>
                    <a:pt x="159" y="202"/>
                  </a:lnTo>
                  <a:lnTo>
                    <a:pt x="155" y="198"/>
                  </a:lnTo>
                  <a:lnTo>
                    <a:pt x="152" y="195"/>
                  </a:lnTo>
                  <a:lnTo>
                    <a:pt x="147" y="179"/>
                  </a:lnTo>
                  <a:lnTo>
                    <a:pt x="143" y="161"/>
                  </a:lnTo>
                  <a:lnTo>
                    <a:pt x="143" y="139"/>
                  </a:lnTo>
                  <a:lnTo>
                    <a:pt x="141" y="111"/>
                  </a:lnTo>
                  <a:lnTo>
                    <a:pt x="138" y="81"/>
                  </a:lnTo>
                  <a:lnTo>
                    <a:pt x="133" y="55"/>
                  </a:lnTo>
                  <a:lnTo>
                    <a:pt x="131" y="49"/>
                  </a:lnTo>
                  <a:lnTo>
                    <a:pt x="129" y="46"/>
                  </a:lnTo>
                  <a:lnTo>
                    <a:pt x="126" y="42"/>
                  </a:lnTo>
                  <a:lnTo>
                    <a:pt x="124" y="42"/>
                  </a:lnTo>
                  <a:lnTo>
                    <a:pt x="120" y="42"/>
                  </a:lnTo>
                  <a:lnTo>
                    <a:pt x="119" y="46"/>
                  </a:lnTo>
                  <a:lnTo>
                    <a:pt x="115" y="49"/>
                  </a:lnTo>
                  <a:lnTo>
                    <a:pt x="112" y="55"/>
                  </a:lnTo>
                  <a:lnTo>
                    <a:pt x="103" y="70"/>
                  </a:lnTo>
                  <a:lnTo>
                    <a:pt x="92" y="88"/>
                  </a:lnTo>
                  <a:lnTo>
                    <a:pt x="82" y="109"/>
                  </a:lnTo>
                  <a:lnTo>
                    <a:pt x="75" y="126"/>
                  </a:lnTo>
                  <a:lnTo>
                    <a:pt x="68" y="140"/>
                  </a:lnTo>
                  <a:lnTo>
                    <a:pt x="66" y="146"/>
                  </a:lnTo>
                  <a:lnTo>
                    <a:pt x="63" y="151"/>
                  </a:lnTo>
                  <a:lnTo>
                    <a:pt x="61" y="156"/>
                  </a:lnTo>
                  <a:lnTo>
                    <a:pt x="57" y="160"/>
                  </a:lnTo>
                  <a:lnTo>
                    <a:pt x="52" y="163"/>
                  </a:lnTo>
                  <a:lnTo>
                    <a:pt x="49" y="165"/>
                  </a:lnTo>
                  <a:lnTo>
                    <a:pt x="42" y="167"/>
                  </a:lnTo>
                  <a:lnTo>
                    <a:pt x="30" y="163"/>
                  </a:lnTo>
                  <a:lnTo>
                    <a:pt x="21" y="153"/>
                  </a:lnTo>
                  <a:lnTo>
                    <a:pt x="14" y="137"/>
                  </a:lnTo>
                  <a:lnTo>
                    <a:pt x="5" y="100"/>
                  </a:lnTo>
                  <a:lnTo>
                    <a:pt x="0" y="62"/>
                  </a:lnTo>
                  <a:lnTo>
                    <a:pt x="3" y="20"/>
                  </a:lnTo>
                  <a:lnTo>
                    <a:pt x="5" y="13"/>
                  </a:lnTo>
                  <a:lnTo>
                    <a:pt x="7" y="9"/>
                  </a:lnTo>
                  <a:lnTo>
                    <a:pt x="10" y="7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23" y="4"/>
                  </a:lnTo>
                  <a:lnTo>
                    <a:pt x="28" y="6"/>
                  </a:lnTo>
                  <a:lnTo>
                    <a:pt x="33" y="9"/>
                  </a:lnTo>
                  <a:lnTo>
                    <a:pt x="35" y="13"/>
                  </a:lnTo>
                  <a:lnTo>
                    <a:pt x="36" y="18"/>
                  </a:lnTo>
                  <a:lnTo>
                    <a:pt x="35" y="25"/>
                  </a:lnTo>
                  <a:lnTo>
                    <a:pt x="35" y="37"/>
                  </a:lnTo>
                  <a:lnTo>
                    <a:pt x="33" y="56"/>
                  </a:lnTo>
                  <a:lnTo>
                    <a:pt x="35" y="79"/>
                  </a:lnTo>
                  <a:lnTo>
                    <a:pt x="38" y="104"/>
                  </a:lnTo>
                  <a:lnTo>
                    <a:pt x="43" y="126"/>
                  </a:lnTo>
                  <a:lnTo>
                    <a:pt x="59" y="95"/>
                  </a:lnTo>
                  <a:lnTo>
                    <a:pt x="73" y="65"/>
                  </a:lnTo>
                  <a:lnTo>
                    <a:pt x="85" y="42"/>
                  </a:lnTo>
                  <a:lnTo>
                    <a:pt x="96" y="27"/>
                  </a:lnTo>
                  <a:lnTo>
                    <a:pt x="103" y="16"/>
                  </a:lnTo>
                  <a:lnTo>
                    <a:pt x="113" y="6"/>
                  </a:lnTo>
                  <a:lnTo>
                    <a:pt x="124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0"/>
            <p:cNvSpPr>
              <a:spLocks/>
            </p:cNvSpPr>
            <p:nvPr userDrawn="1"/>
          </p:nvSpPr>
          <p:spPr bwMode="auto">
            <a:xfrm>
              <a:off x="5440363" y="5235575"/>
              <a:ext cx="244475" cy="307975"/>
            </a:xfrm>
            <a:custGeom>
              <a:avLst/>
              <a:gdLst>
                <a:gd name="T0" fmla="*/ 77 w 154"/>
                <a:gd name="T1" fmla="*/ 0 h 194"/>
                <a:gd name="T2" fmla="*/ 90 w 154"/>
                <a:gd name="T3" fmla="*/ 0 h 194"/>
                <a:gd name="T4" fmla="*/ 95 w 154"/>
                <a:gd name="T5" fmla="*/ 1 h 194"/>
                <a:gd name="T6" fmla="*/ 97 w 154"/>
                <a:gd name="T7" fmla="*/ 3 h 194"/>
                <a:gd name="T8" fmla="*/ 98 w 154"/>
                <a:gd name="T9" fmla="*/ 7 h 194"/>
                <a:gd name="T10" fmla="*/ 98 w 154"/>
                <a:gd name="T11" fmla="*/ 10 h 194"/>
                <a:gd name="T12" fmla="*/ 97 w 154"/>
                <a:gd name="T13" fmla="*/ 15 h 194"/>
                <a:gd name="T14" fmla="*/ 93 w 154"/>
                <a:gd name="T15" fmla="*/ 19 h 194"/>
                <a:gd name="T16" fmla="*/ 90 w 154"/>
                <a:gd name="T17" fmla="*/ 22 h 194"/>
                <a:gd name="T18" fmla="*/ 84 w 154"/>
                <a:gd name="T19" fmla="*/ 24 h 194"/>
                <a:gd name="T20" fmla="*/ 72 w 154"/>
                <a:gd name="T21" fmla="*/ 31 h 194"/>
                <a:gd name="T22" fmla="*/ 60 w 154"/>
                <a:gd name="T23" fmla="*/ 43 h 194"/>
                <a:gd name="T24" fmla="*/ 49 w 154"/>
                <a:gd name="T25" fmla="*/ 63 h 194"/>
                <a:gd name="T26" fmla="*/ 39 w 154"/>
                <a:gd name="T27" fmla="*/ 91 h 194"/>
                <a:gd name="T28" fmla="*/ 34 w 154"/>
                <a:gd name="T29" fmla="*/ 112 h 194"/>
                <a:gd name="T30" fmla="*/ 34 w 154"/>
                <a:gd name="T31" fmla="*/ 131 h 194"/>
                <a:gd name="T32" fmla="*/ 37 w 154"/>
                <a:gd name="T33" fmla="*/ 147 h 194"/>
                <a:gd name="T34" fmla="*/ 42 w 154"/>
                <a:gd name="T35" fmla="*/ 161 h 194"/>
                <a:gd name="T36" fmla="*/ 53 w 154"/>
                <a:gd name="T37" fmla="*/ 168 h 194"/>
                <a:gd name="T38" fmla="*/ 67 w 154"/>
                <a:gd name="T39" fmla="*/ 169 h 194"/>
                <a:gd name="T40" fmla="*/ 81 w 154"/>
                <a:gd name="T41" fmla="*/ 166 h 194"/>
                <a:gd name="T42" fmla="*/ 97 w 154"/>
                <a:gd name="T43" fmla="*/ 157 h 194"/>
                <a:gd name="T44" fmla="*/ 109 w 154"/>
                <a:gd name="T45" fmla="*/ 140 h 194"/>
                <a:gd name="T46" fmla="*/ 119 w 154"/>
                <a:gd name="T47" fmla="*/ 117 h 194"/>
                <a:gd name="T48" fmla="*/ 126 w 154"/>
                <a:gd name="T49" fmla="*/ 94 h 194"/>
                <a:gd name="T50" fmla="*/ 125 w 154"/>
                <a:gd name="T51" fmla="*/ 75 h 194"/>
                <a:gd name="T52" fmla="*/ 121 w 154"/>
                <a:gd name="T53" fmla="*/ 59 h 194"/>
                <a:gd name="T54" fmla="*/ 112 w 154"/>
                <a:gd name="T55" fmla="*/ 49 h 194"/>
                <a:gd name="T56" fmla="*/ 104 w 154"/>
                <a:gd name="T57" fmla="*/ 43 h 194"/>
                <a:gd name="T58" fmla="*/ 98 w 154"/>
                <a:gd name="T59" fmla="*/ 42 h 194"/>
                <a:gd name="T60" fmla="*/ 95 w 154"/>
                <a:gd name="T61" fmla="*/ 38 h 194"/>
                <a:gd name="T62" fmla="*/ 93 w 154"/>
                <a:gd name="T63" fmla="*/ 35 h 194"/>
                <a:gd name="T64" fmla="*/ 93 w 154"/>
                <a:gd name="T65" fmla="*/ 31 h 194"/>
                <a:gd name="T66" fmla="*/ 93 w 154"/>
                <a:gd name="T67" fmla="*/ 29 h 194"/>
                <a:gd name="T68" fmla="*/ 95 w 154"/>
                <a:gd name="T69" fmla="*/ 26 h 194"/>
                <a:gd name="T70" fmla="*/ 97 w 154"/>
                <a:gd name="T71" fmla="*/ 24 h 194"/>
                <a:gd name="T72" fmla="*/ 100 w 154"/>
                <a:gd name="T73" fmla="*/ 22 h 194"/>
                <a:gd name="T74" fmla="*/ 104 w 154"/>
                <a:gd name="T75" fmla="*/ 21 h 194"/>
                <a:gd name="T76" fmla="*/ 109 w 154"/>
                <a:gd name="T77" fmla="*/ 22 h 194"/>
                <a:gd name="T78" fmla="*/ 128 w 154"/>
                <a:gd name="T79" fmla="*/ 31 h 194"/>
                <a:gd name="T80" fmla="*/ 144 w 154"/>
                <a:gd name="T81" fmla="*/ 47 h 194"/>
                <a:gd name="T82" fmla="*/ 152 w 154"/>
                <a:gd name="T83" fmla="*/ 70 h 194"/>
                <a:gd name="T84" fmla="*/ 154 w 154"/>
                <a:gd name="T85" fmla="*/ 98 h 194"/>
                <a:gd name="T86" fmla="*/ 147 w 154"/>
                <a:gd name="T87" fmla="*/ 129 h 194"/>
                <a:gd name="T88" fmla="*/ 133 w 154"/>
                <a:gd name="T89" fmla="*/ 154 h 194"/>
                <a:gd name="T90" fmla="*/ 116 w 154"/>
                <a:gd name="T91" fmla="*/ 175 h 194"/>
                <a:gd name="T92" fmla="*/ 95 w 154"/>
                <a:gd name="T93" fmla="*/ 189 h 194"/>
                <a:gd name="T94" fmla="*/ 69 w 154"/>
                <a:gd name="T95" fmla="*/ 194 h 194"/>
                <a:gd name="T96" fmla="*/ 41 w 154"/>
                <a:gd name="T97" fmla="*/ 190 h 194"/>
                <a:gd name="T98" fmla="*/ 23 w 154"/>
                <a:gd name="T99" fmla="*/ 180 h 194"/>
                <a:gd name="T100" fmla="*/ 11 w 154"/>
                <a:gd name="T101" fmla="*/ 164 h 194"/>
                <a:gd name="T102" fmla="*/ 2 w 154"/>
                <a:gd name="T103" fmla="*/ 145 h 194"/>
                <a:gd name="T104" fmla="*/ 0 w 154"/>
                <a:gd name="T105" fmla="*/ 124 h 194"/>
                <a:gd name="T106" fmla="*/ 2 w 154"/>
                <a:gd name="T107" fmla="*/ 101 h 194"/>
                <a:gd name="T108" fmla="*/ 7 w 154"/>
                <a:gd name="T109" fmla="*/ 77 h 194"/>
                <a:gd name="T110" fmla="*/ 20 w 154"/>
                <a:gd name="T111" fmla="*/ 50 h 194"/>
                <a:gd name="T112" fmla="*/ 32 w 154"/>
                <a:gd name="T113" fmla="*/ 31 h 194"/>
                <a:gd name="T114" fmla="*/ 46 w 154"/>
                <a:gd name="T115" fmla="*/ 15 h 194"/>
                <a:gd name="T116" fmla="*/ 62 w 154"/>
                <a:gd name="T117" fmla="*/ 5 h 194"/>
                <a:gd name="T118" fmla="*/ 77 w 154"/>
                <a:gd name="T1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94">
                  <a:moveTo>
                    <a:pt x="77" y="0"/>
                  </a:moveTo>
                  <a:lnTo>
                    <a:pt x="90" y="0"/>
                  </a:lnTo>
                  <a:lnTo>
                    <a:pt x="95" y="1"/>
                  </a:lnTo>
                  <a:lnTo>
                    <a:pt x="97" y="3"/>
                  </a:lnTo>
                  <a:lnTo>
                    <a:pt x="98" y="7"/>
                  </a:lnTo>
                  <a:lnTo>
                    <a:pt x="98" y="10"/>
                  </a:lnTo>
                  <a:lnTo>
                    <a:pt x="97" y="15"/>
                  </a:lnTo>
                  <a:lnTo>
                    <a:pt x="93" y="19"/>
                  </a:lnTo>
                  <a:lnTo>
                    <a:pt x="90" y="22"/>
                  </a:lnTo>
                  <a:lnTo>
                    <a:pt x="84" y="24"/>
                  </a:lnTo>
                  <a:lnTo>
                    <a:pt x="72" y="31"/>
                  </a:lnTo>
                  <a:lnTo>
                    <a:pt x="60" y="43"/>
                  </a:lnTo>
                  <a:lnTo>
                    <a:pt x="49" y="63"/>
                  </a:lnTo>
                  <a:lnTo>
                    <a:pt x="39" y="91"/>
                  </a:lnTo>
                  <a:lnTo>
                    <a:pt x="34" y="112"/>
                  </a:lnTo>
                  <a:lnTo>
                    <a:pt x="34" y="131"/>
                  </a:lnTo>
                  <a:lnTo>
                    <a:pt x="37" y="147"/>
                  </a:lnTo>
                  <a:lnTo>
                    <a:pt x="42" y="161"/>
                  </a:lnTo>
                  <a:lnTo>
                    <a:pt x="53" y="168"/>
                  </a:lnTo>
                  <a:lnTo>
                    <a:pt x="67" y="169"/>
                  </a:lnTo>
                  <a:lnTo>
                    <a:pt x="81" y="166"/>
                  </a:lnTo>
                  <a:lnTo>
                    <a:pt x="97" y="157"/>
                  </a:lnTo>
                  <a:lnTo>
                    <a:pt x="109" y="140"/>
                  </a:lnTo>
                  <a:lnTo>
                    <a:pt x="119" y="117"/>
                  </a:lnTo>
                  <a:lnTo>
                    <a:pt x="126" y="94"/>
                  </a:lnTo>
                  <a:lnTo>
                    <a:pt x="125" y="75"/>
                  </a:lnTo>
                  <a:lnTo>
                    <a:pt x="121" y="59"/>
                  </a:lnTo>
                  <a:lnTo>
                    <a:pt x="112" y="49"/>
                  </a:lnTo>
                  <a:lnTo>
                    <a:pt x="104" y="43"/>
                  </a:lnTo>
                  <a:lnTo>
                    <a:pt x="98" y="42"/>
                  </a:lnTo>
                  <a:lnTo>
                    <a:pt x="95" y="38"/>
                  </a:lnTo>
                  <a:lnTo>
                    <a:pt x="93" y="35"/>
                  </a:lnTo>
                  <a:lnTo>
                    <a:pt x="93" y="31"/>
                  </a:lnTo>
                  <a:lnTo>
                    <a:pt x="93" y="29"/>
                  </a:lnTo>
                  <a:lnTo>
                    <a:pt x="95" y="26"/>
                  </a:lnTo>
                  <a:lnTo>
                    <a:pt x="97" y="24"/>
                  </a:lnTo>
                  <a:lnTo>
                    <a:pt x="100" y="22"/>
                  </a:lnTo>
                  <a:lnTo>
                    <a:pt x="104" y="21"/>
                  </a:lnTo>
                  <a:lnTo>
                    <a:pt x="109" y="22"/>
                  </a:lnTo>
                  <a:lnTo>
                    <a:pt x="128" y="31"/>
                  </a:lnTo>
                  <a:lnTo>
                    <a:pt x="144" y="47"/>
                  </a:lnTo>
                  <a:lnTo>
                    <a:pt x="152" y="70"/>
                  </a:lnTo>
                  <a:lnTo>
                    <a:pt x="154" y="98"/>
                  </a:lnTo>
                  <a:lnTo>
                    <a:pt x="147" y="129"/>
                  </a:lnTo>
                  <a:lnTo>
                    <a:pt x="133" y="154"/>
                  </a:lnTo>
                  <a:lnTo>
                    <a:pt x="116" y="175"/>
                  </a:lnTo>
                  <a:lnTo>
                    <a:pt x="95" y="189"/>
                  </a:lnTo>
                  <a:lnTo>
                    <a:pt x="69" y="194"/>
                  </a:lnTo>
                  <a:lnTo>
                    <a:pt x="41" y="190"/>
                  </a:lnTo>
                  <a:lnTo>
                    <a:pt x="23" y="180"/>
                  </a:lnTo>
                  <a:lnTo>
                    <a:pt x="11" y="164"/>
                  </a:lnTo>
                  <a:lnTo>
                    <a:pt x="2" y="145"/>
                  </a:lnTo>
                  <a:lnTo>
                    <a:pt x="0" y="124"/>
                  </a:lnTo>
                  <a:lnTo>
                    <a:pt x="2" y="101"/>
                  </a:lnTo>
                  <a:lnTo>
                    <a:pt x="7" y="77"/>
                  </a:lnTo>
                  <a:lnTo>
                    <a:pt x="20" y="50"/>
                  </a:lnTo>
                  <a:lnTo>
                    <a:pt x="32" y="31"/>
                  </a:lnTo>
                  <a:lnTo>
                    <a:pt x="46" y="15"/>
                  </a:lnTo>
                  <a:lnTo>
                    <a:pt x="62" y="5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1"/>
            <p:cNvSpPr>
              <a:spLocks/>
            </p:cNvSpPr>
            <p:nvPr userDrawn="1"/>
          </p:nvSpPr>
          <p:spPr bwMode="auto">
            <a:xfrm>
              <a:off x="5703888" y="5240338"/>
              <a:ext cx="277813" cy="292100"/>
            </a:xfrm>
            <a:custGeom>
              <a:avLst/>
              <a:gdLst>
                <a:gd name="T0" fmla="*/ 21 w 175"/>
                <a:gd name="T1" fmla="*/ 0 h 184"/>
                <a:gd name="T2" fmla="*/ 30 w 175"/>
                <a:gd name="T3" fmla="*/ 5 h 184"/>
                <a:gd name="T4" fmla="*/ 35 w 175"/>
                <a:gd name="T5" fmla="*/ 16 h 184"/>
                <a:gd name="T6" fmla="*/ 39 w 175"/>
                <a:gd name="T7" fmla="*/ 44 h 184"/>
                <a:gd name="T8" fmla="*/ 51 w 175"/>
                <a:gd name="T9" fmla="*/ 86 h 184"/>
                <a:gd name="T10" fmla="*/ 63 w 175"/>
                <a:gd name="T11" fmla="*/ 116 h 184"/>
                <a:gd name="T12" fmla="*/ 69 w 175"/>
                <a:gd name="T13" fmla="*/ 126 h 184"/>
                <a:gd name="T14" fmla="*/ 74 w 175"/>
                <a:gd name="T15" fmla="*/ 130 h 184"/>
                <a:gd name="T16" fmla="*/ 79 w 175"/>
                <a:gd name="T17" fmla="*/ 128 h 184"/>
                <a:gd name="T18" fmla="*/ 88 w 175"/>
                <a:gd name="T19" fmla="*/ 117 h 184"/>
                <a:gd name="T20" fmla="*/ 105 w 175"/>
                <a:gd name="T21" fmla="*/ 91 h 184"/>
                <a:gd name="T22" fmla="*/ 126 w 175"/>
                <a:gd name="T23" fmla="*/ 49 h 184"/>
                <a:gd name="T24" fmla="*/ 137 w 175"/>
                <a:gd name="T25" fmla="*/ 21 h 184"/>
                <a:gd name="T26" fmla="*/ 140 w 175"/>
                <a:gd name="T27" fmla="*/ 11 h 184"/>
                <a:gd name="T28" fmla="*/ 147 w 175"/>
                <a:gd name="T29" fmla="*/ 4 h 184"/>
                <a:gd name="T30" fmla="*/ 156 w 175"/>
                <a:gd name="T31" fmla="*/ 2 h 184"/>
                <a:gd name="T32" fmla="*/ 165 w 175"/>
                <a:gd name="T33" fmla="*/ 5 h 184"/>
                <a:gd name="T34" fmla="*/ 168 w 175"/>
                <a:gd name="T35" fmla="*/ 16 h 184"/>
                <a:gd name="T36" fmla="*/ 168 w 175"/>
                <a:gd name="T37" fmla="*/ 28 h 184"/>
                <a:gd name="T38" fmla="*/ 167 w 175"/>
                <a:gd name="T39" fmla="*/ 72 h 184"/>
                <a:gd name="T40" fmla="*/ 168 w 175"/>
                <a:gd name="T41" fmla="*/ 116 h 184"/>
                <a:gd name="T42" fmla="*/ 175 w 175"/>
                <a:gd name="T43" fmla="*/ 168 h 184"/>
                <a:gd name="T44" fmla="*/ 175 w 175"/>
                <a:gd name="T45" fmla="*/ 179 h 184"/>
                <a:gd name="T46" fmla="*/ 170 w 175"/>
                <a:gd name="T47" fmla="*/ 184 h 184"/>
                <a:gd name="T48" fmla="*/ 163 w 175"/>
                <a:gd name="T49" fmla="*/ 184 h 184"/>
                <a:gd name="T50" fmla="*/ 158 w 175"/>
                <a:gd name="T51" fmla="*/ 182 h 184"/>
                <a:gd name="T52" fmla="*/ 151 w 175"/>
                <a:gd name="T53" fmla="*/ 177 h 184"/>
                <a:gd name="T54" fmla="*/ 147 w 175"/>
                <a:gd name="T55" fmla="*/ 166 h 184"/>
                <a:gd name="T56" fmla="*/ 140 w 175"/>
                <a:gd name="T57" fmla="*/ 110 h 184"/>
                <a:gd name="T58" fmla="*/ 130 w 175"/>
                <a:gd name="T59" fmla="*/ 96 h 184"/>
                <a:gd name="T60" fmla="*/ 112 w 175"/>
                <a:gd name="T61" fmla="*/ 135 h 184"/>
                <a:gd name="T62" fmla="*/ 90 w 175"/>
                <a:gd name="T63" fmla="*/ 159 h 184"/>
                <a:gd name="T64" fmla="*/ 60 w 175"/>
                <a:gd name="T65" fmla="*/ 154 h 184"/>
                <a:gd name="T66" fmla="*/ 34 w 175"/>
                <a:gd name="T67" fmla="*/ 123 h 184"/>
                <a:gd name="T68" fmla="*/ 14 w 175"/>
                <a:gd name="T69" fmla="*/ 75 h 184"/>
                <a:gd name="T70" fmla="*/ 2 w 175"/>
                <a:gd name="T71" fmla="*/ 30 h 184"/>
                <a:gd name="T72" fmla="*/ 0 w 175"/>
                <a:gd name="T73" fmla="*/ 11 h 184"/>
                <a:gd name="T74" fmla="*/ 14 w 175"/>
                <a:gd name="T7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5" h="184">
                  <a:moveTo>
                    <a:pt x="18" y="0"/>
                  </a:moveTo>
                  <a:lnTo>
                    <a:pt x="21" y="0"/>
                  </a:lnTo>
                  <a:lnTo>
                    <a:pt x="27" y="2"/>
                  </a:lnTo>
                  <a:lnTo>
                    <a:pt x="30" y="5"/>
                  </a:lnTo>
                  <a:lnTo>
                    <a:pt x="32" y="9"/>
                  </a:lnTo>
                  <a:lnTo>
                    <a:pt x="35" y="16"/>
                  </a:lnTo>
                  <a:lnTo>
                    <a:pt x="35" y="23"/>
                  </a:lnTo>
                  <a:lnTo>
                    <a:pt x="39" y="44"/>
                  </a:lnTo>
                  <a:lnTo>
                    <a:pt x="44" y="65"/>
                  </a:lnTo>
                  <a:lnTo>
                    <a:pt x="51" y="86"/>
                  </a:lnTo>
                  <a:lnTo>
                    <a:pt x="58" y="103"/>
                  </a:lnTo>
                  <a:lnTo>
                    <a:pt x="63" y="116"/>
                  </a:lnTo>
                  <a:lnTo>
                    <a:pt x="65" y="121"/>
                  </a:lnTo>
                  <a:lnTo>
                    <a:pt x="69" y="126"/>
                  </a:lnTo>
                  <a:lnTo>
                    <a:pt x="70" y="130"/>
                  </a:lnTo>
                  <a:lnTo>
                    <a:pt x="74" y="130"/>
                  </a:lnTo>
                  <a:lnTo>
                    <a:pt x="76" y="130"/>
                  </a:lnTo>
                  <a:lnTo>
                    <a:pt x="79" y="128"/>
                  </a:lnTo>
                  <a:lnTo>
                    <a:pt x="83" y="124"/>
                  </a:lnTo>
                  <a:lnTo>
                    <a:pt x="88" y="117"/>
                  </a:lnTo>
                  <a:lnTo>
                    <a:pt x="95" y="107"/>
                  </a:lnTo>
                  <a:lnTo>
                    <a:pt x="105" y="91"/>
                  </a:lnTo>
                  <a:lnTo>
                    <a:pt x="116" y="72"/>
                  </a:lnTo>
                  <a:lnTo>
                    <a:pt x="126" y="49"/>
                  </a:lnTo>
                  <a:lnTo>
                    <a:pt x="135" y="26"/>
                  </a:lnTo>
                  <a:lnTo>
                    <a:pt x="137" y="21"/>
                  </a:lnTo>
                  <a:lnTo>
                    <a:pt x="139" y="16"/>
                  </a:lnTo>
                  <a:lnTo>
                    <a:pt x="140" y="11"/>
                  </a:lnTo>
                  <a:lnTo>
                    <a:pt x="142" y="7"/>
                  </a:lnTo>
                  <a:lnTo>
                    <a:pt x="147" y="4"/>
                  </a:lnTo>
                  <a:lnTo>
                    <a:pt x="151" y="2"/>
                  </a:lnTo>
                  <a:lnTo>
                    <a:pt x="156" y="2"/>
                  </a:lnTo>
                  <a:lnTo>
                    <a:pt x="161" y="2"/>
                  </a:lnTo>
                  <a:lnTo>
                    <a:pt x="165" y="5"/>
                  </a:lnTo>
                  <a:lnTo>
                    <a:pt x="167" y="11"/>
                  </a:lnTo>
                  <a:lnTo>
                    <a:pt x="168" y="16"/>
                  </a:lnTo>
                  <a:lnTo>
                    <a:pt x="168" y="21"/>
                  </a:lnTo>
                  <a:lnTo>
                    <a:pt x="168" y="28"/>
                  </a:lnTo>
                  <a:lnTo>
                    <a:pt x="168" y="51"/>
                  </a:lnTo>
                  <a:lnTo>
                    <a:pt x="167" y="72"/>
                  </a:lnTo>
                  <a:lnTo>
                    <a:pt x="167" y="89"/>
                  </a:lnTo>
                  <a:lnTo>
                    <a:pt x="168" y="116"/>
                  </a:lnTo>
                  <a:lnTo>
                    <a:pt x="172" y="145"/>
                  </a:lnTo>
                  <a:lnTo>
                    <a:pt x="175" y="168"/>
                  </a:lnTo>
                  <a:lnTo>
                    <a:pt x="175" y="173"/>
                  </a:lnTo>
                  <a:lnTo>
                    <a:pt x="175" y="179"/>
                  </a:lnTo>
                  <a:lnTo>
                    <a:pt x="174" y="182"/>
                  </a:lnTo>
                  <a:lnTo>
                    <a:pt x="170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60" y="184"/>
                  </a:lnTo>
                  <a:lnTo>
                    <a:pt x="158" y="182"/>
                  </a:lnTo>
                  <a:lnTo>
                    <a:pt x="153" y="180"/>
                  </a:lnTo>
                  <a:lnTo>
                    <a:pt x="151" y="177"/>
                  </a:lnTo>
                  <a:lnTo>
                    <a:pt x="149" y="172"/>
                  </a:lnTo>
                  <a:lnTo>
                    <a:pt x="147" y="166"/>
                  </a:lnTo>
                  <a:lnTo>
                    <a:pt x="144" y="142"/>
                  </a:lnTo>
                  <a:lnTo>
                    <a:pt x="140" y="110"/>
                  </a:lnTo>
                  <a:lnTo>
                    <a:pt x="139" y="79"/>
                  </a:lnTo>
                  <a:lnTo>
                    <a:pt x="130" y="96"/>
                  </a:lnTo>
                  <a:lnTo>
                    <a:pt x="121" y="116"/>
                  </a:lnTo>
                  <a:lnTo>
                    <a:pt x="112" y="135"/>
                  </a:lnTo>
                  <a:lnTo>
                    <a:pt x="100" y="149"/>
                  </a:lnTo>
                  <a:lnTo>
                    <a:pt x="90" y="159"/>
                  </a:lnTo>
                  <a:lnTo>
                    <a:pt x="76" y="161"/>
                  </a:lnTo>
                  <a:lnTo>
                    <a:pt x="60" y="154"/>
                  </a:lnTo>
                  <a:lnTo>
                    <a:pt x="46" y="140"/>
                  </a:lnTo>
                  <a:lnTo>
                    <a:pt x="34" y="123"/>
                  </a:lnTo>
                  <a:lnTo>
                    <a:pt x="23" y="100"/>
                  </a:lnTo>
                  <a:lnTo>
                    <a:pt x="14" y="75"/>
                  </a:lnTo>
                  <a:lnTo>
                    <a:pt x="7" y="51"/>
                  </a:lnTo>
                  <a:lnTo>
                    <a:pt x="2" y="30"/>
                  </a:lnTo>
                  <a:lnTo>
                    <a:pt x="0" y="19"/>
                  </a:lnTo>
                  <a:lnTo>
                    <a:pt x="0" y="11"/>
                  </a:lnTo>
                  <a:lnTo>
                    <a:pt x="4" y="4"/>
                  </a:lnTo>
                  <a:lnTo>
                    <a:pt x="14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2"/>
            <p:cNvSpPr>
              <a:spLocks/>
            </p:cNvSpPr>
            <p:nvPr userDrawn="1"/>
          </p:nvSpPr>
          <p:spPr bwMode="auto">
            <a:xfrm>
              <a:off x="6043613" y="5221288"/>
              <a:ext cx="227013" cy="296863"/>
            </a:xfrm>
            <a:custGeom>
              <a:avLst/>
              <a:gdLst>
                <a:gd name="T0" fmla="*/ 136 w 143"/>
                <a:gd name="T1" fmla="*/ 5 h 187"/>
                <a:gd name="T2" fmla="*/ 143 w 143"/>
                <a:gd name="T3" fmla="*/ 28 h 187"/>
                <a:gd name="T4" fmla="*/ 134 w 143"/>
                <a:gd name="T5" fmla="*/ 51 h 187"/>
                <a:gd name="T6" fmla="*/ 127 w 143"/>
                <a:gd name="T7" fmla="*/ 61 h 187"/>
                <a:gd name="T8" fmla="*/ 119 w 143"/>
                <a:gd name="T9" fmla="*/ 63 h 187"/>
                <a:gd name="T10" fmla="*/ 112 w 143"/>
                <a:gd name="T11" fmla="*/ 61 h 187"/>
                <a:gd name="T12" fmla="*/ 110 w 143"/>
                <a:gd name="T13" fmla="*/ 58 h 187"/>
                <a:gd name="T14" fmla="*/ 112 w 143"/>
                <a:gd name="T15" fmla="*/ 51 h 187"/>
                <a:gd name="T16" fmla="*/ 112 w 143"/>
                <a:gd name="T17" fmla="*/ 44 h 187"/>
                <a:gd name="T18" fmla="*/ 108 w 143"/>
                <a:gd name="T19" fmla="*/ 40 h 187"/>
                <a:gd name="T20" fmla="*/ 94 w 143"/>
                <a:gd name="T21" fmla="*/ 44 h 187"/>
                <a:gd name="T22" fmla="*/ 71 w 143"/>
                <a:gd name="T23" fmla="*/ 87 h 187"/>
                <a:gd name="T24" fmla="*/ 56 w 143"/>
                <a:gd name="T25" fmla="*/ 149 h 187"/>
                <a:gd name="T26" fmla="*/ 52 w 143"/>
                <a:gd name="T27" fmla="*/ 178 h 187"/>
                <a:gd name="T28" fmla="*/ 49 w 143"/>
                <a:gd name="T29" fmla="*/ 185 h 187"/>
                <a:gd name="T30" fmla="*/ 42 w 143"/>
                <a:gd name="T31" fmla="*/ 187 h 187"/>
                <a:gd name="T32" fmla="*/ 31 w 143"/>
                <a:gd name="T33" fmla="*/ 187 h 187"/>
                <a:gd name="T34" fmla="*/ 24 w 143"/>
                <a:gd name="T35" fmla="*/ 182 h 187"/>
                <a:gd name="T36" fmla="*/ 19 w 143"/>
                <a:gd name="T37" fmla="*/ 171 h 187"/>
                <a:gd name="T38" fmla="*/ 14 w 143"/>
                <a:gd name="T39" fmla="*/ 138 h 187"/>
                <a:gd name="T40" fmla="*/ 9 w 143"/>
                <a:gd name="T41" fmla="*/ 100 h 187"/>
                <a:gd name="T42" fmla="*/ 3 w 143"/>
                <a:gd name="T43" fmla="*/ 52 h 187"/>
                <a:gd name="T44" fmla="*/ 0 w 143"/>
                <a:gd name="T45" fmla="*/ 23 h 187"/>
                <a:gd name="T46" fmla="*/ 0 w 143"/>
                <a:gd name="T47" fmla="*/ 12 h 187"/>
                <a:gd name="T48" fmla="*/ 3 w 143"/>
                <a:gd name="T49" fmla="*/ 7 h 187"/>
                <a:gd name="T50" fmla="*/ 12 w 143"/>
                <a:gd name="T51" fmla="*/ 3 h 187"/>
                <a:gd name="T52" fmla="*/ 23 w 143"/>
                <a:gd name="T53" fmla="*/ 7 h 187"/>
                <a:gd name="T54" fmla="*/ 28 w 143"/>
                <a:gd name="T55" fmla="*/ 14 h 187"/>
                <a:gd name="T56" fmla="*/ 33 w 143"/>
                <a:gd name="T57" fmla="*/ 38 h 187"/>
                <a:gd name="T58" fmla="*/ 38 w 143"/>
                <a:gd name="T59" fmla="*/ 91 h 187"/>
                <a:gd name="T60" fmla="*/ 49 w 143"/>
                <a:gd name="T61" fmla="*/ 82 h 187"/>
                <a:gd name="T62" fmla="*/ 75 w 143"/>
                <a:gd name="T63" fmla="*/ 26 h 187"/>
                <a:gd name="T64" fmla="*/ 106 w 143"/>
                <a:gd name="T6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3" h="187">
                  <a:moveTo>
                    <a:pt x="126" y="0"/>
                  </a:moveTo>
                  <a:lnTo>
                    <a:pt x="136" y="5"/>
                  </a:lnTo>
                  <a:lnTo>
                    <a:pt x="141" y="16"/>
                  </a:lnTo>
                  <a:lnTo>
                    <a:pt x="143" y="28"/>
                  </a:lnTo>
                  <a:lnTo>
                    <a:pt x="140" y="42"/>
                  </a:lnTo>
                  <a:lnTo>
                    <a:pt x="134" y="51"/>
                  </a:lnTo>
                  <a:lnTo>
                    <a:pt x="131" y="56"/>
                  </a:lnTo>
                  <a:lnTo>
                    <a:pt x="127" y="61"/>
                  </a:lnTo>
                  <a:lnTo>
                    <a:pt x="122" y="63"/>
                  </a:lnTo>
                  <a:lnTo>
                    <a:pt x="119" y="63"/>
                  </a:lnTo>
                  <a:lnTo>
                    <a:pt x="113" y="63"/>
                  </a:lnTo>
                  <a:lnTo>
                    <a:pt x="112" y="61"/>
                  </a:lnTo>
                  <a:lnTo>
                    <a:pt x="110" y="59"/>
                  </a:lnTo>
                  <a:lnTo>
                    <a:pt x="110" y="58"/>
                  </a:lnTo>
                  <a:lnTo>
                    <a:pt x="112" y="54"/>
                  </a:lnTo>
                  <a:lnTo>
                    <a:pt x="112" y="51"/>
                  </a:lnTo>
                  <a:lnTo>
                    <a:pt x="112" y="47"/>
                  </a:lnTo>
                  <a:lnTo>
                    <a:pt x="112" y="44"/>
                  </a:lnTo>
                  <a:lnTo>
                    <a:pt x="112" y="42"/>
                  </a:lnTo>
                  <a:lnTo>
                    <a:pt x="108" y="40"/>
                  </a:lnTo>
                  <a:lnTo>
                    <a:pt x="105" y="38"/>
                  </a:lnTo>
                  <a:lnTo>
                    <a:pt x="94" y="44"/>
                  </a:lnTo>
                  <a:lnTo>
                    <a:pt x="84" y="59"/>
                  </a:lnTo>
                  <a:lnTo>
                    <a:pt x="71" y="87"/>
                  </a:lnTo>
                  <a:lnTo>
                    <a:pt x="63" y="121"/>
                  </a:lnTo>
                  <a:lnTo>
                    <a:pt x="56" y="149"/>
                  </a:lnTo>
                  <a:lnTo>
                    <a:pt x="54" y="173"/>
                  </a:lnTo>
                  <a:lnTo>
                    <a:pt x="52" y="178"/>
                  </a:lnTo>
                  <a:lnTo>
                    <a:pt x="50" y="184"/>
                  </a:lnTo>
                  <a:lnTo>
                    <a:pt x="49" y="185"/>
                  </a:lnTo>
                  <a:lnTo>
                    <a:pt x="45" y="187"/>
                  </a:lnTo>
                  <a:lnTo>
                    <a:pt x="42" y="187"/>
                  </a:lnTo>
                  <a:lnTo>
                    <a:pt x="38" y="187"/>
                  </a:lnTo>
                  <a:lnTo>
                    <a:pt x="31" y="187"/>
                  </a:lnTo>
                  <a:lnTo>
                    <a:pt x="28" y="184"/>
                  </a:lnTo>
                  <a:lnTo>
                    <a:pt x="24" y="182"/>
                  </a:lnTo>
                  <a:lnTo>
                    <a:pt x="23" y="178"/>
                  </a:lnTo>
                  <a:lnTo>
                    <a:pt x="19" y="171"/>
                  </a:lnTo>
                  <a:lnTo>
                    <a:pt x="16" y="159"/>
                  </a:lnTo>
                  <a:lnTo>
                    <a:pt x="14" y="138"/>
                  </a:lnTo>
                  <a:lnTo>
                    <a:pt x="12" y="121"/>
                  </a:lnTo>
                  <a:lnTo>
                    <a:pt x="9" y="100"/>
                  </a:lnTo>
                  <a:lnTo>
                    <a:pt x="7" y="75"/>
                  </a:lnTo>
                  <a:lnTo>
                    <a:pt x="3" y="52"/>
                  </a:lnTo>
                  <a:lnTo>
                    <a:pt x="2" y="35"/>
                  </a:lnTo>
                  <a:lnTo>
                    <a:pt x="0" y="23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2" y="9"/>
                  </a:lnTo>
                  <a:lnTo>
                    <a:pt x="3" y="7"/>
                  </a:lnTo>
                  <a:lnTo>
                    <a:pt x="7" y="5"/>
                  </a:lnTo>
                  <a:lnTo>
                    <a:pt x="12" y="3"/>
                  </a:lnTo>
                  <a:lnTo>
                    <a:pt x="19" y="5"/>
                  </a:lnTo>
                  <a:lnTo>
                    <a:pt x="23" y="7"/>
                  </a:lnTo>
                  <a:lnTo>
                    <a:pt x="26" y="10"/>
                  </a:lnTo>
                  <a:lnTo>
                    <a:pt x="28" y="14"/>
                  </a:lnTo>
                  <a:lnTo>
                    <a:pt x="30" y="19"/>
                  </a:lnTo>
                  <a:lnTo>
                    <a:pt x="33" y="38"/>
                  </a:lnTo>
                  <a:lnTo>
                    <a:pt x="36" y="63"/>
                  </a:lnTo>
                  <a:lnTo>
                    <a:pt x="38" y="91"/>
                  </a:lnTo>
                  <a:lnTo>
                    <a:pt x="42" y="119"/>
                  </a:lnTo>
                  <a:lnTo>
                    <a:pt x="49" y="82"/>
                  </a:lnTo>
                  <a:lnTo>
                    <a:pt x="61" y="51"/>
                  </a:lnTo>
                  <a:lnTo>
                    <a:pt x="75" y="26"/>
                  </a:lnTo>
                  <a:lnTo>
                    <a:pt x="89" y="9"/>
                  </a:lnTo>
                  <a:lnTo>
                    <a:pt x="106" y="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3"/>
            <p:cNvSpPr>
              <a:spLocks/>
            </p:cNvSpPr>
            <p:nvPr userDrawn="1"/>
          </p:nvSpPr>
          <p:spPr bwMode="auto">
            <a:xfrm>
              <a:off x="6329363" y="5248275"/>
              <a:ext cx="85725" cy="261938"/>
            </a:xfrm>
            <a:custGeom>
              <a:avLst/>
              <a:gdLst>
                <a:gd name="T0" fmla="*/ 21 w 54"/>
                <a:gd name="T1" fmla="*/ 0 h 165"/>
                <a:gd name="T2" fmla="*/ 26 w 54"/>
                <a:gd name="T3" fmla="*/ 2 h 165"/>
                <a:gd name="T4" fmla="*/ 31 w 54"/>
                <a:gd name="T5" fmla="*/ 4 h 165"/>
                <a:gd name="T6" fmla="*/ 33 w 54"/>
                <a:gd name="T7" fmla="*/ 6 h 165"/>
                <a:gd name="T8" fmla="*/ 35 w 54"/>
                <a:gd name="T9" fmla="*/ 11 h 165"/>
                <a:gd name="T10" fmla="*/ 37 w 54"/>
                <a:gd name="T11" fmla="*/ 14 h 165"/>
                <a:gd name="T12" fmla="*/ 37 w 54"/>
                <a:gd name="T13" fmla="*/ 20 h 165"/>
                <a:gd name="T14" fmla="*/ 37 w 54"/>
                <a:gd name="T15" fmla="*/ 35 h 165"/>
                <a:gd name="T16" fmla="*/ 37 w 54"/>
                <a:gd name="T17" fmla="*/ 62 h 165"/>
                <a:gd name="T18" fmla="*/ 38 w 54"/>
                <a:gd name="T19" fmla="*/ 93 h 165"/>
                <a:gd name="T20" fmla="*/ 40 w 54"/>
                <a:gd name="T21" fmla="*/ 119 h 165"/>
                <a:gd name="T22" fmla="*/ 44 w 54"/>
                <a:gd name="T23" fmla="*/ 137 h 165"/>
                <a:gd name="T24" fmla="*/ 51 w 54"/>
                <a:gd name="T25" fmla="*/ 149 h 165"/>
                <a:gd name="T26" fmla="*/ 52 w 54"/>
                <a:gd name="T27" fmla="*/ 151 h 165"/>
                <a:gd name="T28" fmla="*/ 52 w 54"/>
                <a:gd name="T29" fmla="*/ 154 h 165"/>
                <a:gd name="T30" fmla="*/ 54 w 54"/>
                <a:gd name="T31" fmla="*/ 158 h 165"/>
                <a:gd name="T32" fmla="*/ 52 w 54"/>
                <a:gd name="T33" fmla="*/ 160 h 165"/>
                <a:gd name="T34" fmla="*/ 51 w 54"/>
                <a:gd name="T35" fmla="*/ 163 h 165"/>
                <a:gd name="T36" fmla="*/ 47 w 54"/>
                <a:gd name="T37" fmla="*/ 165 h 165"/>
                <a:gd name="T38" fmla="*/ 38 w 54"/>
                <a:gd name="T39" fmla="*/ 165 h 165"/>
                <a:gd name="T40" fmla="*/ 30 w 54"/>
                <a:gd name="T41" fmla="*/ 163 h 165"/>
                <a:gd name="T42" fmla="*/ 21 w 54"/>
                <a:gd name="T43" fmla="*/ 156 h 165"/>
                <a:gd name="T44" fmla="*/ 16 w 54"/>
                <a:gd name="T45" fmla="*/ 144 h 165"/>
                <a:gd name="T46" fmla="*/ 9 w 54"/>
                <a:gd name="T47" fmla="*/ 121 h 165"/>
                <a:gd name="T48" fmla="*/ 5 w 54"/>
                <a:gd name="T49" fmla="*/ 95 h 165"/>
                <a:gd name="T50" fmla="*/ 2 w 54"/>
                <a:gd name="T51" fmla="*/ 67 h 165"/>
                <a:gd name="T52" fmla="*/ 0 w 54"/>
                <a:gd name="T53" fmla="*/ 44 h 165"/>
                <a:gd name="T54" fmla="*/ 0 w 54"/>
                <a:gd name="T55" fmla="*/ 25 h 165"/>
                <a:gd name="T56" fmla="*/ 0 w 54"/>
                <a:gd name="T57" fmla="*/ 18 h 165"/>
                <a:gd name="T58" fmla="*/ 2 w 54"/>
                <a:gd name="T59" fmla="*/ 11 h 165"/>
                <a:gd name="T60" fmla="*/ 5 w 54"/>
                <a:gd name="T61" fmla="*/ 6 h 165"/>
                <a:gd name="T62" fmla="*/ 9 w 54"/>
                <a:gd name="T63" fmla="*/ 2 h 165"/>
                <a:gd name="T64" fmla="*/ 14 w 54"/>
                <a:gd name="T65" fmla="*/ 0 h 165"/>
                <a:gd name="T66" fmla="*/ 21 w 54"/>
                <a:gd name="T67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165">
                  <a:moveTo>
                    <a:pt x="21" y="0"/>
                  </a:moveTo>
                  <a:lnTo>
                    <a:pt x="26" y="2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5" y="11"/>
                  </a:lnTo>
                  <a:lnTo>
                    <a:pt x="37" y="14"/>
                  </a:lnTo>
                  <a:lnTo>
                    <a:pt x="37" y="20"/>
                  </a:lnTo>
                  <a:lnTo>
                    <a:pt x="37" y="35"/>
                  </a:lnTo>
                  <a:lnTo>
                    <a:pt x="37" y="62"/>
                  </a:lnTo>
                  <a:lnTo>
                    <a:pt x="38" y="93"/>
                  </a:lnTo>
                  <a:lnTo>
                    <a:pt x="40" y="119"/>
                  </a:lnTo>
                  <a:lnTo>
                    <a:pt x="44" y="137"/>
                  </a:lnTo>
                  <a:lnTo>
                    <a:pt x="51" y="149"/>
                  </a:lnTo>
                  <a:lnTo>
                    <a:pt x="52" y="151"/>
                  </a:lnTo>
                  <a:lnTo>
                    <a:pt x="52" y="154"/>
                  </a:lnTo>
                  <a:lnTo>
                    <a:pt x="54" y="158"/>
                  </a:lnTo>
                  <a:lnTo>
                    <a:pt x="52" y="160"/>
                  </a:lnTo>
                  <a:lnTo>
                    <a:pt x="51" y="163"/>
                  </a:lnTo>
                  <a:lnTo>
                    <a:pt x="47" y="165"/>
                  </a:lnTo>
                  <a:lnTo>
                    <a:pt x="38" y="165"/>
                  </a:lnTo>
                  <a:lnTo>
                    <a:pt x="30" y="163"/>
                  </a:lnTo>
                  <a:lnTo>
                    <a:pt x="21" y="156"/>
                  </a:lnTo>
                  <a:lnTo>
                    <a:pt x="16" y="144"/>
                  </a:lnTo>
                  <a:lnTo>
                    <a:pt x="9" y="121"/>
                  </a:lnTo>
                  <a:lnTo>
                    <a:pt x="5" y="95"/>
                  </a:lnTo>
                  <a:lnTo>
                    <a:pt x="2" y="67"/>
                  </a:lnTo>
                  <a:lnTo>
                    <a:pt x="0" y="44"/>
                  </a:lnTo>
                  <a:lnTo>
                    <a:pt x="0" y="25"/>
                  </a:lnTo>
                  <a:lnTo>
                    <a:pt x="0" y="18"/>
                  </a:lnTo>
                  <a:lnTo>
                    <a:pt x="2" y="11"/>
                  </a:lnTo>
                  <a:lnTo>
                    <a:pt x="5" y="6"/>
                  </a:lnTo>
                  <a:lnTo>
                    <a:pt x="9" y="2"/>
                  </a:lnTo>
                  <a:lnTo>
                    <a:pt x="14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4"/>
            <p:cNvSpPr>
              <a:spLocks/>
            </p:cNvSpPr>
            <p:nvPr userDrawn="1"/>
          </p:nvSpPr>
          <p:spPr bwMode="auto">
            <a:xfrm>
              <a:off x="6334126" y="5121275"/>
              <a:ext cx="61913" cy="38100"/>
            </a:xfrm>
            <a:custGeom>
              <a:avLst/>
              <a:gdLst>
                <a:gd name="T0" fmla="*/ 20 w 39"/>
                <a:gd name="T1" fmla="*/ 0 h 24"/>
                <a:gd name="T2" fmla="*/ 27 w 39"/>
                <a:gd name="T3" fmla="*/ 0 h 24"/>
                <a:gd name="T4" fmla="*/ 32 w 39"/>
                <a:gd name="T5" fmla="*/ 3 h 24"/>
                <a:gd name="T6" fmla="*/ 35 w 39"/>
                <a:gd name="T7" fmla="*/ 7 h 24"/>
                <a:gd name="T8" fmla="*/ 39 w 39"/>
                <a:gd name="T9" fmla="*/ 10 h 24"/>
                <a:gd name="T10" fmla="*/ 39 w 39"/>
                <a:gd name="T11" fmla="*/ 14 h 24"/>
                <a:gd name="T12" fmla="*/ 37 w 39"/>
                <a:gd name="T13" fmla="*/ 17 h 24"/>
                <a:gd name="T14" fmla="*/ 35 w 39"/>
                <a:gd name="T15" fmla="*/ 19 h 24"/>
                <a:gd name="T16" fmla="*/ 30 w 39"/>
                <a:gd name="T17" fmla="*/ 21 h 24"/>
                <a:gd name="T18" fmla="*/ 27 w 39"/>
                <a:gd name="T19" fmla="*/ 23 h 24"/>
                <a:gd name="T20" fmla="*/ 20 w 39"/>
                <a:gd name="T21" fmla="*/ 24 h 24"/>
                <a:gd name="T22" fmla="*/ 16 w 39"/>
                <a:gd name="T23" fmla="*/ 24 h 24"/>
                <a:gd name="T24" fmla="*/ 13 w 39"/>
                <a:gd name="T25" fmla="*/ 23 h 24"/>
                <a:gd name="T26" fmla="*/ 7 w 39"/>
                <a:gd name="T27" fmla="*/ 23 h 24"/>
                <a:gd name="T28" fmla="*/ 4 w 39"/>
                <a:gd name="T29" fmla="*/ 21 h 24"/>
                <a:gd name="T30" fmla="*/ 2 w 39"/>
                <a:gd name="T31" fmla="*/ 17 h 24"/>
                <a:gd name="T32" fmla="*/ 0 w 39"/>
                <a:gd name="T33" fmla="*/ 14 h 24"/>
                <a:gd name="T34" fmla="*/ 0 w 39"/>
                <a:gd name="T35" fmla="*/ 10 h 24"/>
                <a:gd name="T36" fmla="*/ 2 w 39"/>
                <a:gd name="T37" fmla="*/ 7 h 24"/>
                <a:gd name="T38" fmla="*/ 4 w 39"/>
                <a:gd name="T39" fmla="*/ 3 h 24"/>
                <a:gd name="T40" fmla="*/ 6 w 39"/>
                <a:gd name="T41" fmla="*/ 2 h 24"/>
                <a:gd name="T42" fmla="*/ 9 w 39"/>
                <a:gd name="T43" fmla="*/ 0 h 24"/>
                <a:gd name="T44" fmla="*/ 14 w 39"/>
                <a:gd name="T45" fmla="*/ 0 h 24"/>
                <a:gd name="T46" fmla="*/ 20 w 39"/>
                <a:gd name="T4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24">
                  <a:moveTo>
                    <a:pt x="20" y="0"/>
                  </a:moveTo>
                  <a:lnTo>
                    <a:pt x="27" y="0"/>
                  </a:lnTo>
                  <a:lnTo>
                    <a:pt x="32" y="3"/>
                  </a:lnTo>
                  <a:lnTo>
                    <a:pt x="35" y="7"/>
                  </a:lnTo>
                  <a:lnTo>
                    <a:pt x="39" y="10"/>
                  </a:lnTo>
                  <a:lnTo>
                    <a:pt x="39" y="14"/>
                  </a:lnTo>
                  <a:lnTo>
                    <a:pt x="37" y="17"/>
                  </a:lnTo>
                  <a:lnTo>
                    <a:pt x="35" y="19"/>
                  </a:lnTo>
                  <a:lnTo>
                    <a:pt x="30" y="21"/>
                  </a:lnTo>
                  <a:lnTo>
                    <a:pt x="27" y="23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7"/>
                  </a:lnTo>
                  <a:lnTo>
                    <a:pt x="4" y="3"/>
                  </a:lnTo>
                  <a:lnTo>
                    <a:pt x="6" y="2"/>
                  </a:lnTo>
                  <a:lnTo>
                    <a:pt x="9" y="0"/>
                  </a:lnTo>
                  <a:lnTo>
                    <a:pt x="14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5"/>
            <p:cNvSpPr>
              <a:spLocks/>
            </p:cNvSpPr>
            <p:nvPr userDrawn="1"/>
          </p:nvSpPr>
          <p:spPr bwMode="auto">
            <a:xfrm>
              <a:off x="6440488" y="5170488"/>
              <a:ext cx="211138" cy="414338"/>
            </a:xfrm>
            <a:custGeom>
              <a:avLst/>
              <a:gdLst>
                <a:gd name="T0" fmla="*/ 72 w 133"/>
                <a:gd name="T1" fmla="*/ 2 h 261"/>
                <a:gd name="T2" fmla="*/ 99 w 133"/>
                <a:gd name="T3" fmla="*/ 14 h 261"/>
                <a:gd name="T4" fmla="*/ 112 w 133"/>
                <a:gd name="T5" fmla="*/ 39 h 261"/>
                <a:gd name="T6" fmla="*/ 99 w 133"/>
                <a:gd name="T7" fmla="*/ 55 h 261"/>
                <a:gd name="T8" fmla="*/ 89 w 133"/>
                <a:gd name="T9" fmla="*/ 55 h 261"/>
                <a:gd name="T10" fmla="*/ 82 w 133"/>
                <a:gd name="T11" fmla="*/ 49 h 261"/>
                <a:gd name="T12" fmla="*/ 73 w 133"/>
                <a:gd name="T13" fmla="*/ 34 h 261"/>
                <a:gd name="T14" fmla="*/ 54 w 133"/>
                <a:gd name="T15" fmla="*/ 27 h 261"/>
                <a:gd name="T16" fmla="*/ 38 w 133"/>
                <a:gd name="T17" fmla="*/ 30 h 261"/>
                <a:gd name="T18" fmla="*/ 33 w 133"/>
                <a:gd name="T19" fmla="*/ 39 h 261"/>
                <a:gd name="T20" fmla="*/ 35 w 133"/>
                <a:gd name="T21" fmla="*/ 49 h 261"/>
                <a:gd name="T22" fmla="*/ 45 w 133"/>
                <a:gd name="T23" fmla="*/ 65 h 261"/>
                <a:gd name="T24" fmla="*/ 72 w 133"/>
                <a:gd name="T25" fmla="*/ 90 h 261"/>
                <a:gd name="T26" fmla="*/ 105 w 133"/>
                <a:gd name="T27" fmla="*/ 123 h 261"/>
                <a:gd name="T28" fmla="*/ 129 w 133"/>
                <a:gd name="T29" fmla="*/ 158 h 261"/>
                <a:gd name="T30" fmla="*/ 127 w 133"/>
                <a:gd name="T31" fmla="*/ 198 h 261"/>
                <a:gd name="T32" fmla="*/ 99 w 133"/>
                <a:gd name="T33" fmla="*/ 235 h 261"/>
                <a:gd name="T34" fmla="*/ 66 w 133"/>
                <a:gd name="T35" fmla="*/ 256 h 261"/>
                <a:gd name="T36" fmla="*/ 35 w 133"/>
                <a:gd name="T37" fmla="*/ 261 h 261"/>
                <a:gd name="T38" fmla="*/ 16 w 133"/>
                <a:gd name="T39" fmla="*/ 251 h 261"/>
                <a:gd name="T40" fmla="*/ 3 w 133"/>
                <a:gd name="T41" fmla="*/ 235 h 261"/>
                <a:gd name="T42" fmla="*/ 2 w 133"/>
                <a:gd name="T43" fmla="*/ 217 h 261"/>
                <a:gd name="T44" fmla="*/ 7 w 133"/>
                <a:gd name="T45" fmla="*/ 214 h 261"/>
                <a:gd name="T46" fmla="*/ 12 w 133"/>
                <a:gd name="T47" fmla="*/ 216 h 261"/>
                <a:gd name="T48" fmla="*/ 21 w 133"/>
                <a:gd name="T49" fmla="*/ 226 h 261"/>
                <a:gd name="T50" fmla="*/ 44 w 133"/>
                <a:gd name="T51" fmla="*/ 237 h 261"/>
                <a:gd name="T52" fmla="*/ 82 w 133"/>
                <a:gd name="T53" fmla="*/ 219 h 261"/>
                <a:gd name="T54" fmla="*/ 101 w 133"/>
                <a:gd name="T55" fmla="*/ 181 h 261"/>
                <a:gd name="T56" fmla="*/ 87 w 133"/>
                <a:gd name="T57" fmla="*/ 146 h 261"/>
                <a:gd name="T58" fmla="*/ 47 w 133"/>
                <a:gd name="T59" fmla="*/ 107 h 261"/>
                <a:gd name="T60" fmla="*/ 12 w 133"/>
                <a:gd name="T61" fmla="*/ 70 h 261"/>
                <a:gd name="T62" fmla="*/ 0 w 133"/>
                <a:gd name="T63" fmla="*/ 39 h 261"/>
                <a:gd name="T64" fmla="*/ 12 w 133"/>
                <a:gd name="T65" fmla="*/ 13 h 261"/>
                <a:gd name="T66" fmla="*/ 51 w 133"/>
                <a:gd name="T6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3" h="261">
                  <a:moveTo>
                    <a:pt x="51" y="0"/>
                  </a:moveTo>
                  <a:lnTo>
                    <a:pt x="72" y="2"/>
                  </a:lnTo>
                  <a:lnTo>
                    <a:pt x="87" y="7"/>
                  </a:lnTo>
                  <a:lnTo>
                    <a:pt x="99" y="14"/>
                  </a:lnTo>
                  <a:lnTo>
                    <a:pt x="108" y="25"/>
                  </a:lnTo>
                  <a:lnTo>
                    <a:pt x="112" y="39"/>
                  </a:lnTo>
                  <a:lnTo>
                    <a:pt x="108" y="49"/>
                  </a:lnTo>
                  <a:lnTo>
                    <a:pt x="99" y="55"/>
                  </a:lnTo>
                  <a:lnTo>
                    <a:pt x="92" y="56"/>
                  </a:lnTo>
                  <a:lnTo>
                    <a:pt x="89" y="55"/>
                  </a:lnTo>
                  <a:lnTo>
                    <a:pt x="85" y="53"/>
                  </a:lnTo>
                  <a:lnTo>
                    <a:pt x="82" y="49"/>
                  </a:lnTo>
                  <a:lnTo>
                    <a:pt x="80" y="44"/>
                  </a:lnTo>
                  <a:lnTo>
                    <a:pt x="73" y="34"/>
                  </a:lnTo>
                  <a:lnTo>
                    <a:pt x="65" y="28"/>
                  </a:lnTo>
                  <a:lnTo>
                    <a:pt x="54" y="27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5" y="34"/>
                  </a:lnTo>
                  <a:lnTo>
                    <a:pt x="33" y="39"/>
                  </a:lnTo>
                  <a:lnTo>
                    <a:pt x="33" y="44"/>
                  </a:lnTo>
                  <a:lnTo>
                    <a:pt x="35" y="49"/>
                  </a:lnTo>
                  <a:lnTo>
                    <a:pt x="38" y="55"/>
                  </a:lnTo>
                  <a:lnTo>
                    <a:pt x="45" y="65"/>
                  </a:lnTo>
                  <a:lnTo>
                    <a:pt x="58" y="77"/>
                  </a:lnTo>
                  <a:lnTo>
                    <a:pt x="72" y="90"/>
                  </a:lnTo>
                  <a:lnTo>
                    <a:pt x="84" y="104"/>
                  </a:lnTo>
                  <a:lnTo>
                    <a:pt x="105" y="123"/>
                  </a:lnTo>
                  <a:lnTo>
                    <a:pt x="120" y="142"/>
                  </a:lnTo>
                  <a:lnTo>
                    <a:pt x="129" y="158"/>
                  </a:lnTo>
                  <a:lnTo>
                    <a:pt x="133" y="175"/>
                  </a:lnTo>
                  <a:lnTo>
                    <a:pt x="127" y="198"/>
                  </a:lnTo>
                  <a:lnTo>
                    <a:pt x="115" y="219"/>
                  </a:lnTo>
                  <a:lnTo>
                    <a:pt x="99" y="235"/>
                  </a:lnTo>
                  <a:lnTo>
                    <a:pt x="82" y="249"/>
                  </a:lnTo>
                  <a:lnTo>
                    <a:pt x="66" y="256"/>
                  </a:lnTo>
                  <a:lnTo>
                    <a:pt x="49" y="261"/>
                  </a:lnTo>
                  <a:lnTo>
                    <a:pt x="35" y="261"/>
                  </a:lnTo>
                  <a:lnTo>
                    <a:pt x="23" y="258"/>
                  </a:lnTo>
                  <a:lnTo>
                    <a:pt x="16" y="251"/>
                  </a:lnTo>
                  <a:lnTo>
                    <a:pt x="9" y="244"/>
                  </a:lnTo>
                  <a:lnTo>
                    <a:pt x="3" y="235"/>
                  </a:lnTo>
                  <a:lnTo>
                    <a:pt x="2" y="223"/>
                  </a:lnTo>
                  <a:lnTo>
                    <a:pt x="2" y="217"/>
                  </a:lnTo>
                  <a:lnTo>
                    <a:pt x="3" y="216"/>
                  </a:lnTo>
                  <a:lnTo>
                    <a:pt x="7" y="214"/>
                  </a:lnTo>
                  <a:lnTo>
                    <a:pt x="10" y="214"/>
                  </a:lnTo>
                  <a:lnTo>
                    <a:pt x="12" y="216"/>
                  </a:lnTo>
                  <a:lnTo>
                    <a:pt x="16" y="217"/>
                  </a:lnTo>
                  <a:lnTo>
                    <a:pt x="21" y="226"/>
                  </a:lnTo>
                  <a:lnTo>
                    <a:pt x="31" y="233"/>
                  </a:lnTo>
                  <a:lnTo>
                    <a:pt x="44" y="237"/>
                  </a:lnTo>
                  <a:lnTo>
                    <a:pt x="65" y="231"/>
                  </a:lnTo>
                  <a:lnTo>
                    <a:pt x="82" y="219"/>
                  </a:lnTo>
                  <a:lnTo>
                    <a:pt x="96" y="200"/>
                  </a:lnTo>
                  <a:lnTo>
                    <a:pt x="101" y="181"/>
                  </a:lnTo>
                  <a:lnTo>
                    <a:pt x="99" y="163"/>
                  </a:lnTo>
                  <a:lnTo>
                    <a:pt x="87" y="146"/>
                  </a:lnTo>
                  <a:lnTo>
                    <a:pt x="70" y="128"/>
                  </a:lnTo>
                  <a:lnTo>
                    <a:pt x="47" y="107"/>
                  </a:lnTo>
                  <a:lnTo>
                    <a:pt x="26" y="88"/>
                  </a:lnTo>
                  <a:lnTo>
                    <a:pt x="12" y="70"/>
                  </a:lnTo>
                  <a:lnTo>
                    <a:pt x="3" y="53"/>
                  </a:lnTo>
                  <a:lnTo>
                    <a:pt x="0" y="39"/>
                  </a:lnTo>
                  <a:lnTo>
                    <a:pt x="3" y="25"/>
                  </a:lnTo>
                  <a:lnTo>
                    <a:pt x="12" y="13"/>
                  </a:lnTo>
                  <a:lnTo>
                    <a:pt x="28" y="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6"/>
            <p:cNvSpPr>
              <a:spLocks/>
            </p:cNvSpPr>
            <p:nvPr userDrawn="1"/>
          </p:nvSpPr>
          <p:spPr bwMode="auto">
            <a:xfrm>
              <a:off x="6692901" y="5076825"/>
              <a:ext cx="233363" cy="504825"/>
            </a:xfrm>
            <a:custGeom>
              <a:avLst/>
              <a:gdLst>
                <a:gd name="T0" fmla="*/ 26 w 147"/>
                <a:gd name="T1" fmla="*/ 2 h 318"/>
                <a:gd name="T2" fmla="*/ 35 w 147"/>
                <a:gd name="T3" fmla="*/ 9 h 318"/>
                <a:gd name="T4" fmla="*/ 38 w 147"/>
                <a:gd name="T5" fmla="*/ 21 h 318"/>
                <a:gd name="T6" fmla="*/ 31 w 147"/>
                <a:gd name="T7" fmla="*/ 66 h 318"/>
                <a:gd name="T8" fmla="*/ 26 w 147"/>
                <a:gd name="T9" fmla="*/ 163 h 318"/>
                <a:gd name="T10" fmla="*/ 47 w 147"/>
                <a:gd name="T11" fmla="*/ 178 h 318"/>
                <a:gd name="T12" fmla="*/ 77 w 147"/>
                <a:gd name="T13" fmla="*/ 131 h 318"/>
                <a:gd name="T14" fmla="*/ 107 w 147"/>
                <a:gd name="T15" fmla="*/ 119 h 318"/>
                <a:gd name="T16" fmla="*/ 129 w 147"/>
                <a:gd name="T17" fmla="*/ 136 h 318"/>
                <a:gd name="T18" fmla="*/ 143 w 147"/>
                <a:gd name="T19" fmla="*/ 182 h 318"/>
                <a:gd name="T20" fmla="*/ 147 w 147"/>
                <a:gd name="T21" fmla="*/ 255 h 318"/>
                <a:gd name="T22" fmla="*/ 142 w 147"/>
                <a:gd name="T23" fmla="*/ 310 h 318"/>
                <a:gd name="T24" fmla="*/ 135 w 147"/>
                <a:gd name="T25" fmla="*/ 318 h 318"/>
                <a:gd name="T26" fmla="*/ 126 w 147"/>
                <a:gd name="T27" fmla="*/ 318 h 318"/>
                <a:gd name="T28" fmla="*/ 121 w 147"/>
                <a:gd name="T29" fmla="*/ 315 h 318"/>
                <a:gd name="T30" fmla="*/ 117 w 147"/>
                <a:gd name="T31" fmla="*/ 308 h 318"/>
                <a:gd name="T32" fmla="*/ 119 w 147"/>
                <a:gd name="T33" fmla="*/ 262 h 318"/>
                <a:gd name="T34" fmla="*/ 115 w 147"/>
                <a:gd name="T35" fmla="*/ 198 h 318"/>
                <a:gd name="T36" fmla="*/ 107 w 147"/>
                <a:gd name="T37" fmla="*/ 163 h 318"/>
                <a:gd name="T38" fmla="*/ 100 w 147"/>
                <a:gd name="T39" fmla="*/ 156 h 318"/>
                <a:gd name="T40" fmla="*/ 93 w 147"/>
                <a:gd name="T41" fmla="*/ 157 h 318"/>
                <a:gd name="T42" fmla="*/ 84 w 147"/>
                <a:gd name="T43" fmla="*/ 164 h 318"/>
                <a:gd name="T44" fmla="*/ 58 w 147"/>
                <a:gd name="T45" fmla="*/ 213 h 318"/>
                <a:gd name="T46" fmla="*/ 38 w 147"/>
                <a:gd name="T47" fmla="*/ 254 h 318"/>
                <a:gd name="T48" fmla="*/ 31 w 147"/>
                <a:gd name="T49" fmla="*/ 259 h 318"/>
                <a:gd name="T50" fmla="*/ 26 w 147"/>
                <a:gd name="T51" fmla="*/ 261 h 318"/>
                <a:gd name="T52" fmla="*/ 19 w 147"/>
                <a:gd name="T53" fmla="*/ 261 h 318"/>
                <a:gd name="T54" fmla="*/ 12 w 147"/>
                <a:gd name="T55" fmla="*/ 257 h 318"/>
                <a:gd name="T56" fmla="*/ 7 w 147"/>
                <a:gd name="T57" fmla="*/ 248 h 318"/>
                <a:gd name="T58" fmla="*/ 5 w 147"/>
                <a:gd name="T59" fmla="*/ 226 h 318"/>
                <a:gd name="T60" fmla="*/ 2 w 147"/>
                <a:gd name="T61" fmla="*/ 170 h 318"/>
                <a:gd name="T62" fmla="*/ 2 w 147"/>
                <a:gd name="T63" fmla="*/ 96 h 318"/>
                <a:gd name="T64" fmla="*/ 7 w 147"/>
                <a:gd name="T65" fmla="*/ 23 h 318"/>
                <a:gd name="T66" fmla="*/ 9 w 147"/>
                <a:gd name="T67" fmla="*/ 10 h 318"/>
                <a:gd name="T68" fmla="*/ 12 w 147"/>
                <a:gd name="T69" fmla="*/ 3 h 318"/>
                <a:gd name="T70" fmla="*/ 19 w 147"/>
                <a:gd name="T7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7" h="318">
                  <a:moveTo>
                    <a:pt x="19" y="0"/>
                  </a:moveTo>
                  <a:lnTo>
                    <a:pt x="26" y="2"/>
                  </a:lnTo>
                  <a:lnTo>
                    <a:pt x="31" y="3"/>
                  </a:lnTo>
                  <a:lnTo>
                    <a:pt x="35" y="9"/>
                  </a:lnTo>
                  <a:lnTo>
                    <a:pt x="38" y="14"/>
                  </a:lnTo>
                  <a:lnTo>
                    <a:pt x="38" y="21"/>
                  </a:lnTo>
                  <a:lnTo>
                    <a:pt x="38" y="28"/>
                  </a:lnTo>
                  <a:lnTo>
                    <a:pt x="31" y="66"/>
                  </a:lnTo>
                  <a:lnTo>
                    <a:pt x="28" y="112"/>
                  </a:lnTo>
                  <a:lnTo>
                    <a:pt x="26" y="163"/>
                  </a:lnTo>
                  <a:lnTo>
                    <a:pt x="30" y="215"/>
                  </a:lnTo>
                  <a:lnTo>
                    <a:pt x="47" y="178"/>
                  </a:lnTo>
                  <a:lnTo>
                    <a:pt x="63" y="150"/>
                  </a:lnTo>
                  <a:lnTo>
                    <a:pt x="77" y="131"/>
                  </a:lnTo>
                  <a:lnTo>
                    <a:pt x="93" y="121"/>
                  </a:lnTo>
                  <a:lnTo>
                    <a:pt x="107" y="119"/>
                  </a:lnTo>
                  <a:lnTo>
                    <a:pt x="119" y="124"/>
                  </a:lnTo>
                  <a:lnTo>
                    <a:pt x="129" y="136"/>
                  </a:lnTo>
                  <a:lnTo>
                    <a:pt x="138" y="156"/>
                  </a:lnTo>
                  <a:lnTo>
                    <a:pt x="143" y="182"/>
                  </a:lnTo>
                  <a:lnTo>
                    <a:pt x="147" y="215"/>
                  </a:lnTo>
                  <a:lnTo>
                    <a:pt x="147" y="255"/>
                  </a:lnTo>
                  <a:lnTo>
                    <a:pt x="143" y="303"/>
                  </a:lnTo>
                  <a:lnTo>
                    <a:pt x="142" y="310"/>
                  </a:lnTo>
                  <a:lnTo>
                    <a:pt x="140" y="315"/>
                  </a:lnTo>
                  <a:lnTo>
                    <a:pt x="135" y="318"/>
                  </a:lnTo>
                  <a:lnTo>
                    <a:pt x="129" y="318"/>
                  </a:lnTo>
                  <a:lnTo>
                    <a:pt x="126" y="318"/>
                  </a:lnTo>
                  <a:lnTo>
                    <a:pt x="124" y="317"/>
                  </a:lnTo>
                  <a:lnTo>
                    <a:pt x="121" y="315"/>
                  </a:lnTo>
                  <a:lnTo>
                    <a:pt x="119" y="311"/>
                  </a:lnTo>
                  <a:lnTo>
                    <a:pt x="117" y="308"/>
                  </a:lnTo>
                  <a:lnTo>
                    <a:pt x="117" y="303"/>
                  </a:lnTo>
                  <a:lnTo>
                    <a:pt x="119" y="262"/>
                  </a:lnTo>
                  <a:lnTo>
                    <a:pt x="117" y="227"/>
                  </a:lnTo>
                  <a:lnTo>
                    <a:pt x="115" y="198"/>
                  </a:lnTo>
                  <a:lnTo>
                    <a:pt x="110" y="170"/>
                  </a:lnTo>
                  <a:lnTo>
                    <a:pt x="107" y="163"/>
                  </a:lnTo>
                  <a:lnTo>
                    <a:pt x="103" y="157"/>
                  </a:lnTo>
                  <a:lnTo>
                    <a:pt x="100" y="156"/>
                  </a:lnTo>
                  <a:lnTo>
                    <a:pt x="96" y="156"/>
                  </a:lnTo>
                  <a:lnTo>
                    <a:pt x="93" y="157"/>
                  </a:lnTo>
                  <a:lnTo>
                    <a:pt x="89" y="161"/>
                  </a:lnTo>
                  <a:lnTo>
                    <a:pt x="84" y="164"/>
                  </a:lnTo>
                  <a:lnTo>
                    <a:pt x="72" y="185"/>
                  </a:lnTo>
                  <a:lnTo>
                    <a:pt x="58" y="213"/>
                  </a:lnTo>
                  <a:lnTo>
                    <a:pt x="42" y="248"/>
                  </a:lnTo>
                  <a:lnTo>
                    <a:pt x="38" y="254"/>
                  </a:lnTo>
                  <a:lnTo>
                    <a:pt x="35" y="257"/>
                  </a:lnTo>
                  <a:lnTo>
                    <a:pt x="31" y="259"/>
                  </a:lnTo>
                  <a:lnTo>
                    <a:pt x="28" y="261"/>
                  </a:lnTo>
                  <a:lnTo>
                    <a:pt x="26" y="261"/>
                  </a:lnTo>
                  <a:lnTo>
                    <a:pt x="23" y="261"/>
                  </a:lnTo>
                  <a:lnTo>
                    <a:pt x="19" y="261"/>
                  </a:lnTo>
                  <a:lnTo>
                    <a:pt x="16" y="259"/>
                  </a:lnTo>
                  <a:lnTo>
                    <a:pt x="12" y="257"/>
                  </a:lnTo>
                  <a:lnTo>
                    <a:pt x="10" y="254"/>
                  </a:lnTo>
                  <a:lnTo>
                    <a:pt x="7" y="248"/>
                  </a:lnTo>
                  <a:lnTo>
                    <a:pt x="7" y="241"/>
                  </a:lnTo>
                  <a:lnTo>
                    <a:pt x="5" y="226"/>
                  </a:lnTo>
                  <a:lnTo>
                    <a:pt x="3" y="201"/>
                  </a:lnTo>
                  <a:lnTo>
                    <a:pt x="2" y="170"/>
                  </a:lnTo>
                  <a:lnTo>
                    <a:pt x="0" y="135"/>
                  </a:lnTo>
                  <a:lnTo>
                    <a:pt x="2" y="96"/>
                  </a:lnTo>
                  <a:lnTo>
                    <a:pt x="3" y="59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9" y="10"/>
                  </a:lnTo>
                  <a:lnTo>
                    <a:pt x="10" y="7"/>
                  </a:lnTo>
                  <a:lnTo>
                    <a:pt x="12" y="3"/>
                  </a:lnTo>
                  <a:lnTo>
                    <a:pt x="1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7"/>
            <p:cNvSpPr>
              <a:spLocks/>
            </p:cNvSpPr>
            <p:nvPr userDrawn="1"/>
          </p:nvSpPr>
          <p:spPr bwMode="auto">
            <a:xfrm>
              <a:off x="6978651" y="5259388"/>
              <a:ext cx="71438" cy="303213"/>
            </a:xfrm>
            <a:custGeom>
              <a:avLst/>
              <a:gdLst>
                <a:gd name="T0" fmla="*/ 14 w 45"/>
                <a:gd name="T1" fmla="*/ 0 h 191"/>
                <a:gd name="T2" fmla="*/ 19 w 45"/>
                <a:gd name="T3" fmla="*/ 0 h 191"/>
                <a:gd name="T4" fmla="*/ 24 w 45"/>
                <a:gd name="T5" fmla="*/ 2 h 191"/>
                <a:gd name="T6" fmla="*/ 28 w 45"/>
                <a:gd name="T7" fmla="*/ 4 h 191"/>
                <a:gd name="T8" fmla="*/ 31 w 45"/>
                <a:gd name="T9" fmla="*/ 6 h 191"/>
                <a:gd name="T10" fmla="*/ 35 w 45"/>
                <a:gd name="T11" fmla="*/ 9 h 191"/>
                <a:gd name="T12" fmla="*/ 37 w 45"/>
                <a:gd name="T13" fmla="*/ 14 h 191"/>
                <a:gd name="T14" fmla="*/ 38 w 45"/>
                <a:gd name="T15" fmla="*/ 20 h 191"/>
                <a:gd name="T16" fmla="*/ 38 w 45"/>
                <a:gd name="T17" fmla="*/ 28 h 191"/>
                <a:gd name="T18" fmla="*/ 37 w 45"/>
                <a:gd name="T19" fmla="*/ 65 h 191"/>
                <a:gd name="T20" fmla="*/ 35 w 45"/>
                <a:gd name="T21" fmla="*/ 102 h 191"/>
                <a:gd name="T22" fmla="*/ 37 w 45"/>
                <a:gd name="T23" fmla="*/ 132 h 191"/>
                <a:gd name="T24" fmla="*/ 38 w 45"/>
                <a:gd name="T25" fmla="*/ 158 h 191"/>
                <a:gd name="T26" fmla="*/ 44 w 45"/>
                <a:gd name="T27" fmla="*/ 177 h 191"/>
                <a:gd name="T28" fmla="*/ 45 w 45"/>
                <a:gd name="T29" fmla="*/ 181 h 191"/>
                <a:gd name="T30" fmla="*/ 45 w 45"/>
                <a:gd name="T31" fmla="*/ 186 h 191"/>
                <a:gd name="T32" fmla="*/ 44 w 45"/>
                <a:gd name="T33" fmla="*/ 188 h 191"/>
                <a:gd name="T34" fmla="*/ 40 w 45"/>
                <a:gd name="T35" fmla="*/ 191 h 191"/>
                <a:gd name="T36" fmla="*/ 37 w 45"/>
                <a:gd name="T37" fmla="*/ 191 h 191"/>
                <a:gd name="T38" fmla="*/ 31 w 45"/>
                <a:gd name="T39" fmla="*/ 191 h 191"/>
                <a:gd name="T40" fmla="*/ 28 w 45"/>
                <a:gd name="T41" fmla="*/ 189 h 191"/>
                <a:gd name="T42" fmla="*/ 23 w 45"/>
                <a:gd name="T43" fmla="*/ 188 h 191"/>
                <a:gd name="T44" fmla="*/ 19 w 45"/>
                <a:gd name="T45" fmla="*/ 184 h 191"/>
                <a:gd name="T46" fmla="*/ 16 w 45"/>
                <a:gd name="T47" fmla="*/ 177 h 191"/>
                <a:gd name="T48" fmla="*/ 12 w 45"/>
                <a:gd name="T49" fmla="*/ 170 h 191"/>
                <a:gd name="T50" fmla="*/ 9 w 45"/>
                <a:gd name="T51" fmla="*/ 149 h 191"/>
                <a:gd name="T52" fmla="*/ 4 w 45"/>
                <a:gd name="T53" fmla="*/ 121 h 191"/>
                <a:gd name="T54" fmla="*/ 2 w 45"/>
                <a:gd name="T55" fmla="*/ 90 h 191"/>
                <a:gd name="T56" fmla="*/ 0 w 45"/>
                <a:gd name="T57" fmla="*/ 55 h 191"/>
                <a:gd name="T58" fmla="*/ 2 w 45"/>
                <a:gd name="T59" fmla="*/ 23 h 191"/>
                <a:gd name="T60" fmla="*/ 2 w 45"/>
                <a:gd name="T61" fmla="*/ 16 h 191"/>
                <a:gd name="T62" fmla="*/ 4 w 45"/>
                <a:gd name="T63" fmla="*/ 9 h 191"/>
                <a:gd name="T64" fmla="*/ 7 w 45"/>
                <a:gd name="T65" fmla="*/ 6 h 191"/>
                <a:gd name="T66" fmla="*/ 11 w 45"/>
                <a:gd name="T67" fmla="*/ 2 h 191"/>
                <a:gd name="T68" fmla="*/ 14 w 45"/>
                <a:gd name="T6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" h="191">
                  <a:moveTo>
                    <a:pt x="14" y="0"/>
                  </a:moveTo>
                  <a:lnTo>
                    <a:pt x="19" y="0"/>
                  </a:lnTo>
                  <a:lnTo>
                    <a:pt x="24" y="2"/>
                  </a:lnTo>
                  <a:lnTo>
                    <a:pt x="28" y="4"/>
                  </a:lnTo>
                  <a:lnTo>
                    <a:pt x="31" y="6"/>
                  </a:lnTo>
                  <a:lnTo>
                    <a:pt x="35" y="9"/>
                  </a:lnTo>
                  <a:lnTo>
                    <a:pt x="37" y="14"/>
                  </a:lnTo>
                  <a:lnTo>
                    <a:pt x="38" y="20"/>
                  </a:lnTo>
                  <a:lnTo>
                    <a:pt x="38" y="28"/>
                  </a:lnTo>
                  <a:lnTo>
                    <a:pt x="37" y="65"/>
                  </a:lnTo>
                  <a:lnTo>
                    <a:pt x="35" y="102"/>
                  </a:lnTo>
                  <a:lnTo>
                    <a:pt x="37" y="132"/>
                  </a:lnTo>
                  <a:lnTo>
                    <a:pt x="38" y="158"/>
                  </a:lnTo>
                  <a:lnTo>
                    <a:pt x="44" y="177"/>
                  </a:lnTo>
                  <a:lnTo>
                    <a:pt x="45" y="181"/>
                  </a:lnTo>
                  <a:lnTo>
                    <a:pt x="45" y="186"/>
                  </a:lnTo>
                  <a:lnTo>
                    <a:pt x="44" y="188"/>
                  </a:lnTo>
                  <a:lnTo>
                    <a:pt x="40" y="191"/>
                  </a:lnTo>
                  <a:lnTo>
                    <a:pt x="37" y="191"/>
                  </a:lnTo>
                  <a:lnTo>
                    <a:pt x="31" y="191"/>
                  </a:lnTo>
                  <a:lnTo>
                    <a:pt x="28" y="189"/>
                  </a:lnTo>
                  <a:lnTo>
                    <a:pt x="23" y="188"/>
                  </a:lnTo>
                  <a:lnTo>
                    <a:pt x="19" y="184"/>
                  </a:lnTo>
                  <a:lnTo>
                    <a:pt x="16" y="177"/>
                  </a:lnTo>
                  <a:lnTo>
                    <a:pt x="12" y="170"/>
                  </a:lnTo>
                  <a:lnTo>
                    <a:pt x="9" y="149"/>
                  </a:lnTo>
                  <a:lnTo>
                    <a:pt x="4" y="121"/>
                  </a:lnTo>
                  <a:lnTo>
                    <a:pt x="2" y="90"/>
                  </a:lnTo>
                  <a:lnTo>
                    <a:pt x="0" y="55"/>
                  </a:lnTo>
                  <a:lnTo>
                    <a:pt x="2" y="23"/>
                  </a:lnTo>
                  <a:lnTo>
                    <a:pt x="2" y="16"/>
                  </a:lnTo>
                  <a:lnTo>
                    <a:pt x="4" y="9"/>
                  </a:lnTo>
                  <a:lnTo>
                    <a:pt x="7" y="6"/>
                  </a:lnTo>
                  <a:lnTo>
                    <a:pt x="11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8"/>
            <p:cNvSpPr>
              <a:spLocks/>
            </p:cNvSpPr>
            <p:nvPr userDrawn="1"/>
          </p:nvSpPr>
          <p:spPr bwMode="auto">
            <a:xfrm>
              <a:off x="7011988" y="5137150"/>
              <a:ext cx="63500" cy="44450"/>
            </a:xfrm>
            <a:custGeom>
              <a:avLst/>
              <a:gdLst>
                <a:gd name="T0" fmla="*/ 10 w 40"/>
                <a:gd name="T1" fmla="*/ 0 h 28"/>
                <a:gd name="T2" fmla="*/ 17 w 40"/>
                <a:gd name="T3" fmla="*/ 0 h 28"/>
                <a:gd name="T4" fmla="*/ 23 w 40"/>
                <a:gd name="T5" fmla="*/ 2 h 28"/>
                <a:gd name="T6" fmla="*/ 30 w 40"/>
                <a:gd name="T7" fmla="*/ 6 h 28"/>
                <a:gd name="T8" fmla="*/ 35 w 40"/>
                <a:gd name="T9" fmla="*/ 9 h 28"/>
                <a:gd name="T10" fmla="*/ 38 w 40"/>
                <a:gd name="T11" fmla="*/ 13 h 28"/>
                <a:gd name="T12" fmla="*/ 40 w 40"/>
                <a:gd name="T13" fmla="*/ 18 h 28"/>
                <a:gd name="T14" fmla="*/ 38 w 40"/>
                <a:gd name="T15" fmla="*/ 21 h 28"/>
                <a:gd name="T16" fmla="*/ 37 w 40"/>
                <a:gd name="T17" fmla="*/ 25 h 28"/>
                <a:gd name="T18" fmla="*/ 35 w 40"/>
                <a:gd name="T19" fmla="*/ 27 h 28"/>
                <a:gd name="T20" fmla="*/ 30 w 40"/>
                <a:gd name="T21" fmla="*/ 28 h 28"/>
                <a:gd name="T22" fmla="*/ 26 w 40"/>
                <a:gd name="T23" fmla="*/ 28 h 28"/>
                <a:gd name="T24" fmla="*/ 21 w 40"/>
                <a:gd name="T25" fmla="*/ 28 h 28"/>
                <a:gd name="T26" fmla="*/ 16 w 40"/>
                <a:gd name="T27" fmla="*/ 27 h 28"/>
                <a:gd name="T28" fmla="*/ 10 w 40"/>
                <a:gd name="T29" fmla="*/ 25 h 28"/>
                <a:gd name="T30" fmla="*/ 5 w 40"/>
                <a:gd name="T31" fmla="*/ 21 h 28"/>
                <a:gd name="T32" fmla="*/ 2 w 40"/>
                <a:gd name="T33" fmla="*/ 18 h 28"/>
                <a:gd name="T34" fmla="*/ 0 w 40"/>
                <a:gd name="T35" fmla="*/ 14 h 28"/>
                <a:gd name="T36" fmla="*/ 0 w 40"/>
                <a:gd name="T37" fmla="*/ 9 h 28"/>
                <a:gd name="T38" fmla="*/ 2 w 40"/>
                <a:gd name="T39" fmla="*/ 6 h 28"/>
                <a:gd name="T40" fmla="*/ 3 w 40"/>
                <a:gd name="T41" fmla="*/ 4 h 28"/>
                <a:gd name="T42" fmla="*/ 7 w 40"/>
                <a:gd name="T43" fmla="*/ 2 h 28"/>
                <a:gd name="T44" fmla="*/ 10 w 40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28">
                  <a:moveTo>
                    <a:pt x="10" y="0"/>
                  </a:moveTo>
                  <a:lnTo>
                    <a:pt x="17" y="0"/>
                  </a:lnTo>
                  <a:lnTo>
                    <a:pt x="23" y="2"/>
                  </a:lnTo>
                  <a:lnTo>
                    <a:pt x="30" y="6"/>
                  </a:lnTo>
                  <a:lnTo>
                    <a:pt x="35" y="9"/>
                  </a:lnTo>
                  <a:lnTo>
                    <a:pt x="38" y="13"/>
                  </a:lnTo>
                  <a:lnTo>
                    <a:pt x="40" y="18"/>
                  </a:lnTo>
                  <a:lnTo>
                    <a:pt x="38" y="21"/>
                  </a:lnTo>
                  <a:lnTo>
                    <a:pt x="37" y="25"/>
                  </a:lnTo>
                  <a:lnTo>
                    <a:pt x="35" y="27"/>
                  </a:lnTo>
                  <a:lnTo>
                    <a:pt x="30" y="28"/>
                  </a:lnTo>
                  <a:lnTo>
                    <a:pt x="26" y="28"/>
                  </a:lnTo>
                  <a:lnTo>
                    <a:pt x="21" y="28"/>
                  </a:lnTo>
                  <a:lnTo>
                    <a:pt x="16" y="27"/>
                  </a:lnTo>
                  <a:lnTo>
                    <a:pt x="10" y="25"/>
                  </a:lnTo>
                  <a:lnTo>
                    <a:pt x="5" y="21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4"/>
                  </a:lnTo>
                  <a:lnTo>
                    <a:pt x="7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9"/>
            <p:cNvSpPr>
              <a:spLocks/>
            </p:cNvSpPr>
            <p:nvPr userDrawn="1"/>
          </p:nvSpPr>
          <p:spPr bwMode="auto">
            <a:xfrm>
              <a:off x="7105651" y="5262563"/>
              <a:ext cx="261938" cy="330200"/>
            </a:xfrm>
            <a:custGeom>
              <a:avLst/>
              <a:gdLst>
                <a:gd name="T0" fmla="*/ 156 w 165"/>
                <a:gd name="T1" fmla="*/ 4 h 208"/>
                <a:gd name="T2" fmla="*/ 165 w 165"/>
                <a:gd name="T3" fmla="*/ 28 h 208"/>
                <a:gd name="T4" fmla="*/ 163 w 165"/>
                <a:gd name="T5" fmla="*/ 72 h 208"/>
                <a:gd name="T6" fmla="*/ 158 w 165"/>
                <a:gd name="T7" fmla="*/ 124 h 208"/>
                <a:gd name="T8" fmla="*/ 156 w 165"/>
                <a:gd name="T9" fmla="*/ 163 h 208"/>
                <a:gd name="T10" fmla="*/ 161 w 165"/>
                <a:gd name="T11" fmla="*/ 193 h 208"/>
                <a:gd name="T12" fmla="*/ 163 w 165"/>
                <a:gd name="T13" fmla="*/ 198 h 208"/>
                <a:gd name="T14" fmla="*/ 160 w 165"/>
                <a:gd name="T15" fmla="*/ 203 h 208"/>
                <a:gd name="T16" fmla="*/ 154 w 165"/>
                <a:gd name="T17" fmla="*/ 207 h 208"/>
                <a:gd name="T18" fmla="*/ 147 w 165"/>
                <a:gd name="T19" fmla="*/ 207 h 208"/>
                <a:gd name="T20" fmla="*/ 139 w 165"/>
                <a:gd name="T21" fmla="*/ 203 h 208"/>
                <a:gd name="T22" fmla="*/ 132 w 165"/>
                <a:gd name="T23" fmla="*/ 187 h 208"/>
                <a:gd name="T24" fmla="*/ 133 w 165"/>
                <a:gd name="T25" fmla="*/ 131 h 208"/>
                <a:gd name="T26" fmla="*/ 133 w 165"/>
                <a:gd name="T27" fmla="*/ 49 h 208"/>
                <a:gd name="T28" fmla="*/ 130 w 165"/>
                <a:gd name="T29" fmla="*/ 42 h 208"/>
                <a:gd name="T30" fmla="*/ 125 w 165"/>
                <a:gd name="T31" fmla="*/ 40 h 208"/>
                <a:gd name="T32" fmla="*/ 118 w 165"/>
                <a:gd name="T33" fmla="*/ 47 h 208"/>
                <a:gd name="T34" fmla="*/ 91 w 165"/>
                <a:gd name="T35" fmla="*/ 89 h 208"/>
                <a:gd name="T36" fmla="*/ 70 w 165"/>
                <a:gd name="T37" fmla="*/ 130 h 208"/>
                <a:gd name="T38" fmla="*/ 55 w 165"/>
                <a:gd name="T39" fmla="*/ 152 h 208"/>
                <a:gd name="T40" fmla="*/ 34 w 165"/>
                <a:gd name="T41" fmla="*/ 158 h 208"/>
                <a:gd name="T42" fmla="*/ 16 w 165"/>
                <a:gd name="T43" fmla="*/ 149 h 208"/>
                <a:gd name="T44" fmla="*/ 7 w 165"/>
                <a:gd name="T45" fmla="*/ 138 h 208"/>
                <a:gd name="T46" fmla="*/ 4 w 165"/>
                <a:gd name="T47" fmla="*/ 107 h 208"/>
                <a:gd name="T48" fmla="*/ 0 w 165"/>
                <a:gd name="T49" fmla="*/ 49 h 208"/>
                <a:gd name="T50" fmla="*/ 4 w 165"/>
                <a:gd name="T51" fmla="*/ 18 h 208"/>
                <a:gd name="T52" fmla="*/ 7 w 165"/>
                <a:gd name="T53" fmla="*/ 11 h 208"/>
                <a:gd name="T54" fmla="*/ 16 w 165"/>
                <a:gd name="T55" fmla="*/ 11 h 208"/>
                <a:gd name="T56" fmla="*/ 27 w 165"/>
                <a:gd name="T57" fmla="*/ 12 h 208"/>
                <a:gd name="T58" fmla="*/ 32 w 165"/>
                <a:gd name="T59" fmla="*/ 16 h 208"/>
                <a:gd name="T60" fmla="*/ 35 w 165"/>
                <a:gd name="T61" fmla="*/ 21 h 208"/>
                <a:gd name="T62" fmla="*/ 35 w 165"/>
                <a:gd name="T63" fmla="*/ 30 h 208"/>
                <a:gd name="T64" fmla="*/ 32 w 165"/>
                <a:gd name="T65" fmla="*/ 63 h 208"/>
                <a:gd name="T66" fmla="*/ 34 w 165"/>
                <a:gd name="T67" fmla="*/ 102 h 208"/>
                <a:gd name="T68" fmla="*/ 35 w 165"/>
                <a:gd name="T69" fmla="*/ 119 h 208"/>
                <a:gd name="T70" fmla="*/ 37 w 165"/>
                <a:gd name="T71" fmla="*/ 121 h 208"/>
                <a:gd name="T72" fmla="*/ 41 w 165"/>
                <a:gd name="T73" fmla="*/ 117 h 208"/>
                <a:gd name="T74" fmla="*/ 63 w 165"/>
                <a:gd name="T75" fmla="*/ 88 h 208"/>
                <a:gd name="T76" fmla="*/ 90 w 165"/>
                <a:gd name="T77" fmla="*/ 46 h 208"/>
                <a:gd name="T78" fmla="*/ 116 w 165"/>
                <a:gd name="T79" fmla="*/ 12 h 208"/>
                <a:gd name="T80" fmla="*/ 147 w 165"/>
                <a:gd name="T8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208">
                  <a:moveTo>
                    <a:pt x="147" y="0"/>
                  </a:moveTo>
                  <a:lnTo>
                    <a:pt x="156" y="4"/>
                  </a:lnTo>
                  <a:lnTo>
                    <a:pt x="163" y="14"/>
                  </a:lnTo>
                  <a:lnTo>
                    <a:pt x="165" y="28"/>
                  </a:lnTo>
                  <a:lnTo>
                    <a:pt x="165" y="47"/>
                  </a:lnTo>
                  <a:lnTo>
                    <a:pt x="163" y="72"/>
                  </a:lnTo>
                  <a:lnTo>
                    <a:pt x="161" y="100"/>
                  </a:lnTo>
                  <a:lnTo>
                    <a:pt x="158" y="124"/>
                  </a:lnTo>
                  <a:lnTo>
                    <a:pt x="156" y="144"/>
                  </a:lnTo>
                  <a:lnTo>
                    <a:pt x="156" y="163"/>
                  </a:lnTo>
                  <a:lnTo>
                    <a:pt x="158" y="180"/>
                  </a:lnTo>
                  <a:lnTo>
                    <a:pt x="161" y="193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1" y="200"/>
                  </a:lnTo>
                  <a:lnTo>
                    <a:pt x="160" y="203"/>
                  </a:lnTo>
                  <a:lnTo>
                    <a:pt x="158" y="205"/>
                  </a:lnTo>
                  <a:lnTo>
                    <a:pt x="154" y="207"/>
                  </a:lnTo>
                  <a:lnTo>
                    <a:pt x="151" y="208"/>
                  </a:lnTo>
                  <a:lnTo>
                    <a:pt x="147" y="207"/>
                  </a:lnTo>
                  <a:lnTo>
                    <a:pt x="144" y="205"/>
                  </a:lnTo>
                  <a:lnTo>
                    <a:pt x="139" y="203"/>
                  </a:lnTo>
                  <a:lnTo>
                    <a:pt x="135" y="196"/>
                  </a:lnTo>
                  <a:lnTo>
                    <a:pt x="132" y="187"/>
                  </a:lnTo>
                  <a:lnTo>
                    <a:pt x="130" y="175"/>
                  </a:lnTo>
                  <a:lnTo>
                    <a:pt x="133" y="131"/>
                  </a:lnTo>
                  <a:lnTo>
                    <a:pt x="133" y="89"/>
                  </a:lnTo>
                  <a:lnTo>
                    <a:pt x="133" y="49"/>
                  </a:lnTo>
                  <a:lnTo>
                    <a:pt x="132" y="44"/>
                  </a:lnTo>
                  <a:lnTo>
                    <a:pt x="130" y="42"/>
                  </a:lnTo>
                  <a:lnTo>
                    <a:pt x="128" y="40"/>
                  </a:lnTo>
                  <a:lnTo>
                    <a:pt x="125" y="40"/>
                  </a:lnTo>
                  <a:lnTo>
                    <a:pt x="121" y="44"/>
                  </a:lnTo>
                  <a:lnTo>
                    <a:pt x="118" y="47"/>
                  </a:lnTo>
                  <a:lnTo>
                    <a:pt x="105" y="68"/>
                  </a:lnTo>
                  <a:lnTo>
                    <a:pt x="91" y="89"/>
                  </a:lnTo>
                  <a:lnTo>
                    <a:pt x="81" y="110"/>
                  </a:lnTo>
                  <a:lnTo>
                    <a:pt x="70" y="130"/>
                  </a:lnTo>
                  <a:lnTo>
                    <a:pt x="62" y="144"/>
                  </a:lnTo>
                  <a:lnTo>
                    <a:pt x="55" y="152"/>
                  </a:lnTo>
                  <a:lnTo>
                    <a:pt x="46" y="159"/>
                  </a:lnTo>
                  <a:lnTo>
                    <a:pt x="34" y="158"/>
                  </a:lnTo>
                  <a:lnTo>
                    <a:pt x="23" y="154"/>
                  </a:lnTo>
                  <a:lnTo>
                    <a:pt x="16" y="149"/>
                  </a:lnTo>
                  <a:lnTo>
                    <a:pt x="11" y="144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4" y="107"/>
                  </a:lnTo>
                  <a:lnTo>
                    <a:pt x="2" y="79"/>
                  </a:lnTo>
                  <a:lnTo>
                    <a:pt x="0" y="49"/>
                  </a:lnTo>
                  <a:lnTo>
                    <a:pt x="2" y="23"/>
                  </a:lnTo>
                  <a:lnTo>
                    <a:pt x="4" y="18"/>
                  </a:lnTo>
                  <a:lnTo>
                    <a:pt x="6" y="14"/>
                  </a:lnTo>
                  <a:lnTo>
                    <a:pt x="7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23" y="11"/>
                  </a:lnTo>
                  <a:lnTo>
                    <a:pt x="27" y="12"/>
                  </a:lnTo>
                  <a:lnTo>
                    <a:pt x="30" y="14"/>
                  </a:lnTo>
                  <a:lnTo>
                    <a:pt x="32" y="16"/>
                  </a:lnTo>
                  <a:lnTo>
                    <a:pt x="34" y="18"/>
                  </a:lnTo>
                  <a:lnTo>
                    <a:pt x="35" y="21"/>
                  </a:lnTo>
                  <a:lnTo>
                    <a:pt x="35" y="25"/>
                  </a:lnTo>
                  <a:lnTo>
                    <a:pt x="35" y="30"/>
                  </a:lnTo>
                  <a:lnTo>
                    <a:pt x="34" y="44"/>
                  </a:lnTo>
                  <a:lnTo>
                    <a:pt x="32" y="63"/>
                  </a:lnTo>
                  <a:lnTo>
                    <a:pt x="32" y="84"/>
                  </a:lnTo>
                  <a:lnTo>
                    <a:pt x="34" y="102"/>
                  </a:lnTo>
                  <a:lnTo>
                    <a:pt x="35" y="116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7" y="121"/>
                  </a:lnTo>
                  <a:lnTo>
                    <a:pt x="39" y="119"/>
                  </a:lnTo>
                  <a:lnTo>
                    <a:pt x="41" y="117"/>
                  </a:lnTo>
                  <a:lnTo>
                    <a:pt x="51" y="105"/>
                  </a:lnTo>
                  <a:lnTo>
                    <a:pt x="63" y="88"/>
                  </a:lnTo>
                  <a:lnTo>
                    <a:pt x="76" y="67"/>
                  </a:lnTo>
                  <a:lnTo>
                    <a:pt x="90" y="46"/>
                  </a:lnTo>
                  <a:lnTo>
                    <a:pt x="100" y="30"/>
                  </a:lnTo>
                  <a:lnTo>
                    <a:pt x="116" y="12"/>
                  </a:lnTo>
                  <a:lnTo>
                    <a:pt x="130" y="4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0"/>
            <p:cNvSpPr>
              <a:spLocks/>
            </p:cNvSpPr>
            <p:nvPr userDrawn="1"/>
          </p:nvSpPr>
          <p:spPr bwMode="auto">
            <a:xfrm>
              <a:off x="7416801" y="5257800"/>
              <a:ext cx="284163" cy="596900"/>
            </a:xfrm>
            <a:custGeom>
              <a:avLst/>
              <a:gdLst>
                <a:gd name="T0" fmla="*/ 119 w 179"/>
                <a:gd name="T1" fmla="*/ 1 h 376"/>
                <a:gd name="T2" fmla="*/ 130 w 179"/>
                <a:gd name="T3" fmla="*/ 8 h 376"/>
                <a:gd name="T4" fmla="*/ 128 w 179"/>
                <a:gd name="T5" fmla="*/ 15 h 376"/>
                <a:gd name="T6" fmla="*/ 123 w 179"/>
                <a:gd name="T7" fmla="*/ 17 h 376"/>
                <a:gd name="T8" fmla="*/ 114 w 179"/>
                <a:gd name="T9" fmla="*/ 19 h 376"/>
                <a:gd name="T10" fmla="*/ 88 w 179"/>
                <a:gd name="T11" fmla="*/ 29 h 376"/>
                <a:gd name="T12" fmla="*/ 49 w 179"/>
                <a:gd name="T13" fmla="*/ 59 h 376"/>
                <a:gd name="T14" fmla="*/ 30 w 179"/>
                <a:gd name="T15" fmla="*/ 98 h 376"/>
                <a:gd name="T16" fmla="*/ 44 w 179"/>
                <a:gd name="T17" fmla="*/ 136 h 376"/>
                <a:gd name="T18" fmla="*/ 67 w 179"/>
                <a:gd name="T19" fmla="*/ 145 h 376"/>
                <a:gd name="T20" fmla="*/ 89 w 179"/>
                <a:gd name="T21" fmla="*/ 129 h 376"/>
                <a:gd name="T22" fmla="*/ 109 w 179"/>
                <a:gd name="T23" fmla="*/ 110 h 376"/>
                <a:gd name="T24" fmla="*/ 117 w 179"/>
                <a:gd name="T25" fmla="*/ 99 h 376"/>
                <a:gd name="T26" fmla="*/ 123 w 179"/>
                <a:gd name="T27" fmla="*/ 92 h 376"/>
                <a:gd name="T28" fmla="*/ 126 w 179"/>
                <a:gd name="T29" fmla="*/ 85 h 376"/>
                <a:gd name="T30" fmla="*/ 128 w 179"/>
                <a:gd name="T31" fmla="*/ 75 h 376"/>
                <a:gd name="T32" fmla="*/ 128 w 179"/>
                <a:gd name="T33" fmla="*/ 66 h 376"/>
                <a:gd name="T34" fmla="*/ 131 w 179"/>
                <a:gd name="T35" fmla="*/ 61 h 376"/>
                <a:gd name="T36" fmla="*/ 140 w 179"/>
                <a:gd name="T37" fmla="*/ 57 h 376"/>
                <a:gd name="T38" fmla="*/ 151 w 179"/>
                <a:gd name="T39" fmla="*/ 59 h 376"/>
                <a:gd name="T40" fmla="*/ 158 w 179"/>
                <a:gd name="T41" fmla="*/ 64 h 376"/>
                <a:gd name="T42" fmla="*/ 161 w 179"/>
                <a:gd name="T43" fmla="*/ 75 h 376"/>
                <a:gd name="T44" fmla="*/ 166 w 179"/>
                <a:gd name="T45" fmla="*/ 124 h 376"/>
                <a:gd name="T46" fmla="*/ 172 w 179"/>
                <a:gd name="T47" fmla="*/ 185 h 376"/>
                <a:gd name="T48" fmla="*/ 177 w 179"/>
                <a:gd name="T49" fmla="*/ 232 h 376"/>
                <a:gd name="T50" fmla="*/ 179 w 179"/>
                <a:gd name="T51" fmla="*/ 287 h 376"/>
                <a:gd name="T52" fmla="*/ 170 w 179"/>
                <a:gd name="T53" fmla="*/ 336 h 376"/>
                <a:gd name="T54" fmla="*/ 145 w 179"/>
                <a:gd name="T55" fmla="*/ 369 h 376"/>
                <a:gd name="T56" fmla="*/ 107 w 179"/>
                <a:gd name="T57" fmla="*/ 376 h 376"/>
                <a:gd name="T58" fmla="*/ 95 w 179"/>
                <a:gd name="T59" fmla="*/ 367 h 376"/>
                <a:gd name="T60" fmla="*/ 95 w 179"/>
                <a:gd name="T61" fmla="*/ 360 h 376"/>
                <a:gd name="T62" fmla="*/ 100 w 179"/>
                <a:gd name="T63" fmla="*/ 358 h 376"/>
                <a:gd name="T64" fmla="*/ 117 w 179"/>
                <a:gd name="T65" fmla="*/ 358 h 376"/>
                <a:gd name="T66" fmla="*/ 142 w 179"/>
                <a:gd name="T67" fmla="*/ 334 h 376"/>
                <a:gd name="T68" fmla="*/ 151 w 179"/>
                <a:gd name="T69" fmla="*/ 281 h 376"/>
                <a:gd name="T70" fmla="*/ 147 w 179"/>
                <a:gd name="T71" fmla="*/ 220 h 376"/>
                <a:gd name="T72" fmla="*/ 140 w 179"/>
                <a:gd name="T73" fmla="*/ 164 h 376"/>
                <a:gd name="T74" fmla="*/ 135 w 179"/>
                <a:gd name="T75" fmla="*/ 119 h 376"/>
                <a:gd name="T76" fmla="*/ 103 w 179"/>
                <a:gd name="T77" fmla="*/ 152 h 376"/>
                <a:gd name="T78" fmla="*/ 65 w 179"/>
                <a:gd name="T79" fmla="*/ 164 h 376"/>
                <a:gd name="T80" fmla="*/ 23 w 179"/>
                <a:gd name="T81" fmla="*/ 152 h 376"/>
                <a:gd name="T82" fmla="*/ 2 w 179"/>
                <a:gd name="T83" fmla="*/ 119 h 376"/>
                <a:gd name="T84" fmla="*/ 4 w 179"/>
                <a:gd name="T85" fmla="*/ 82 h 376"/>
                <a:gd name="T86" fmla="*/ 28 w 179"/>
                <a:gd name="T87" fmla="*/ 42 h 376"/>
                <a:gd name="T88" fmla="*/ 65 w 179"/>
                <a:gd name="T89" fmla="*/ 10 h 376"/>
                <a:gd name="T90" fmla="*/ 107 w 179"/>
                <a:gd name="T91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9" h="376">
                  <a:moveTo>
                    <a:pt x="107" y="0"/>
                  </a:moveTo>
                  <a:lnTo>
                    <a:pt x="119" y="1"/>
                  </a:lnTo>
                  <a:lnTo>
                    <a:pt x="128" y="5"/>
                  </a:lnTo>
                  <a:lnTo>
                    <a:pt x="130" y="8"/>
                  </a:lnTo>
                  <a:lnTo>
                    <a:pt x="130" y="12"/>
                  </a:lnTo>
                  <a:lnTo>
                    <a:pt x="128" y="15"/>
                  </a:lnTo>
                  <a:lnTo>
                    <a:pt x="126" y="17"/>
                  </a:lnTo>
                  <a:lnTo>
                    <a:pt x="123" y="17"/>
                  </a:lnTo>
                  <a:lnTo>
                    <a:pt x="119" y="19"/>
                  </a:lnTo>
                  <a:lnTo>
                    <a:pt x="114" y="19"/>
                  </a:lnTo>
                  <a:lnTo>
                    <a:pt x="107" y="21"/>
                  </a:lnTo>
                  <a:lnTo>
                    <a:pt x="88" y="29"/>
                  </a:lnTo>
                  <a:lnTo>
                    <a:pt x="67" y="42"/>
                  </a:lnTo>
                  <a:lnTo>
                    <a:pt x="49" y="59"/>
                  </a:lnTo>
                  <a:lnTo>
                    <a:pt x="35" y="77"/>
                  </a:lnTo>
                  <a:lnTo>
                    <a:pt x="30" y="98"/>
                  </a:lnTo>
                  <a:lnTo>
                    <a:pt x="34" y="120"/>
                  </a:lnTo>
                  <a:lnTo>
                    <a:pt x="44" y="136"/>
                  </a:lnTo>
                  <a:lnTo>
                    <a:pt x="54" y="143"/>
                  </a:lnTo>
                  <a:lnTo>
                    <a:pt x="67" y="145"/>
                  </a:lnTo>
                  <a:lnTo>
                    <a:pt x="77" y="138"/>
                  </a:lnTo>
                  <a:lnTo>
                    <a:pt x="89" y="129"/>
                  </a:lnTo>
                  <a:lnTo>
                    <a:pt x="102" y="117"/>
                  </a:lnTo>
                  <a:lnTo>
                    <a:pt x="109" y="110"/>
                  </a:lnTo>
                  <a:lnTo>
                    <a:pt x="114" y="103"/>
                  </a:lnTo>
                  <a:lnTo>
                    <a:pt x="117" y="99"/>
                  </a:lnTo>
                  <a:lnTo>
                    <a:pt x="121" y="96"/>
                  </a:lnTo>
                  <a:lnTo>
                    <a:pt x="123" y="92"/>
                  </a:lnTo>
                  <a:lnTo>
                    <a:pt x="124" y="91"/>
                  </a:lnTo>
                  <a:lnTo>
                    <a:pt x="126" y="85"/>
                  </a:lnTo>
                  <a:lnTo>
                    <a:pt x="128" y="80"/>
                  </a:lnTo>
                  <a:lnTo>
                    <a:pt x="128" y="75"/>
                  </a:lnTo>
                  <a:lnTo>
                    <a:pt x="128" y="71"/>
                  </a:lnTo>
                  <a:lnTo>
                    <a:pt x="128" y="66"/>
                  </a:lnTo>
                  <a:lnTo>
                    <a:pt x="130" y="63"/>
                  </a:lnTo>
                  <a:lnTo>
                    <a:pt x="131" y="61"/>
                  </a:lnTo>
                  <a:lnTo>
                    <a:pt x="135" y="59"/>
                  </a:lnTo>
                  <a:lnTo>
                    <a:pt x="140" y="57"/>
                  </a:lnTo>
                  <a:lnTo>
                    <a:pt x="145" y="59"/>
                  </a:lnTo>
                  <a:lnTo>
                    <a:pt x="151" y="59"/>
                  </a:lnTo>
                  <a:lnTo>
                    <a:pt x="154" y="61"/>
                  </a:lnTo>
                  <a:lnTo>
                    <a:pt x="158" y="64"/>
                  </a:lnTo>
                  <a:lnTo>
                    <a:pt x="159" y="70"/>
                  </a:lnTo>
                  <a:lnTo>
                    <a:pt x="161" y="75"/>
                  </a:lnTo>
                  <a:lnTo>
                    <a:pt x="163" y="94"/>
                  </a:lnTo>
                  <a:lnTo>
                    <a:pt x="166" y="124"/>
                  </a:lnTo>
                  <a:lnTo>
                    <a:pt x="170" y="166"/>
                  </a:lnTo>
                  <a:lnTo>
                    <a:pt x="172" y="185"/>
                  </a:lnTo>
                  <a:lnTo>
                    <a:pt x="173" y="208"/>
                  </a:lnTo>
                  <a:lnTo>
                    <a:pt x="177" y="232"/>
                  </a:lnTo>
                  <a:lnTo>
                    <a:pt x="179" y="260"/>
                  </a:lnTo>
                  <a:lnTo>
                    <a:pt x="179" y="287"/>
                  </a:lnTo>
                  <a:lnTo>
                    <a:pt x="175" y="313"/>
                  </a:lnTo>
                  <a:lnTo>
                    <a:pt x="170" y="336"/>
                  </a:lnTo>
                  <a:lnTo>
                    <a:pt x="161" y="355"/>
                  </a:lnTo>
                  <a:lnTo>
                    <a:pt x="145" y="369"/>
                  </a:lnTo>
                  <a:lnTo>
                    <a:pt x="124" y="376"/>
                  </a:lnTo>
                  <a:lnTo>
                    <a:pt x="107" y="376"/>
                  </a:lnTo>
                  <a:lnTo>
                    <a:pt x="96" y="371"/>
                  </a:lnTo>
                  <a:lnTo>
                    <a:pt x="95" y="367"/>
                  </a:lnTo>
                  <a:lnTo>
                    <a:pt x="95" y="364"/>
                  </a:lnTo>
                  <a:lnTo>
                    <a:pt x="95" y="360"/>
                  </a:lnTo>
                  <a:lnTo>
                    <a:pt x="96" y="358"/>
                  </a:lnTo>
                  <a:lnTo>
                    <a:pt x="100" y="358"/>
                  </a:lnTo>
                  <a:lnTo>
                    <a:pt x="103" y="358"/>
                  </a:lnTo>
                  <a:lnTo>
                    <a:pt x="117" y="358"/>
                  </a:lnTo>
                  <a:lnTo>
                    <a:pt x="131" y="351"/>
                  </a:lnTo>
                  <a:lnTo>
                    <a:pt x="142" y="334"/>
                  </a:lnTo>
                  <a:lnTo>
                    <a:pt x="149" y="309"/>
                  </a:lnTo>
                  <a:lnTo>
                    <a:pt x="151" y="281"/>
                  </a:lnTo>
                  <a:lnTo>
                    <a:pt x="149" y="246"/>
                  </a:lnTo>
                  <a:lnTo>
                    <a:pt x="147" y="220"/>
                  </a:lnTo>
                  <a:lnTo>
                    <a:pt x="144" y="192"/>
                  </a:lnTo>
                  <a:lnTo>
                    <a:pt x="140" y="164"/>
                  </a:lnTo>
                  <a:lnTo>
                    <a:pt x="138" y="138"/>
                  </a:lnTo>
                  <a:lnTo>
                    <a:pt x="135" y="119"/>
                  </a:lnTo>
                  <a:lnTo>
                    <a:pt x="121" y="138"/>
                  </a:lnTo>
                  <a:lnTo>
                    <a:pt x="103" y="152"/>
                  </a:lnTo>
                  <a:lnTo>
                    <a:pt x="86" y="161"/>
                  </a:lnTo>
                  <a:lnTo>
                    <a:pt x="65" y="164"/>
                  </a:lnTo>
                  <a:lnTo>
                    <a:pt x="42" y="161"/>
                  </a:lnTo>
                  <a:lnTo>
                    <a:pt x="23" y="152"/>
                  </a:lnTo>
                  <a:lnTo>
                    <a:pt x="11" y="136"/>
                  </a:lnTo>
                  <a:lnTo>
                    <a:pt x="2" y="119"/>
                  </a:lnTo>
                  <a:lnTo>
                    <a:pt x="0" y="99"/>
                  </a:lnTo>
                  <a:lnTo>
                    <a:pt x="4" y="82"/>
                  </a:lnTo>
                  <a:lnTo>
                    <a:pt x="13" y="63"/>
                  </a:lnTo>
                  <a:lnTo>
                    <a:pt x="28" y="42"/>
                  </a:lnTo>
                  <a:lnTo>
                    <a:pt x="46" y="24"/>
                  </a:lnTo>
                  <a:lnTo>
                    <a:pt x="65" y="10"/>
                  </a:lnTo>
                  <a:lnTo>
                    <a:pt x="86" y="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1"/>
            <p:cNvSpPr>
              <a:spLocks/>
            </p:cNvSpPr>
            <p:nvPr userDrawn="1"/>
          </p:nvSpPr>
          <p:spPr bwMode="auto">
            <a:xfrm>
              <a:off x="7905751" y="5046663"/>
              <a:ext cx="330200" cy="479425"/>
            </a:xfrm>
            <a:custGeom>
              <a:avLst/>
              <a:gdLst>
                <a:gd name="T0" fmla="*/ 21 w 208"/>
                <a:gd name="T1" fmla="*/ 1 h 302"/>
                <a:gd name="T2" fmla="*/ 30 w 208"/>
                <a:gd name="T3" fmla="*/ 7 h 302"/>
                <a:gd name="T4" fmla="*/ 35 w 208"/>
                <a:gd name="T5" fmla="*/ 19 h 302"/>
                <a:gd name="T6" fmla="*/ 44 w 208"/>
                <a:gd name="T7" fmla="*/ 122 h 302"/>
                <a:gd name="T8" fmla="*/ 58 w 208"/>
                <a:gd name="T9" fmla="*/ 210 h 302"/>
                <a:gd name="T10" fmla="*/ 89 w 208"/>
                <a:gd name="T11" fmla="*/ 168 h 302"/>
                <a:gd name="T12" fmla="*/ 131 w 208"/>
                <a:gd name="T13" fmla="*/ 136 h 302"/>
                <a:gd name="T14" fmla="*/ 170 w 208"/>
                <a:gd name="T15" fmla="*/ 129 h 302"/>
                <a:gd name="T16" fmla="*/ 194 w 208"/>
                <a:gd name="T17" fmla="*/ 138 h 302"/>
                <a:gd name="T18" fmla="*/ 208 w 208"/>
                <a:gd name="T19" fmla="*/ 169 h 302"/>
                <a:gd name="T20" fmla="*/ 205 w 208"/>
                <a:gd name="T21" fmla="*/ 215 h 302"/>
                <a:gd name="T22" fmla="*/ 187 w 208"/>
                <a:gd name="T23" fmla="*/ 260 h 302"/>
                <a:gd name="T24" fmla="*/ 154 w 208"/>
                <a:gd name="T25" fmla="*/ 294 h 302"/>
                <a:gd name="T26" fmla="*/ 126 w 208"/>
                <a:gd name="T27" fmla="*/ 302 h 302"/>
                <a:gd name="T28" fmla="*/ 115 w 208"/>
                <a:gd name="T29" fmla="*/ 301 h 302"/>
                <a:gd name="T30" fmla="*/ 108 w 208"/>
                <a:gd name="T31" fmla="*/ 295 h 302"/>
                <a:gd name="T32" fmla="*/ 105 w 208"/>
                <a:gd name="T33" fmla="*/ 288 h 302"/>
                <a:gd name="T34" fmla="*/ 107 w 208"/>
                <a:gd name="T35" fmla="*/ 281 h 302"/>
                <a:gd name="T36" fmla="*/ 112 w 208"/>
                <a:gd name="T37" fmla="*/ 281 h 302"/>
                <a:gd name="T38" fmla="*/ 133 w 208"/>
                <a:gd name="T39" fmla="*/ 283 h 302"/>
                <a:gd name="T40" fmla="*/ 161 w 208"/>
                <a:gd name="T41" fmla="*/ 257 h 302"/>
                <a:gd name="T42" fmla="*/ 177 w 208"/>
                <a:gd name="T43" fmla="*/ 197 h 302"/>
                <a:gd name="T44" fmla="*/ 171 w 208"/>
                <a:gd name="T45" fmla="*/ 157 h 302"/>
                <a:gd name="T46" fmla="*/ 164 w 208"/>
                <a:gd name="T47" fmla="*/ 152 h 302"/>
                <a:gd name="T48" fmla="*/ 154 w 208"/>
                <a:gd name="T49" fmla="*/ 154 h 302"/>
                <a:gd name="T50" fmla="*/ 140 w 208"/>
                <a:gd name="T51" fmla="*/ 161 h 302"/>
                <a:gd name="T52" fmla="*/ 110 w 208"/>
                <a:gd name="T53" fmla="*/ 183 h 302"/>
                <a:gd name="T54" fmla="*/ 79 w 208"/>
                <a:gd name="T55" fmla="*/ 227 h 302"/>
                <a:gd name="T56" fmla="*/ 63 w 208"/>
                <a:gd name="T57" fmla="*/ 266 h 302"/>
                <a:gd name="T58" fmla="*/ 56 w 208"/>
                <a:gd name="T59" fmla="*/ 274 h 302"/>
                <a:gd name="T60" fmla="*/ 45 w 208"/>
                <a:gd name="T61" fmla="*/ 276 h 302"/>
                <a:gd name="T62" fmla="*/ 37 w 208"/>
                <a:gd name="T63" fmla="*/ 274 h 302"/>
                <a:gd name="T64" fmla="*/ 31 w 208"/>
                <a:gd name="T65" fmla="*/ 267 h 302"/>
                <a:gd name="T66" fmla="*/ 31 w 208"/>
                <a:gd name="T67" fmla="*/ 259 h 302"/>
                <a:gd name="T68" fmla="*/ 31 w 208"/>
                <a:gd name="T69" fmla="*/ 224 h 302"/>
                <a:gd name="T70" fmla="*/ 26 w 208"/>
                <a:gd name="T71" fmla="*/ 187 h 302"/>
                <a:gd name="T72" fmla="*/ 17 w 208"/>
                <a:gd name="T73" fmla="*/ 140 h 302"/>
                <a:gd name="T74" fmla="*/ 7 w 208"/>
                <a:gd name="T75" fmla="*/ 78 h 302"/>
                <a:gd name="T76" fmla="*/ 0 w 208"/>
                <a:gd name="T77" fmla="*/ 22 h 302"/>
                <a:gd name="T78" fmla="*/ 2 w 208"/>
                <a:gd name="T79" fmla="*/ 8 h 302"/>
                <a:gd name="T80" fmla="*/ 9 w 208"/>
                <a:gd name="T81" fmla="*/ 1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302">
                  <a:moveTo>
                    <a:pt x="14" y="0"/>
                  </a:moveTo>
                  <a:lnTo>
                    <a:pt x="21" y="1"/>
                  </a:lnTo>
                  <a:lnTo>
                    <a:pt x="26" y="3"/>
                  </a:lnTo>
                  <a:lnTo>
                    <a:pt x="30" y="7"/>
                  </a:lnTo>
                  <a:lnTo>
                    <a:pt x="33" y="12"/>
                  </a:lnTo>
                  <a:lnTo>
                    <a:pt x="35" y="19"/>
                  </a:lnTo>
                  <a:lnTo>
                    <a:pt x="40" y="75"/>
                  </a:lnTo>
                  <a:lnTo>
                    <a:pt x="44" y="122"/>
                  </a:lnTo>
                  <a:lnTo>
                    <a:pt x="49" y="166"/>
                  </a:lnTo>
                  <a:lnTo>
                    <a:pt x="58" y="210"/>
                  </a:lnTo>
                  <a:lnTo>
                    <a:pt x="72" y="189"/>
                  </a:lnTo>
                  <a:lnTo>
                    <a:pt x="89" y="168"/>
                  </a:lnTo>
                  <a:lnTo>
                    <a:pt x="108" y="150"/>
                  </a:lnTo>
                  <a:lnTo>
                    <a:pt x="131" y="136"/>
                  </a:lnTo>
                  <a:lnTo>
                    <a:pt x="157" y="129"/>
                  </a:lnTo>
                  <a:lnTo>
                    <a:pt x="170" y="129"/>
                  </a:lnTo>
                  <a:lnTo>
                    <a:pt x="184" y="133"/>
                  </a:lnTo>
                  <a:lnTo>
                    <a:pt x="194" y="138"/>
                  </a:lnTo>
                  <a:lnTo>
                    <a:pt x="203" y="152"/>
                  </a:lnTo>
                  <a:lnTo>
                    <a:pt x="208" y="169"/>
                  </a:lnTo>
                  <a:lnTo>
                    <a:pt x="208" y="192"/>
                  </a:lnTo>
                  <a:lnTo>
                    <a:pt x="205" y="215"/>
                  </a:lnTo>
                  <a:lnTo>
                    <a:pt x="198" y="239"/>
                  </a:lnTo>
                  <a:lnTo>
                    <a:pt x="187" y="260"/>
                  </a:lnTo>
                  <a:lnTo>
                    <a:pt x="173" y="280"/>
                  </a:lnTo>
                  <a:lnTo>
                    <a:pt x="154" y="294"/>
                  </a:lnTo>
                  <a:lnTo>
                    <a:pt x="133" y="302"/>
                  </a:lnTo>
                  <a:lnTo>
                    <a:pt x="126" y="302"/>
                  </a:lnTo>
                  <a:lnTo>
                    <a:pt x="119" y="301"/>
                  </a:lnTo>
                  <a:lnTo>
                    <a:pt x="115" y="301"/>
                  </a:lnTo>
                  <a:lnTo>
                    <a:pt x="112" y="297"/>
                  </a:lnTo>
                  <a:lnTo>
                    <a:pt x="108" y="295"/>
                  </a:lnTo>
                  <a:lnTo>
                    <a:pt x="107" y="292"/>
                  </a:lnTo>
                  <a:lnTo>
                    <a:pt x="105" y="288"/>
                  </a:lnTo>
                  <a:lnTo>
                    <a:pt x="105" y="285"/>
                  </a:lnTo>
                  <a:lnTo>
                    <a:pt x="107" y="281"/>
                  </a:lnTo>
                  <a:lnTo>
                    <a:pt x="108" y="281"/>
                  </a:lnTo>
                  <a:lnTo>
                    <a:pt x="112" y="281"/>
                  </a:lnTo>
                  <a:lnTo>
                    <a:pt x="122" y="285"/>
                  </a:lnTo>
                  <a:lnTo>
                    <a:pt x="133" y="283"/>
                  </a:lnTo>
                  <a:lnTo>
                    <a:pt x="145" y="276"/>
                  </a:lnTo>
                  <a:lnTo>
                    <a:pt x="161" y="257"/>
                  </a:lnTo>
                  <a:lnTo>
                    <a:pt x="171" y="229"/>
                  </a:lnTo>
                  <a:lnTo>
                    <a:pt x="177" y="197"/>
                  </a:lnTo>
                  <a:lnTo>
                    <a:pt x="173" y="162"/>
                  </a:lnTo>
                  <a:lnTo>
                    <a:pt x="171" y="157"/>
                  </a:lnTo>
                  <a:lnTo>
                    <a:pt x="168" y="154"/>
                  </a:lnTo>
                  <a:lnTo>
                    <a:pt x="164" y="152"/>
                  </a:lnTo>
                  <a:lnTo>
                    <a:pt x="161" y="152"/>
                  </a:lnTo>
                  <a:lnTo>
                    <a:pt x="154" y="154"/>
                  </a:lnTo>
                  <a:lnTo>
                    <a:pt x="149" y="155"/>
                  </a:lnTo>
                  <a:lnTo>
                    <a:pt x="140" y="161"/>
                  </a:lnTo>
                  <a:lnTo>
                    <a:pt x="126" y="169"/>
                  </a:lnTo>
                  <a:lnTo>
                    <a:pt x="110" y="183"/>
                  </a:lnTo>
                  <a:lnTo>
                    <a:pt x="94" y="201"/>
                  </a:lnTo>
                  <a:lnTo>
                    <a:pt x="79" y="227"/>
                  </a:lnTo>
                  <a:lnTo>
                    <a:pt x="66" y="259"/>
                  </a:lnTo>
                  <a:lnTo>
                    <a:pt x="63" y="266"/>
                  </a:lnTo>
                  <a:lnTo>
                    <a:pt x="59" y="271"/>
                  </a:lnTo>
                  <a:lnTo>
                    <a:pt x="56" y="274"/>
                  </a:lnTo>
                  <a:lnTo>
                    <a:pt x="51" y="276"/>
                  </a:lnTo>
                  <a:lnTo>
                    <a:pt x="45" y="276"/>
                  </a:lnTo>
                  <a:lnTo>
                    <a:pt x="40" y="276"/>
                  </a:lnTo>
                  <a:lnTo>
                    <a:pt x="37" y="274"/>
                  </a:lnTo>
                  <a:lnTo>
                    <a:pt x="33" y="271"/>
                  </a:lnTo>
                  <a:lnTo>
                    <a:pt x="31" y="267"/>
                  </a:lnTo>
                  <a:lnTo>
                    <a:pt x="31" y="264"/>
                  </a:lnTo>
                  <a:lnTo>
                    <a:pt x="31" y="259"/>
                  </a:lnTo>
                  <a:lnTo>
                    <a:pt x="33" y="243"/>
                  </a:lnTo>
                  <a:lnTo>
                    <a:pt x="31" y="224"/>
                  </a:lnTo>
                  <a:lnTo>
                    <a:pt x="28" y="201"/>
                  </a:lnTo>
                  <a:lnTo>
                    <a:pt x="26" y="187"/>
                  </a:lnTo>
                  <a:lnTo>
                    <a:pt x="21" y="166"/>
                  </a:lnTo>
                  <a:lnTo>
                    <a:pt x="17" y="140"/>
                  </a:lnTo>
                  <a:lnTo>
                    <a:pt x="12" y="110"/>
                  </a:lnTo>
                  <a:lnTo>
                    <a:pt x="7" y="78"/>
                  </a:lnTo>
                  <a:lnTo>
                    <a:pt x="4" y="49"/>
                  </a:lnTo>
                  <a:lnTo>
                    <a:pt x="0" y="22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5"/>
                  </a:lnTo>
                  <a:lnTo>
                    <a:pt x="9" y="1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2"/>
            <p:cNvSpPr>
              <a:spLocks/>
            </p:cNvSpPr>
            <p:nvPr userDrawn="1"/>
          </p:nvSpPr>
          <p:spPr bwMode="auto">
            <a:xfrm>
              <a:off x="8275638" y="5257800"/>
              <a:ext cx="254000" cy="590550"/>
            </a:xfrm>
            <a:custGeom>
              <a:avLst/>
              <a:gdLst>
                <a:gd name="T0" fmla="*/ 150 w 160"/>
                <a:gd name="T1" fmla="*/ 1 h 372"/>
                <a:gd name="T2" fmla="*/ 159 w 160"/>
                <a:gd name="T3" fmla="*/ 10 h 372"/>
                <a:gd name="T4" fmla="*/ 160 w 160"/>
                <a:gd name="T5" fmla="*/ 45 h 372"/>
                <a:gd name="T6" fmla="*/ 150 w 160"/>
                <a:gd name="T7" fmla="*/ 105 h 372"/>
                <a:gd name="T8" fmla="*/ 131 w 160"/>
                <a:gd name="T9" fmla="*/ 175 h 372"/>
                <a:gd name="T10" fmla="*/ 117 w 160"/>
                <a:gd name="T11" fmla="*/ 241 h 372"/>
                <a:gd name="T12" fmla="*/ 115 w 160"/>
                <a:gd name="T13" fmla="*/ 287 h 372"/>
                <a:gd name="T14" fmla="*/ 118 w 160"/>
                <a:gd name="T15" fmla="*/ 318 h 372"/>
                <a:gd name="T16" fmla="*/ 122 w 160"/>
                <a:gd name="T17" fmla="*/ 350 h 372"/>
                <a:gd name="T18" fmla="*/ 120 w 160"/>
                <a:gd name="T19" fmla="*/ 365 h 372"/>
                <a:gd name="T20" fmla="*/ 115 w 160"/>
                <a:gd name="T21" fmla="*/ 372 h 372"/>
                <a:gd name="T22" fmla="*/ 110 w 160"/>
                <a:gd name="T23" fmla="*/ 372 h 372"/>
                <a:gd name="T24" fmla="*/ 103 w 160"/>
                <a:gd name="T25" fmla="*/ 369 h 372"/>
                <a:gd name="T26" fmla="*/ 97 w 160"/>
                <a:gd name="T27" fmla="*/ 364 h 372"/>
                <a:gd name="T28" fmla="*/ 99 w 160"/>
                <a:gd name="T29" fmla="*/ 357 h 372"/>
                <a:gd name="T30" fmla="*/ 99 w 160"/>
                <a:gd name="T31" fmla="*/ 348 h 372"/>
                <a:gd name="T32" fmla="*/ 97 w 160"/>
                <a:gd name="T33" fmla="*/ 336 h 372"/>
                <a:gd name="T34" fmla="*/ 94 w 160"/>
                <a:gd name="T35" fmla="*/ 262 h 372"/>
                <a:gd name="T36" fmla="*/ 101 w 160"/>
                <a:gd name="T37" fmla="*/ 206 h 372"/>
                <a:gd name="T38" fmla="*/ 113 w 160"/>
                <a:gd name="T39" fmla="*/ 147 h 372"/>
                <a:gd name="T40" fmla="*/ 131 w 160"/>
                <a:gd name="T41" fmla="*/ 66 h 372"/>
                <a:gd name="T42" fmla="*/ 103 w 160"/>
                <a:gd name="T43" fmla="*/ 119 h 372"/>
                <a:gd name="T44" fmla="*/ 80 w 160"/>
                <a:gd name="T45" fmla="*/ 155 h 372"/>
                <a:gd name="T46" fmla="*/ 59 w 160"/>
                <a:gd name="T47" fmla="*/ 168 h 372"/>
                <a:gd name="T48" fmla="*/ 43 w 160"/>
                <a:gd name="T49" fmla="*/ 164 h 372"/>
                <a:gd name="T50" fmla="*/ 31 w 160"/>
                <a:gd name="T51" fmla="*/ 159 h 372"/>
                <a:gd name="T52" fmla="*/ 22 w 160"/>
                <a:gd name="T53" fmla="*/ 150 h 372"/>
                <a:gd name="T54" fmla="*/ 15 w 160"/>
                <a:gd name="T55" fmla="*/ 133 h 372"/>
                <a:gd name="T56" fmla="*/ 5 w 160"/>
                <a:gd name="T57" fmla="*/ 96 h 372"/>
                <a:gd name="T58" fmla="*/ 0 w 160"/>
                <a:gd name="T59" fmla="*/ 61 h 372"/>
                <a:gd name="T60" fmla="*/ 1 w 160"/>
                <a:gd name="T61" fmla="*/ 38 h 372"/>
                <a:gd name="T62" fmla="*/ 14 w 160"/>
                <a:gd name="T63" fmla="*/ 29 h 372"/>
                <a:gd name="T64" fmla="*/ 21 w 160"/>
                <a:gd name="T65" fmla="*/ 33 h 372"/>
                <a:gd name="T66" fmla="*/ 26 w 160"/>
                <a:gd name="T67" fmla="*/ 42 h 372"/>
                <a:gd name="T68" fmla="*/ 28 w 160"/>
                <a:gd name="T69" fmla="*/ 54 h 372"/>
                <a:gd name="T70" fmla="*/ 33 w 160"/>
                <a:gd name="T71" fmla="*/ 98 h 372"/>
                <a:gd name="T72" fmla="*/ 43 w 160"/>
                <a:gd name="T73" fmla="*/ 136 h 372"/>
                <a:gd name="T74" fmla="*/ 59 w 160"/>
                <a:gd name="T75" fmla="*/ 138 h 372"/>
                <a:gd name="T76" fmla="*/ 89 w 160"/>
                <a:gd name="T77" fmla="*/ 98 h 372"/>
                <a:gd name="T78" fmla="*/ 122 w 160"/>
                <a:gd name="T79" fmla="*/ 29 h 372"/>
                <a:gd name="T80" fmla="*/ 136 w 160"/>
                <a:gd name="T81" fmla="*/ 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" h="372">
                  <a:moveTo>
                    <a:pt x="145" y="0"/>
                  </a:moveTo>
                  <a:lnTo>
                    <a:pt x="150" y="1"/>
                  </a:lnTo>
                  <a:lnTo>
                    <a:pt x="155" y="3"/>
                  </a:lnTo>
                  <a:lnTo>
                    <a:pt x="159" y="10"/>
                  </a:lnTo>
                  <a:lnTo>
                    <a:pt x="160" y="24"/>
                  </a:lnTo>
                  <a:lnTo>
                    <a:pt x="160" y="45"/>
                  </a:lnTo>
                  <a:lnTo>
                    <a:pt x="157" y="71"/>
                  </a:lnTo>
                  <a:lnTo>
                    <a:pt x="150" y="105"/>
                  </a:lnTo>
                  <a:lnTo>
                    <a:pt x="139" y="140"/>
                  </a:lnTo>
                  <a:lnTo>
                    <a:pt x="131" y="175"/>
                  </a:lnTo>
                  <a:lnTo>
                    <a:pt x="122" y="211"/>
                  </a:lnTo>
                  <a:lnTo>
                    <a:pt x="117" y="241"/>
                  </a:lnTo>
                  <a:lnTo>
                    <a:pt x="115" y="267"/>
                  </a:lnTo>
                  <a:lnTo>
                    <a:pt x="115" y="287"/>
                  </a:lnTo>
                  <a:lnTo>
                    <a:pt x="117" y="304"/>
                  </a:lnTo>
                  <a:lnTo>
                    <a:pt x="118" y="318"/>
                  </a:lnTo>
                  <a:lnTo>
                    <a:pt x="120" y="337"/>
                  </a:lnTo>
                  <a:lnTo>
                    <a:pt x="122" y="350"/>
                  </a:lnTo>
                  <a:lnTo>
                    <a:pt x="122" y="360"/>
                  </a:lnTo>
                  <a:lnTo>
                    <a:pt x="120" y="365"/>
                  </a:lnTo>
                  <a:lnTo>
                    <a:pt x="118" y="371"/>
                  </a:lnTo>
                  <a:lnTo>
                    <a:pt x="115" y="372"/>
                  </a:lnTo>
                  <a:lnTo>
                    <a:pt x="113" y="372"/>
                  </a:lnTo>
                  <a:lnTo>
                    <a:pt x="110" y="372"/>
                  </a:lnTo>
                  <a:lnTo>
                    <a:pt x="104" y="371"/>
                  </a:lnTo>
                  <a:lnTo>
                    <a:pt x="103" y="369"/>
                  </a:lnTo>
                  <a:lnTo>
                    <a:pt x="99" y="367"/>
                  </a:lnTo>
                  <a:lnTo>
                    <a:pt x="97" y="364"/>
                  </a:lnTo>
                  <a:lnTo>
                    <a:pt x="97" y="360"/>
                  </a:lnTo>
                  <a:lnTo>
                    <a:pt x="99" y="357"/>
                  </a:lnTo>
                  <a:lnTo>
                    <a:pt x="99" y="351"/>
                  </a:lnTo>
                  <a:lnTo>
                    <a:pt x="99" y="348"/>
                  </a:lnTo>
                  <a:lnTo>
                    <a:pt x="97" y="343"/>
                  </a:lnTo>
                  <a:lnTo>
                    <a:pt x="97" y="336"/>
                  </a:lnTo>
                  <a:lnTo>
                    <a:pt x="94" y="295"/>
                  </a:lnTo>
                  <a:lnTo>
                    <a:pt x="94" y="262"/>
                  </a:lnTo>
                  <a:lnTo>
                    <a:pt x="96" y="234"/>
                  </a:lnTo>
                  <a:lnTo>
                    <a:pt x="101" y="206"/>
                  </a:lnTo>
                  <a:lnTo>
                    <a:pt x="106" y="178"/>
                  </a:lnTo>
                  <a:lnTo>
                    <a:pt x="113" y="147"/>
                  </a:lnTo>
                  <a:lnTo>
                    <a:pt x="122" y="110"/>
                  </a:lnTo>
                  <a:lnTo>
                    <a:pt x="131" y="66"/>
                  </a:lnTo>
                  <a:lnTo>
                    <a:pt x="117" y="94"/>
                  </a:lnTo>
                  <a:lnTo>
                    <a:pt x="103" y="119"/>
                  </a:lnTo>
                  <a:lnTo>
                    <a:pt x="90" y="140"/>
                  </a:lnTo>
                  <a:lnTo>
                    <a:pt x="80" y="155"/>
                  </a:lnTo>
                  <a:lnTo>
                    <a:pt x="70" y="164"/>
                  </a:lnTo>
                  <a:lnTo>
                    <a:pt x="59" y="168"/>
                  </a:lnTo>
                  <a:lnTo>
                    <a:pt x="50" y="168"/>
                  </a:lnTo>
                  <a:lnTo>
                    <a:pt x="43" y="164"/>
                  </a:lnTo>
                  <a:lnTo>
                    <a:pt x="36" y="162"/>
                  </a:lnTo>
                  <a:lnTo>
                    <a:pt x="31" y="159"/>
                  </a:lnTo>
                  <a:lnTo>
                    <a:pt x="26" y="155"/>
                  </a:lnTo>
                  <a:lnTo>
                    <a:pt x="22" y="150"/>
                  </a:lnTo>
                  <a:lnTo>
                    <a:pt x="19" y="143"/>
                  </a:lnTo>
                  <a:lnTo>
                    <a:pt x="15" y="133"/>
                  </a:lnTo>
                  <a:lnTo>
                    <a:pt x="10" y="115"/>
                  </a:lnTo>
                  <a:lnTo>
                    <a:pt x="5" y="96"/>
                  </a:lnTo>
                  <a:lnTo>
                    <a:pt x="3" y="77"/>
                  </a:lnTo>
                  <a:lnTo>
                    <a:pt x="0" y="61"/>
                  </a:lnTo>
                  <a:lnTo>
                    <a:pt x="0" y="49"/>
                  </a:lnTo>
                  <a:lnTo>
                    <a:pt x="1" y="38"/>
                  </a:lnTo>
                  <a:lnTo>
                    <a:pt x="7" y="31"/>
                  </a:lnTo>
                  <a:lnTo>
                    <a:pt x="14" y="29"/>
                  </a:lnTo>
                  <a:lnTo>
                    <a:pt x="17" y="31"/>
                  </a:lnTo>
                  <a:lnTo>
                    <a:pt x="21" y="33"/>
                  </a:lnTo>
                  <a:lnTo>
                    <a:pt x="22" y="36"/>
                  </a:lnTo>
                  <a:lnTo>
                    <a:pt x="26" y="42"/>
                  </a:lnTo>
                  <a:lnTo>
                    <a:pt x="28" y="47"/>
                  </a:lnTo>
                  <a:lnTo>
                    <a:pt x="28" y="54"/>
                  </a:lnTo>
                  <a:lnTo>
                    <a:pt x="29" y="73"/>
                  </a:lnTo>
                  <a:lnTo>
                    <a:pt x="33" y="98"/>
                  </a:lnTo>
                  <a:lnTo>
                    <a:pt x="38" y="122"/>
                  </a:lnTo>
                  <a:lnTo>
                    <a:pt x="43" y="136"/>
                  </a:lnTo>
                  <a:lnTo>
                    <a:pt x="50" y="141"/>
                  </a:lnTo>
                  <a:lnTo>
                    <a:pt x="59" y="138"/>
                  </a:lnTo>
                  <a:lnTo>
                    <a:pt x="70" y="126"/>
                  </a:lnTo>
                  <a:lnTo>
                    <a:pt x="89" y="98"/>
                  </a:lnTo>
                  <a:lnTo>
                    <a:pt x="106" y="66"/>
                  </a:lnTo>
                  <a:lnTo>
                    <a:pt x="122" y="29"/>
                  </a:lnTo>
                  <a:lnTo>
                    <a:pt x="129" y="10"/>
                  </a:lnTo>
                  <a:lnTo>
                    <a:pt x="136" y="1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3"/>
            <p:cNvSpPr>
              <a:spLocks/>
            </p:cNvSpPr>
            <p:nvPr userDrawn="1"/>
          </p:nvSpPr>
          <p:spPr bwMode="auto">
            <a:xfrm>
              <a:off x="8743951" y="5254625"/>
              <a:ext cx="280988" cy="344488"/>
            </a:xfrm>
            <a:custGeom>
              <a:avLst/>
              <a:gdLst>
                <a:gd name="T0" fmla="*/ 135 w 177"/>
                <a:gd name="T1" fmla="*/ 2 h 217"/>
                <a:gd name="T2" fmla="*/ 161 w 177"/>
                <a:gd name="T3" fmla="*/ 14 h 217"/>
                <a:gd name="T4" fmla="*/ 164 w 177"/>
                <a:gd name="T5" fmla="*/ 42 h 217"/>
                <a:gd name="T6" fmla="*/ 166 w 177"/>
                <a:gd name="T7" fmla="*/ 96 h 217"/>
                <a:gd name="T8" fmla="*/ 170 w 177"/>
                <a:gd name="T9" fmla="*/ 154 h 217"/>
                <a:gd name="T10" fmla="*/ 177 w 177"/>
                <a:gd name="T11" fmla="*/ 196 h 217"/>
                <a:gd name="T12" fmla="*/ 177 w 177"/>
                <a:gd name="T13" fmla="*/ 210 h 217"/>
                <a:gd name="T14" fmla="*/ 171 w 177"/>
                <a:gd name="T15" fmla="*/ 217 h 217"/>
                <a:gd name="T16" fmla="*/ 161 w 177"/>
                <a:gd name="T17" fmla="*/ 217 h 217"/>
                <a:gd name="T18" fmla="*/ 150 w 177"/>
                <a:gd name="T19" fmla="*/ 213 h 217"/>
                <a:gd name="T20" fmla="*/ 143 w 177"/>
                <a:gd name="T21" fmla="*/ 206 h 217"/>
                <a:gd name="T22" fmla="*/ 142 w 177"/>
                <a:gd name="T23" fmla="*/ 191 h 217"/>
                <a:gd name="T24" fmla="*/ 140 w 177"/>
                <a:gd name="T25" fmla="*/ 150 h 217"/>
                <a:gd name="T26" fmla="*/ 135 w 177"/>
                <a:gd name="T27" fmla="*/ 87 h 217"/>
                <a:gd name="T28" fmla="*/ 129 w 177"/>
                <a:gd name="T29" fmla="*/ 35 h 217"/>
                <a:gd name="T30" fmla="*/ 126 w 177"/>
                <a:gd name="T31" fmla="*/ 28 h 217"/>
                <a:gd name="T32" fmla="*/ 122 w 177"/>
                <a:gd name="T33" fmla="*/ 28 h 217"/>
                <a:gd name="T34" fmla="*/ 115 w 177"/>
                <a:gd name="T35" fmla="*/ 35 h 217"/>
                <a:gd name="T36" fmla="*/ 100 w 177"/>
                <a:gd name="T37" fmla="*/ 56 h 217"/>
                <a:gd name="T38" fmla="*/ 73 w 177"/>
                <a:gd name="T39" fmla="*/ 100 h 217"/>
                <a:gd name="T40" fmla="*/ 47 w 177"/>
                <a:gd name="T41" fmla="*/ 170 h 217"/>
                <a:gd name="T42" fmla="*/ 44 w 177"/>
                <a:gd name="T43" fmla="*/ 177 h 217"/>
                <a:gd name="T44" fmla="*/ 35 w 177"/>
                <a:gd name="T45" fmla="*/ 178 h 217"/>
                <a:gd name="T46" fmla="*/ 23 w 177"/>
                <a:gd name="T47" fmla="*/ 177 h 217"/>
                <a:gd name="T48" fmla="*/ 14 w 177"/>
                <a:gd name="T49" fmla="*/ 171 h 217"/>
                <a:gd name="T50" fmla="*/ 11 w 177"/>
                <a:gd name="T51" fmla="*/ 166 h 217"/>
                <a:gd name="T52" fmla="*/ 7 w 177"/>
                <a:gd name="T53" fmla="*/ 154 h 217"/>
                <a:gd name="T54" fmla="*/ 4 w 177"/>
                <a:gd name="T55" fmla="*/ 126 h 217"/>
                <a:gd name="T56" fmla="*/ 2 w 177"/>
                <a:gd name="T57" fmla="*/ 75 h 217"/>
                <a:gd name="T58" fmla="*/ 0 w 177"/>
                <a:gd name="T59" fmla="*/ 24 h 217"/>
                <a:gd name="T60" fmla="*/ 2 w 177"/>
                <a:gd name="T61" fmla="*/ 10 h 217"/>
                <a:gd name="T62" fmla="*/ 7 w 177"/>
                <a:gd name="T63" fmla="*/ 2 h 217"/>
                <a:gd name="T64" fmla="*/ 16 w 177"/>
                <a:gd name="T65" fmla="*/ 2 h 217"/>
                <a:gd name="T66" fmla="*/ 26 w 177"/>
                <a:gd name="T67" fmla="*/ 14 h 217"/>
                <a:gd name="T68" fmla="*/ 28 w 177"/>
                <a:gd name="T69" fmla="*/ 38 h 217"/>
                <a:gd name="T70" fmla="*/ 30 w 177"/>
                <a:gd name="T71" fmla="*/ 98 h 217"/>
                <a:gd name="T72" fmla="*/ 46 w 177"/>
                <a:gd name="T73" fmla="*/ 101 h 217"/>
                <a:gd name="T74" fmla="*/ 73 w 177"/>
                <a:gd name="T75" fmla="*/ 54 h 217"/>
                <a:gd name="T76" fmla="*/ 96 w 177"/>
                <a:gd name="T77" fmla="*/ 17 h 217"/>
                <a:gd name="T78" fmla="*/ 112 w 177"/>
                <a:gd name="T79" fmla="*/ 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7" h="217">
                  <a:moveTo>
                    <a:pt x="121" y="0"/>
                  </a:moveTo>
                  <a:lnTo>
                    <a:pt x="135" y="2"/>
                  </a:lnTo>
                  <a:lnTo>
                    <a:pt x="152" y="7"/>
                  </a:lnTo>
                  <a:lnTo>
                    <a:pt x="161" y="14"/>
                  </a:lnTo>
                  <a:lnTo>
                    <a:pt x="163" y="24"/>
                  </a:lnTo>
                  <a:lnTo>
                    <a:pt x="164" y="42"/>
                  </a:lnTo>
                  <a:lnTo>
                    <a:pt x="164" y="68"/>
                  </a:lnTo>
                  <a:lnTo>
                    <a:pt x="166" y="96"/>
                  </a:lnTo>
                  <a:lnTo>
                    <a:pt x="168" y="124"/>
                  </a:lnTo>
                  <a:lnTo>
                    <a:pt x="170" y="154"/>
                  </a:lnTo>
                  <a:lnTo>
                    <a:pt x="173" y="177"/>
                  </a:lnTo>
                  <a:lnTo>
                    <a:pt x="177" y="196"/>
                  </a:lnTo>
                  <a:lnTo>
                    <a:pt x="177" y="205"/>
                  </a:lnTo>
                  <a:lnTo>
                    <a:pt x="177" y="210"/>
                  </a:lnTo>
                  <a:lnTo>
                    <a:pt x="175" y="213"/>
                  </a:lnTo>
                  <a:lnTo>
                    <a:pt x="171" y="217"/>
                  </a:lnTo>
                  <a:lnTo>
                    <a:pt x="168" y="217"/>
                  </a:lnTo>
                  <a:lnTo>
                    <a:pt x="161" y="217"/>
                  </a:lnTo>
                  <a:lnTo>
                    <a:pt x="156" y="215"/>
                  </a:lnTo>
                  <a:lnTo>
                    <a:pt x="150" y="213"/>
                  </a:lnTo>
                  <a:lnTo>
                    <a:pt x="147" y="210"/>
                  </a:lnTo>
                  <a:lnTo>
                    <a:pt x="143" y="206"/>
                  </a:lnTo>
                  <a:lnTo>
                    <a:pt x="142" y="199"/>
                  </a:lnTo>
                  <a:lnTo>
                    <a:pt x="142" y="191"/>
                  </a:lnTo>
                  <a:lnTo>
                    <a:pt x="140" y="175"/>
                  </a:lnTo>
                  <a:lnTo>
                    <a:pt x="140" y="150"/>
                  </a:lnTo>
                  <a:lnTo>
                    <a:pt x="138" y="119"/>
                  </a:lnTo>
                  <a:lnTo>
                    <a:pt x="135" y="87"/>
                  </a:lnTo>
                  <a:lnTo>
                    <a:pt x="133" y="58"/>
                  </a:lnTo>
                  <a:lnTo>
                    <a:pt x="129" y="35"/>
                  </a:lnTo>
                  <a:lnTo>
                    <a:pt x="128" y="30"/>
                  </a:lnTo>
                  <a:lnTo>
                    <a:pt x="126" y="28"/>
                  </a:lnTo>
                  <a:lnTo>
                    <a:pt x="124" y="26"/>
                  </a:lnTo>
                  <a:lnTo>
                    <a:pt x="122" y="28"/>
                  </a:lnTo>
                  <a:lnTo>
                    <a:pt x="119" y="30"/>
                  </a:lnTo>
                  <a:lnTo>
                    <a:pt x="115" y="35"/>
                  </a:lnTo>
                  <a:lnTo>
                    <a:pt x="110" y="42"/>
                  </a:lnTo>
                  <a:lnTo>
                    <a:pt x="100" y="56"/>
                  </a:lnTo>
                  <a:lnTo>
                    <a:pt x="87" y="75"/>
                  </a:lnTo>
                  <a:lnTo>
                    <a:pt x="73" y="100"/>
                  </a:lnTo>
                  <a:lnTo>
                    <a:pt x="60" y="131"/>
                  </a:lnTo>
                  <a:lnTo>
                    <a:pt x="47" y="170"/>
                  </a:lnTo>
                  <a:lnTo>
                    <a:pt x="46" y="173"/>
                  </a:lnTo>
                  <a:lnTo>
                    <a:pt x="44" y="177"/>
                  </a:lnTo>
                  <a:lnTo>
                    <a:pt x="40" y="178"/>
                  </a:lnTo>
                  <a:lnTo>
                    <a:pt x="35" y="178"/>
                  </a:lnTo>
                  <a:lnTo>
                    <a:pt x="30" y="178"/>
                  </a:lnTo>
                  <a:lnTo>
                    <a:pt x="23" y="177"/>
                  </a:lnTo>
                  <a:lnTo>
                    <a:pt x="19" y="175"/>
                  </a:lnTo>
                  <a:lnTo>
                    <a:pt x="14" y="171"/>
                  </a:lnTo>
                  <a:lnTo>
                    <a:pt x="12" y="170"/>
                  </a:lnTo>
                  <a:lnTo>
                    <a:pt x="11" y="166"/>
                  </a:lnTo>
                  <a:lnTo>
                    <a:pt x="9" y="161"/>
                  </a:lnTo>
                  <a:lnTo>
                    <a:pt x="7" y="154"/>
                  </a:lnTo>
                  <a:lnTo>
                    <a:pt x="5" y="143"/>
                  </a:lnTo>
                  <a:lnTo>
                    <a:pt x="4" y="126"/>
                  </a:lnTo>
                  <a:lnTo>
                    <a:pt x="2" y="101"/>
                  </a:lnTo>
                  <a:lnTo>
                    <a:pt x="2" y="75"/>
                  </a:lnTo>
                  <a:lnTo>
                    <a:pt x="0" y="49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2" y="10"/>
                  </a:lnTo>
                  <a:lnTo>
                    <a:pt x="4" y="5"/>
                  </a:lnTo>
                  <a:lnTo>
                    <a:pt x="7" y="2"/>
                  </a:lnTo>
                  <a:lnTo>
                    <a:pt x="11" y="2"/>
                  </a:lnTo>
                  <a:lnTo>
                    <a:pt x="16" y="2"/>
                  </a:lnTo>
                  <a:lnTo>
                    <a:pt x="23" y="5"/>
                  </a:lnTo>
                  <a:lnTo>
                    <a:pt x="26" y="14"/>
                  </a:lnTo>
                  <a:lnTo>
                    <a:pt x="28" y="24"/>
                  </a:lnTo>
                  <a:lnTo>
                    <a:pt x="28" y="38"/>
                  </a:lnTo>
                  <a:lnTo>
                    <a:pt x="28" y="68"/>
                  </a:lnTo>
                  <a:lnTo>
                    <a:pt x="30" y="98"/>
                  </a:lnTo>
                  <a:lnTo>
                    <a:pt x="33" y="128"/>
                  </a:lnTo>
                  <a:lnTo>
                    <a:pt x="46" y="101"/>
                  </a:lnTo>
                  <a:lnTo>
                    <a:pt x="60" y="77"/>
                  </a:lnTo>
                  <a:lnTo>
                    <a:pt x="73" y="54"/>
                  </a:lnTo>
                  <a:lnTo>
                    <a:pt x="86" y="33"/>
                  </a:lnTo>
                  <a:lnTo>
                    <a:pt x="96" y="17"/>
                  </a:lnTo>
                  <a:lnTo>
                    <a:pt x="105" y="5"/>
                  </a:lnTo>
                  <a:lnTo>
                    <a:pt x="112" y="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4"/>
            <p:cNvSpPr>
              <a:spLocks/>
            </p:cNvSpPr>
            <p:nvPr userDrawn="1"/>
          </p:nvSpPr>
          <p:spPr bwMode="auto">
            <a:xfrm>
              <a:off x="9043988" y="5251450"/>
              <a:ext cx="271463" cy="330200"/>
            </a:xfrm>
            <a:custGeom>
              <a:avLst/>
              <a:gdLst>
                <a:gd name="T0" fmla="*/ 114 w 171"/>
                <a:gd name="T1" fmla="*/ 2 h 208"/>
                <a:gd name="T2" fmla="*/ 121 w 171"/>
                <a:gd name="T3" fmla="*/ 5 h 208"/>
                <a:gd name="T4" fmla="*/ 124 w 171"/>
                <a:gd name="T5" fmla="*/ 12 h 208"/>
                <a:gd name="T6" fmla="*/ 119 w 171"/>
                <a:gd name="T7" fmla="*/ 23 h 208"/>
                <a:gd name="T8" fmla="*/ 73 w 171"/>
                <a:gd name="T9" fmla="*/ 47 h 208"/>
                <a:gd name="T10" fmla="*/ 42 w 171"/>
                <a:gd name="T11" fmla="*/ 79 h 208"/>
                <a:gd name="T12" fmla="*/ 30 w 171"/>
                <a:gd name="T13" fmla="*/ 109 h 208"/>
                <a:gd name="T14" fmla="*/ 38 w 171"/>
                <a:gd name="T15" fmla="*/ 123 h 208"/>
                <a:gd name="T16" fmla="*/ 65 w 171"/>
                <a:gd name="T17" fmla="*/ 119 h 208"/>
                <a:gd name="T18" fmla="*/ 98 w 171"/>
                <a:gd name="T19" fmla="*/ 105 h 208"/>
                <a:gd name="T20" fmla="*/ 126 w 171"/>
                <a:gd name="T21" fmla="*/ 86 h 208"/>
                <a:gd name="T22" fmla="*/ 128 w 171"/>
                <a:gd name="T23" fmla="*/ 60 h 208"/>
                <a:gd name="T24" fmla="*/ 140 w 171"/>
                <a:gd name="T25" fmla="*/ 49 h 208"/>
                <a:gd name="T26" fmla="*/ 152 w 171"/>
                <a:gd name="T27" fmla="*/ 54 h 208"/>
                <a:gd name="T28" fmla="*/ 157 w 171"/>
                <a:gd name="T29" fmla="*/ 58 h 208"/>
                <a:gd name="T30" fmla="*/ 159 w 171"/>
                <a:gd name="T31" fmla="*/ 63 h 208"/>
                <a:gd name="T32" fmla="*/ 161 w 171"/>
                <a:gd name="T33" fmla="*/ 112 h 208"/>
                <a:gd name="T34" fmla="*/ 166 w 171"/>
                <a:gd name="T35" fmla="*/ 172 h 208"/>
                <a:gd name="T36" fmla="*/ 169 w 171"/>
                <a:gd name="T37" fmla="*/ 200 h 208"/>
                <a:gd name="T38" fmla="*/ 164 w 171"/>
                <a:gd name="T39" fmla="*/ 207 h 208"/>
                <a:gd name="T40" fmla="*/ 156 w 171"/>
                <a:gd name="T41" fmla="*/ 207 h 208"/>
                <a:gd name="T42" fmla="*/ 147 w 171"/>
                <a:gd name="T43" fmla="*/ 198 h 208"/>
                <a:gd name="T44" fmla="*/ 135 w 171"/>
                <a:gd name="T45" fmla="*/ 158 h 208"/>
                <a:gd name="T46" fmla="*/ 129 w 171"/>
                <a:gd name="T47" fmla="*/ 117 h 208"/>
                <a:gd name="T48" fmla="*/ 86 w 171"/>
                <a:gd name="T49" fmla="*/ 140 h 208"/>
                <a:gd name="T50" fmla="*/ 44 w 171"/>
                <a:gd name="T51" fmla="*/ 151 h 208"/>
                <a:gd name="T52" fmla="*/ 12 w 171"/>
                <a:gd name="T53" fmla="*/ 138 h 208"/>
                <a:gd name="T54" fmla="*/ 0 w 171"/>
                <a:gd name="T55" fmla="*/ 102 h 208"/>
                <a:gd name="T56" fmla="*/ 17 w 171"/>
                <a:gd name="T57" fmla="*/ 58 h 208"/>
                <a:gd name="T58" fmla="*/ 58 w 171"/>
                <a:gd name="T59" fmla="*/ 19 h 208"/>
                <a:gd name="T60" fmla="*/ 91 w 171"/>
                <a:gd name="T61" fmla="*/ 2 h 208"/>
                <a:gd name="T62" fmla="*/ 110 w 171"/>
                <a:gd name="T6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1" h="208">
                  <a:moveTo>
                    <a:pt x="110" y="0"/>
                  </a:moveTo>
                  <a:lnTo>
                    <a:pt x="114" y="2"/>
                  </a:lnTo>
                  <a:lnTo>
                    <a:pt x="117" y="4"/>
                  </a:lnTo>
                  <a:lnTo>
                    <a:pt x="121" y="5"/>
                  </a:lnTo>
                  <a:lnTo>
                    <a:pt x="122" y="9"/>
                  </a:lnTo>
                  <a:lnTo>
                    <a:pt x="124" y="12"/>
                  </a:lnTo>
                  <a:lnTo>
                    <a:pt x="122" y="18"/>
                  </a:lnTo>
                  <a:lnTo>
                    <a:pt x="119" y="23"/>
                  </a:lnTo>
                  <a:lnTo>
                    <a:pt x="96" y="33"/>
                  </a:lnTo>
                  <a:lnTo>
                    <a:pt x="73" y="47"/>
                  </a:lnTo>
                  <a:lnTo>
                    <a:pt x="56" y="63"/>
                  </a:lnTo>
                  <a:lnTo>
                    <a:pt x="42" y="79"/>
                  </a:lnTo>
                  <a:lnTo>
                    <a:pt x="33" y="95"/>
                  </a:lnTo>
                  <a:lnTo>
                    <a:pt x="30" y="109"/>
                  </a:lnTo>
                  <a:lnTo>
                    <a:pt x="31" y="119"/>
                  </a:lnTo>
                  <a:lnTo>
                    <a:pt x="38" y="123"/>
                  </a:lnTo>
                  <a:lnTo>
                    <a:pt x="49" y="123"/>
                  </a:lnTo>
                  <a:lnTo>
                    <a:pt x="65" y="119"/>
                  </a:lnTo>
                  <a:lnTo>
                    <a:pt x="82" y="112"/>
                  </a:lnTo>
                  <a:lnTo>
                    <a:pt x="98" y="105"/>
                  </a:lnTo>
                  <a:lnTo>
                    <a:pt x="114" y="95"/>
                  </a:lnTo>
                  <a:lnTo>
                    <a:pt x="126" y="86"/>
                  </a:lnTo>
                  <a:lnTo>
                    <a:pt x="126" y="70"/>
                  </a:lnTo>
                  <a:lnTo>
                    <a:pt x="128" y="60"/>
                  </a:lnTo>
                  <a:lnTo>
                    <a:pt x="131" y="51"/>
                  </a:lnTo>
                  <a:lnTo>
                    <a:pt x="140" y="49"/>
                  </a:lnTo>
                  <a:lnTo>
                    <a:pt x="147" y="51"/>
                  </a:lnTo>
                  <a:lnTo>
                    <a:pt x="152" y="54"/>
                  </a:lnTo>
                  <a:lnTo>
                    <a:pt x="154" y="56"/>
                  </a:lnTo>
                  <a:lnTo>
                    <a:pt x="157" y="58"/>
                  </a:lnTo>
                  <a:lnTo>
                    <a:pt x="157" y="61"/>
                  </a:lnTo>
                  <a:lnTo>
                    <a:pt x="159" y="63"/>
                  </a:lnTo>
                  <a:lnTo>
                    <a:pt x="159" y="84"/>
                  </a:lnTo>
                  <a:lnTo>
                    <a:pt x="161" y="112"/>
                  </a:lnTo>
                  <a:lnTo>
                    <a:pt x="163" y="142"/>
                  </a:lnTo>
                  <a:lnTo>
                    <a:pt x="166" y="172"/>
                  </a:lnTo>
                  <a:lnTo>
                    <a:pt x="171" y="194"/>
                  </a:lnTo>
                  <a:lnTo>
                    <a:pt x="169" y="200"/>
                  </a:lnTo>
                  <a:lnTo>
                    <a:pt x="168" y="205"/>
                  </a:lnTo>
                  <a:lnTo>
                    <a:pt x="164" y="207"/>
                  </a:lnTo>
                  <a:lnTo>
                    <a:pt x="161" y="208"/>
                  </a:lnTo>
                  <a:lnTo>
                    <a:pt x="156" y="207"/>
                  </a:lnTo>
                  <a:lnTo>
                    <a:pt x="150" y="203"/>
                  </a:lnTo>
                  <a:lnTo>
                    <a:pt x="147" y="198"/>
                  </a:lnTo>
                  <a:lnTo>
                    <a:pt x="140" y="179"/>
                  </a:lnTo>
                  <a:lnTo>
                    <a:pt x="135" y="158"/>
                  </a:lnTo>
                  <a:lnTo>
                    <a:pt x="131" y="135"/>
                  </a:lnTo>
                  <a:lnTo>
                    <a:pt x="129" y="117"/>
                  </a:lnTo>
                  <a:lnTo>
                    <a:pt x="108" y="130"/>
                  </a:lnTo>
                  <a:lnTo>
                    <a:pt x="86" y="140"/>
                  </a:lnTo>
                  <a:lnTo>
                    <a:pt x="65" y="147"/>
                  </a:lnTo>
                  <a:lnTo>
                    <a:pt x="44" y="151"/>
                  </a:lnTo>
                  <a:lnTo>
                    <a:pt x="26" y="149"/>
                  </a:lnTo>
                  <a:lnTo>
                    <a:pt x="12" y="138"/>
                  </a:lnTo>
                  <a:lnTo>
                    <a:pt x="2" y="121"/>
                  </a:lnTo>
                  <a:lnTo>
                    <a:pt x="0" y="102"/>
                  </a:lnTo>
                  <a:lnTo>
                    <a:pt x="5" y="81"/>
                  </a:lnTo>
                  <a:lnTo>
                    <a:pt x="17" y="58"/>
                  </a:lnTo>
                  <a:lnTo>
                    <a:pt x="37" y="37"/>
                  </a:lnTo>
                  <a:lnTo>
                    <a:pt x="58" y="19"/>
                  </a:lnTo>
                  <a:lnTo>
                    <a:pt x="75" y="9"/>
                  </a:lnTo>
                  <a:lnTo>
                    <a:pt x="91" y="2"/>
                  </a:lnTo>
                  <a:lnTo>
                    <a:pt x="101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5"/>
            <p:cNvSpPr>
              <a:spLocks/>
            </p:cNvSpPr>
            <p:nvPr userDrawn="1"/>
          </p:nvSpPr>
          <p:spPr bwMode="auto">
            <a:xfrm>
              <a:off x="9356726" y="5065713"/>
              <a:ext cx="120650" cy="503238"/>
            </a:xfrm>
            <a:custGeom>
              <a:avLst/>
              <a:gdLst>
                <a:gd name="T0" fmla="*/ 16 w 76"/>
                <a:gd name="T1" fmla="*/ 0 h 317"/>
                <a:gd name="T2" fmla="*/ 21 w 76"/>
                <a:gd name="T3" fmla="*/ 0 h 317"/>
                <a:gd name="T4" fmla="*/ 28 w 76"/>
                <a:gd name="T5" fmla="*/ 3 h 317"/>
                <a:gd name="T6" fmla="*/ 34 w 76"/>
                <a:gd name="T7" fmla="*/ 10 h 317"/>
                <a:gd name="T8" fmla="*/ 35 w 76"/>
                <a:gd name="T9" fmla="*/ 24 h 317"/>
                <a:gd name="T10" fmla="*/ 35 w 76"/>
                <a:gd name="T11" fmla="*/ 47 h 317"/>
                <a:gd name="T12" fmla="*/ 37 w 76"/>
                <a:gd name="T13" fmla="*/ 72 h 317"/>
                <a:gd name="T14" fmla="*/ 37 w 76"/>
                <a:gd name="T15" fmla="*/ 103 h 317"/>
                <a:gd name="T16" fmla="*/ 39 w 76"/>
                <a:gd name="T17" fmla="*/ 142 h 317"/>
                <a:gd name="T18" fmla="*/ 42 w 76"/>
                <a:gd name="T19" fmla="*/ 180 h 317"/>
                <a:gd name="T20" fmla="*/ 46 w 76"/>
                <a:gd name="T21" fmla="*/ 219 h 317"/>
                <a:gd name="T22" fmla="*/ 51 w 76"/>
                <a:gd name="T23" fmla="*/ 255 h 317"/>
                <a:gd name="T24" fmla="*/ 53 w 76"/>
                <a:gd name="T25" fmla="*/ 254 h 317"/>
                <a:gd name="T26" fmla="*/ 56 w 76"/>
                <a:gd name="T27" fmla="*/ 252 h 317"/>
                <a:gd name="T28" fmla="*/ 60 w 76"/>
                <a:gd name="T29" fmla="*/ 250 h 317"/>
                <a:gd name="T30" fmla="*/ 62 w 76"/>
                <a:gd name="T31" fmla="*/ 248 h 317"/>
                <a:gd name="T32" fmla="*/ 65 w 76"/>
                <a:gd name="T33" fmla="*/ 247 h 317"/>
                <a:gd name="T34" fmla="*/ 69 w 76"/>
                <a:gd name="T35" fmla="*/ 247 h 317"/>
                <a:gd name="T36" fmla="*/ 70 w 76"/>
                <a:gd name="T37" fmla="*/ 248 h 317"/>
                <a:gd name="T38" fmla="*/ 74 w 76"/>
                <a:gd name="T39" fmla="*/ 250 h 317"/>
                <a:gd name="T40" fmla="*/ 74 w 76"/>
                <a:gd name="T41" fmla="*/ 255 h 317"/>
                <a:gd name="T42" fmla="*/ 76 w 76"/>
                <a:gd name="T43" fmla="*/ 261 h 317"/>
                <a:gd name="T44" fmla="*/ 72 w 76"/>
                <a:gd name="T45" fmla="*/ 283 h 317"/>
                <a:gd name="T46" fmla="*/ 63 w 76"/>
                <a:gd name="T47" fmla="*/ 301 h 317"/>
                <a:gd name="T48" fmla="*/ 53 w 76"/>
                <a:gd name="T49" fmla="*/ 313 h 317"/>
                <a:gd name="T50" fmla="*/ 42 w 76"/>
                <a:gd name="T51" fmla="*/ 317 h 317"/>
                <a:gd name="T52" fmla="*/ 35 w 76"/>
                <a:gd name="T53" fmla="*/ 315 h 317"/>
                <a:gd name="T54" fmla="*/ 30 w 76"/>
                <a:gd name="T55" fmla="*/ 306 h 317"/>
                <a:gd name="T56" fmla="*/ 27 w 76"/>
                <a:gd name="T57" fmla="*/ 296 h 317"/>
                <a:gd name="T58" fmla="*/ 23 w 76"/>
                <a:gd name="T59" fmla="*/ 282 h 317"/>
                <a:gd name="T60" fmla="*/ 21 w 76"/>
                <a:gd name="T61" fmla="*/ 264 h 317"/>
                <a:gd name="T62" fmla="*/ 18 w 76"/>
                <a:gd name="T63" fmla="*/ 238 h 317"/>
                <a:gd name="T64" fmla="*/ 14 w 76"/>
                <a:gd name="T65" fmla="*/ 205 h 317"/>
                <a:gd name="T66" fmla="*/ 13 w 76"/>
                <a:gd name="T67" fmla="*/ 168 h 317"/>
                <a:gd name="T68" fmla="*/ 9 w 76"/>
                <a:gd name="T69" fmla="*/ 131 h 317"/>
                <a:gd name="T70" fmla="*/ 6 w 76"/>
                <a:gd name="T71" fmla="*/ 94 h 317"/>
                <a:gd name="T72" fmla="*/ 2 w 76"/>
                <a:gd name="T73" fmla="*/ 65 h 317"/>
                <a:gd name="T74" fmla="*/ 0 w 76"/>
                <a:gd name="T75" fmla="*/ 40 h 317"/>
                <a:gd name="T76" fmla="*/ 0 w 76"/>
                <a:gd name="T77" fmla="*/ 26 h 317"/>
                <a:gd name="T78" fmla="*/ 0 w 76"/>
                <a:gd name="T79" fmla="*/ 19 h 317"/>
                <a:gd name="T80" fmla="*/ 0 w 76"/>
                <a:gd name="T81" fmla="*/ 12 h 317"/>
                <a:gd name="T82" fmla="*/ 4 w 76"/>
                <a:gd name="T83" fmla="*/ 7 h 317"/>
                <a:gd name="T84" fmla="*/ 6 w 76"/>
                <a:gd name="T85" fmla="*/ 3 h 317"/>
                <a:gd name="T86" fmla="*/ 9 w 76"/>
                <a:gd name="T87" fmla="*/ 2 h 317"/>
                <a:gd name="T88" fmla="*/ 13 w 76"/>
                <a:gd name="T89" fmla="*/ 0 h 317"/>
                <a:gd name="T90" fmla="*/ 16 w 76"/>
                <a:gd name="T91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6" h="317">
                  <a:moveTo>
                    <a:pt x="16" y="0"/>
                  </a:moveTo>
                  <a:lnTo>
                    <a:pt x="21" y="0"/>
                  </a:lnTo>
                  <a:lnTo>
                    <a:pt x="28" y="3"/>
                  </a:lnTo>
                  <a:lnTo>
                    <a:pt x="34" y="10"/>
                  </a:lnTo>
                  <a:lnTo>
                    <a:pt x="35" y="24"/>
                  </a:lnTo>
                  <a:lnTo>
                    <a:pt x="35" y="47"/>
                  </a:lnTo>
                  <a:lnTo>
                    <a:pt x="37" y="72"/>
                  </a:lnTo>
                  <a:lnTo>
                    <a:pt x="37" y="103"/>
                  </a:lnTo>
                  <a:lnTo>
                    <a:pt x="39" y="142"/>
                  </a:lnTo>
                  <a:lnTo>
                    <a:pt x="42" y="180"/>
                  </a:lnTo>
                  <a:lnTo>
                    <a:pt x="46" y="219"/>
                  </a:lnTo>
                  <a:lnTo>
                    <a:pt x="51" y="255"/>
                  </a:lnTo>
                  <a:lnTo>
                    <a:pt x="53" y="254"/>
                  </a:lnTo>
                  <a:lnTo>
                    <a:pt x="56" y="252"/>
                  </a:lnTo>
                  <a:lnTo>
                    <a:pt x="60" y="250"/>
                  </a:lnTo>
                  <a:lnTo>
                    <a:pt x="62" y="248"/>
                  </a:lnTo>
                  <a:lnTo>
                    <a:pt x="65" y="247"/>
                  </a:lnTo>
                  <a:lnTo>
                    <a:pt x="69" y="247"/>
                  </a:lnTo>
                  <a:lnTo>
                    <a:pt x="70" y="248"/>
                  </a:lnTo>
                  <a:lnTo>
                    <a:pt x="74" y="250"/>
                  </a:lnTo>
                  <a:lnTo>
                    <a:pt x="74" y="255"/>
                  </a:lnTo>
                  <a:lnTo>
                    <a:pt x="76" y="261"/>
                  </a:lnTo>
                  <a:lnTo>
                    <a:pt x="72" y="283"/>
                  </a:lnTo>
                  <a:lnTo>
                    <a:pt x="63" y="301"/>
                  </a:lnTo>
                  <a:lnTo>
                    <a:pt x="53" y="313"/>
                  </a:lnTo>
                  <a:lnTo>
                    <a:pt x="42" y="317"/>
                  </a:lnTo>
                  <a:lnTo>
                    <a:pt x="35" y="315"/>
                  </a:lnTo>
                  <a:lnTo>
                    <a:pt x="30" y="306"/>
                  </a:lnTo>
                  <a:lnTo>
                    <a:pt x="27" y="296"/>
                  </a:lnTo>
                  <a:lnTo>
                    <a:pt x="23" y="282"/>
                  </a:lnTo>
                  <a:lnTo>
                    <a:pt x="21" y="264"/>
                  </a:lnTo>
                  <a:lnTo>
                    <a:pt x="18" y="238"/>
                  </a:lnTo>
                  <a:lnTo>
                    <a:pt x="14" y="205"/>
                  </a:lnTo>
                  <a:lnTo>
                    <a:pt x="13" y="168"/>
                  </a:lnTo>
                  <a:lnTo>
                    <a:pt x="9" y="131"/>
                  </a:lnTo>
                  <a:lnTo>
                    <a:pt x="6" y="94"/>
                  </a:lnTo>
                  <a:lnTo>
                    <a:pt x="2" y="65"/>
                  </a:lnTo>
                  <a:lnTo>
                    <a:pt x="0" y="40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0" y="12"/>
                  </a:lnTo>
                  <a:lnTo>
                    <a:pt x="4" y="7"/>
                  </a:lnTo>
                  <a:lnTo>
                    <a:pt x="6" y="3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6"/>
            <p:cNvSpPr>
              <a:spLocks/>
            </p:cNvSpPr>
            <p:nvPr userDrawn="1"/>
          </p:nvSpPr>
          <p:spPr bwMode="auto">
            <a:xfrm>
              <a:off x="9299576" y="5176838"/>
              <a:ext cx="312738" cy="74613"/>
            </a:xfrm>
            <a:custGeom>
              <a:avLst/>
              <a:gdLst>
                <a:gd name="T0" fmla="*/ 183 w 197"/>
                <a:gd name="T1" fmla="*/ 0 h 47"/>
                <a:gd name="T2" fmla="*/ 187 w 197"/>
                <a:gd name="T3" fmla="*/ 3 h 47"/>
                <a:gd name="T4" fmla="*/ 192 w 197"/>
                <a:gd name="T5" fmla="*/ 7 h 47"/>
                <a:gd name="T6" fmla="*/ 196 w 197"/>
                <a:gd name="T7" fmla="*/ 10 h 47"/>
                <a:gd name="T8" fmla="*/ 197 w 197"/>
                <a:gd name="T9" fmla="*/ 14 h 47"/>
                <a:gd name="T10" fmla="*/ 196 w 197"/>
                <a:gd name="T11" fmla="*/ 16 h 47"/>
                <a:gd name="T12" fmla="*/ 194 w 197"/>
                <a:gd name="T13" fmla="*/ 19 h 47"/>
                <a:gd name="T14" fmla="*/ 190 w 197"/>
                <a:gd name="T15" fmla="*/ 21 h 47"/>
                <a:gd name="T16" fmla="*/ 183 w 197"/>
                <a:gd name="T17" fmla="*/ 23 h 47"/>
                <a:gd name="T18" fmla="*/ 176 w 197"/>
                <a:gd name="T19" fmla="*/ 24 h 47"/>
                <a:gd name="T20" fmla="*/ 157 w 197"/>
                <a:gd name="T21" fmla="*/ 26 h 47"/>
                <a:gd name="T22" fmla="*/ 131 w 197"/>
                <a:gd name="T23" fmla="*/ 31 h 47"/>
                <a:gd name="T24" fmla="*/ 105 w 197"/>
                <a:gd name="T25" fmla="*/ 37 h 47"/>
                <a:gd name="T26" fmla="*/ 78 w 197"/>
                <a:gd name="T27" fmla="*/ 42 h 47"/>
                <a:gd name="T28" fmla="*/ 52 w 197"/>
                <a:gd name="T29" fmla="*/ 45 h 47"/>
                <a:gd name="T30" fmla="*/ 33 w 197"/>
                <a:gd name="T31" fmla="*/ 47 h 47"/>
                <a:gd name="T32" fmla="*/ 19 w 197"/>
                <a:gd name="T33" fmla="*/ 47 h 47"/>
                <a:gd name="T34" fmla="*/ 8 w 197"/>
                <a:gd name="T35" fmla="*/ 42 h 47"/>
                <a:gd name="T36" fmla="*/ 2 w 197"/>
                <a:gd name="T37" fmla="*/ 35 h 47"/>
                <a:gd name="T38" fmla="*/ 0 w 197"/>
                <a:gd name="T39" fmla="*/ 31 h 47"/>
                <a:gd name="T40" fmla="*/ 2 w 197"/>
                <a:gd name="T41" fmla="*/ 26 h 47"/>
                <a:gd name="T42" fmla="*/ 3 w 197"/>
                <a:gd name="T43" fmla="*/ 23 h 47"/>
                <a:gd name="T44" fmla="*/ 5 w 197"/>
                <a:gd name="T45" fmla="*/ 21 h 47"/>
                <a:gd name="T46" fmla="*/ 10 w 197"/>
                <a:gd name="T47" fmla="*/ 19 h 47"/>
                <a:gd name="T48" fmla="*/ 17 w 197"/>
                <a:gd name="T49" fmla="*/ 17 h 47"/>
                <a:gd name="T50" fmla="*/ 31 w 197"/>
                <a:gd name="T51" fmla="*/ 17 h 47"/>
                <a:gd name="T52" fmla="*/ 47 w 197"/>
                <a:gd name="T53" fmla="*/ 16 h 47"/>
                <a:gd name="T54" fmla="*/ 64 w 197"/>
                <a:gd name="T55" fmla="*/ 12 h 47"/>
                <a:gd name="T56" fmla="*/ 122 w 197"/>
                <a:gd name="T57" fmla="*/ 5 h 47"/>
                <a:gd name="T58" fmla="*/ 183 w 197"/>
                <a:gd name="T5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97" h="47">
                  <a:moveTo>
                    <a:pt x="183" y="0"/>
                  </a:moveTo>
                  <a:lnTo>
                    <a:pt x="187" y="3"/>
                  </a:lnTo>
                  <a:lnTo>
                    <a:pt x="192" y="7"/>
                  </a:lnTo>
                  <a:lnTo>
                    <a:pt x="196" y="10"/>
                  </a:lnTo>
                  <a:lnTo>
                    <a:pt x="197" y="14"/>
                  </a:lnTo>
                  <a:lnTo>
                    <a:pt x="196" y="16"/>
                  </a:lnTo>
                  <a:lnTo>
                    <a:pt x="194" y="19"/>
                  </a:lnTo>
                  <a:lnTo>
                    <a:pt x="190" y="21"/>
                  </a:lnTo>
                  <a:lnTo>
                    <a:pt x="183" y="23"/>
                  </a:lnTo>
                  <a:lnTo>
                    <a:pt x="176" y="24"/>
                  </a:lnTo>
                  <a:lnTo>
                    <a:pt x="157" y="26"/>
                  </a:lnTo>
                  <a:lnTo>
                    <a:pt x="131" y="31"/>
                  </a:lnTo>
                  <a:lnTo>
                    <a:pt x="105" y="37"/>
                  </a:lnTo>
                  <a:lnTo>
                    <a:pt x="78" y="42"/>
                  </a:lnTo>
                  <a:lnTo>
                    <a:pt x="52" y="45"/>
                  </a:lnTo>
                  <a:lnTo>
                    <a:pt x="33" y="47"/>
                  </a:lnTo>
                  <a:lnTo>
                    <a:pt x="19" y="47"/>
                  </a:lnTo>
                  <a:lnTo>
                    <a:pt x="8" y="42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2" y="26"/>
                  </a:lnTo>
                  <a:lnTo>
                    <a:pt x="3" y="23"/>
                  </a:lnTo>
                  <a:lnTo>
                    <a:pt x="5" y="21"/>
                  </a:lnTo>
                  <a:lnTo>
                    <a:pt x="10" y="19"/>
                  </a:lnTo>
                  <a:lnTo>
                    <a:pt x="17" y="17"/>
                  </a:lnTo>
                  <a:lnTo>
                    <a:pt x="31" y="17"/>
                  </a:lnTo>
                  <a:lnTo>
                    <a:pt x="47" y="16"/>
                  </a:lnTo>
                  <a:lnTo>
                    <a:pt x="64" y="12"/>
                  </a:lnTo>
                  <a:lnTo>
                    <a:pt x="122" y="5"/>
                  </a:lnTo>
                  <a:lnTo>
                    <a:pt x="18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7"/>
            <p:cNvSpPr>
              <a:spLocks/>
            </p:cNvSpPr>
            <p:nvPr userDrawn="1"/>
          </p:nvSpPr>
          <p:spPr bwMode="auto">
            <a:xfrm>
              <a:off x="9512301" y="5254625"/>
              <a:ext cx="277813" cy="300038"/>
            </a:xfrm>
            <a:custGeom>
              <a:avLst/>
              <a:gdLst>
                <a:gd name="T0" fmla="*/ 158 w 175"/>
                <a:gd name="T1" fmla="*/ 2 h 189"/>
                <a:gd name="T2" fmla="*/ 163 w 175"/>
                <a:gd name="T3" fmla="*/ 19 h 189"/>
                <a:gd name="T4" fmla="*/ 159 w 175"/>
                <a:gd name="T5" fmla="*/ 65 h 189"/>
                <a:gd name="T6" fmla="*/ 161 w 175"/>
                <a:gd name="T7" fmla="*/ 112 h 189"/>
                <a:gd name="T8" fmla="*/ 168 w 175"/>
                <a:gd name="T9" fmla="*/ 157 h 189"/>
                <a:gd name="T10" fmla="*/ 172 w 175"/>
                <a:gd name="T11" fmla="*/ 163 h 189"/>
                <a:gd name="T12" fmla="*/ 175 w 175"/>
                <a:gd name="T13" fmla="*/ 170 h 189"/>
                <a:gd name="T14" fmla="*/ 173 w 175"/>
                <a:gd name="T15" fmla="*/ 180 h 189"/>
                <a:gd name="T16" fmla="*/ 168 w 175"/>
                <a:gd name="T17" fmla="*/ 189 h 189"/>
                <a:gd name="T18" fmla="*/ 159 w 175"/>
                <a:gd name="T19" fmla="*/ 189 h 189"/>
                <a:gd name="T20" fmla="*/ 153 w 175"/>
                <a:gd name="T21" fmla="*/ 185 h 189"/>
                <a:gd name="T22" fmla="*/ 142 w 175"/>
                <a:gd name="T23" fmla="*/ 166 h 189"/>
                <a:gd name="T24" fmla="*/ 132 w 175"/>
                <a:gd name="T25" fmla="*/ 112 h 189"/>
                <a:gd name="T26" fmla="*/ 104 w 175"/>
                <a:gd name="T27" fmla="*/ 156 h 189"/>
                <a:gd name="T28" fmla="*/ 76 w 175"/>
                <a:gd name="T29" fmla="*/ 173 h 189"/>
                <a:gd name="T30" fmla="*/ 46 w 175"/>
                <a:gd name="T31" fmla="*/ 164 h 189"/>
                <a:gd name="T32" fmla="*/ 23 w 175"/>
                <a:gd name="T33" fmla="*/ 131 h 189"/>
                <a:gd name="T34" fmla="*/ 9 w 175"/>
                <a:gd name="T35" fmla="*/ 87 h 189"/>
                <a:gd name="T36" fmla="*/ 2 w 175"/>
                <a:gd name="T37" fmla="*/ 49 h 189"/>
                <a:gd name="T38" fmla="*/ 0 w 175"/>
                <a:gd name="T39" fmla="*/ 31 h 189"/>
                <a:gd name="T40" fmla="*/ 2 w 175"/>
                <a:gd name="T41" fmla="*/ 23 h 189"/>
                <a:gd name="T42" fmla="*/ 6 w 175"/>
                <a:gd name="T43" fmla="*/ 16 h 189"/>
                <a:gd name="T44" fmla="*/ 13 w 175"/>
                <a:gd name="T45" fmla="*/ 12 h 189"/>
                <a:gd name="T46" fmla="*/ 28 w 175"/>
                <a:gd name="T47" fmla="*/ 14 h 189"/>
                <a:gd name="T48" fmla="*/ 34 w 175"/>
                <a:gd name="T49" fmla="*/ 31 h 189"/>
                <a:gd name="T50" fmla="*/ 41 w 175"/>
                <a:gd name="T51" fmla="*/ 82 h 189"/>
                <a:gd name="T52" fmla="*/ 55 w 175"/>
                <a:gd name="T53" fmla="*/ 135 h 189"/>
                <a:gd name="T54" fmla="*/ 63 w 175"/>
                <a:gd name="T55" fmla="*/ 145 h 189"/>
                <a:gd name="T56" fmla="*/ 72 w 175"/>
                <a:gd name="T57" fmla="*/ 147 h 189"/>
                <a:gd name="T58" fmla="*/ 83 w 175"/>
                <a:gd name="T59" fmla="*/ 140 h 189"/>
                <a:gd name="T60" fmla="*/ 109 w 175"/>
                <a:gd name="T61" fmla="*/ 105 h 189"/>
                <a:gd name="T62" fmla="*/ 133 w 175"/>
                <a:gd name="T63" fmla="*/ 42 h 189"/>
                <a:gd name="T64" fmla="*/ 139 w 175"/>
                <a:gd name="T65" fmla="*/ 9 h 189"/>
                <a:gd name="T66" fmla="*/ 153 w 175"/>
                <a:gd name="T67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5" h="189">
                  <a:moveTo>
                    <a:pt x="153" y="0"/>
                  </a:moveTo>
                  <a:lnTo>
                    <a:pt x="158" y="2"/>
                  </a:lnTo>
                  <a:lnTo>
                    <a:pt x="161" y="9"/>
                  </a:lnTo>
                  <a:lnTo>
                    <a:pt x="163" y="19"/>
                  </a:lnTo>
                  <a:lnTo>
                    <a:pt x="163" y="35"/>
                  </a:lnTo>
                  <a:lnTo>
                    <a:pt x="159" y="65"/>
                  </a:lnTo>
                  <a:lnTo>
                    <a:pt x="159" y="89"/>
                  </a:lnTo>
                  <a:lnTo>
                    <a:pt x="161" y="112"/>
                  </a:lnTo>
                  <a:lnTo>
                    <a:pt x="163" y="133"/>
                  </a:lnTo>
                  <a:lnTo>
                    <a:pt x="168" y="157"/>
                  </a:lnTo>
                  <a:lnTo>
                    <a:pt x="170" y="159"/>
                  </a:lnTo>
                  <a:lnTo>
                    <a:pt x="172" y="163"/>
                  </a:lnTo>
                  <a:lnTo>
                    <a:pt x="173" y="166"/>
                  </a:lnTo>
                  <a:lnTo>
                    <a:pt x="175" y="170"/>
                  </a:lnTo>
                  <a:lnTo>
                    <a:pt x="175" y="175"/>
                  </a:lnTo>
                  <a:lnTo>
                    <a:pt x="173" y="180"/>
                  </a:lnTo>
                  <a:lnTo>
                    <a:pt x="170" y="185"/>
                  </a:lnTo>
                  <a:lnTo>
                    <a:pt x="168" y="189"/>
                  </a:lnTo>
                  <a:lnTo>
                    <a:pt x="163" y="189"/>
                  </a:lnTo>
                  <a:lnTo>
                    <a:pt x="159" y="189"/>
                  </a:lnTo>
                  <a:lnTo>
                    <a:pt x="156" y="189"/>
                  </a:lnTo>
                  <a:lnTo>
                    <a:pt x="153" y="185"/>
                  </a:lnTo>
                  <a:lnTo>
                    <a:pt x="149" y="182"/>
                  </a:lnTo>
                  <a:lnTo>
                    <a:pt x="142" y="166"/>
                  </a:lnTo>
                  <a:lnTo>
                    <a:pt x="137" y="142"/>
                  </a:lnTo>
                  <a:lnTo>
                    <a:pt x="132" y="112"/>
                  </a:lnTo>
                  <a:lnTo>
                    <a:pt x="119" y="135"/>
                  </a:lnTo>
                  <a:lnTo>
                    <a:pt x="104" y="156"/>
                  </a:lnTo>
                  <a:lnTo>
                    <a:pt x="91" y="168"/>
                  </a:lnTo>
                  <a:lnTo>
                    <a:pt x="76" y="173"/>
                  </a:lnTo>
                  <a:lnTo>
                    <a:pt x="62" y="173"/>
                  </a:lnTo>
                  <a:lnTo>
                    <a:pt x="46" y="164"/>
                  </a:lnTo>
                  <a:lnTo>
                    <a:pt x="32" y="149"/>
                  </a:lnTo>
                  <a:lnTo>
                    <a:pt x="23" y="131"/>
                  </a:lnTo>
                  <a:lnTo>
                    <a:pt x="16" y="108"/>
                  </a:lnTo>
                  <a:lnTo>
                    <a:pt x="9" y="87"/>
                  </a:lnTo>
                  <a:lnTo>
                    <a:pt x="6" y="66"/>
                  </a:lnTo>
                  <a:lnTo>
                    <a:pt x="2" y="49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6"/>
                  </a:lnTo>
                  <a:lnTo>
                    <a:pt x="9" y="12"/>
                  </a:lnTo>
                  <a:lnTo>
                    <a:pt x="13" y="12"/>
                  </a:lnTo>
                  <a:lnTo>
                    <a:pt x="20" y="10"/>
                  </a:lnTo>
                  <a:lnTo>
                    <a:pt x="28" y="14"/>
                  </a:lnTo>
                  <a:lnTo>
                    <a:pt x="32" y="19"/>
                  </a:lnTo>
                  <a:lnTo>
                    <a:pt x="34" y="31"/>
                  </a:lnTo>
                  <a:lnTo>
                    <a:pt x="37" y="51"/>
                  </a:lnTo>
                  <a:lnTo>
                    <a:pt x="41" y="82"/>
                  </a:lnTo>
                  <a:lnTo>
                    <a:pt x="48" y="112"/>
                  </a:lnTo>
                  <a:lnTo>
                    <a:pt x="55" y="135"/>
                  </a:lnTo>
                  <a:lnTo>
                    <a:pt x="58" y="142"/>
                  </a:lnTo>
                  <a:lnTo>
                    <a:pt x="63" y="145"/>
                  </a:lnTo>
                  <a:lnTo>
                    <a:pt x="69" y="147"/>
                  </a:lnTo>
                  <a:lnTo>
                    <a:pt x="72" y="147"/>
                  </a:lnTo>
                  <a:lnTo>
                    <a:pt x="77" y="145"/>
                  </a:lnTo>
                  <a:lnTo>
                    <a:pt x="83" y="140"/>
                  </a:lnTo>
                  <a:lnTo>
                    <a:pt x="97" y="126"/>
                  </a:lnTo>
                  <a:lnTo>
                    <a:pt x="109" y="105"/>
                  </a:lnTo>
                  <a:lnTo>
                    <a:pt x="123" y="77"/>
                  </a:lnTo>
                  <a:lnTo>
                    <a:pt x="133" y="42"/>
                  </a:lnTo>
                  <a:lnTo>
                    <a:pt x="135" y="23"/>
                  </a:lnTo>
                  <a:lnTo>
                    <a:pt x="139" y="9"/>
                  </a:lnTo>
                  <a:lnTo>
                    <a:pt x="144" y="0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8"/>
            <p:cNvSpPr>
              <a:spLocks/>
            </p:cNvSpPr>
            <p:nvPr userDrawn="1"/>
          </p:nvSpPr>
          <p:spPr bwMode="auto">
            <a:xfrm>
              <a:off x="9853613" y="5240338"/>
              <a:ext cx="217488" cy="314325"/>
            </a:xfrm>
            <a:custGeom>
              <a:avLst/>
              <a:gdLst>
                <a:gd name="T0" fmla="*/ 105 w 137"/>
                <a:gd name="T1" fmla="*/ 0 h 198"/>
                <a:gd name="T2" fmla="*/ 119 w 137"/>
                <a:gd name="T3" fmla="*/ 0 h 198"/>
                <a:gd name="T4" fmla="*/ 128 w 137"/>
                <a:gd name="T5" fmla="*/ 5 h 198"/>
                <a:gd name="T6" fmla="*/ 135 w 137"/>
                <a:gd name="T7" fmla="*/ 14 h 198"/>
                <a:gd name="T8" fmla="*/ 137 w 137"/>
                <a:gd name="T9" fmla="*/ 32 h 198"/>
                <a:gd name="T10" fmla="*/ 135 w 137"/>
                <a:gd name="T11" fmla="*/ 46 h 198"/>
                <a:gd name="T12" fmla="*/ 132 w 137"/>
                <a:gd name="T13" fmla="*/ 58 h 198"/>
                <a:gd name="T14" fmla="*/ 126 w 137"/>
                <a:gd name="T15" fmla="*/ 68 h 198"/>
                <a:gd name="T16" fmla="*/ 118 w 137"/>
                <a:gd name="T17" fmla="*/ 74 h 198"/>
                <a:gd name="T18" fmla="*/ 107 w 137"/>
                <a:gd name="T19" fmla="*/ 75 h 198"/>
                <a:gd name="T20" fmla="*/ 104 w 137"/>
                <a:gd name="T21" fmla="*/ 74 h 198"/>
                <a:gd name="T22" fmla="*/ 102 w 137"/>
                <a:gd name="T23" fmla="*/ 72 h 198"/>
                <a:gd name="T24" fmla="*/ 102 w 137"/>
                <a:gd name="T25" fmla="*/ 68 h 198"/>
                <a:gd name="T26" fmla="*/ 102 w 137"/>
                <a:gd name="T27" fmla="*/ 67 h 198"/>
                <a:gd name="T28" fmla="*/ 104 w 137"/>
                <a:gd name="T29" fmla="*/ 63 h 198"/>
                <a:gd name="T30" fmla="*/ 105 w 137"/>
                <a:gd name="T31" fmla="*/ 58 h 198"/>
                <a:gd name="T32" fmla="*/ 105 w 137"/>
                <a:gd name="T33" fmla="*/ 49 h 198"/>
                <a:gd name="T34" fmla="*/ 107 w 137"/>
                <a:gd name="T35" fmla="*/ 39 h 198"/>
                <a:gd name="T36" fmla="*/ 104 w 137"/>
                <a:gd name="T37" fmla="*/ 30 h 198"/>
                <a:gd name="T38" fmla="*/ 98 w 137"/>
                <a:gd name="T39" fmla="*/ 26 h 198"/>
                <a:gd name="T40" fmla="*/ 88 w 137"/>
                <a:gd name="T41" fmla="*/ 28 h 198"/>
                <a:gd name="T42" fmla="*/ 77 w 137"/>
                <a:gd name="T43" fmla="*/ 37 h 198"/>
                <a:gd name="T44" fmla="*/ 69 w 137"/>
                <a:gd name="T45" fmla="*/ 54 h 198"/>
                <a:gd name="T46" fmla="*/ 58 w 137"/>
                <a:gd name="T47" fmla="*/ 75 h 198"/>
                <a:gd name="T48" fmla="*/ 53 w 137"/>
                <a:gd name="T49" fmla="*/ 103 h 198"/>
                <a:gd name="T50" fmla="*/ 51 w 137"/>
                <a:gd name="T51" fmla="*/ 117 h 198"/>
                <a:gd name="T52" fmla="*/ 51 w 137"/>
                <a:gd name="T53" fmla="*/ 131 h 198"/>
                <a:gd name="T54" fmla="*/ 51 w 137"/>
                <a:gd name="T55" fmla="*/ 149 h 198"/>
                <a:gd name="T56" fmla="*/ 55 w 137"/>
                <a:gd name="T57" fmla="*/ 175 h 198"/>
                <a:gd name="T58" fmla="*/ 56 w 137"/>
                <a:gd name="T59" fmla="*/ 182 h 198"/>
                <a:gd name="T60" fmla="*/ 56 w 137"/>
                <a:gd name="T61" fmla="*/ 189 h 198"/>
                <a:gd name="T62" fmla="*/ 55 w 137"/>
                <a:gd name="T63" fmla="*/ 193 h 198"/>
                <a:gd name="T64" fmla="*/ 55 w 137"/>
                <a:gd name="T65" fmla="*/ 196 h 198"/>
                <a:gd name="T66" fmla="*/ 53 w 137"/>
                <a:gd name="T67" fmla="*/ 198 h 198"/>
                <a:gd name="T68" fmla="*/ 49 w 137"/>
                <a:gd name="T69" fmla="*/ 198 h 198"/>
                <a:gd name="T70" fmla="*/ 46 w 137"/>
                <a:gd name="T71" fmla="*/ 198 h 198"/>
                <a:gd name="T72" fmla="*/ 41 w 137"/>
                <a:gd name="T73" fmla="*/ 198 h 198"/>
                <a:gd name="T74" fmla="*/ 35 w 137"/>
                <a:gd name="T75" fmla="*/ 196 h 198"/>
                <a:gd name="T76" fmla="*/ 32 w 137"/>
                <a:gd name="T77" fmla="*/ 194 h 198"/>
                <a:gd name="T78" fmla="*/ 28 w 137"/>
                <a:gd name="T79" fmla="*/ 191 h 198"/>
                <a:gd name="T80" fmla="*/ 27 w 137"/>
                <a:gd name="T81" fmla="*/ 186 h 198"/>
                <a:gd name="T82" fmla="*/ 14 w 137"/>
                <a:gd name="T83" fmla="*/ 138 h 198"/>
                <a:gd name="T84" fmla="*/ 7 w 137"/>
                <a:gd name="T85" fmla="*/ 93 h 198"/>
                <a:gd name="T86" fmla="*/ 2 w 137"/>
                <a:gd name="T87" fmla="*/ 49 h 198"/>
                <a:gd name="T88" fmla="*/ 0 w 137"/>
                <a:gd name="T89" fmla="*/ 14 h 198"/>
                <a:gd name="T90" fmla="*/ 0 w 137"/>
                <a:gd name="T91" fmla="*/ 9 h 198"/>
                <a:gd name="T92" fmla="*/ 4 w 137"/>
                <a:gd name="T93" fmla="*/ 5 h 198"/>
                <a:gd name="T94" fmla="*/ 7 w 137"/>
                <a:gd name="T95" fmla="*/ 4 h 198"/>
                <a:gd name="T96" fmla="*/ 11 w 137"/>
                <a:gd name="T97" fmla="*/ 2 h 198"/>
                <a:gd name="T98" fmla="*/ 14 w 137"/>
                <a:gd name="T99" fmla="*/ 2 h 198"/>
                <a:gd name="T100" fmla="*/ 18 w 137"/>
                <a:gd name="T101" fmla="*/ 4 h 198"/>
                <a:gd name="T102" fmla="*/ 21 w 137"/>
                <a:gd name="T103" fmla="*/ 4 h 198"/>
                <a:gd name="T104" fmla="*/ 25 w 137"/>
                <a:gd name="T105" fmla="*/ 7 h 198"/>
                <a:gd name="T106" fmla="*/ 27 w 137"/>
                <a:gd name="T107" fmla="*/ 12 h 198"/>
                <a:gd name="T108" fmla="*/ 30 w 137"/>
                <a:gd name="T109" fmla="*/ 28 h 198"/>
                <a:gd name="T110" fmla="*/ 34 w 137"/>
                <a:gd name="T111" fmla="*/ 47 h 198"/>
                <a:gd name="T112" fmla="*/ 37 w 137"/>
                <a:gd name="T113" fmla="*/ 68 h 198"/>
                <a:gd name="T114" fmla="*/ 44 w 137"/>
                <a:gd name="T115" fmla="*/ 49 h 198"/>
                <a:gd name="T116" fmla="*/ 55 w 137"/>
                <a:gd name="T117" fmla="*/ 32 h 198"/>
                <a:gd name="T118" fmla="*/ 67 w 137"/>
                <a:gd name="T119" fmla="*/ 16 h 198"/>
                <a:gd name="T120" fmla="*/ 84 w 137"/>
                <a:gd name="T121" fmla="*/ 5 h 198"/>
                <a:gd name="T122" fmla="*/ 105 w 137"/>
                <a:gd name="T12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" h="198">
                  <a:moveTo>
                    <a:pt x="105" y="0"/>
                  </a:moveTo>
                  <a:lnTo>
                    <a:pt x="119" y="0"/>
                  </a:lnTo>
                  <a:lnTo>
                    <a:pt x="128" y="5"/>
                  </a:lnTo>
                  <a:lnTo>
                    <a:pt x="135" y="14"/>
                  </a:lnTo>
                  <a:lnTo>
                    <a:pt x="137" y="32"/>
                  </a:lnTo>
                  <a:lnTo>
                    <a:pt x="135" y="46"/>
                  </a:lnTo>
                  <a:lnTo>
                    <a:pt x="132" y="58"/>
                  </a:lnTo>
                  <a:lnTo>
                    <a:pt x="126" y="68"/>
                  </a:lnTo>
                  <a:lnTo>
                    <a:pt x="118" y="74"/>
                  </a:lnTo>
                  <a:lnTo>
                    <a:pt x="107" y="75"/>
                  </a:lnTo>
                  <a:lnTo>
                    <a:pt x="104" y="74"/>
                  </a:lnTo>
                  <a:lnTo>
                    <a:pt x="102" y="72"/>
                  </a:lnTo>
                  <a:lnTo>
                    <a:pt x="102" y="68"/>
                  </a:lnTo>
                  <a:lnTo>
                    <a:pt x="102" y="67"/>
                  </a:lnTo>
                  <a:lnTo>
                    <a:pt x="104" y="63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7" y="39"/>
                  </a:lnTo>
                  <a:lnTo>
                    <a:pt x="104" y="30"/>
                  </a:lnTo>
                  <a:lnTo>
                    <a:pt x="98" y="26"/>
                  </a:lnTo>
                  <a:lnTo>
                    <a:pt x="88" y="28"/>
                  </a:lnTo>
                  <a:lnTo>
                    <a:pt x="77" y="37"/>
                  </a:lnTo>
                  <a:lnTo>
                    <a:pt x="69" y="54"/>
                  </a:lnTo>
                  <a:lnTo>
                    <a:pt x="58" y="75"/>
                  </a:lnTo>
                  <a:lnTo>
                    <a:pt x="53" y="103"/>
                  </a:lnTo>
                  <a:lnTo>
                    <a:pt x="51" y="117"/>
                  </a:lnTo>
                  <a:lnTo>
                    <a:pt x="51" y="131"/>
                  </a:lnTo>
                  <a:lnTo>
                    <a:pt x="51" y="149"/>
                  </a:lnTo>
                  <a:lnTo>
                    <a:pt x="55" y="175"/>
                  </a:lnTo>
                  <a:lnTo>
                    <a:pt x="56" y="182"/>
                  </a:lnTo>
                  <a:lnTo>
                    <a:pt x="56" y="189"/>
                  </a:lnTo>
                  <a:lnTo>
                    <a:pt x="55" y="193"/>
                  </a:lnTo>
                  <a:lnTo>
                    <a:pt x="55" y="196"/>
                  </a:lnTo>
                  <a:lnTo>
                    <a:pt x="53" y="198"/>
                  </a:lnTo>
                  <a:lnTo>
                    <a:pt x="49" y="198"/>
                  </a:lnTo>
                  <a:lnTo>
                    <a:pt x="46" y="198"/>
                  </a:lnTo>
                  <a:lnTo>
                    <a:pt x="41" y="198"/>
                  </a:lnTo>
                  <a:lnTo>
                    <a:pt x="35" y="196"/>
                  </a:lnTo>
                  <a:lnTo>
                    <a:pt x="32" y="194"/>
                  </a:lnTo>
                  <a:lnTo>
                    <a:pt x="28" y="191"/>
                  </a:lnTo>
                  <a:lnTo>
                    <a:pt x="27" y="186"/>
                  </a:lnTo>
                  <a:lnTo>
                    <a:pt x="14" y="138"/>
                  </a:lnTo>
                  <a:lnTo>
                    <a:pt x="7" y="93"/>
                  </a:lnTo>
                  <a:lnTo>
                    <a:pt x="2" y="49"/>
                  </a:lnTo>
                  <a:lnTo>
                    <a:pt x="0" y="14"/>
                  </a:lnTo>
                  <a:lnTo>
                    <a:pt x="0" y="9"/>
                  </a:lnTo>
                  <a:lnTo>
                    <a:pt x="4" y="5"/>
                  </a:lnTo>
                  <a:lnTo>
                    <a:pt x="7" y="4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8" y="4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28"/>
                  </a:lnTo>
                  <a:lnTo>
                    <a:pt x="34" y="47"/>
                  </a:lnTo>
                  <a:lnTo>
                    <a:pt x="37" y="68"/>
                  </a:lnTo>
                  <a:lnTo>
                    <a:pt x="44" y="49"/>
                  </a:lnTo>
                  <a:lnTo>
                    <a:pt x="55" y="32"/>
                  </a:lnTo>
                  <a:lnTo>
                    <a:pt x="67" y="16"/>
                  </a:lnTo>
                  <a:lnTo>
                    <a:pt x="84" y="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59"/>
            <p:cNvSpPr>
              <a:spLocks noEditPoints="1"/>
            </p:cNvSpPr>
            <p:nvPr userDrawn="1"/>
          </p:nvSpPr>
          <p:spPr bwMode="auto">
            <a:xfrm>
              <a:off x="10059988" y="5268913"/>
              <a:ext cx="266700" cy="285750"/>
            </a:xfrm>
            <a:custGeom>
              <a:avLst/>
              <a:gdLst>
                <a:gd name="T0" fmla="*/ 110 w 168"/>
                <a:gd name="T1" fmla="*/ 26 h 180"/>
                <a:gd name="T2" fmla="*/ 84 w 168"/>
                <a:gd name="T3" fmla="*/ 42 h 180"/>
                <a:gd name="T4" fmla="*/ 59 w 168"/>
                <a:gd name="T5" fmla="*/ 68 h 180"/>
                <a:gd name="T6" fmla="*/ 51 w 168"/>
                <a:gd name="T7" fmla="*/ 87 h 180"/>
                <a:gd name="T8" fmla="*/ 86 w 168"/>
                <a:gd name="T9" fmla="*/ 80 h 180"/>
                <a:gd name="T10" fmla="*/ 124 w 168"/>
                <a:gd name="T11" fmla="*/ 59 h 180"/>
                <a:gd name="T12" fmla="*/ 138 w 168"/>
                <a:gd name="T13" fmla="*/ 35 h 180"/>
                <a:gd name="T14" fmla="*/ 124 w 168"/>
                <a:gd name="T15" fmla="*/ 22 h 180"/>
                <a:gd name="T16" fmla="*/ 134 w 168"/>
                <a:gd name="T17" fmla="*/ 1 h 180"/>
                <a:gd name="T18" fmla="*/ 162 w 168"/>
                <a:gd name="T19" fmla="*/ 22 h 180"/>
                <a:gd name="T20" fmla="*/ 164 w 168"/>
                <a:gd name="T21" fmla="*/ 57 h 180"/>
                <a:gd name="T22" fmla="*/ 136 w 168"/>
                <a:gd name="T23" fmla="*/ 87 h 180"/>
                <a:gd name="T24" fmla="*/ 91 w 168"/>
                <a:gd name="T25" fmla="*/ 108 h 180"/>
                <a:gd name="T26" fmla="*/ 51 w 168"/>
                <a:gd name="T27" fmla="*/ 115 h 180"/>
                <a:gd name="T28" fmla="*/ 59 w 168"/>
                <a:gd name="T29" fmla="*/ 138 h 180"/>
                <a:gd name="T30" fmla="*/ 93 w 168"/>
                <a:gd name="T31" fmla="*/ 155 h 180"/>
                <a:gd name="T32" fmla="*/ 138 w 168"/>
                <a:gd name="T33" fmla="*/ 150 h 180"/>
                <a:gd name="T34" fmla="*/ 148 w 168"/>
                <a:gd name="T35" fmla="*/ 147 h 180"/>
                <a:gd name="T36" fmla="*/ 155 w 168"/>
                <a:gd name="T37" fmla="*/ 148 h 180"/>
                <a:gd name="T38" fmla="*/ 157 w 168"/>
                <a:gd name="T39" fmla="*/ 154 h 180"/>
                <a:gd name="T40" fmla="*/ 154 w 168"/>
                <a:gd name="T41" fmla="*/ 162 h 180"/>
                <a:gd name="T42" fmla="*/ 147 w 168"/>
                <a:gd name="T43" fmla="*/ 171 h 180"/>
                <a:gd name="T44" fmla="*/ 117 w 168"/>
                <a:gd name="T45" fmla="*/ 180 h 180"/>
                <a:gd name="T46" fmla="*/ 66 w 168"/>
                <a:gd name="T47" fmla="*/ 175 h 180"/>
                <a:gd name="T48" fmla="*/ 28 w 168"/>
                <a:gd name="T49" fmla="*/ 145 h 180"/>
                <a:gd name="T50" fmla="*/ 19 w 168"/>
                <a:gd name="T51" fmla="*/ 112 h 180"/>
                <a:gd name="T52" fmla="*/ 5 w 168"/>
                <a:gd name="T53" fmla="*/ 105 h 180"/>
                <a:gd name="T54" fmla="*/ 0 w 168"/>
                <a:gd name="T55" fmla="*/ 98 h 180"/>
                <a:gd name="T56" fmla="*/ 2 w 168"/>
                <a:gd name="T57" fmla="*/ 91 h 180"/>
                <a:gd name="T58" fmla="*/ 9 w 168"/>
                <a:gd name="T59" fmla="*/ 84 h 180"/>
                <a:gd name="T60" fmla="*/ 23 w 168"/>
                <a:gd name="T61" fmla="*/ 80 h 180"/>
                <a:gd name="T62" fmla="*/ 51 w 168"/>
                <a:gd name="T63" fmla="*/ 35 h 180"/>
                <a:gd name="T64" fmla="*/ 91 w 168"/>
                <a:gd name="T65" fmla="*/ 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" h="180">
                  <a:moveTo>
                    <a:pt x="124" y="22"/>
                  </a:moveTo>
                  <a:lnTo>
                    <a:pt x="110" y="26"/>
                  </a:lnTo>
                  <a:lnTo>
                    <a:pt x="96" y="33"/>
                  </a:lnTo>
                  <a:lnTo>
                    <a:pt x="84" y="42"/>
                  </a:lnTo>
                  <a:lnTo>
                    <a:pt x="73" y="50"/>
                  </a:lnTo>
                  <a:lnTo>
                    <a:pt x="59" y="68"/>
                  </a:lnTo>
                  <a:lnTo>
                    <a:pt x="51" y="84"/>
                  </a:lnTo>
                  <a:lnTo>
                    <a:pt x="51" y="87"/>
                  </a:lnTo>
                  <a:lnTo>
                    <a:pt x="61" y="85"/>
                  </a:lnTo>
                  <a:lnTo>
                    <a:pt x="86" y="80"/>
                  </a:lnTo>
                  <a:lnTo>
                    <a:pt x="106" y="70"/>
                  </a:lnTo>
                  <a:lnTo>
                    <a:pt x="124" y="59"/>
                  </a:lnTo>
                  <a:lnTo>
                    <a:pt x="134" y="47"/>
                  </a:lnTo>
                  <a:lnTo>
                    <a:pt x="138" y="35"/>
                  </a:lnTo>
                  <a:lnTo>
                    <a:pt x="133" y="26"/>
                  </a:lnTo>
                  <a:lnTo>
                    <a:pt x="124" y="22"/>
                  </a:lnTo>
                  <a:close/>
                  <a:moveTo>
                    <a:pt x="113" y="0"/>
                  </a:moveTo>
                  <a:lnTo>
                    <a:pt x="134" y="1"/>
                  </a:lnTo>
                  <a:lnTo>
                    <a:pt x="154" y="10"/>
                  </a:lnTo>
                  <a:lnTo>
                    <a:pt x="162" y="22"/>
                  </a:lnTo>
                  <a:lnTo>
                    <a:pt x="168" y="38"/>
                  </a:lnTo>
                  <a:lnTo>
                    <a:pt x="164" y="57"/>
                  </a:lnTo>
                  <a:lnTo>
                    <a:pt x="154" y="71"/>
                  </a:lnTo>
                  <a:lnTo>
                    <a:pt x="136" y="87"/>
                  </a:lnTo>
                  <a:lnTo>
                    <a:pt x="115" y="99"/>
                  </a:lnTo>
                  <a:lnTo>
                    <a:pt x="91" y="108"/>
                  </a:lnTo>
                  <a:lnTo>
                    <a:pt x="68" y="113"/>
                  </a:lnTo>
                  <a:lnTo>
                    <a:pt x="51" y="115"/>
                  </a:lnTo>
                  <a:lnTo>
                    <a:pt x="51" y="122"/>
                  </a:lnTo>
                  <a:lnTo>
                    <a:pt x="59" y="138"/>
                  </a:lnTo>
                  <a:lnTo>
                    <a:pt x="73" y="148"/>
                  </a:lnTo>
                  <a:lnTo>
                    <a:pt x="93" y="155"/>
                  </a:lnTo>
                  <a:lnTo>
                    <a:pt x="113" y="155"/>
                  </a:lnTo>
                  <a:lnTo>
                    <a:pt x="138" y="150"/>
                  </a:lnTo>
                  <a:lnTo>
                    <a:pt x="143" y="148"/>
                  </a:lnTo>
                  <a:lnTo>
                    <a:pt x="148" y="147"/>
                  </a:lnTo>
                  <a:lnTo>
                    <a:pt x="152" y="147"/>
                  </a:lnTo>
                  <a:lnTo>
                    <a:pt x="155" y="148"/>
                  </a:lnTo>
                  <a:lnTo>
                    <a:pt x="157" y="150"/>
                  </a:lnTo>
                  <a:lnTo>
                    <a:pt x="157" y="154"/>
                  </a:lnTo>
                  <a:lnTo>
                    <a:pt x="157" y="159"/>
                  </a:lnTo>
                  <a:lnTo>
                    <a:pt x="154" y="162"/>
                  </a:lnTo>
                  <a:lnTo>
                    <a:pt x="152" y="168"/>
                  </a:lnTo>
                  <a:lnTo>
                    <a:pt x="147" y="171"/>
                  </a:lnTo>
                  <a:lnTo>
                    <a:pt x="143" y="173"/>
                  </a:lnTo>
                  <a:lnTo>
                    <a:pt x="117" y="180"/>
                  </a:lnTo>
                  <a:lnTo>
                    <a:pt x="91" y="180"/>
                  </a:lnTo>
                  <a:lnTo>
                    <a:pt x="66" y="175"/>
                  </a:lnTo>
                  <a:lnTo>
                    <a:pt x="45" y="162"/>
                  </a:lnTo>
                  <a:lnTo>
                    <a:pt x="28" y="145"/>
                  </a:lnTo>
                  <a:lnTo>
                    <a:pt x="21" y="126"/>
                  </a:lnTo>
                  <a:lnTo>
                    <a:pt x="19" y="112"/>
                  </a:lnTo>
                  <a:lnTo>
                    <a:pt x="10" y="110"/>
                  </a:lnTo>
                  <a:lnTo>
                    <a:pt x="5" y="105"/>
                  </a:lnTo>
                  <a:lnTo>
                    <a:pt x="2" y="101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2" y="91"/>
                  </a:lnTo>
                  <a:lnTo>
                    <a:pt x="3" y="87"/>
                  </a:lnTo>
                  <a:lnTo>
                    <a:pt x="9" y="84"/>
                  </a:lnTo>
                  <a:lnTo>
                    <a:pt x="21" y="85"/>
                  </a:lnTo>
                  <a:lnTo>
                    <a:pt x="23" y="80"/>
                  </a:lnTo>
                  <a:lnTo>
                    <a:pt x="33" y="57"/>
                  </a:lnTo>
                  <a:lnTo>
                    <a:pt x="51" y="35"/>
                  </a:lnTo>
                  <a:lnTo>
                    <a:pt x="70" y="19"/>
                  </a:lnTo>
                  <a:lnTo>
                    <a:pt x="91" y="7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Bloem_rechts"/>
          <p:cNvSpPr>
            <a:spLocks noGrp="1"/>
          </p:cNvSpPr>
          <p:nvPr>
            <p:ph type="body" sz="quarter" idx="18" hasCustomPrompt="1"/>
          </p:nvPr>
        </p:nvSpPr>
        <p:spPr>
          <a:xfrm>
            <a:off x="6492667" y="5546816"/>
            <a:ext cx="1266434" cy="1314267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5" name="Bloem_links"/>
          <p:cNvSpPr>
            <a:spLocks noGrp="1"/>
          </p:cNvSpPr>
          <p:nvPr>
            <p:ph type="body" sz="quarter" idx="17" hasCustomPrompt="1"/>
          </p:nvPr>
        </p:nvSpPr>
        <p:spPr>
          <a:xfrm>
            <a:off x="573995" y="4835398"/>
            <a:ext cx="1251199" cy="1781749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2" name="Graspol_rechts"/>
          <p:cNvSpPr>
            <a:spLocks noGrp="1"/>
          </p:cNvSpPr>
          <p:nvPr>
            <p:ph type="body" sz="quarter" idx="16" hasCustomPrompt="1"/>
          </p:nvPr>
        </p:nvSpPr>
        <p:spPr>
          <a:xfrm>
            <a:off x="10255456" y="5472217"/>
            <a:ext cx="1953039" cy="994887"/>
          </a:xfr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7" name="Graspol_links"/>
          <p:cNvSpPr>
            <a:spLocks noGrp="1"/>
          </p:cNvSpPr>
          <p:nvPr>
            <p:ph type="body" sz="quarter" idx="15" hasCustomPrompt="1"/>
          </p:nvPr>
        </p:nvSpPr>
        <p:spPr>
          <a:xfrm>
            <a:off x="-9938" y="5025895"/>
            <a:ext cx="1499778" cy="1335609"/>
          </a:xfr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6" name="Gras_voor"/>
          <p:cNvSpPr>
            <a:spLocks noGrp="1"/>
          </p:cNvSpPr>
          <p:nvPr>
            <p:ph type="body" sz="quarter" idx="14" hasCustomPrompt="1"/>
          </p:nvPr>
        </p:nvSpPr>
        <p:spPr>
          <a:xfrm>
            <a:off x="-9525" y="5287366"/>
            <a:ext cx="12199938" cy="1570634"/>
          </a:xfr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Bloem_blur"/>
          <p:cNvSpPr>
            <a:spLocks noGrp="1"/>
          </p:cNvSpPr>
          <p:nvPr>
            <p:ph type="body" sz="quarter" idx="13" hasCustomPrompt="1"/>
          </p:nvPr>
        </p:nvSpPr>
        <p:spPr>
          <a:xfrm>
            <a:off x="-9525" y="4940168"/>
            <a:ext cx="12199938" cy="1917832"/>
          </a:xfr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9" name="Tekstvak 118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Gras dia - Leeg</a:t>
            </a:r>
          </a:p>
        </p:txBody>
      </p:sp>
      <p:grpSp>
        <p:nvGrpSpPr>
          <p:cNvPr id="92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</p:grpSpPr>
        <p:sp>
          <p:nvSpPr>
            <p:cNvPr id="93" name="Rechthoek 92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hthoek 95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hthoek 96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hthoek 98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hthoek 127"/>
            <p:cNvSpPr/>
            <p:nvPr userDrawn="1"/>
          </p:nvSpPr>
          <p:spPr>
            <a:xfrm>
              <a:off x="0" y="5812900"/>
              <a:ext cx="12192000" cy="39493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hthoek 128"/>
            <p:cNvSpPr/>
            <p:nvPr userDrawn="1"/>
          </p:nvSpPr>
          <p:spPr>
            <a:xfrm>
              <a:off x="0" y="1792697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hthoek 130"/>
            <p:cNvSpPr/>
            <p:nvPr userDrawn="1"/>
          </p:nvSpPr>
          <p:spPr>
            <a:xfrm rot="16200000">
              <a:off x="-2698771" y="2698774"/>
              <a:ext cx="6853368" cy="1455824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hthoek 132"/>
            <p:cNvSpPr/>
            <p:nvPr userDrawn="1"/>
          </p:nvSpPr>
          <p:spPr>
            <a:xfrm rot="16200000">
              <a:off x="-172425" y="3331240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hthoek 133"/>
            <p:cNvSpPr/>
            <p:nvPr userDrawn="1"/>
          </p:nvSpPr>
          <p:spPr>
            <a:xfrm rot="16200000">
              <a:off x="1721455" y="3331240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hthoek 134"/>
            <p:cNvSpPr/>
            <p:nvPr userDrawn="1"/>
          </p:nvSpPr>
          <p:spPr>
            <a:xfrm rot="16200000">
              <a:off x="3615335" y="3331240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hthoek 135"/>
            <p:cNvSpPr/>
            <p:nvPr userDrawn="1"/>
          </p:nvSpPr>
          <p:spPr>
            <a:xfrm rot="16200000">
              <a:off x="5509215" y="3331241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hthoek 136"/>
            <p:cNvSpPr/>
            <p:nvPr userDrawn="1"/>
          </p:nvSpPr>
          <p:spPr>
            <a:xfrm rot="16200000">
              <a:off x="8035560" y="2698774"/>
              <a:ext cx="6853368" cy="1455824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4" name="Titel 1"/>
          <p:cNvSpPr>
            <a:spLocks noGrp="1"/>
          </p:cNvSpPr>
          <p:nvPr>
            <p:ph type="title"/>
          </p:nvPr>
        </p:nvSpPr>
        <p:spPr>
          <a:xfrm>
            <a:off x="3355097" y="1105533"/>
            <a:ext cx="8304409" cy="47542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730379"/>
      </p:ext>
    </p:extLst>
  </p:cSld>
  <p:clrMapOvr>
    <a:masterClrMapping/>
  </p:clrMapOvr>
  <p:transition xmlns:p14="http://schemas.microsoft.com/office/powerpoint/2010/main"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nu dia - Met anima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732" y="-1700079"/>
            <a:ext cx="12213464" cy="8548815"/>
          </a:xfrm>
          <a:prstGeom prst="rect">
            <a:avLst/>
          </a:prstGeom>
        </p:spPr>
      </p:pic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B4BF80-E8C3-45A7-8D8B-5648D7B98031}" type="datetime1">
              <a:rPr lang="en-US" smtClean="0"/>
              <a:t>6/10/18</a:t>
            </a:fld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Gras_achter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7" y="2523753"/>
            <a:ext cx="12208496" cy="3943351"/>
          </a:xfrm>
          <a:prstGeom prst="rect">
            <a:avLst/>
          </a:prstGeom>
        </p:spPr>
      </p:pic>
      <p:sp>
        <p:nvSpPr>
          <p:cNvPr id="118" name="Ovaal 117"/>
          <p:cNvSpPr/>
          <p:nvPr userDrawn="1"/>
        </p:nvSpPr>
        <p:spPr>
          <a:xfrm>
            <a:off x="-1451082" y="-1719824"/>
            <a:ext cx="5289958" cy="5289958"/>
          </a:xfrm>
          <a:prstGeom prst="ellipse">
            <a:avLst/>
          </a:prstGeom>
          <a:solidFill>
            <a:schemeClr val="bg1">
              <a:alpha val="63000"/>
            </a:schemeClr>
          </a:solidFill>
          <a:ln>
            <a:noFill/>
          </a:ln>
          <a:effectLst>
            <a:softEdge rad="838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6-puntige ster 7"/>
          <p:cNvSpPr/>
          <p:nvPr userDrawn="1"/>
        </p:nvSpPr>
        <p:spPr>
          <a:xfrm rot="20040497">
            <a:off x="-3464863" y="-4112032"/>
            <a:ext cx="9068687" cy="9889645"/>
          </a:xfrm>
          <a:prstGeom prst="star6">
            <a:avLst>
              <a:gd name="adj" fmla="val 7354"/>
              <a:gd name="hf" fmla="val 115470"/>
            </a:avLst>
          </a:prstGeom>
          <a:solidFill>
            <a:schemeClr val="bg1">
              <a:alpha val="80000"/>
            </a:schemeClr>
          </a:solidFill>
          <a:ln>
            <a:noFill/>
          </a:ln>
          <a:effectLst>
            <a:softEdge rad="215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13" name="Lensflare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249" y="-1457264"/>
            <a:ext cx="4008747" cy="6320589"/>
          </a:xfrm>
          <a:prstGeom prst="rect">
            <a:avLst/>
          </a:prstGeom>
        </p:spPr>
      </p:pic>
      <p:grpSp>
        <p:nvGrpSpPr>
          <p:cNvPr id="35" name="Logo"/>
          <p:cNvGrpSpPr/>
          <p:nvPr userDrawn="1"/>
        </p:nvGrpSpPr>
        <p:grpSpPr>
          <a:xfrm>
            <a:off x="536692" y="543619"/>
            <a:ext cx="2189507" cy="1159485"/>
            <a:chOff x="1516063" y="1006475"/>
            <a:chExt cx="9155113" cy="4848225"/>
          </a:xfrm>
        </p:grpSpPr>
        <p:sp>
          <p:nvSpPr>
            <p:cNvPr id="36" name="Freeform 6"/>
            <p:cNvSpPr>
              <a:spLocks/>
            </p:cNvSpPr>
            <p:nvPr userDrawn="1"/>
          </p:nvSpPr>
          <p:spPr bwMode="auto">
            <a:xfrm>
              <a:off x="5629276" y="4187825"/>
              <a:ext cx="406400" cy="471488"/>
            </a:xfrm>
            <a:custGeom>
              <a:avLst/>
              <a:gdLst>
                <a:gd name="T0" fmla="*/ 131 w 256"/>
                <a:gd name="T1" fmla="*/ 0 h 297"/>
                <a:gd name="T2" fmla="*/ 163 w 256"/>
                <a:gd name="T3" fmla="*/ 3 h 297"/>
                <a:gd name="T4" fmla="*/ 191 w 256"/>
                <a:gd name="T5" fmla="*/ 14 h 297"/>
                <a:gd name="T6" fmla="*/ 212 w 256"/>
                <a:gd name="T7" fmla="*/ 28 h 297"/>
                <a:gd name="T8" fmla="*/ 231 w 256"/>
                <a:gd name="T9" fmla="*/ 47 h 297"/>
                <a:gd name="T10" fmla="*/ 243 w 256"/>
                <a:gd name="T11" fmla="*/ 70 h 297"/>
                <a:gd name="T12" fmla="*/ 252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3 w 256"/>
                <a:gd name="T21" fmla="*/ 297 h 297"/>
                <a:gd name="T22" fmla="*/ 173 w 256"/>
                <a:gd name="T23" fmla="*/ 140 h 297"/>
                <a:gd name="T24" fmla="*/ 173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1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1" y="0"/>
                  </a:moveTo>
                  <a:lnTo>
                    <a:pt x="163" y="3"/>
                  </a:lnTo>
                  <a:lnTo>
                    <a:pt x="191" y="14"/>
                  </a:lnTo>
                  <a:lnTo>
                    <a:pt x="212" y="28"/>
                  </a:lnTo>
                  <a:lnTo>
                    <a:pt x="231" y="47"/>
                  </a:lnTo>
                  <a:lnTo>
                    <a:pt x="243" y="70"/>
                  </a:lnTo>
                  <a:lnTo>
                    <a:pt x="252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8863013" y="4187825"/>
              <a:ext cx="406400" cy="471488"/>
            </a:xfrm>
            <a:custGeom>
              <a:avLst/>
              <a:gdLst>
                <a:gd name="T0" fmla="*/ 130 w 256"/>
                <a:gd name="T1" fmla="*/ 0 h 297"/>
                <a:gd name="T2" fmla="*/ 163 w 256"/>
                <a:gd name="T3" fmla="*/ 3 h 297"/>
                <a:gd name="T4" fmla="*/ 189 w 256"/>
                <a:gd name="T5" fmla="*/ 14 h 297"/>
                <a:gd name="T6" fmla="*/ 212 w 256"/>
                <a:gd name="T7" fmla="*/ 28 h 297"/>
                <a:gd name="T8" fmla="*/ 229 w 256"/>
                <a:gd name="T9" fmla="*/ 47 h 297"/>
                <a:gd name="T10" fmla="*/ 243 w 256"/>
                <a:gd name="T11" fmla="*/ 70 h 297"/>
                <a:gd name="T12" fmla="*/ 250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2 w 256"/>
                <a:gd name="T21" fmla="*/ 297 h 297"/>
                <a:gd name="T22" fmla="*/ 173 w 256"/>
                <a:gd name="T23" fmla="*/ 140 h 297"/>
                <a:gd name="T24" fmla="*/ 172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0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0" y="0"/>
                  </a:moveTo>
                  <a:lnTo>
                    <a:pt x="163" y="3"/>
                  </a:lnTo>
                  <a:lnTo>
                    <a:pt x="189" y="14"/>
                  </a:lnTo>
                  <a:lnTo>
                    <a:pt x="212" y="28"/>
                  </a:lnTo>
                  <a:lnTo>
                    <a:pt x="229" y="47"/>
                  </a:lnTo>
                  <a:lnTo>
                    <a:pt x="243" y="70"/>
                  </a:lnTo>
                  <a:lnTo>
                    <a:pt x="250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2" y="297"/>
                  </a:lnTo>
                  <a:lnTo>
                    <a:pt x="173" y="140"/>
                  </a:lnTo>
                  <a:lnTo>
                    <a:pt x="172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/>
            <p:cNvSpPr>
              <a:spLocks noEditPoints="1"/>
            </p:cNvSpPr>
            <p:nvPr userDrawn="1"/>
          </p:nvSpPr>
          <p:spPr bwMode="auto">
            <a:xfrm>
              <a:off x="5153026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2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1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8 w 253"/>
                <a:gd name="T51" fmla="*/ 295 h 299"/>
                <a:gd name="T52" fmla="*/ 188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6 w 253"/>
                <a:gd name="T61" fmla="*/ 280 h 299"/>
                <a:gd name="T62" fmla="*/ 167 w 253"/>
                <a:gd name="T63" fmla="*/ 287 h 299"/>
                <a:gd name="T64" fmla="*/ 155 w 253"/>
                <a:gd name="T65" fmla="*/ 292 h 299"/>
                <a:gd name="T66" fmla="*/ 139 w 253"/>
                <a:gd name="T67" fmla="*/ 297 h 299"/>
                <a:gd name="T68" fmla="*/ 118 w 253"/>
                <a:gd name="T69" fmla="*/ 299 h 299"/>
                <a:gd name="T70" fmla="*/ 87 w 253"/>
                <a:gd name="T71" fmla="*/ 294 h 299"/>
                <a:gd name="T72" fmla="*/ 59 w 253"/>
                <a:gd name="T73" fmla="*/ 278 h 299"/>
                <a:gd name="T74" fmla="*/ 34 w 253"/>
                <a:gd name="T75" fmla="*/ 253 h 299"/>
                <a:gd name="T76" fmla="*/ 15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7 w 253"/>
                <a:gd name="T87" fmla="*/ 57 h 299"/>
                <a:gd name="T88" fmla="*/ 48 w 253"/>
                <a:gd name="T89" fmla="*/ 36 h 299"/>
                <a:gd name="T90" fmla="*/ 71 w 253"/>
                <a:gd name="T91" fmla="*/ 21 h 299"/>
                <a:gd name="T92" fmla="*/ 97 w 253"/>
                <a:gd name="T93" fmla="*/ 8 h 299"/>
                <a:gd name="T94" fmla="*/ 125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2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1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8" y="295"/>
                  </a:lnTo>
                  <a:lnTo>
                    <a:pt x="188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6" y="280"/>
                  </a:lnTo>
                  <a:lnTo>
                    <a:pt x="167" y="287"/>
                  </a:lnTo>
                  <a:lnTo>
                    <a:pt x="155" y="292"/>
                  </a:lnTo>
                  <a:lnTo>
                    <a:pt x="139" y="297"/>
                  </a:lnTo>
                  <a:lnTo>
                    <a:pt x="118" y="299"/>
                  </a:lnTo>
                  <a:lnTo>
                    <a:pt x="87" y="294"/>
                  </a:lnTo>
                  <a:lnTo>
                    <a:pt x="59" y="278"/>
                  </a:lnTo>
                  <a:lnTo>
                    <a:pt x="34" y="253"/>
                  </a:lnTo>
                  <a:lnTo>
                    <a:pt x="15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7" y="57"/>
                  </a:lnTo>
                  <a:lnTo>
                    <a:pt x="48" y="36"/>
                  </a:lnTo>
                  <a:lnTo>
                    <a:pt x="71" y="21"/>
                  </a:lnTo>
                  <a:lnTo>
                    <a:pt x="97" y="8"/>
                  </a:lnTo>
                  <a:lnTo>
                    <a:pt x="125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/>
            <p:cNvSpPr>
              <a:spLocks noEditPoints="1"/>
            </p:cNvSpPr>
            <p:nvPr userDrawn="1"/>
          </p:nvSpPr>
          <p:spPr bwMode="auto">
            <a:xfrm>
              <a:off x="69850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9 w 253"/>
                <a:gd name="T41" fmla="*/ 5 h 299"/>
                <a:gd name="T42" fmla="*/ 234 w 253"/>
                <a:gd name="T43" fmla="*/ 10 h 299"/>
                <a:gd name="T44" fmla="*/ 253 w 253"/>
                <a:gd name="T45" fmla="*/ 15 h 299"/>
                <a:gd name="T46" fmla="*/ 253 w 253"/>
                <a:gd name="T47" fmla="*/ 295 h 299"/>
                <a:gd name="T48" fmla="*/ 190 w 253"/>
                <a:gd name="T49" fmla="*/ 295 h 299"/>
                <a:gd name="T50" fmla="*/ 190 w 253"/>
                <a:gd name="T51" fmla="*/ 295 h 299"/>
                <a:gd name="T52" fmla="*/ 188 w 253"/>
                <a:gd name="T53" fmla="*/ 292 h 299"/>
                <a:gd name="T54" fmla="*/ 187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4 w 253"/>
                <a:gd name="T61" fmla="*/ 281 h 299"/>
                <a:gd name="T62" fmla="*/ 162 w 253"/>
                <a:gd name="T63" fmla="*/ 290 h 299"/>
                <a:gd name="T64" fmla="*/ 145 w 253"/>
                <a:gd name="T65" fmla="*/ 297 h 299"/>
                <a:gd name="T66" fmla="*/ 118 w 253"/>
                <a:gd name="T67" fmla="*/ 299 h 299"/>
                <a:gd name="T68" fmla="*/ 89 w 253"/>
                <a:gd name="T69" fmla="*/ 294 h 299"/>
                <a:gd name="T70" fmla="*/ 61 w 253"/>
                <a:gd name="T71" fmla="*/ 278 h 299"/>
                <a:gd name="T72" fmla="*/ 36 w 253"/>
                <a:gd name="T73" fmla="*/ 253 h 299"/>
                <a:gd name="T74" fmla="*/ 17 w 253"/>
                <a:gd name="T75" fmla="*/ 222 h 299"/>
                <a:gd name="T76" fmla="*/ 5 w 253"/>
                <a:gd name="T77" fmla="*/ 185 h 299"/>
                <a:gd name="T78" fmla="*/ 0 w 253"/>
                <a:gd name="T79" fmla="*/ 147 h 299"/>
                <a:gd name="T80" fmla="*/ 3 w 253"/>
                <a:gd name="T81" fmla="*/ 112 h 299"/>
                <a:gd name="T82" fmla="*/ 14 w 253"/>
                <a:gd name="T83" fmla="*/ 82 h 299"/>
                <a:gd name="T84" fmla="*/ 29 w 253"/>
                <a:gd name="T85" fmla="*/ 57 h 299"/>
                <a:gd name="T86" fmla="*/ 48 w 253"/>
                <a:gd name="T87" fmla="*/ 36 h 299"/>
                <a:gd name="T88" fmla="*/ 73 w 253"/>
                <a:gd name="T89" fmla="*/ 21 h 299"/>
                <a:gd name="T90" fmla="*/ 99 w 253"/>
                <a:gd name="T91" fmla="*/ 8 h 299"/>
                <a:gd name="T92" fmla="*/ 127 w 253"/>
                <a:gd name="T93" fmla="*/ 1 h 299"/>
                <a:gd name="T94" fmla="*/ 155 w 253"/>
                <a:gd name="T95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9" y="5"/>
                  </a:lnTo>
                  <a:lnTo>
                    <a:pt x="234" y="10"/>
                  </a:lnTo>
                  <a:lnTo>
                    <a:pt x="253" y="15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90" y="295"/>
                  </a:lnTo>
                  <a:lnTo>
                    <a:pt x="188" y="292"/>
                  </a:lnTo>
                  <a:lnTo>
                    <a:pt x="187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4" y="281"/>
                  </a:lnTo>
                  <a:lnTo>
                    <a:pt x="162" y="290"/>
                  </a:lnTo>
                  <a:lnTo>
                    <a:pt x="145" y="297"/>
                  </a:lnTo>
                  <a:lnTo>
                    <a:pt x="118" y="299"/>
                  </a:lnTo>
                  <a:lnTo>
                    <a:pt x="89" y="294"/>
                  </a:lnTo>
                  <a:lnTo>
                    <a:pt x="61" y="278"/>
                  </a:lnTo>
                  <a:lnTo>
                    <a:pt x="36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9" y="57"/>
                  </a:lnTo>
                  <a:lnTo>
                    <a:pt x="48" y="36"/>
                  </a:lnTo>
                  <a:lnTo>
                    <a:pt x="73" y="21"/>
                  </a:lnTo>
                  <a:lnTo>
                    <a:pt x="99" y="8"/>
                  </a:lnTo>
                  <a:lnTo>
                    <a:pt x="127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/>
            <p:cNvSpPr>
              <a:spLocks noEditPoints="1"/>
            </p:cNvSpPr>
            <p:nvPr userDrawn="1"/>
          </p:nvSpPr>
          <p:spPr bwMode="auto">
            <a:xfrm>
              <a:off x="93218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6 w 253"/>
                <a:gd name="T21" fmla="*/ 234 h 299"/>
                <a:gd name="T22" fmla="*/ 136 w 253"/>
                <a:gd name="T23" fmla="*/ 236 h 299"/>
                <a:gd name="T24" fmla="*/ 154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2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3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9 w 253"/>
                <a:gd name="T51" fmla="*/ 295 h 299"/>
                <a:gd name="T52" fmla="*/ 189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2 w 253"/>
                <a:gd name="T59" fmla="*/ 276 h 299"/>
                <a:gd name="T60" fmla="*/ 176 w 253"/>
                <a:gd name="T61" fmla="*/ 280 h 299"/>
                <a:gd name="T62" fmla="*/ 168 w 253"/>
                <a:gd name="T63" fmla="*/ 287 h 299"/>
                <a:gd name="T64" fmla="*/ 155 w 253"/>
                <a:gd name="T65" fmla="*/ 292 h 299"/>
                <a:gd name="T66" fmla="*/ 140 w 253"/>
                <a:gd name="T67" fmla="*/ 297 h 299"/>
                <a:gd name="T68" fmla="*/ 119 w 253"/>
                <a:gd name="T69" fmla="*/ 299 h 299"/>
                <a:gd name="T70" fmla="*/ 89 w 253"/>
                <a:gd name="T71" fmla="*/ 294 h 299"/>
                <a:gd name="T72" fmla="*/ 59 w 253"/>
                <a:gd name="T73" fmla="*/ 278 h 299"/>
                <a:gd name="T74" fmla="*/ 35 w 253"/>
                <a:gd name="T75" fmla="*/ 253 h 299"/>
                <a:gd name="T76" fmla="*/ 17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8 w 253"/>
                <a:gd name="T87" fmla="*/ 57 h 299"/>
                <a:gd name="T88" fmla="*/ 49 w 253"/>
                <a:gd name="T89" fmla="*/ 36 h 299"/>
                <a:gd name="T90" fmla="*/ 71 w 253"/>
                <a:gd name="T91" fmla="*/ 21 h 299"/>
                <a:gd name="T92" fmla="*/ 98 w 253"/>
                <a:gd name="T93" fmla="*/ 8 h 299"/>
                <a:gd name="T94" fmla="*/ 126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6" y="234"/>
                  </a:lnTo>
                  <a:lnTo>
                    <a:pt x="136" y="236"/>
                  </a:lnTo>
                  <a:lnTo>
                    <a:pt x="154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2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3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9" y="295"/>
                  </a:lnTo>
                  <a:lnTo>
                    <a:pt x="189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2" y="276"/>
                  </a:lnTo>
                  <a:lnTo>
                    <a:pt x="176" y="280"/>
                  </a:lnTo>
                  <a:lnTo>
                    <a:pt x="168" y="287"/>
                  </a:lnTo>
                  <a:lnTo>
                    <a:pt x="155" y="292"/>
                  </a:lnTo>
                  <a:lnTo>
                    <a:pt x="140" y="297"/>
                  </a:lnTo>
                  <a:lnTo>
                    <a:pt x="119" y="299"/>
                  </a:lnTo>
                  <a:lnTo>
                    <a:pt x="89" y="294"/>
                  </a:lnTo>
                  <a:lnTo>
                    <a:pt x="59" y="278"/>
                  </a:lnTo>
                  <a:lnTo>
                    <a:pt x="35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8" y="57"/>
                  </a:lnTo>
                  <a:lnTo>
                    <a:pt x="49" y="36"/>
                  </a:lnTo>
                  <a:lnTo>
                    <a:pt x="71" y="21"/>
                  </a:lnTo>
                  <a:lnTo>
                    <a:pt x="98" y="8"/>
                  </a:lnTo>
                  <a:lnTo>
                    <a:pt x="126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/>
            <p:cNvSpPr>
              <a:spLocks/>
            </p:cNvSpPr>
            <p:nvPr userDrawn="1"/>
          </p:nvSpPr>
          <p:spPr bwMode="auto">
            <a:xfrm>
              <a:off x="7461251" y="4187825"/>
              <a:ext cx="681038" cy="471488"/>
            </a:xfrm>
            <a:custGeom>
              <a:avLst/>
              <a:gdLst>
                <a:gd name="T0" fmla="*/ 131 w 429"/>
                <a:gd name="T1" fmla="*/ 0 h 297"/>
                <a:gd name="T2" fmla="*/ 161 w 429"/>
                <a:gd name="T3" fmla="*/ 3 h 297"/>
                <a:gd name="T4" fmla="*/ 186 w 429"/>
                <a:gd name="T5" fmla="*/ 10 h 297"/>
                <a:gd name="T6" fmla="*/ 207 w 429"/>
                <a:gd name="T7" fmla="*/ 23 h 297"/>
                <a:gd name="T8" fmla="*/ 235 w 429"/>
                <a:gd name="T9" fmla="*/ 12 h 297"/>
                <a:gd name="T10" fmla="*/ 268 w 429"/>
                <a:gd name="T11" fmla="*/ 3 h 297"/>
                <a:gd name="T12" fmla="*/ 304 w 429"/>
                <a:gd name="T13" fmla="*/ 0 h 297"/>
                <a:gd name="T14" fmla="*/ 336 w 429"/>
                <a:gd name="T15" fmla="*/ 3 h 297"/>
                <a:gd name="T16" fmla="*/ 364 w 429"/>
                <a:gd name="T17" fmla="*/ 14 h 297"/>
                <a:gd name="T18" fmla="*/ 385 w 429"/>
                <a:gd name="T19" fmla="*/ 28 h 297"/>
                <a:gd name="T20" fmla="*/ 404 w 429"/>
                <a:gd name="T21" fmla="*/ 47 h 297"/>
                <a:gd name="T22" fmla="*/ 416 w 429"/>
                <a:gd name="T23" fmla="*/ 70 h 297"/>
                <a:gd name="T24" fmla="*/ 425 w 429"/>
                <a:gd name="T25" fmla="*/ 98 h 297"/>
                <a:gd name="T26" fmla="*/ 427 w 429"/>
                <a:gd name="T27" fmla="*/ 122 h 297"/>
                <a:gd name="T28" fmla="*/ 429 w 429"/>
                <a:gd name="T29" fmla="*/ 156 h 297"/>
                <a:gd name="T30" fmla="*/ 429 w 429"/>
                <a:gd name="T31" fmla="*/ 297 h 297"/>
                <a:gd name="T32" fmla="*/ 346 w 429"/>
                <a:gd name="T33" fmla="*/ 297 h 297"/>
                <a:gd name="T34" fmla="*/ 346 w 429"/>
                <a:gd name="T35" fmla="*/ 140 h 297"/>
                <a:gd name="T36" fmla="*/ 346 w 429"/>
                <a:gd name="T37" fmla="*/ 119 h 297"/>
                <a:gd name="T38" fmla="*/ 345 w 429"/>
                <a:gd name="T39" fmla="*/ 100 h 297"/>
                <a:gd name="T40" fmla="*/ 339 w 429"/>
                <a:gd name="T41" fmla="*/ 84 h 297"/>
                <a:gd name="T42" fmla="*/ 329 w 429"/>
                <a:gd name="T43" fmla="*/ 73 h 297"/>
                <a:gd name="T44" fmla="*/ 315 w 429"/>
                <a:gd name="T45" fmla="*/ 66 h 297"/>
                <a:gd name="T46" fmla="*/ 296 w 429"/>
                <a:gd name="T47" fmla="*/ 63 h 297"/>
                <a:gd name="T48" fmla="*/ 280 w 429"/>
                <a:gd name="T49" fmla="*/ 65 h 297"/>
                <a:gd name="T50" fmla="*/ 263 w 429"/>
                <a:gd name="T51" fmla="*/ 68 h 297"/>
                <a:gd name="T52" fmla="*/ 247 w 429"/>
                <a:gd name="T53" fmla="*/ 75 h 297"/>
                <a:gd name="T54" fmla="*/ 249 w 429"/>
                <a:gd name="T55" fmla="*/ 80 h 297"/>
                <a:gd name="T56" fmla="*/ 252 w 429"/>
                <a:gd name="T57" fmla="*/ 94 h 297"/>
                <a:gd name="T58" fmla="*/ 256 w 429"/>
                <a:gd name="T59" fmla="*/ 114 h 297"/>
                <a:gd name="T60" fmla="*/ 257 w 429"/>
                <a:gd name="T61" fmla="*/ 138 h 297"/>
                <a:gd name="T62" fmla="*/ 257 w 429"/>
                <a:gd name="T63" fmla="*/ 297 h 297"/>
                <a:gd name="T64" fmla="*/ 173 w 429"/>
                <a:gd name="T65" fmla="*/ 297 h 297"/>
                <a:gd name="T66" fmla="*/ 173 w 429"/>
                <a:gd name="T67" fmla="*/ 140 h 297"/>
                <a:gd name="T68" fmla="*/ 173 w 429"/>
                <a:gd name="T69" fmla="*/ 117 h 297"/>
                <a:gd name="T70" fmla="*/ 170 w 429"/>
                <a:gd name="T71" fmla="*/ 98 h 297"/>
                <a:gd name="T72" fmla="*/ 165 w 429"/>
                <a:gd name="T73" fmla="*/ 84 h 297"/>
                <a:gd name="T74" fmla="*/ 156 w 429"/>
                <a:gd name="T75" fmla="*/ 72 h 297"/>
                <a:gd name="T76" fmla="*/ 142 w 429"/>
                <a:gd name="T77" fmla="*/ 66 h 297"/>
                <a:gd name="T78" fmla="*/ 123 w 429"/>
                <a:gd name="T79" fmla="*/ 63 h 297"/>
                <a:gd name="T80" fmla="*/ 103 w 429"/>
                <a:gd name="T81" fmla="*/ 65 h 297"/>
                <a:gd name="T82" fmla="*/ 84 w 429"/>
                <a:gd name="T83" fmla="*/ 70 h 297"/>
                <a:gd name="T84" fmla="*/ 84 w 429"/>
                <a:gd name="T85" fmla="*/ 297 h 297"/>
                <a:gd name="T86" fmla="*/ 0 w 429"/>
                <a:gd name="T87" fmla="*/ 297 h 297"/>
                <a:gd name="T88" fmla="*/ 0 w 429"/>
                <a:gd name="T89" fmla="*/ 26 h 297"/>
                <a:gd name="T90" fmla="*/ 39 w 429"/>
                <a:gd name="T91" fmla="*/ 14 h 297"/>
                <a:gd name="T92" fmla="*/ 84 w 429"/>
                <a:gd name="T93" fmla="*/ 5 h 297"/>
                <a:gd name="T94" fmla="*/ 131 w 429"/>
                <a:gd name="T95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9" h="297">
                  <a:moveTo>
                    <a:pt x="131" y="0"/>
                  </a:moveTo>
                  <a:lnTo>
                    <a:pt x="161" y="3"/>
                  </a:lnTo>
                  <a:lnTo>
                    <a:pt x="186" y="10"/>
                  </a:lnTo>
                  <a:lnTo>
                    <a:pt x="207" y="23"/>
                  </a:lnTo>
                  <a:lnTo>
                    <a:pt x="235" y="12"/>
                  </a:lnTo>
                  <a:lnTo>
                    <a:pt x="268" y="3"/>
                  </a:lnTo>
                  <a:lnTo>
                    <a:pt x="304" y="0"/>
                  </a:lnTo>
                  <a:lnTo>
                    <a:pt x="336" y="3"/>
                  </a:lnTo>
                  <a:lnTo>
                    <a:pt x="364" y="14"/>
                  </a:lnTo>
                  <a:lnTo>
                    <a:pt x="385" y="28"/>
                  </a:lnTo>
                  <a:lnTo>
                    <a:pt x="404" y="47"/>
                  </a:lnTo>
                  <a:lnTo>
                    <a:pt x="416" y="70"/>
                  </a:lnTo>
                  <a:lnTo>
                    <a:pt x="425" y="98"/>
                  </a:lnTo>
                  <a:lnTo>
                    <a:pt x="427" y="122"/>
                  </a:lnTo>
                  <a:lnTo>
                    <a:pt x="429" y="156"/>
                  </a:lnTo>
                  <a:lnTo>
                    <a:pt x="429" y="297"/>
                  </a:lnTo>
                  <a:lnTo>
                    <a:pt x="346" y="297"/>
                  </a:lnTo>
                  <a:lnTo>
                    <a:pt x="346" y="140"/>
                  </a:lnTo>
                  <a:lnTo>
                    <a:pt x="346" y="119"/>
                  </a:lnTo>
                  <a:lnTo>
                    <a:pt x="345" y="100"/>
                  </a:lnTo>
                  <a:lnTo>
                    <a:pt x="339" y="84"/>
                  </a:lnTo>
                  <a:lnTo>
                    <a:pt x="329" y="73"/>
                  </a:lnTo>
                  <a:lnTo>
                    <a:pt x="315" y="66"/>
                  </a:lnTo>
                  <a:lnTo>
                    <a:pt x="296" y="63"/>
                  </a:lnTo>
                  <a:lnTo>
                    <a:pt x="280" y="65"/>
                  </a:lnTo>
                  <a:lnTo>
                    <a:pt x="263" y="68"/>
                  </a:lnTo>
                  <a:lnTo>
                    <a:pt x="247" y="75"/>
                  </a:lnTo>
                  <a:lnTo>
                    <a:pt x="249" y="80"/>
                  </a:lnTo>
                  <a:lnTo>
                    <a:pt x="252" y="94"/>
                  </a:lnTo>
                  <a:lnTo>
                    <a:pt x="256" y="114"/>
                  </a:lnTo>
                  <a:lnTo>
                    <a:pt x="257" y="138"/>
                  </a:lnTo>
                  <a:lnTo>
                    <a:pt x="257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7"/>
                  </a:lnTo>
                  <a:lnTo>
                    <a:pt x="170" y="98"/>
                  </a:lnTo>
                  <a:lnTo>
                    <a:pt x="165" y="84"/>
                  </a:lnTo>
                  <a:lnTo>
                    <a:pt x="156" y="72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4" y="70"/>
                  </a:lnTo>
                  <a:lnTo>
                    <a:pt x="84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39" y="14"/>
                  </a:lnTo>
                  <a:lnTo>
                    <a:pt x="84" y="5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"/>
            <p:cNvSpPr>
              <a:spLocks noEditPoints="1"/>
            </p:cNvSpPr>
            <p:nvPr userDrawn="1"/>
          </p:nvSpPr>
          <p:spPr bwMode="auto">
            <a:xfrm>
              <a:off x="8205788" y="4191000"/>
              <a:ext cx="396875" cy="685800"/>
            </a:xfrm>
            <a:custGeom>
              <a:avLst/>
              <a:gdLst>
                <a:gd name="T0" fmla="*/ 105 w 250"/>
                <a:gd name="T1" fmla="*/ 61 h 432"/>
                <a:gd name="T2" fmla="*/ 96 w 250"/>
                <a:gd name="T3" fmla="*/ 61 h 432"/>
                <a:gd name="T4" fmla="*/ 89 w 250"/>
                <a:gd name="T5" fmla="*/ 61 h 432"/>
                <a:gd name="T6" fmla="*/ 82 w 250"/>
                <a:gd name="T7" fmla="*/ 61 h 432"/>
                <a:gd name="T8" fmla="*/ 82 w 250"/>
                <a:gd name="T9" fmla="*/ 234 h 432"/>
                <a:gd name="T10" fmla="*/ 87 w 250"/>
                <a:gd name="T11" fmla="*/ 238 h 432"/>
                <a:gd name="T12" fmla="*/ 96 w 250"/>
                <a:gd name="T13" fmla="*/ 239 h 432"/>
                <a:gd name="T14" fmla="*/ 108 w 250"/>
                <a:gd name="T15" fmla="*/ 239 h 432"/>
                <a:gd name="T16" fmla="*/ 122 w 250"/>
                <a:gd name="T17" fmla="*/ 238 h 432"/>
                <a:gd name="T18" fmla="*/ 136 w 250"/>
                <a:gd name="T19" fmla="*/ 232 h 432"/>
                <a:gd name="T20" fmla="*/ 148 w 250"/>
                <a:gd name="T21" fmla="*/ 222 h 432"/>
                <a:gd name="T22" fmla="*/ 159 w 250"/>
                <a:gd name="T23" fmla="*/ 203 h 432"/>
                <a:gd name="T24" fmla="*/ 166 w 250"/>
                <a:gd name="T25" fmla="*/ 178 h 432"/>
                <a:gd name="T26" fmla="*/ 168 w 250"/>
                <a:gd name="T27" fmla="*/ 143 h 432"/>
                <a:gd name="T28" fmla="*/ 162 w 250"/>
                <a:gd name="T29" fmla="*/ 115 h 432"/>
                <a:gd name="T30" fmla="*/ 152 w 250"/>
                <a:gd name="T31" fmla="*/ 92 h 432"/>
                <a:gd name="T32" fmla="*/ 138 w 250"/>
                <a:gd name="T33" fmla="*/ 75 h 432"/>
                <a:gd name="T34" fmla="*/ 122 w 250"/>
                <a:gd name="T35" fmla="*/ 64 h 432"/>
                <a:gd name="T36" fmla="*/ 105 w 250"/>
                <a:gd name="T37" fmla="*/ 61 h 432"/>
                <a:gd name="T38" fmla="*/ 98 w 250"/>
                <a:gd name="T39" fmla="*/ 0 h 432"/>
                <a:gd name="T40" fmla="*/ 122 w 250"/>
                <a:gd name="T41" fmla="*/ 1 h 432"/>
                <a:gd name="T42" fmla="*/ 147 w 250"/>
                <a:gd name="T43" fmla="*/ 7 h 432"/>
                <a:gd name="T44" fmla="*/ 171 w 250"/>
                <a:gd name="T45" fmla="*/ 15 h 432"/>
                <a:gd name="T46" fmla="*/ 194 w 250"/>
                <a:gd name="T47" fmla="*/ 28 h 432"/>
                <a:gd name="T48" fmla="*/ 213 w 250"/>
                <a:gd name="T49" fmla="*/ 45 h 432"/>
                <a:gd name="T50" fmla="*/ 229 w 250"/>
                <a:gd name="T51" fmla="*/ 66 h 432"/>
                <a:gd name="T52" fmla="*/ 241 w 250"/>
                <a:gd name="T53" fmla="*/ 91 h 432"/>
                <a:gd name="T54" fmla="*/ 248 w 250"/>
                <a:gd name="T55" fmla="*/ 120 h 432"/>
                <a:gd name="T56" fmla="*/ 250 w 250"/>
                <a:gd name="T57" fmla="*/ 155 h 432"/>
                <a:gd name="T58" fmla="*/ 246 w 250"/>
                <a:gd name="T59" fmla="*/ 194 h 432"/>
                <a:gd name="T60" fmla="*/ 238 w 250"/>
                <a:gd name="T61" fmla="*/ 222 h 432"/>
                <a:gd name="T62" fmla="*/ 224 w 250"/>
                <a:gd name="T63" fmla="*/ 248 h 432"/>
                <a:gd name="T64" fmla="*/ 206 w 250"/>
                <a:gd name="T65" fmla="*/ 269 h 432"/>
                <a:gd name="T66" fmla="*/ 185 w 250"/>
                <a:gd name="T67" fmla="*/ 285 h 432"/>
                <a:gd name="T68" fmla="*/ 159 w 250"/>
                <a:gd name="T69" fmla="*/ 295 h 432"/>
                <a:gd name="T70" fmla="*/ 129 w 250"/>
                <a:gd name="T71" fmla="*/ 299 h 432"/>
                <a:gd name="T72" fmla="*/ 112 w 250"/>
                <a:gd name="T73" fmla="*/ 297 h 432"/>
                <a:gd name="T74" fmla="*/ 94 w 250"/>
                <a:gd name="T75" fmla="*/ 294 h 432"/>
                <a:gd name="T76" fmla="*/ 82 w 250"/>
                <a:gd name="T77" fmla="*/ 290 h 432"/>
                <a:gd name="T78" fmla="*/ 82 w 250"/>
                <a:gd name="T79" fmla="*/ 432 h 432"/>
                <a:gd name="T80" fmla="*/ 0 w 250"/>
                <a:gd name="T81" fmla="*/ 432 h 432"/>
                <a:gd name="T82" fmla="*/ 0 w 250"/>
                <a:gd name="T83" fmla="*/ 12 h 432"/>
                <a:gd name="T84" fmla="*/ 28 w 250"/>
                <a:gd name="T85" fmla="*/ 5 h 432"/>
                <a:gd name="T86" fmla="*/ 61 w 250"/>
                <a:gd name="T87" fmla="*/ 1 h 432"/>
                <a:gd name="T88" fmla="*/ 98 w 250"/>
                <a:gd name="T89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0" h="432">
                  <a:moveTo>
                    <a:pt x="105" y="61"/>
                  </a:moveTo>
                  <a:lnTo>
                    <a:pt x="96" y="61"/>
                  </a:lnTo>
                  <a:lnTo>
                    <a:pt x="89" y="61"/>
                  </a:lnTo>
                  <a:lnTo>
                    <a:pt x="82" y="61"/>
                  </a:lnTo>
                  <a:lnTo>
                    <a:pt x="82" y="234"/>
                  </a:lnTo>
                  <a:lnTo>
                    <a:pt x="87" y="238"/>
                  </a:lnTo>
                  <a:lnTo>
                    <a:pt x="96" y="239"/>
                  </a:lnTo>
                  <a:lnTo>
                    <a:pt x="108" y="239"/>
                  </a:lnTo>
                  <a:lnTo>
                    <a:pt x="122" y="238"/>
                  </a:lnTo>
                  <a:lnTo>
                    <a:pt x="136" y="232"/>
                  </a:lnTo>
                  <a:lnTo>
                    <a:pt x="148" y="222"/>
                  </a:lnTo>
                  <a:lnTo>
                    <a:pt x="159" y="203"/>
                  </a:lnTo>
                  <a:lnTo>
                    <a:pt x="166" y="178"/>
                  </a:lnTo>
                  <a:lnTo>
                    <a:pt x="168" y="143"/>
                  </a:lnTo>
                  <a:lnTo>
                    <a:pt x="162" y="115"/>
                  </a:lnTo>
                  <a:lnTo>
                    <a:pt x="152" y="92"/>
                  </a:lnTo>
                  <a:lnTo>
                    <a:pt x="138" y="75"/>
                  </a:lnTo>
                  <a:lnTo>
                    <a:pt x="122" y="64"/>
                  </a:lnTo>
                  <a:lnTo>
                    <a:pt x="105" y="61"/>
                  </a:lnTo>
                  <a:close/>
                  <a:moveTo>
                    <a:pt x="98" y="0"/>
                  </a:moveTo>
                  <a:lnTo>
                    <a:pt x="122" y="1"/>
                  </a:lnTo>
                  <a:lnTo>
                    <a:pt x="147" y="7"/>
                  </a:lnTo>
                  <a:lnTo>
                    <a:pt x="171" y="15"/>
                  </a:lnTo>
                  <a:lnTo>
                    <a:pt x="194" y="28"/>
                  </a:lnTo>
                  <a:lnTo>
                    <a:pt x="213" y="45"/>
                  </a:lnTo>
                  <a:lnTo>
                    <a:pt x="229" y="66"/>
                  </a:lnTo>
                  <a:lnTo>
                    <a:pt x="241" y="91"/>
                  </a:lnTo>
                  <a:lnTo>
                    <a:pt x="248" y="120"/>
                  </a:lnTo>
                  <a:lnTo>
                    <a:pt x="250" y="155"/>
                  </a:lnTo>
                  <a:lnTo>
                    <a:pt x="246" y="194"/>
                  </a:lnTo>
                  <a:lnTo>
                    <a:pt x="238" y="222"/>
                  </a:lnTo>
                  <a:lnTo>
                    <a:pt x="224" y="248"/>
                  </a:lnTo>
                  <a:lnTo>
                    <a:pt x="206" y="269"/>
                  </a:lnTo>
                  <a:lnTo>
                    <a:pt x="185" y="285"/>
                  </a:lnTo>
                  <a:lnTo>
                    <a:pt x="159" y="295"/>
                  </a:lnTo>
                  <a:lnTo>
                    <a:pt x="129" y="299"/>
                  </a:lnTo>
                  <a:lnTo>
                    <a:pt x="112" y="297"/>
                  </a:lnTo>
                  <a:lnTo>
                    <a:pt x="94" y="294"/>
                  </a:lnTo>
                  <a:lnTo>
                    <a:pt x="82" y="290"/>
                  </a:lnTo>
                  <a:lnTo>
                    <a:pt x="82" y="432"/>
                  </a:lnTo>
                  <a:lnTo>
                    <a:pt x="0" y="432"/>
                  </a:lnTo>
                  <a:lnTo>
                    <a:pt x="0" y="12"/>
                  </a:lnTo>
                  <a:lnTo>
                    <a:pt x="28" y="5"/>
                  </a:lnTo>
                  <a:lnTo>
                    <a:pt x="61" y="1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"/>
            <p:cNvSpPr>
              <a:spLocks/>
            </p:cNvSpPr>
            <p:nvPr userDrawn="1"/>
          </p:nvSpPr>
          <p:spPr bwMode="auto">
            <a:xfrm>
              <a:off x="4591051" y="4187825"/>
              <a:ext cx="311150" cy="485775"/>
            </a:xfrm>
            <a:custGeom>
              <a:avLst/>
              <a:gdLst>
                <a:gd name="T0" fmla="*/ 91 w 196"/>
                <a:gd name="T1" fmla="*/ 0 h 306"/>
                <a:gd name="T2" fmla="*/ 110 w 196"/>
                <a:gd name="T3" fmla="*/ 2 h 306"/>
                <a:gd name="T4" fmla="*/ 128 w 196"/>
                <a:gd name="T5" fmla="*/ 3 h 306"/>
                <a:gd name="T6" fmla="*/ 145 w 196"/>
                <a:gd name="T7" fmla="*/ 9 h 306"/>
                <a:gd name="T8" fmla="*/ 168 w 196"/>
                <a:gd name="T9" fmla="*/ 17 h 306"/>
                <a:gd name="T10" fmla="*/ 168 w 196"/>
                <a:gd name="T11" fmla="*/ 79 h 306"/>
                <a:gd name="T12" fmla="*/ 149 w 196"/>
                <a:gd name="T13" fmla="*/ 68 h 306"/>
                <a:gd name="T14" fmla="*/ 131 w 196"/>
                <a:gd name="T15" fmla="*/ 61 h 306"/>
                <a:gd name="T16" fmla="*/ 117 w 196"/>
                <a:gd name="T17" fmla="*/ 58 h 306"/>
                <a:gd name="T18" fmla="*/ 102 w 196"/>
                <a:gd name="T19" fmla="*/ 56 h 306"/>
                <a:gd name="T20" fmla="*/ 89 w 196"/>
                <a:gd name="T21" fmla="*/ 59 h 306"/>
                <a:gd name="T22" fmla="*/ 81 w 196"/>
                <a:gd name="T23" fmla="*/ 65 h 306"/>
                <a:gd name="T24" fmla="*/ 76 w 196"/>
                <a:gd name="T25" fmla="*/ 72 h 306"/>
                <a:gd name="T26" fmla="*/ 74 w 196"/>
                <a:gd name="T27" fmla="*/ 80 h 306"/>
                <a:gd name="T28" fmla="*/ 74 w 196"/>
                <a:gd name="T29" fmla="*/ 87 h 306"/>
                <a:gd name="T30" fmla="*/ 83 w 196"/>
                <a:gd name="T31" fmla="*/ 100 h 306"/>
                <a:gd name="T32" fmla="*/ 100 w 196"/>
                <a:gd name="T33" fmla="*/ 112 h 306"/>
                <a:gd name="T34" fmla="*/ 128 w 196"/>
                <a:gd name="T35" fmla="*/ 128 h 306"/>
                <a:gd name="T36" fmla="*/ 151 w 196"/>
                <a:gd name="T37" fmla="*/ 142 h 306"/>
                <a:gd name="T38" fmla="*/ 170 w 196"/>
                <a:gd name="T39" fmla="*/ 157 h 306"/>
                <a:gd name="T40" fmla="*/ 184 w 196"/>
                <a:gd name="T41" fmla="*/ 178 h 306"/>
                <a:gd name="T42" fmla="*/ 194 w 196"/>
                <a:gd name="T43" fmla="*/ 205 h 306"/>
                <a:gd name="T44" fmla="*/ 196 w 196"/>
                <a:gd name="T45" fmla="*/ 233 h 306"/>
                <a:gd name="T46" fmla="*/ 191 w 196"/>
                <a:gd name="T47" fmla="*/ 255 h 306"/>
                <a:gd name="T48" fmla="*/ 179 w 196"/>
                <a:gd name="T49" fmla="*/ 275 h 306"/>
                <a:gd name="T50" fmla="*/ 161 w 196"/>
                <a:gd name="T51" fmla="*/ 289 h 306"/>
                <a:gd name="T52" fmla="*/ 138 w 196"/>
                <a:gd name="T53" fmla="*/ 299 h 306"/>
                <a:gd name="T54" fmla="*/ 112 w 196"/>
                <a:gd name="T55" fmla="*/ 304 h 306"/>
                <a:gd name="T56" fmla="*/ 83 w 196"/>
                <a:gd name="T57" fmla="*/ 306 h 306"/>
                <a:gd name="T58" fmla="*/ 55 w 196"/>
                <a:gd name="T59" fmla="*/ 304 h 306"/>
                <a:gd name="T60" fmla="*/ 30 w 196"/>
                <a:gd name="T61" fmla="*/ 299 h 306"/>
                <a:gd name="T62" fmla="*/ 7 w 196"/>
                <a:gd name="T63" fmla="*/ 292 h 306"/>
                <a:gd name="T64" fmla="*/ 7 w 196"/>
                <a:gd name="T65" fmla="*/ 229 h 306"/>
                <a:gd name="T66" fmla="*/ 30 w 196"/>
                <a:gd name="T67" fmla="*/ 240 h 306"/>
                <a:gd name="T68" fmla="*/ 51 w 196"/>
                <a:gd name="T69" fmla="*/ 248 h 306"/>
                <a:gd name="T70" fmla="*/ 74 w 196"/>
                <a:gd name="T71" fmla="*/ 254 h 306"/>
                <a:gd name="T72" fmla="*/ 93 w 196"/>
                <a:gd name="T73" fmla="*/ 250 h 306"/>
                <a:gd name="T74" fmla="*/ 107 w 196"/>
                <a:gd name="T75" fmla="*/ 245 h 306"/>
                <a:gd name="T76" fmla="*/ 114 w 196"/>
                <a:gd name="T77" fmla="*/ 236 h 306"/>
                <a:gd name="T78" fmla="*/ 117 w 196"/>
                <a:gd name="T79" fmla="*/ 226 h 306"/>
                <a:gd name="T80" fmla="*/ 117 w 196"/>
                <a:gd name="T81" fmla="*/ 215 h 306"/>
                <a:gd name="T82" fmla="*/ 109 w 196"/>
                <a:gd name="T83" fmla="*/ 201 h 306"/>
                <a:gd name="T84" fmla="*/ 95 w 196"/>
                <a:gd name="T85" fmla="*/ 187 h 306"/>
                <a:gd name="T86" fmla="*/ 76 w 196"/>
                <a:gd name="T87" fmla="*/ 175 h 306"/>
                <a:gd name="T88" fmla="*/ 55 w 196"/>
                <a:gd name="T89" fmla="*/ 161 h 306"/>
                <a:gd name="T90" fmla="*/ 37 w 196"/>
                <a:gd name="T91" fmla="*/ 149 h 306"/>
                <a:gd name="T92" fmla="*/ 21 w 196"/>
                <a:gd name="T93" fmla="*/ 133 h 306"/>
                <a:gd name="T94" fmla="*/ 9 w 196"/>
                <a:gd name="T95" fmla="*/ 115 h 306"/>
                <a:gd name="T96" fmla="*/ 2 w 196"/>
                <a:gd name="T97" fmla="*/ 93 h 306"/>
                <a:gd name="T98" fmla="*/ 0 w 196"/>
                <a:gd name="T99" fmla="*/ 68 h 306"/>
                <a:gd name="T100" fmla="*/ 6 w 196"/>
                <a:gd name="T101" fmla="*/ 47 h 306"/>
                <a:gd name="T102" fmla="*/ 14 w 196"/>
                <a:gd name="T103" fmla="*/ 30 h 306"/>
                <a:gd name="T104" fmla="*/ 30 w 196"/>
                <a:gd name="T105" fmla="*/ 17 h 306"/>
                <a:gd name="T106" fmla="*/ 48 w 196"/>
                <a:gd name="T107" fmla="*/ 9 h 306"/>
                <a:gd name="T108" fmla="*/ 69 w 196"/>
                <a:gd name="T109" fmla="*/ 2 h 306"/>
                <a:gd name="T110" fmla="*/ 91 w 196"/>
                <a:gd name="T111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6" h="306">
                  <a:moveTo>
                    <a:pt x="91" y="0"/>
                  </a:moveTo>
                  <a:lnTo>
                    <a:pt x="110" y="2"/>
                  </a:lnTo>
                  <a:lnTo>
                    <a:pt x="128" y="3"/>
                  </a:lnTo>
                  <a:lnTo>
                    <a:pt x="145" y="9"/>
                  </a:lnTo>
                  <a:lnTo>
                    <a:pt x="168" y="17"/>
                  </a:lnTo>
                  <a:lnTo>
                    <a:pt x="168" y="79"/>
                  </a:lnTo>
                  <a:lnTo>
                    <a:pt x="149" y="68"/>
                  </a:lnTo>
                  <a:lnTo>
                    <a:pt x="131" y="61"/>
                  </a:lnTo>
                  <a:lnTo>
                    <a:pt x="117" y="58"/>
                  </a:lnTo>
                  <a:lnTo>
                    <a:pt x="102" y="56"/>
                  </a:lnTo>
                  <a:lnTo>
                    <a:pt x="89" y="59"/>
                  </a:lnTo>
                  <a:lnTo>
                    <a:pt x="81" y="65"/>
                  </a:lnTo>
                  <a:lnTo>
                    <a:pt x="76" y="72"/>
                  </a:lnTo>
                  <a:lnTo>
                    <a:pt x="74" y="80"/>
                  </a:lnTo>
                  <a:lnTo>
                    <a:pt x="74" y="87"/>
                  </a:lnTo>
                  <a:lnTo>
                    <a:pt x="83" y="100"/>
                  </a:lnTo>
                  <a:lnTo>
                    <a:pt x="100" y="112"/>
                  </a:lnTo>
                  <a:lnTo>
                    <a:pt x="128" y="128"/>
                  </a:lnTo>
                  <a:lnTo>
                    <a:pt x="151" y="142"/>
                  </a:lnTo>
                  <a:lnTo>
                    <a:pt x="170" y="157"/>
                  </a:lnTo>
                  <a:lnTo>
                    <a:pt x="184" y="178"/>
                  </a:lnTo>
                  <a:lnTo>
                    <a:pt x="194" y="205"/>
                  </a:lnTo>
                  <a:lnTo>
                    <a:pt x="196" y="233"/>
                  </a:lnTo>
                  <a:lnTo>
                    <a:pt x="191" y="255"/>
                  </a:lnTo>
                  <a:lnTo>
                    <a:pt x="179" y="275"/>
                  </a:lnTo>
                  <a:lnTo>
                    <a:pt x="161" y="289"/>
                  </a:lnTo>
                  <a:lnTo>
                    <a:pt x="138" y="299"/>
                  </a:lnTo>
                  <a:lnTo>
                    <a:pt x="112" y="304"/>
                  </a:lnTo>
                  <a:lnTo>
                    <a:pt x="83" y="306"/>
                  </a:lnTo>
                  <a:lnTo>
                    <a:pt x="55" y="304"/>
                  </a:lnTo>
                  <a:lnTo>
                    <a:pt x="30" y="299"/>
                  </a:lnTo>
                  <a:lnTo>
                    <a:pt x="7" y="292"/>
                  </a:lnTo>
                  <a:lnTo>
                    <a:pt x="7" y="229"/>
                  </a:lnTo>
                  <a:lnTo>
                    <a:pt x="30" y="240"/>
                  </a:lnTo>
                  <a:lnTo>
                    <a:pt x="51" y="248"/>
                  </a:lnTo>
                  <a:lnTo>
                    <a:pt x="74" y="254"/>
                  </a:lnTo>
                  <a:lnTo>
                    <a:pt x="93" y="250"/>
                  </a:lnTo>
                  <a:lnTo>
                    <a:pt x="107" y="245"/>
                  </a:lnTo>
                  <a:lnTo>
                    <a:pt x="114" y="236"/>
                  </a:lnTo>
                  <a:lnTo>
                    <a:pt x="117" y="226"/>
                  </a:lnTo>
                  <a:lnTo>
                    <a:pt x="117" y="215"/>
                  </a:lnTo>
                  <a:lnTo>
                    <a:pt x="109" y="201"/>
                  </a:lnTo>
                  <a:lnTo>
                    <a:pt x="95" y="187"/>
                  </a:lnTo>
                  <a:lnTo>
                    <a:pt x="76" y="175"/>
                  </a:lnTo>
                  <a:lnTo>
                    <a:pt x="55" y="161"/>
                  </a:lnTo>
                  <a:lnTo>
                    <a:pt x="37" y="149"/>
                  </a:lnTo>
                  <a:lnTo>
                    <a:pt x="21" y="133"/>
                  </a:lnTo>
                  <a:lnTo>
                    <a:pt x="9" y="115"/>
                  </a:lnTo>
                  <a:lnTo>
                    <a:pt x="2" y="93"/>
                  </a:lnTo>
                  <a:lnTo>
                    <a:pt x="0" y="68"/>
                  </a:lnTo>
                  <a:lnTo>
                    <a:pt x="6" y="47"/>
                  </a:lnTo>
                  <a:lnTo>
                    <a:pt x="14" y="30"/>
                  </a:lnTo>
                  <a:lnTo>
                    <a:pt x="30" y="17"/>
                  </a:lnTo>
                  <a:lnTo>
                    <a:pt x="48" y="9"/>
                  </a:lnTo>
                  <a:lnTo>
                    <a:pt x="69" y="2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4"/>
            <p:cNvSpPr>
              <a:spLocks/>
            </p:cNvSpPr>
            <p:nvPr userDrawn="1"/>
          </p:nvSpPr>
          <p:spPr bwMode="auto">
            <a:xfrm>
              <a:off x="3719513" y="4195763"/>
              <a:ext cx="230188" cy="463550"/>
            </a:xfrm>
            <a:custGeom>
              <a:avLst/>
              <a:gdLst>
                <a:gd name="T0" fmla="*/ 140 w 145"/>
                <a:gd name="T1" fmla="*/ 0 h 292"/>
                <a:gd name="T2" fmla="*/ 145 w 145"/>
                <a:gd name="T3" fmla="*/ 0 h 292"/>
                <a:gd name="T4" fmla="*/ 145 w 145"/>
                <a:gd name="T5" fmla="*/ 61 h 292"/>
                <a:gd name="T6" fmla="*/ 138 w 145"/>
                <a:gd name="T7" fmla="*/ 61 h 292"/>
                <a:gd name="T8" fmla="*/ 133 w 145"/>
                <a:gd name="T9" fmla="*/ 61 h 292"/>
                <a:gd name="T10" fmla="*/ 117 w 145"/>
                <a:gd name="T11" fmla="*/ 61 h 292"/>
                <a:gd name="T12" fmla="*/ 98 w 145"/>
                <a:gd name="T13" fmla="*/ 63 h 292"/>
                <a:gd name="T14" fmla="*/ 82 w 145"/>
                <a:gd name="T15" fmla="*/ 68 h 292"/>
                <a:gd name="T16" fmla="*/ 84 w 145"/>
                <a:gd name="T17" fmla="*/ 292 h 292"/>
                <a:gd name="T18" fmla="*/ 0 w 145"/>
                <a:gd name="T19" fmla="*/ 292 h 292"/>
                <a:gd name="T20" fmla="*/ 0 w 145"/>
                <a:gd name="T21" fmla="*/ 25 h 292"/>
                <a:gd name="T22" fmla="*/ 21 w 145"/>
                <a:gd name="T23" fmla="*/ 18 h 292"/>
                <a:gd name="T24" fmla="*/ 44 w 145"/>
                <a:gd name="T25" fmla="*/ 11 h 292"/>
                <a:gd name="T26" fmla="*/ 72 w 145"/>
                <a:gd name="T27" fmla="*/ 5 h 292"/>
                <a:gd name="T28" fmla="*/ 103 w 145"/>
                <a:gd name="T29" fmla="*/ 2 h 292"/>
                <a:gd name="T30" fmla="*/ 140 w 145"/>
                <a:gd name="T3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92">
                  <a:moveTo>
                    <a:pt x="140" y="0"/>
                  </a:moveTo>
                  <a:lnTo>
                    <a:pt x="145" y="0"/>
                  </a:lnTo>
                  <a:lnTo>
                    <a:pt x="145" y="61"/>
                  </a:lnTo>
                  <a:lnTo>
                    <a:pt x="138" y="61"/>
                  </a:lnTo>
                  <a:lnTo>
                    <a:pt x="133" y="61"/>
                  </a:lnTo>
                  <a:lnTo>
                    <a:pt x="117" y="61"/>
                  </a:lnTo>
                  <a:lnTo>
                    <a:pt x="98" y="63"/>
                  </a:lnTo>
                  <a:lnTo>
                    <a:pt x="82" y="68"/>
                  </a:lnTo>
                  <a:lnTo>
                    <a:pt x="84" y="292"/>
                  </a:lnTo>
                  <a:lnTo>
                    <a:pt x="0" y="292"/>
                  </a:lnTo>
                  <a:lnTo>
                    <a:pt x="0" y="25"/>
                  </a:lnTo>
                  <a:lnTo>
                    <a:pt x="21" y="18"/>
                  </a:lnTo>
                  <a:lnTo>
                    <a:pt x="44" y="11"/>
                  </a:lnTo>
                  <a:lnTo>
                    <a:pt x="72" y="5"/>
                  </a:lnTo>
                  <a:lnTo>
                    <a:pt x="103" y="2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 userDrawn="1"/>
          </p:nvSpPr>
          <p:spPr bwMode="auto">
            <a:xfrm>
              <a:off x="4003676" y="4191000"/>
              <a:ext cx="127000" cy="468313"/>
            </a:xfrm>
            <a:custGeom>
              <a:avLst/>
              <a:gdLst>
                <a:gd name="T0" fmla="*/ 40 w 80"/>
                <a:gd name="T1" fmla="*/ 0 h 295"/>
                <a:gd name="T2" fmla="*/ 61 w 80"/>
                <a:gd name="T3" fmla="*/ 1 h 295"/>
                <a:gd name="T4" fmla="*/ 73 w 80"/>
                <a:gd name="T5" fmla="*/ 1 h 295"/>
                <a:gd name="T6" fmla="*/ 78 w 80"/>
                <a:gd name="T7" fmla="*/ 3 h 295"/>
                <a:gd name="T8" fmla="*/ 80 w 80"/>
                <a:gd name="T9" fmla="*/ 3 h 295"/>
                <a:gd name="T10" fmla="*/ 80 w 80"/>
                <a:gd name="T11" fmla="*/ 295 h 295"/>
                <a:gd name="T12" fmla="*/ 0 w 80"/>
                <a:gd name="T13" fmla="*/ 295 h 295"/>
                <a:gd name="T14" fmla="*/ 0 w 80"/>
                <a:gd name="T15" fmla="*/ 3 h 295"/>
                <a:gd name="T16" fmla="*/ 1 w 80"/>
                <a:gd name="T17" fmla="*/ 3 h 295"/>
                <a:gd name="T18" fmla="*/ 8 w 80"/>
                <a:gd name="T19" fmla="*/ 1 h 295"/>
                <a:gd name="T20" fmla="*/ 21 w 80"/>
                <a:gd name="T21" fmla="*/ 1 h 295"/>
                <a:gd name="T22" fmla="*/ 40 w 80"/>
                <a:gd name="T23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295">
                  <a:moveTo>
                    <a:pt x="40" y="0"/>
                  </a:moveTo>
                  <a:lnTo>
                    <a:pt x="61" y="1"/>
                  </a:lnTo>
                  <a:lnTo>
                    <a:pt x="73" y="1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0" y="295"/>
                  </a:lnTo>
                  <a:lnTo>
                    <a:pt x="0" y="295"/>
                  </a:lnTo>
                  <a:lnTo>
                    <a:pt x="0" y="3"/>
                  </a:lnTo>
                  <a:lnTo>
                    <a:pt x="1" y="3"/>
                  </a:lnTo>
                  <a:lnTo>
                    <a:pt x="8" y="1"/>
                  </a:lnTo>
                  <a:lnTo>
                    <a:pt x="21" y="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6"/>
            <p:cNvSpPr>
              <a:spLocks/>
            </p:cNvSpPr>
            <p:nvPr userDrawn="1"/>
          </p:nvSpPr>
          <p:spPr bwMode="auto">
            <a:xfrm>
              <a:off x="4943476" y="4043363"/>
              <a:ext cx="217488" cy="630238"/>
            </a:xfrm>
            <a:custGeom>
              <a:avLst/>
              <a:gdLst>
                <a:gd name="T0" fmla="*/ 42 w 137"/>
                <a:gd name="T1" fmla="*/ 0 h 397"/>
                <a:gd name="T2" fmla="*/ 63 w 137"/>
                <a:gd name="T3" fmla="*/ 0 h 397"/>
                <a:gd name="T4" fmla="*/ 76 w 137"/>
                <a:gd name="T5" fmla="*/ 2 h 397"/>
                <a:gd name="T6" fmla="*/ 83 w 137"/>
                <a:gd name="T7" fmla="*/ 3 h 397"/>
                <a:gd name="T8" fmla="*/ 84 w 137"/>
                <a:gd name="T9" fmla="*/ 3 h 397"/>
                <a:gd name="T10" fmla="*/ 84 w 137"/>
                <a:gd name="T11" fmla="*/ 289 h 397"/>
                <a:gd name="T12" fmla="*/ 86 w 137"/>
                <a:gd name="T13" fmla="*/ 306 h 397"/>
                <a:gd name="T14" fmla="*/ 90 w 137"/>
                <a:gd name="T15" fmla="*/ 317 h 397"/>
                <a:gd name="T16" fmla="*/ 98 w 137"/>
                <a:gd name="T17" fmla="*/ 324 h 397"/>
                <a:gd name="T18" fmla="*/ 109 w 137"/>
                <a:gd name="T19" fmla="*/ 325 h 397"/>
                <a:gd name="T20" fmla="*/ 114 w 137"/>
                <a:gd name="T21" fmla="*/ 325 h 397"/>
                <a:gd name="T22" fmla="*/ 119 w 137"/>
                <a:gd name="T23" fmla="*/ 324 h 397"/>
                <a:gd name="T24" fmla="*/ 137 w 137"/>
                <a:gd name="T25" fmla="*/ 390 h 397"/>
                <a:gd name="T26" fmla="*/ 116 w 137"/>
                <a:gd name="T27" fmla="*/ 395 h 397"/>
                <a:gd name="T28" fmla="*/ 88 w 137"/>
                <a:gd name="T29" fmla="*/ 397 h 397"/>
                <a:gd name="T30" fmla="*/ 74 w 137"/>
                <a:gd name="T31" fmla="*/ 397 h 397"/>
                <a:gd name="T32" fmla="*/ 60 w 137"/>
                <a:gd name="T33" fmla="*/ 394 h 397"/>
                <a:gd name="T34" fmla="*/ 46 w 137"/>
                <a:gd name="T35" fmla="*/ 388 h 397"/>
                <a:gd name="T36" fmla="*/ 32 w 137"/>
                <a:gd name="T37" fmla="*/ 380 h 397"/>
                <a:gd name="T38" fmla="*/ 20 w 137"/>
                <a:gd name="T39" fmla="*/ 366 h 397"/>
                <a:gd name="T40" fmla="*/ 9 w 137"/>
                <a:gd name="T41" fmla="*/ 348 h 397"/>
                <a:gd name="T42" fmla="*/ 4 w 137"/>
                <a:gd name="T43" fmla="*/ 324 h 397"/>
                <a:gd name="T44" fmla="*/ 0 w 137"/>
                <a:gd name="T45" fmla="*/ 292 h 397"/>
                <a:gd name="T46" fmla="*/ 0 w 137"/>
                <a:gd name="T47" fmla="*/ 3 h 397"/>
                <a:gd name="T48" fmla="*/ 2 w 137"/>
                <a:gd name="T49" fmla="*/ 3 h 397"/>
                <a:gd name="T50" fmla="*/ 4 w 137"/>
                <a:gd name="T51" fmla="*/ 3 h 397"/>
                <a:gd name="T52" fmla="*/ 11 w 137"/>
                <a:gd name="T53" fmla="*/ 2 h 397"/>
                <a:gd name="T54" fmla="*/ 23 w 137"/>
                <a:gd name="T55" fmla="*/ 0 h 397"/>
                <a:gd name="T56" fmla="*/ 42 w 137"/>
                <a:gd name="T5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397">
                  <a:moveTo>
                    <a:pt x="42" y="0"/>
                  </a:moveTo>
                  <a:lnTo>
                    <a:pt x="63" y="0"/>
                  </a:lnTo>
                  <a:lnTo>
                    <a:pt x="76" y="2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289"/>
                  </a:lnTo>
                  <a:lnTo>
                    <a:pt x="86" y="306"/>
                  </a:lnTo>
                  <a:lnTo>
                    <a:pt x="90" y="317"/>
                  </a:lnTo>
                  <a:lnTo>
                    <a:pt x="98" y="324"/>
                  </a:lnTo>
                  <a:lnTo>
                    <a:pt x="109" y="325"/>
                  </a:lnTo>
                  <a:lnTo>
                    <a:pt x="114" y="325"/>
                  </a:lnTo>
                  <a:lnTo>
                    <a:pt x="119" y="324"/>
                  </a:lnTo>
                  <a:lnTo>
                    <a:pt x="137" y="390"/>
                  </a:lnTo>
                  <a:lnTo>
                    <a:pt x="116" y="395"/>
                  </a:lnTo>
                  <a:lnTo>
                    <a:pt x="88" y="397"/>
                  </a:lnTo>
                  <a:lnTo>
                    <a:pt x="74" y="397"/>
                  </a:lnTo>
                  <a:lnTo>
                    <a:pt x="60" y="394"/>
                  </a:lnTo>
                  <a:lnTo>
                    <a:pt x="46" y="388"/>
                  </a:lnTo>
                  <a:lnTo>
                    <a:pt x="32" y="380"/>
                  </a:lnTo>
                  <a:lnTo>
                    <a:pt x="20" y="366"/>
                  </a:lnTo>
                  <a:lnTo>
                    <a:pt x="9" y="348"/>
                  </a:lnTo>
                  <a:lnTo>
                    <a:pt x="4" y="324"/>
                  </a:lnTo>
                  <a:lnTo>
                    <a:pt x="0" y="292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7"/>
            <p:cNvSpPr>
              <a:spLocks/>
            </p:cNvSpPr>
            <p:nvPr userDrawn="1"/>
          </p:nvSpPr>
          <p:spPr bwMode="auto">
            <a:xfrm>
              <a:off x="8655051" y="4195763"/>
              <a:ext cx="130175" cy="463550"/>
            </a:xfrm>
            <a:custGeom>
              <a:avLst/>
              <a:gdLst>
                <a:gd name="T0" fmla="*/ 42 w 82"/>
                <a:gd name="T1" fmla="*/ 0 h 292"/>
                <a:gd name="T2" fmla="*/ 63 w 82"/>
                <a:gd name="T3" fmla="*/ 0 h 292"/>
                <a:gd name="T4" fmla="*/ 75 w 82"/>
                <a:gd name="T5" fmla="*/ 2 h 292"/>
                <a:gd name="T6" fmla="*/ 81 w 82"/>
                <a:gd name="T7" fmla="*/ 5 h 292"/>
                <a:gd name="T8" fmla="*/ 82 w 82"/>
                <a:gd name="T9" fmla="*/ 5 h 292"/>
                <a:gd name="T10" fmla="*/ 82 w 82"/>
                <a:gd name="T11" fmla="*/ 292 h 292"/>
                <a:gd name="T12" fmla="*/ 0 w 82"/>
                <a:gd name="T13" fmla="*/ 292 h 292"/>
                <a:gd name="T14" fmla="*/ 2 w 82"/>
                <a:gd name="T15" fmla="*/ 5 h 292"/>
                <a:gd name="T16" fmla="*/ 4 w 82"/>
                <a:gd name="T17" fmla="*/ 5 h 292"/>
                <a:gd name="T18" fmla="*/ 11 w 82"/>
                <a:gd name="T19" fmla="*/ 2 h 292"/>
                <a:gd name="T20" fmla="*/ 23 w 82"/>
                <a:gd name="T21" fmla="*/ 0 h 292"/>
                <a:gd name="T22" fmla="*/ 42 w 82"/>
                <a:gd name="T2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292">
                  <a:moveTo>
                    <a:pt x="42" y="0"/>
                  </a:moveTo>
                  <a:lnTo>
                    <a:pt x="63" y="0"/>
                  </a:lnTo>
                  <a:lnTo>
                    <a:pt x="75" y="2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292"/>
                  </a:lnTo>
                  <a:lnTo>
                    <a:pt x="0" y="292"/>
                  </a:lnTo>
                  <a:lnTo>
                    <a:pt x="2" y="5"/>
                  </a:lnTo>
                  <a:lnTo>
                    <a:pt x="4" y="5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8"/>
            <p:cNvSpPr>
              <a:spLocks/>
            </p:cNvSpPr>
            <p:nvPr userDrawn="1"/>
          </p:nvSpPr>
          <p:spPr bwMode="auto">
            <a:xfrm>
              <a:off x="6584951" y="4043363"/>
              <a:ext cx="422275" cy="636588"/>
            </a:xfrm>
            <a:custGeom>
              <a:avLst/>
              <a:gdLst>
                <a:gd name="T0" fmla="*/ 166 w 266"/>
                <a:gd name="T1" fmla="*/ 0 h 401"/>
                <a:gd name="T2" fmla="*/ 199 w 266"/>
                <a:gd name="T3" fmla="*/ 3 h 401"/>
                <a:gd name="T4" fmla="*/ 225 w 266"/>
                <a:gd name="T5" fmla="*/ 10 h 401"/>
                <a:gd name="T6" fmla="*/ 248 w 266"/>
                <a:gd name="T7" fmla="*/ 21 h 401"/>
                <a:gd name="T8" fmla="*/ 266 w 266"/>
                <a:gd name="T9" fmla="*/ 35 h 401"/>
                <a:gd name="T10" fmla="*/ 224 w 266"/>
                <a:gd name="T11" fmla="*/ 91 h 401"/>
                <a:gd name="T12" fmla="*/ 204 w 266"/>
                <a:gd name="T13" fmla="*/ 77 h 401"/>
                <a:gd name="T14" fmla="*/ 183 w 266"/>
                <a:gd name="T15" fmla="*/ 72 h 401"/>
                <a:gd name="T16" fmla="*/ 166 w 266"/>
                <a:gd name="T17" fmla="*/ 70 h 401"/>
                <a:gd name="T18" fmla="*/ 143 w 266"/>
                <a:gd name="T19" fmla="*/ 73 h 401"/>
                <a:gd name="T20" fmla="*/ 124 w 266"/>
                <a:gd name="T21" fmla="*/ 84 h 401"/>
                <a:gd name="T22" fmla="*/ 110 w 266"/>
                <a:gd name="T23" fmla="*/ 100 h 401"/>
                <a:gd name="T24" fmla="*/ 101 w 266"/>
                <a:gd name="T25" fmla="*/ 121 h 401"/>
                <a:gd name="T26" fmla="*/ 94 w 266"/>
                <a:gd name="T27" fmla="*/ 145 h 401"/>
                <a:gd name="T28" fmla="*/ 91 w 266"/>
                <a:gd name="T29" fmla="*/ 171 h 401"/>
                <a:gd name="T30" fmla="*/ 89 w 266"/>
                <a:gd name="T31" fmla="*/ 199 h 401"/>
                <a:gd name="T32" fmla="*/ 91 w 266"/>
                <a:gd name="T33" fmla="*/ 229 h 401"/>
                <a:gd name="T34" fmla="*/ 94 w 266"/>
                <a:gd name="T35" fmla="*/ 257 h 401"/>
                <a:gd name="T36" fmla="*/ 103 w 266"/>
                <a:gd name="T37" fmla="*/ 282 h 401"/>
                <a:gd name="T38" fmla="*/ 113 w 266"/>
                <a:gd name="T39" fmla="*/ 301 h 401"/>
                <a:gd name="T40" fmla="*/ 127 w 266"/>
                <a:gd name="T41" fmla="*/ 317 h 401"/>
                <a:gd name="T42" fmla="*/ 147 w 266"/>
                <a:gd name="T43" fmla="*/ 327 h 401"/>
                <a:gd name="T44" fmla="*/ 168 w 266"/>
                <a:gd name="T45" fmla="*/ 329 h 401"/>
                <a:gd name="T46" fmla="*/ 199 w 266"/>
                <a:gd name="T47" fmla="*/ 325 h 401"/>
                <a:gd name="T48" fmla="*/ 227 w 266"/>
                <a:gd name="T49" fmla="*/ 318 h 401"/>
                <a:gd name="T50" fmla="*/ 260 w 266"/>
                <a:gd name="T51" fmla="*/ 383 h 401"/>
                <a:gd name="T52" fmla="*/ 239 w 266"/>
                <a:gd name="T53" fmla="*/ 388 h 401"/>
                <a:gd name="T54" fmla="*/ 215 w 266"/>
                <a:gd name="T55" fmla="*/ 394 h 401"/>
                <a:gd name="T56" fmla="*/ 190 w 266"/>
                <a:gd name="T57" fmla="*/ 399 h 401"/>
                <a:gd name="T58" fmla="*/ 166 w 266"/>
                <a:gd name="T59" fmla="*/ 401 h 401"/>
                <a:gd name="T60" fmla="*/ 134 w 266"/>
                <a:gd name="T61" fmla="*/ 397 h 401"/>
                <a:gd name="T62" fmla="*/ 105 w 266"/>
                <a:gd name="T63" fmla="*/ 392 h 401"/>
                <a:gd name="T64" fmla="*/ 78 w 266"/>
                <a:gd name="T65" fmla="*/ 380 h 401"/>
                <a:gd name="T66" fmla="*/ 56 w 266"/>
                <a:gd name="T67" fmla="*/ 364 h 401"/>
                <a:gd name="T68" fmla="*/ 36 w 266"/>
                <a:gd name="T69" fmla="*/ 343 h 401"/>
                <a:gd name="T70" fmla="*/ 21 w 266"/>
                <a:gd name="T71" fmla="*/ 315 h 401"/>
                <a:gd name="T72" fmla="*/ 8 w 266"/>
                <a:gd name="T73" fmla="*/ 283 h 401"/>
                <a:gd name="T74" fmla="*/ 1 w 266"/>
                <a:gd name="T75" fmla="*/ 245 h 401"/>
                <a:gd name="T76" fmla="*/ 0 w 266"/>
                <a:gd name="T77" fmla="*/ 199 h 401"/>
                <a:gd name="T78" fmla="*/ 1 w 266"/>
                <a:gd name="T79" fmla="*/ 156 h 401"/>
                <a:gd name="T80" fmla="*/ 10 w 266"/>
                <a:gd name="T81" fmla="*/ 119 h 401"/>
                <a:gd name="T82" fmla="*/ 22 w 266"/>
                <a:gd name="T83" fmla="*/ 86 h 401"/>
                <a:gd name="T84" fmla="*/ 38 w 266"/>
                <a:gd name="T85" fmla="*/ 59 h 401"/>
                <a:gd name="T86" fmla="*/ 59 w 266"/>
                <a:gd name="T87" fmla="*/ 38 h 401"/>
                <a:gd name="T88" fmla="*/ 82 w 266"/>
                <a:gd name="T89" fmla="*/ 21 h 401"/>
                <a:gd name="T90" fmla="*/ 108 w 266"/>
                <a:gd name="T91" fmla="*/ 9 h 401"/>
                <a:gd name="T92" fmla="*/ 136 w 266"/>
                <a:gd name="T93" fmla="*/ 3 h 401"/>
                <a:gd name="T94" fmla="*/ 166 w 266"/>
                <a:gd name="T95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6" h="401">
                  <a:moveTo>
                    <a:pt x="166" y="0"/>
                  </a:moveTo>
                  <a:lnTo>
                    <a:pt x="199" y="3"/>
                  </a:lnTo>
                  <a:lnTo>
                    <a:pt x="225" y="10"/>
                  </a:lnTo>
                  <a:lnTo>
                    <a:pt x="248" y="21"/>
                  </a:lnTo>
                  <a:lnTo>
                    <a:pt x="266" y="35"/>
                  </a:lnTo>
                  <a:lnTo>
                    <a:pt x="224" y="91"/>
                  </a:lnTo>
                  <a:lnTo>
                    <a:pt x="204" y="77"/>
                  </a:lnTo>
                  <a:lnTo>
                    <a:pt x="183" y="72"/>
                  </a:lnTo>
                  <a:lnTo>
                    <a:pt x="166" y="70"/>
                  </a:lnTo>
                  <a:lnTo>
                    <a:pt x="143" y="73"/>
                  </a:lnTo>
                  <a:lnTo>
                    <a:pt x="124" y="84"/>
                  </a:lnTo>
                  <a:lnTo>
                    <a:pt x="110" y="100"/>
                  </a:lnTo>
                  <a:lnTo>
                    <a:pt x="101" y="121"/>
                  </a:lnTo>
                  <a:lnTo>
                    <a:pt x="94" y="145"/>
                  </a:lnTo>
                  <a:lnTo>
                    <a:pt x="91" y="171"/>
                  </a:lnTo>
                  <a:lnTo>
                    <a:pt x="89" y="199"/>
                  </a:lnTo>
                  <a:lnTo>
                    <a:pt x="91" y="229"/>
                  </a:lnTo>
                  <a:lnTo>
                    <a:pt x="94" y="257"/>
                  </a:lnTo>
                  <a:lnTo>
                    <a:pt x="103" y="282"/>
                  </a:lnTo>
                  <a:lnTo>
                    <a:pt x="113" y="301"/>
                  </a:lnTo>
                  <a:lnTo>
                    <a:pt x="127" y="317"/>
                  </a:lnTo>
                  <a:lnTo>
                    <a:pt x="147" y="327"/>
                  </a:lnTo>
                  <a:lnTo>
                    <a:pt x="168" y="329"/>
                  </a:lnTo>
                  <a:lnTo>
                    <a:pt x="199" y="325"/>
                  </a:lnTo>
                  <a:lnTo>
                    <a:pt x="227" y="318"/>
                  </a:lnTo>
                  <a:lnTo>
                    <a:pt x="260" y="383"/>
                  </a:lnTo>
                  <a:lnTo>
                    <a:pt x="239" y="388"/>
                  </a:lnTo>
                  <a:lnTo>
                    <a:pt x="215" y="394"/>
                  </a:lnTo>
                  <a:lnTo>
                    <a:pt x="190" y="399"/>
                  </a:lnTo>
                  <a:lnTo>
                    <a:pt x="166" y="401"/>
                  </a:lnTo>
                  <a:lnTo>
                    <a:pt x="134" y="397"/>
                  </a:lnTo>
                  <a:lnTo>
                    <a:pt x="105" y="392"/>
                  </a:lnTo>
                  <a:lnTo>
                    <a:pt x="78" y="380"/>
                  </a:lnTo>
                  <a:lnTo>
                    <a:pt x="56" y="364"/>
                  </a:lnTo>
                  <a:lnTo>
                    <a:pt x="36" y="343"/>
                  </a:lnTo>
                  <a:lnTo>
                    <a:pt x="21" y="315"/>
                  </a:lnTo>
                  <a:lnTo>
                    <a:pt x="8" y="283"/>
                  </a:lnTo>
                  <a:lnTo>
                    <a:pt x="1" y="245"/>
                  </a:lnTo>
                  <a:lnTo>
                    <a:pt x="0" y="199"/>
                  </a:lnTo>
                  <a:lnTo>
                    <a:pt x="1" y="156"/>
                  </a:lnTo>
                  <a:lnTo>
                    <a:pt x="10" y="119"/>
                  </a:lnTo>
                  <a:lnTo>
                    <a:pt x="22" y="86"/>
                  </a:lnTo>
                  <a:lnTo>
                    <a:pt x="38" y="59"/>
                  </a:lnTo>
                  <a:lnTo>
                    <a:pt x="59" y="38"/>
                  </a:lnTo>
                  <a:lnTo>
                    <a:pt x="82" y="21"/>
                  </a:lnTo>
                  <a:lnTo>
                    <a:pt x="108" y="9"/>
                  </a:lnTo>
                  <a:lnTo>
                    <a:pt x="136" y="3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9"/>
            <p:cNvSpPr>
              <a:spLocks noEditPoints="1"/>
            </p:cNvSpPr>
            <p:nvPr userDrawn="1"/>
          </p:nvSpPr>
          <p:spPr bwMode="auto">
            <a:xfrm>
              <a:off x="6092826" y="4043363"/>
              <a:ext cx="406400" cy="630238"/>
            </a:xfrm>
            <a:custGeom>
              <a:avLst/>
              <a:gdLst>
                <a:gd name="T0" fmla="*/ 156 w 256"/>
                <a:gd name="T1" fmla="*/ 152 h 397"/>
                <a:gd name="T2" fmla="*/ 137 w 256"/>
                <a:gd name="T3" fmla="*/ 152 h 397"/>
                <a:gd name="T4" fmla="*/ 117 w 256"/>
                <a:gd name="T5" fmla="*/ 159 h 397"/>
                <a:gd name="T6" fmla="*/ 103 w 256"/>
                <a:gd name="T7" fmla="*/ 175 h 397"/>
                <a:gd name="T8" fmla="*/ 93 w 256"/>
                <a:gd name="T9" fmla="*/ 196 h 397"/>
                <a:gd name="T10" fmla="*/ 86 w 256"/>
                <a:gd name="T11" fmla="*/ 220 h 397"/>
                <a:gd name="T12" fmla="*/ 84 w 256"/>
                <a:gd name="T13" fmla="*/ 247 h 397"/>
                <a:gd name="T14" fmla="*/ 86 w 256"/>
                <a:gd name="T15" fmla="*/ 273 h 397"/>
                <a:gd name="T16" fmla="*/ 93 w 256"/>
                <a:gd name="T17" fmla="*/ 297 h 397"/>
                <a:gd name="T18" fmla="*/ 102 w 256"/>
                <a:gd name="T19" fmla="*/ 313 h 397"/>
                <a:gd name="T20" fmla="*/ 112 w 256"/>
                <a:gd name="T21" fmla="*/ 324 h 397"/>
                <a:gd name="T22" fmla="*/ 124 w 256"/>
                <a:gd name="T23" fmla="*/ 331 h 397"/>
                <a:gd name="T24" fmla="*/ 135 w 256"/>
                <a:gd name="T25" fmla="*/ 332 h 397"/>
                <a:gd name="T26" fmla="*/ 154 w 256"/>
                <a:gd name="T27" fmla="*/ 329 h 397"/>
                <a:gd name="T28" fmla="*/ 172 w 256"/>
                <a:gd name="T29" fmla="*/ 317 h 397"/>
                <a:gd name="T30" fmla="*/ 172 w 256"/>
                <a:gd name="T31" fmla="*/ 156 h 397"/>
                <a:gd name="T32" fmla="*/ 156 w 256"/>
                <a:gd name="T33" fmla="*/ 152 h 397"/>
                <a:gd name="T34" fmla="*/ 214 w 256"/>
                <a:gd name="T35" fmla="*/ 0 h 397"/>
                <a:gd name="T36" fmla="*/ 235 w 256"/>
                <a:gd name="T37" fmla="*/ 0 h 397"/>
                <a:gd name="T38" fmla="*/ 247 w 256"/>
                <a:gd name="T39" fmla="*/ 2 h 397"/>
                <a:gd name="T40" fmla="*/ 254 w 256"/>
                <a:gd name="T41" fmla="*/ 3 h 397"/>
                <a:gd name="T42" fmla="*/ 256 w 256"/>
                <a:gd name="T43" fmla="*/ 3 h 397"/>
                <a:gd name="T44" fmla="*/ 256 w 256"/>
                <a:gd name="T45" fmla="*/ 388 h 397"/>
                <a:gd name="T46" fmla="*/ 193 w 256"/>
                <a:gd name="T47" fmla="*/ 388 h 397"/>
                <a:gd name="T48" fmla="*/ 184 w 256"/>
                <a:gd name="T49" fmla="*/ 373 h 397"/>
                <a:gd name="T50" fmla="*/ 165 w 256"/>
                <a:gd name="T51" fmla="*/ 385 h 397"/>
                <a:gd name="T52" fmla="*/ 145 w 256"/>
                <a:gd name="T53" fmla="*/ 394 h 397"/>
                <a:gd name="T54" fmla="*/ 124 w 256"/>
                <a:gd name="T55" fmla="*/ 397 h 397"/>
                <a:gd name="T56" fmla="*/ 91 w 256"/>
                <a:gd name="T57" fmla="*/ 390 h 397"/>
                <a:gd name="T58" fmla="*/ 61 w 256"/>
                <a:gd name="T59" fmla="*/ 374 h 397"/>
                <a:gd name="T60" fmla="*/ 35 w 256"/>
                <a:gd name="T61" fmla="*/ 352 h 397"/>
                <a:gd name="T62" fmla="*/ 16 w 256"/>
                <a:gd name="T63" fmla="*/ 318 h 397"/>
                <a:gd name="T64" fmla="*/ 4 w 256"/>
                <a:gd name="T65" fmla="*/ 282 h 397"/>
                <a:gd name="T66" fmla="*/ 0 w 256"/>
                <a:gd name="T67" fmla="*/ 243 h 397"/>
                <a:gd name="T68" fmla="*/ 0 w 256"/>
                <a:gd name="T69" fmla="*/ 210 h 397"/>
                <a:gd name="T70" fmla="*/ 7 w 256"/>
                <a:gd name="T71" fmla="*/ 180 h 397"/>
                <a:gd name="T72" fmla="*/ 19 w 256"/>
                <a:gd name="T73" fmla="*/ 156 h 397"/>
                <a:gd name="T74" fmla="*/ 35 w 256"/>
                <a:gd name="T75" fmla="*/ 136 h 397"/>
                <a:gd name="T76" fmla="*/ 54 w 256"/>
                <a:gd name="T77" fmla="*/ 119 h 397"/>
                <a:gd name="T78" fmla="*/ 75 w 256"/>
                <a:gd name="T79" fmla="*/ 107 h 397"/>
                <a:gd name="T80" fmla="*/ 100 w 256"/>
                <a:gd name="T81" fmla="*/ 98 h 397"/>
                <a:gd name="T82" fmla="*/ 124 w 256"/>
                <a:gd name="T83" fmla="*/ 93 h 397"/>
                <a:gd name="T84" fmla="*/ 149 w 256"/>
                <a:gd name="T85" fmla="*/ 91 h 397"/>
                <a:gd name="T86" fmla="*/ 158 w 256"/>
                <a:gd name="T87" fmla="*/ 93 h 397"/>
                <a:gd name="T88" fmla="*/ 165 w 256"/>
                <a:gd name="T89" fmla="*/ 93 h 397"/>
                <a:gd name="T90" fmla="*/ 172 w 256"/>
                <a:gd name="T91" fmla="*/ 94 h 397"/>
                <a:gd name="T92" fmla="*/ 172 w 256"/>
                <a:gd name="T93" fmla="*/ 3 h 397"/>
                <a:gd name="T94" fmla="*/ 173 w 256"/>
                <a:gd name="T95" fmla="*/ 3 h 397"/>
                <a:gd name="T96" fmla="*/ 180 w 256"/>
                <a:gd name="T97" fmla="*/ 2 h 397"/>
                <a:gd name="T98" fmla="*/ 194 w 256"/>
                <a:gd name="T99" fmla="*/ 0 h 397"/>
                <a:gd name="T100" fmla="*/ 214 w 256"/>
                <a:gd name="T10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6" h="397">
                  <a:moveTo>
                    <a:pt x="156" y="152"/>
                  </a:moveTo>
                  <a:lnTo>
                    <a:pt x="137" y="152"/>
                  </a:lnTo>
                  <a:lnTo>
                    <a:pt x="117" y="159"/>
                  </a:lnTo>
                  <a:lnTo>
                    <a:pt x="103" y="175"/>
                  </a:lnTo>
                  <a:lnTo>
                    <a:pt x="93" y="196"/>
                  </a:lnTo>
                  <a:lnTo>
                    <a:pt x="86" y="220"/>
                  </a:lnTo>
                  <a:lnTo>
                    <a:pt x="84" y="247"/>
                  </a:lnTo>
                  <a:lnTo>
                    <a:pt x="86" y="273"/>
                  </a:lnTo>
                  <a:lnTo>
                    <a:pt x="93" y="297"/>
                  </a:lnTo>
                  <a:lnTo>
                    <a:pt x="102" y="313"/>
                  </a:lnTo>
                  <a:lnTo>
                    <a:pt x="112" y="324"/>
                  </a:lnTo>
                  <a:lnTo>
                    <a:pt x="124" y="331"/>
                  </a:lnTo>
                  <a:lnTo>
                    <a:pt x="135" y="332"/>
                  </a:lnTo>
                  <a:lnTo>
                    <a:pt x="154" y="329"/>
                  </a:lnTo>
                  <a:lnTo>
                    <a:pt x="172" y="317"/>
                  </a:lnTo>
                  <a:lnTo>
                    <a:pt x="172" y="156"/>
                  </a:lnTo>
                  <a:lnTo>
                    <a:pt x="156" y="152"/>
                  </a:lnTo>
                  <a:close/>
                  <a:moveTo>
                    <a:pt x="214" y="0"/>
                  </a:moveTo>
                  <a:lnTo>
                    <a:pt x="235" y="0"/>
                  </a:lnTo>
                  <a:lnTo>
                    <a:pt x="247" y="2"/>
                  </a:lnTo>
                  <a:lnTo>
                    <a:pt x="254" y="3"/>
                  </a:lnTo>
                  <a:lnTo>
                    <a:pt x="256" y="3"/>
                  </a:lnTo>
                  <a:lnTo>
                    <a:pt x="256" y="388"/>
                  </a:lnTo>
                  <a:lnTo>
                    <a:pt x="193" y="388"/>
                  </a:lnTo>
                  <a:lnTo>
                    <a:pt x="184" y="373"/>
                  </a:lnTo>
                  <a:lnTo>
                    <a:pt x="165" y="385"/>
                  </a:lnTo>
                  <a:lnTo>
                    <a:pt x="145" y="394"/>
                  </a:lnTo>
                  <a:lnTo>
                    <a:pt x="124" y="397"/>
                  </a:lnTo>
                  <a:lnTo>
                    <a:pt x="91" y="390"/>
                  </a:lnTo>
                  <a:lnTo>
                    <a:pt x="61" y="374"/>
                  </a:lnTo>
                  <a:lnTo>
                    <a:pt x="35" y="352"/>
                  </a:lnTo>
                  <a:lnTo>
                    <a:pt x="16" y="318"/>
                  </a:lnTo>
                  <a:lnTo>
                    <a:pt x="4" y="282"/>
                  </a:lnTo>
                  <a:lnTo>
                    <a:pt x="0" y="243"/>
                  </a:lnTo>
                  <a:lnTo>
                    <a:pt x="0" y="210"/>
                  </a:lnTo>
                  <a:lnTo>
                    <a:pt x="7" y="180"/>
                  </a:lnTo>
                  <a:lnTo>
                    <a:pt x="19" y="156"/>
                  </a:lnTo>
                  <a:lnTo>
                    <a:pt x="35" y="136"/>
                  </a:lnTo>
                  <a:lnTo>
                    <a:pt x="54" y="119"/>
                  </a:lnTo>
                  <a:lnTo>
                    <a:pt x="75" y="107"/>
                  </a:lnTo>
                  <a:lnTo>
                    <a:pt x="100" y="98"/>
                  </a:lnTo>
                  <a:lnTo>
                    <a:pt x="124" y="93"/>
                  </a:lnTo>
                  <a:lnTo>
                    <a:pt x="149" y="91"/>
                  </a:lnTo>
                  <a:lnTo>
                    <a:pt x="158" y="93"/>
                  </a:lnTo>
                  <a:lnTo>
                    <a:pt x="165" y="93"/>
                  </a:lnTo>
                  <a:lnTo>
                    <a:pt x="172" y="94"/>
                  </a:lnTo>
                  <a:lnTo>
                    <a:pt x="172" y="3"/>
                  </a:lnTo>
                  <a:lnTo>
                    <a:pt x="173" y="3"/>
                  </a:lnTo>
                  <a:lnTo>
                    <a:pt x="180" y="2"/>
                  </a:lnTo>
                  <a:lnTo>
                    <a:pt x="194" y="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0"/>
            <p:cNvSpPr>
              <a:spLocks noEditPoints="1"/>
            </p:cNvSpPr>
            <p:nvPr userDrawn="1"/>
          </p:nvSpPr>
          <p:spPr bwMode="auto">
            <a:xfrm>
              <a:off x="4181476" y="4187825"/>
              <a:ext cx="371475" cy="488950"/>
            </a:xfrm>
            <a:custGeom>
              <a:avLst/>
              <a:gdLst>
                <a:gd name="T0" fmla="*/ 111 w 234"/>
                <a:gd name="T1" fmla="*/ 61 h 308"/>
                <a:gd name="T2" fmla="*/ 90 w 234"/>
                <a:gd name="T3" fmla="*/ 84 h 308"/>
                <a:gd name="T4" fmla="*/ 82 w 234"/>
                <a:gd name="T5" fmla="*/ 112 h 308"/>
                <a:gd name="T6" fmla="*/ 80 w 234"/>
                <a:gd name="T7" fmla="*/ 131 h 308"/>
                <a:gd name="T8" fmla="*/ 171 w 234"/>
                <a:gd name="T9" fmla="*/ 135 h 308"/>
                <a:gd name="T10" fmla="*/ 167 w 234"/>
                <a:gd name="T11" fmla="*/ 93 h 308"/>
                <a:gd name="T12" fmla="*/ 146 w 234"/>
                <a:gd name="T13" fmla="*/ 61 h 308"/>
                <a:gd name="T14" fmla="*/ 131 w 234"/>
                <a:gd name="T15" fmla="*/ 58 h 308"/>
                <a:gd name="T16" fmla="*/ 127 w 234"/>
                <a:gd name="T17" fmla="*/ 0 h 308"/>
                <a:gd name="T18" fmla="*/ 167 w 234"/>
                <a:gd name="T19" fmla="*/ 7 h 308"/>
                <a:gd name="T20" fmla="*/ 202 w 234"/>
                <a:gd name="T21" fmla="*/ 28 h 308"/>
                <a:gd name="T22" fmla="*/ 225 w 234"/>
                <a:gd name="T23" fmla="*/ 66 h 308"/>
                <a:gd name="T24" fmla="*/ 234 w 234"/>
                <a:gd name="T25" fmla="*/ 128 h 308"/>
                <a:gd name="T26" fmla="*/ 232 w 234"/>
                <a:gd name="T27" fmla="*/ 166 h 308"/>
                <a:gd name="T28" fmla="*/ 229 w 234"/>
                <a:gd name="T29" fmla="*/ 182 h 308"/>
                <a:gd name="T30" fmla="*/ 185 w 234"/>
                <a:gd name="T31" fmla="*/ 184 h 308"/>
                <a:gd name="T32" fmla="*/ 80 w 234"/>
                <a:gd name="T33" fmla="*/ 184 h 308"/>
                <a:gd name="T34" fmla="*/ 80 w 234"/>
                <a:gd name="T35" fmla="*/ 194 h 308"/>
                <a:gd name="T36" fmla="*/ 83 w 234"/>
                <a:gd name="T37" fmla="*/ 213 h 308"/>
                <a:gd name="T38" fmla="*/ 101 w 234"/>
                <a:gd name="T39" fmla="*/ 234 h 308"/>
                <a:gd name="T40" fmla="*/ 138 w 234"/>
                <a:gd name="T41" fmla="*/ 247 h 308"/>
                <a:gd name="T42" fmla="*/ 180 w 234"/>
                <a:gd name="T43" fmla="*/ 241 h 308"/>
                <a:gd name="T44" fmla="*/ 222 w 234"/>
                <a:gd name="T45" fmla="*/ 226 h 308"/>
                <a:gd name="T46" fmla="*/ 187 w 234"/>
                <a:gd name="T47" fmla="*/ 299 h 308"/>
                <a:gd name="T48" fmla="*/ 131 w 234"/>
                <a:gd name="T49" fmla="*/ 308 h 308"/>
                <a:gd name="T50" fmla="*/ 131 w 234"/>
                <a:gd name="T51" fmla="*/ 308 h 308"/>
                <a:gd name="T52" fmla="*/ 76 w 234"/>
                <a:gd name="T53" fmla="*/ 297 h 308"/>
                <a:gd name="T54" fmla="*/ 36 w 234"/>
                <a:gd name="T55" fmla="*/ 271 h 308"/>
                <a:gd name="T56" fmla="*/ 10 w 234"/>
                <a:gd name="T57" fmla="*/ 224 h 308"/>
                <a:gd name="T58" fmla="*/ 0 w 234"/>
                <a:gd name="T59" fmla="*/ 154 h 308"/>
                <a:gd name="T60" fmla="*/ 3 w 234"/>
                <a:gd name="T61" fmla="*/ 115 h 308"/>
                <a:gd name="T62" fmla="*/ 21 w 234"/>
                <a:gd name="T63" fmla="*/ 58 h 308"/>
                <a:gd name="T64" fmla="*/ 54 w 234"/>
                <a:gd name="T65" fmla="*/ 21 h 308"/>
                <a:gd name="T66" fmla="*/ 99 w 234"/>
                <a:gd name="T67" fmla="*/ 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4" h="308">
                  <a:moveTo>
                    <a:pt x="131" y="58"/>
                  </a:moveTo>
                  <a:lnTo>
                    <a:pt x="111" y="61"/>
                  </a:lnTo>
                  <a:lnTo>
                    <a:pt x="99" y="70"/>
                  </a:lnTo>
                  <a:lnTo>
                    <a:pt x="90" y="84"/>
                  </a:lnTo>
                  <a:lnTo>
                    <a:pt x="85" y="98"/>
                  </a:lnTo>
                  <a:lnTo>
                    <a:pt x="82" y="112"/>
                  </a:lnTo>
                  <a:lnTo>
                    <a:pt x="80" y="122"/>
                  </a:lnTo>
                  <a:lnTo>
                    <a:pt x="80" y="131"/>
                  </a:lnTo>
                  <a:lnTo>
                    <a:pt x="82" y="135"/>
                  </a:lnTo>
                  <a:lnTo>
                    <a:pt x="171" y="135"/>
                  </a:lnTo>
                  <a:lnTo>
                    <a:pt x="171" y="117"/>
                  </a:lnTo>
                  <a:lnTo>
                    <a:pt x="167" y="93"/>
                  </a:lnTo>
                  <a:lnTo>
                    <a:pt x="159" y="73"/>
                  </a:lnTo>
                  <a:lnTo>
                    <a:pt x="146" y="61"/>
                  </a:lnTo>
                  <a:lnTo>
                    <a:pt x="131" y="58"/>
                  </a:lnTo>
                  <a:lnTo>
                    <a:pt x="131" y="58"/>
                  </a:lnTo>
                  <a:close/>
                  <a:moveTo>
                    <a:pt x="125" y="0"/>
                  </a:moveTo>
                  <a:lnTo>
                    <a:pt x="127" y="0"/>
                  </a:lnTo>
                  <a:lnTo>
                    <a:pt x="148" y="2"/>
                  </a:lnTo>
                  <a:lnTo>
                    <a:pt x="167" y="7"/>
                  </a:lnTo>
                  <a:lnTo>
                    <a:pt x="187" y="16"/>
                  </a:lnTo>
                  <a:lnTo>
                    <a:pt x="202" y="28"/>
                  </a:lnTo>
                  <a:lnTo>
                    <a:pt x="215" y="45"/>
                  </a:lnTo>
                  <a:lnTo>
                    <a:pt x="225" y="66"/>
                  </a:lnTo>
                  <a:lnTo>
                    <a:pt x="232" y="94"/>
                  </a:lnTo>
                  <a:lnTo>
                    <a:pt x="234" y="128"/>
                  </a:lnTo>
                  <a:lnTo>
                    <a:pt x="234" y="149"/>
                  </a:lnTo>
                  <a:lnTo>
                    <a:pt x="232" y="166"/>
                  </a:lnTo>
                  <a:lnTo>
                    <a:pt x="230" y="177"/>
                  </a:lnTo>
                  <a:lnTo>
                    <a:pt x="229" y="182"/>
                  </a:lnTo>
                  <a:lnTo>
                    <a:pt x="211" y="184"/>
                  </a:lnTo>
                  <a:lnTo>
                    <a:pt x="185" y="184"/>
                  </a:lnTo>
                  <a:lnTo>
                    <a:pt x="157" y="184"/>
                  </a:lnTo>
                  <a:lnTo>
                    <a:pt x="80" y="184"/>
                  </a:lnTo>
                  <a:lnTo>
                    <a:pt x="80" y="187"/>
                  </a:lnTo>
                  <a:lnTo>
                    <a:pt x="80" y="194"/>
                  </a:lnTo>
                  <a:lnTo>
                    <a:pt x="80" y="203"/>
                  </a:lnTo>
                  <a:lnTo>
                    <a:pt x="83" y="213"/>
                  </a:lnTo>
                  <a:lnTo>
                    <a:pt x="90" y="226"/>
                  </a:lnTo>
                  <a:lnTo>
                    <a:pt x="101" y="234"/>
                  </a:lnTo>
                  <a:lnTo>
                    <a:pt x="117" y="243"/>
                  </a:lnTo>
                  <a:lnTo>
                    <a:pt x="138" y="247"/>
                  </a:lnTo>
                  <a:lnTo>
                    <a:pt x="160" y="247"/>
                  </a:lnTo>
                  <a:lnTo>
                    <a:pt x="180" y="241"/>
                  </a:lnTo>
                  <a:lnTo>
                    <a:pt x="199" y="234"/>
                  </a:lnTo>
                  <a:lnTo>
                    <a:pt x="222" y="226"/>
                  </a:lnTo>
                  <a:lnTo>
                    <a:pt x="222" y="287"/>
                  </a:lnTo>
                  <a:lnTo>
                    <a:pt x="187" y="299"/>
                  </a:lnTo>
                  <a:lnTo>
                    <a:pt x="155" y="306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03" y="304"/>
                  </a:lnTo>
                  <a:lnTo>
                    <a:pt x="76" y="297"/>
                  </a:lnTo>
                  <a:lnTo>
                    <a:pt x="55" y="287"/>
                  </a:lnTo>
                  <a:lnTo>
                    <a:pt x="36" y="271"/>
                  </a:lnTo>
                  <a:lnTo>
                    <a:pt x="22" y="250"/>
                  </a:lnTo>
                  <a:lnTo>
                    <a:pt x="10" y="224"/>
                  </a:lnTo>
                  <a:lnTo>
                    <a:pt x="3" y="192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3" y="115"/>
                  </a:lnTo>
                  <a:lnTo>
                    <a:pt x="10" y="84"/>
                  </a:lnTo>
                  <a:lnTo>
                    <a:pt x="21" y="58"/>
                  </a:lnTo>
                  <a:lnTo>
                    <a:pt x="35" y="37"/>
                  </a:lnTo>
                  <a:lnTo>
                    <a:pt x="54" y="21"/>
                  </a:lnTo>
                  <a:lnTo>
                    <a:pt x="75" y="10"/>
                  </a:lnTo>
                  <a:lnTo>
                    <a:pt x="99" y="3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1"/>
            <p:cNvSpPr>
              <a:spLocks/>
            </p:cNvSpPr>
            <p:nvPr userDrawn="1"/>
          </p:nvSpPr>
          <p:spPr bwMode="auto">
            <a:xfrm>
              <a:off x="3332163" y="4029075"/>
              <a:ext cx="415925" cy="633413"/>
            </a:xfrm>
            <a:custGeom>
              <a:avLst/>
              <a:gdLst>
                <a:gd name="T0" fmla="*/ 162 w 262"/>
                <a:gd name="T1" fmla="*/ 0 h 399"/>
                <a:gd name="T2" fmla="*/ 197 w 262"/>
                <a:gd name="T3" fmla="*/ 2 h 399"/>
                <a:gd name="T4" fmla="*/ 225 w 262"/>
                <a:gd name="T5" fmla="*/ 5 h 399"/>
                <a:gd name="T6" fmla="*/ 244 w 262"/>
                <a:gd name="T7" fmla="*/ 11 h 399"/>
                <a:gd name="T8" fmla="*/ 257 w 262"/>
                <a:gd name="T9" fmla="*/ 16 h 399"/>
                <a:gd name="T10" fmla="*/ 262 w 262"/>
                <a:gd name="T11" fmla="*/ 18 h 399"/>
                <a:gd name="T12" fmla="*/ 243 w 262"/>
                <a:gd name="T13" fmla="*/ 79 h 399"/>
                <a:gd name="T14" fmla="*/ 239 w 262"/>
                <a:gd name="T15" fmla="*/ 79 h 399"/>
                <a:gd name="T16" fmla="*/ 230 w 262"/>
                <a:gd name="T17" fmla="*/ 75 h 399"/>
                <a:gd name="T18" fmla="*/ 213 w 262"/>
                <a:gd name="T19" fmla="*/ 70 h 399"/>
                <a:gd name="T20" fmla="*/ 188 w 262"/>
                <a:gd name="T21" fmla="*/ 67 h 399"/>
                <a:gd name="T22" fmla="*/ 157 w 262"/>
                <a:gd name="T23" fmla="*/ 67 h 399"/>
                <a:gd name="T24" fmla="*/ 136 w 262"/>
                <a:gd name="T25" fmla="*/ 67 h 399"/>
                <a:gd name="T26" fmla="*/ 117 w 262"/>
                <a:gd name="T27" fmla="*/ 68 h 399"/>
                <a:gd name="T28" fmla="*/ 99 w 262"/>
                <a:gd name="T29" fmla="*/ 74 h 399"/>
                <a:gd name="T30" fmla="*/ 89 w 262"/>
                <a:gd name="T31" fmla="*/ 81 h 399"/>
                <a:gd name="T32" fmla="*/ 89 w 262"/>
                <a:gd name="T33" fmla="*/ 168 h 399"/>
                <a:gd name="T34" fmla="*/ 215 w 262"/>
                <a:gd name="T35" fmla="*/ 168 h 399"/>
                <a:gd name="T36" fmla="*/ 215 w 262"/>
                <a:gd name="T37" fmla="*/ 236 h 399"/>
                <a:gd name="T38" fmla="*/ 89 w 262"/>
                <a:gd name="T39" fmla="*/ 236 h 399"/>
                <a:gd name="T40" fmla="*/ 87 w 262"/>
                <a:gd name="T41" fmla="*/ 399 h 399"/>
                <a:gd name="T42" fmla="*/ 0 w 262"/>
                <a:gd name="T43" fmla="*/ 399 h 399"/>
                <a:gd name="T44" fmla="*/ 0 w 262"/>
                <a:gd name="T45" fmla="*/ 33 h 399"/>
                <a:gd name="T46" fmla="*/ 3 w 262"/>
                <a:gd name="T47" fmla="*/ 32 h 399"/>
                <a:gd name="T48" fmla="*/ 10 w 262"/>
                <a:gd name="T49" fmla="*/ 26 h 399"/>
                <a:gd name="T50" fmla="*/ 26 w 262"/>
                <a:gd name="T51" fmla="*/ 19 h 399"/>
                <a:gd name="T52" fmla="*/ 47 w 262"/>
                <a:gd name="T53" fmla="*/ 12 h 399"/>
                <a:gd name="T54" fmla="*/ 78 w 262"/>
                <a:gd name="T55" fmla="*/ 5 h 399"/>
                <a:gd name="T56" fmla="*/ 118 w 262"/>
                <a:gd name="T57" fmla="*/ 2 h 399"/>
                <a:gd name="T58" fmla="*/ 162 w 262"/>
                <a:gd name="T59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2" h="399">
                  <a:moveTo>
                    <a:pt x="162" y="0"/>
                  </a:moveTo>
                  <a:lnTo>
                    <a:pt x="197" y="2"/>
                  </a:lnTo>
                  <a:lnTo>
                    <a:pt x="225" y="5"/>
                  </a:lnTo>
                  <a:lnTo>
                    <a:pt x="244" y="11"/>
                  </a:lnTo>
                  <a:lnTo>
                    <a:pt x="257" y="16"/>
                  </a:lnTo>
                  <a:lnTo>
                    <a:pt x="262" y="18"/>
                  </a:lnTo>
                  <a:lnTo>
                    <a:pt x="243" y="79"/>
                  </a:lnTo>
                  <a:lnTo>
                    <a:pt x="239" y="79"/>
                  </a:lnTo>
                  <a:lnTo>
                    <a:pt x="230" y="75"/>
                  </a:lnTo>
                  <a:lnTo>
                    <a:pt x="213" y="70"/>
                  </a:lnTo>
                  <a:lnTo>
                    <a:pt x="188" y="67"/>
                  </a:lnTo>
                  <a:lnTo>
                    <a:pt x="157" y="67"/>
                  </a:lnTo>
                  <a:lnTo>
                    <a:pt x="136" y="67"/>
                  </a:lnTo>
                  <a:lnTo>
                    <a:pt x="117" y="68"/>
                  </a:lnTo>
                  <a:lnTo>
                    <a:pt x="99" y="74"/>
                  </a:lnTo>
                  <a:lnTo>
                    <a:pt x="89" y="81"/>
                  </a:lnTo>
                  <a:lnTo>
                    <a:pt x="89" y="168"/>
                  </a:lnTo>
                  <a:lnTo>
                    <a:pt x="215" y="168"/>
                  </a:lnTo>
                  <a:lnTo>
                    <a:pt x="215" y="236"/>
                  </a:lnTo>
                  <a:lnTo>
                    <a:pt x="89" y="236"/>
                  </a:lnTo>
                  <a:lnTo>
                    <a:pt x="87" y="399"/>
                  </a:lnTo>
                  <a:lnTo>
                    <a:pt x="0" y="399"/>
                  </a:lnTo>
                  <a:lnTo>
                    <a:pt x="0" y="33"/>
                  </a:lnTo>
                  <a:lnTo>
                    <a:pt x="3" y="32"/>
                  </a:lnTo>
                  <a:lnTo>
                    <a:pt x="10" y="26"/>
                  </a:lnTo>
                  <a:lnTo>
                    <a:pt x="26" y="19"/>
                  </a:lnTo>
                  <a:lnTo>
                    <a:pt x="47" y="12"/>
                  </a:lnTo>
                  <a:lnTo>
                    <a:pt x="78" y="5"/>
                  </a:lnTo>
                  <a:lnTo>
                    <a:pt x="118" y="2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2"/>
            <p:cNvSpPr>
              <a:spLocks/>
            </p:cNvSpPr>
            <p:nvPr userDrawn="1"/>
          </p:nvSpPr>
          <p:spPr bwMode="auto">
            <a:xfrm>
              <a:off x="10212388" y="4037013"/>
              <a:ext cx="136525" cy="136525"/>
            </a:xfrm>
            <a:custGeom>
              <a:avLst/>
              <a:gdLst>
                <a:gd name="T0" fmla="*/ 42 w 86"/>
                <a:gd name="T1" fmla="*/ 0 h 86"/>
                <a:gd name="T2" fmla="*/ 59 w 86"/>
                <a:gd name="T3" fmla="*/ 4 h 86"/>
                <a:gd name="T4" fmla="*/ 73 w 86"/>
                <a:gd name="T5" fmla="*/ 13 h 86"/>
                <a:gd name="T6" fmla="*/ 82 w 86"/>
                <a:gd name="T7" fmla="*/ 27 h 86"/>
                <a:gd name="T8" fmla="*/ 86 w 86"/>
                <a:gd name="T9" fmla="*/ 44 h 86"/>
                <a:gd name="T10" fmla="*/ 82 w 86"/>
                <a:gd name="T11" fmla="*/ 60 h 86"/>
                <a:gd name="T12" fmla="*/ 73 w 86"/>
                <a:gd name="T13" fmla="*/ 74 h 86"/>
                <a:gd name="T14" fmla="*/ 59 w 86"/>
                <a:gd name="T15" fmla="*/ 83 h 86"/>
                <a:gd name="T16" fmla="*/ 42 w 86"/>
                <a:gd name="T17" fmla="*/ 86 h 86"/>
                <a:gd name="T18" fmla="*/ 26 w 86"/>
                <a:gd name="T19" fmla="*/ 83 h 86"/>
                <a:gd name="T20" fmla="*/ 12 w 86"/>
                <a:gd name="T21" fmla="*/ 74 h 86"/>
                <a:gd name="T22" fmla="*/ 4 w 86"/>
                <a:gd name="T23" fmla="*/ 60 h 86"/>
                <a:gd name="T24" fmla="*/ 0 w 86"/>
                <a:gd name="T25" fmla="*/ 44 h 86"/>
                <a:gd name="T26" fmla="*/ 4 w 86"/>
                <a:gd name="T27" fmla="*/ 27 h 86"/>
                <a:gd name="T28" fmla="*/ 12 w 86"/>
                <a:gd name="T29" fmla="*/ 13 h 86"/>
                <a:gd name="T30" fmla="*/ 26 w 86"/>
                <a:gd name="T31" fmla="*/ 4 h 86"/>
                <a:gd name="T32" fmla="*/ 42 w 86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59" y="4"/>
                  </a:lnTo>
                  <a:lnTo>
                    <a:pt x="73" y="13"/>
                  </a:lnTo>
                  <a:lnTo>
                    <a:pt x="82" y="27"/>
                  </a:lnTo>
                  <a:lnTo>
                    <a:pt x="86" y="44"/>
                  </a:lnTo>
                  <a:lnTo>
                    <a:pt x="82" y="60"/>
                  </a:lnTo>
                  <a:lnTo>
                    <a:pt x="73" y="74"/>
                  </a:lnTo>
                  <a:lnTo>
                    <a:pt x="59" y="83"/>
                  </a:lnTo>
                  <a:lnTo>
                    <a:pt x="42" y="86"/>
                  </a:lnTo>
                  <a:lnTo>
                    <a:pt x="26" y="83"/>
                  </a:lnTo>
                  <a:lnTo>
                    <a:pt x="12" y="74"/>
                  </a:lnTo>
                  <a:lnTo>
                    <a:pt x="4" y="60"/>
                  </a:lnTo>
                  <a:lnTo>
                    <a:pt x="0" y="44"/>
                  </a:lnTo>
                  <a:lnTo>
                    <a:pt x="4" y="27"/>
                  </a:lnTo>
                  <a:lnTo>
                    <a:pt x="12" y="13"/>
                  </a:lnTo>
                  <a:lnTo>
                    <a:pt x="26" y="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"/>
            <p:cNvSpPr>
              <a:spLocks/>
            </p:cNvSpPr>
            <p:nvPr userDrawn="1"/>
          </p:nvSpPr>
          <p:spPr bwMode="auto">
            <a:xfrm>
              <a:off x="10387013" y="4191000"/>
              <a:ext cx="284163" cy="338138"/>
            </a:xfrm>
            <a:custGeom>
              <a:avLst/>
              <a:gdLst>
                <a:gd name="T0" fmla="*/ 100 w 179"/>
                <a:gd name="T1" fmla="*/ 0 h 213"/>
                <a:gd name="T2" fmla="*/ 119 w 179"/>
                <a:gd name="T3" fmla="*/ 1 h 213"/>
                <a:gd name="T4" fmla="*/ 137 w 179"/>
                <a:gd name="T5" fmla="*/ 5 h 213"/>
                <a:gd name="T6" fmla="*/ 152 w 179"/>
                <a:gd name="T7" fmla="*/ 12 h 213"/>
                <a:gd name="T8" fmla="*/ 166 w 179"/>
                <a:gd name="T9" fmla="*/ 26 h 213"/>
                <a:gd name="T10" fmla="*/ 175 w 179"/>
                <a:gd name="T11" fmla="*/ 43 h 213"/>
                <a:gd name="T12" fmla="*/ 179 w 179"/>
                <a:gd name="T13" fmla="*/ 68 h 213"/>
                <a:gd name="T14" fmla="*/ 177 w 179"/>
                <a:gd name="T15" fmla="*/ 85 h 213"/>
                <a:gd name="T16" fmla="*/ 173 w 179"/>
                <a:gd name="T17" fmla="*/ 105 h 213"/>
                <a:gd name="T18" fmla="*/ 170 w 179"/>
                <a:gd name="T19" fmla="*/ 119 h 213"/>
                <a:gd name="T20" fmla="*/ 165 w 179"/>
                <a:gd name="T21" fmla="*/ 136 h 213"/>
                <a:gd name="T22" fmla="*/ 158 w 179"/>
                <a:gd name="T23" fmla="*/ 157 h 213"/>
                <a:gd name="T24" fmla="*/ 149 w 179"/>
                <a:gd name="T25" fmla="*/ 178 h 213"/>
                <a:gd name="T26" fmla="*/ 144 w 179"/>
                <a:gd name="T27" fmla="*/ 196 h 213"/>
                <a:gd name="T28" fmla="*/ 138 w 179"/>
                <a:gd name="T29" fmla="*/ 208 h 213"/>
                <a:gd name="T30" fmla="*/ 137 w 179"/>
                <a:gd name="T31" fmla="*/ 213 h 213"/>
                <a:gd name="T32" fmla="*/ 93 w 179"/>
                <a:gd name="T33" fmla="*/ 213 h 213"/>
                <a:gd name="T34" fmla="*/ 93 w 179"/>
                <a:gd name="T35" fmla="*/ 150 h 213"/>
                <a:gd name="T36" fmla="*/ 100 w 179"/>
                <a:gd name="T37" fmla="*/ 127 h 213"/>
                <a:gd name="T38" fmla="*/ 109 w 179"/>
                <a:gd name="T39" fmla="*/ 103 h 213"/>
                <a:gd name="T40" fmla="*/ 110 w 179"/>
                <a:gd name="T41" fmla="*/ 92 h 213"/>
                <a:gd name="T42" fmla="*/ 112 w 179"/>
                <a:gd name="T43" fmla="*/ 84 h 213"/>
                <a:gd name="T44" fmla="*/ 114 w 179"/>
                <a:gd name="T45" fmla="*/ 78 h 213"/>
                <a:gd name="T46" fmla="*/ 112 w 179"/>
                <a:gd name="T47" fmla="*/ 73 h 213"/>
                <a:gd name="T48" fmla="*/ 112 w 179"/>
                <a:gd name="T49" fmla="*/ 70 h 213"/>
                <a:gd name="T50" fmla="*/ 110 w 179"/>
                <a:gd name="T51" fmla="*/ 68 h 213"/>
                <a:gd name="T52" fmla="*/ 109 w 179"/>
                <a:gd name="T53" fmla="*/ 66 h 213"/>
                <a:gd name="T54" fmla="*/ 107 w 179"/>
                <a:gd name="T55" fmla="*/ 64 h 213"/>
                <a:gd name="T56" fmla="*/ 100 w 179"/>
                <a:gd name="T57" fmla="*/ 63 h 213"/>
                <a:gd name="T58" fmla="*/ 93 w 179"/>
                <a:gd name="T59" fmla="*/ 63 h 213"/>
                <a:gd name="T60" fmla="*/ 81 w 179"/>
                <a:gd name="T61" fmla="*/ 63 h 213"/>
                <a:gd name="T62" fmla="*/ 63 w 179"/>
                <a:gd name="T63" fmla="*/ 66 h 213"/>
                <a:gd name="T64" fmla="*/ 63 w 179"/>
                <a:gd name="T65" fmla="*/ 213 h 213"/>
                <a:gd name="T66" fmla="*/ 0 w 179"/>
                <a:gd name="T67" fmla="*/ 213 h 213"/>
                <a:gd name="T68" fmla="*/ 0 w 179"/>
                <a:gd name="T69" fmla="*/ 17 h 213"/>
                <a:gd name="T70" fmla="*/ 19 w 179"/>
                <a:gd name="T71" fmla="*/ 12 h 213"/>
                <a:gd name="T72" fmla="*/ 47 w 179"/>
                <a:gd name="T73" fmla="*/ 5 h 213"/>
                <a:gd name="T74" fmla="*/ 81 w 179"/>
                <a:gd name="T75" fmla="*/ 1 h 213"/>
                <a:gd name="T76" fmla="*/ 89 w 179"/>
                <a:gd name="T77" fmla="*/ 0 h 213"/>
                <a:gd name="T78" fmla="*/ 100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100" y="0"/>
                  </a:moveTo>
                  <a:lnTo>
                    <a:pt x="119" y="1"/>
                  </a:lnTo>
                  <a:lnTo>
                    <a:pt x="137" y="5"/>
                  </a:lnTo>
                  <a:lnTo>
                    <a:pt x="152" y="12"/>
                  </a:lnTo>
                  <a:lnTo>
                    <a:pt x="166" y="26"/>
                  </a:lnTo>
                  <a:lnTo>
                    <a:pt x="175" y="43"/>
                  </a:lnTo>
                  <a:lnTo>
                    <a:pt x="179" y="68"/>
                  </a:lnTo>
                  <a:lnTo>
                    <a:pt x="177" y="85"/>
                  </a:lnTo>
                  <a:lnTo>
                    <a:pt x="173" y="105"/>
                  </a:lnTo>
                  <a:lnTo>
                    <a:pt x="170" y="119"/>
                  </a:lnTo>
                  <a:lnTo>
                    <a:pt x="165" y="136"/>
                  </a:lnTo>
                  <a:lnTo>
                    <a:pt x="158" y="157"/>
                  </a:lnTo>
                  <a:lnTo>
                    <a:pt x="149" y="178"/>
                  </a:lnTo>
                  <a:lnTo>
                    <a:pt x="144" y="196"/>
                  </a:lnTo>
                  <a:lnTo>
                    <a:pt x="138" y="208"/>
                  </a:lnTo>
                  <a:lnTo>
                    <a:pt x="137" y="213"/>
                  </a:lnTo>
                  <a:lnTo>
                    <a:pt x="93" y="213"/>
                  </a:lnTo>
                  <a:lnTo>
                    <a:pt x="93" y="150"/>
                  </a:lnTo>
                  <a:lnTo>
                    <a:pt x="100" y="127"/>
                  </a:lnTo>
                  <a:lnTo>
                    <a:pt x="109" y="103"/>
                  </a:lnTo>
                  <a:lnTo>
                    <a:pt x="110" y="92"/>
                  </a:lnTo>
                  <a:lnTo>
                    <a:pt x="112" y="84"/>
                  </a:lnTo>
                  <a:lnTo>
                    <a:pt x="114" y="78"/>
                  </a:lnTo>
                  <a:lnTo>
                    <a:pt x="112" y="73"/>
                  </a:lnTo>
                  <a:lnTo>
                    <a:pt x="112" y="70"/>
                  </a:lnTo>
                  <a:lnTo>
                    <a:pt x="110" y="68"/>
                  </a:lnTo>
                  <a:lnTo>
                    <a:pt x="109" y="66"/>
                  </a:lnTo>
                  <a:lnTo>
                    <a:pt x="107" y="64"/>
                  </a:lnTo>
                  <a:lnTo>
                    <a:pt x="100" y="63"/>
                  </a:lnTo>
                  <a:lnTo>
                    <a:pt x="93" y="63"/>
                  </a:lnTo>
                  <a:lnTo>
                    <a:pt x="81" y="63"/>
                  </a:lnTo>
                  <a:lnTo>
                    <a:pt x="63" y="66"/>
                  </a:lnTo>
                  <a:lnTo>
                    <a:pt x="63" y="213"/>
                  </a:lnTo>
                  <a:lnTo>
                    <a:pt x="0" y="213"/>
                  </a:lnTo>
                  <a:lnTo>
                    <a:pt x="0" y="17"/>
                  </a:lnTo>
                  <a:lnTo>
                    <a:pt x="19" y="12"/>
                  </a:lnTo>
                  <a:lnTo>
                    <a:pt x="47" y="5"/>
                  </a:lnTo>
                  <a:lnTo>
                    <a:pt x="81" y="1"/>
                  </a:lnTo>
                  <a:lnTo>
                    <a:pt x="89" y="0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24"/>
            <p:cNvSpPr>
              <a:spLocks noChangeArrowheads="1"/>
            </p:cNvSpPr>
            <p:nvPr userDrawn="1"/>
          </p:nvSpPr>
          <p:spPr bwMode="auto">
            <a:xfrm>
              <a:off x="9975851" y="4570413"/>
              <a:ext cx="608013" cy="88900"/>
            </a:xfrm>
            <a:prstGeom prst="rect">
              <a:avLst/>
            </a:prstGeom>
            <a:solidFill>
              <a:schemeClr val="accent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"/>
            <p:cNvSpPr>
              <a:spLocks/>
            </p:cNvSpPr>
            <p:nvPr userDrawn="1"/>
          </p:nvSpPr>
          <p:spPr bwMode="auto">
            <a:xfrm>
              <a:off x="10223501" y="4217988"/>
              <a:ext cx="111125" cy="311150"/>
            </a:xfrm>
            <a:custGeom>
              <a:avLst/>
              <a:gdLst>
                <a:gd name="T0" fmla="*/ 35 w 70"/>
                <a:gd name="T1" fmla="*/ 0 h 196"/>
                <a:gd name="T2" fmla="*/ 56 w 70"/>
                <a:gd name="T3" fmla="*/ 0 h 196"/>
                <a:gd name="T4" fmla="*/ 66 w 70"/>
                <a:gd name="T5" fmla="*/ 2 h 196"/>
                <a:gd name="T6" fmla="*/ 70 w 70"/>
                <a:gd name="T7" fmla="*/ 2 h 196"/>
                <a:gd name="T8" fmla="*/ 70 w 70"/>
                <a:gd name="T9" fmla="*/ 196 h 196"/>
                <a:gd name="T10" fmla="*/ 0 w 70"/>
                <a:gd name="T11" fmla="*/ 196 h 196"/>
                <a:gd name="T12" fmla="*/ 0 w 70"/>
                <a:gd name="T13" fmla="*/ 2 h 196"/>
                <a:gd name="T14" fmla="*/ 5 w 70"/>
                <a:gd name="T15" fmla="*/ 2 h 196"/>
                <a:gd name="T16" fmla="*/ 17 w 70"/>
                <a:gd name="T17" fmla="*/ 0 h 196"/>
                <a:gd name="T18" fmla="*/ 35 w 70"/>
                <a:gd name="T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96">
                  <a:moveTo>
                    <a:pt x="35" y="0"/>
                  </a:moveTo>
                  <a:lnTo>
                    <a:pt x="56" y="0"/>
                  </a:lnTo>
                  <a:lnTo>
                    <a:pt x="66" y="2"/>
                  </a:lnTo>
                  <a:lnTo>
                    <a:pt x="70" y="2"/>
                  </a:lnTo>
                  <a:lnTo>
                    <a:pt x="70" y="196"/>
                  </a:lnTo>
                  <a:lnTo>
                    <a:pt x="0" y="196"/>
                  </a:lnTo>
                  <a:lnTo>
                    <a:pt x="0" y="2"/>
                  </a:lnTo>
                  <a:lnTo>
                    <a:pt x="5" y="2"/>
                  </a:lnTo>
                  <a:lnTo>
                    <a:pt x="17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"/>
            <p:cNvSpPr>
              <a:spLocks/>
            </p:cNvSpPr>
            <p:nvPr userDrawn="1"/>
          </p:nvSpPr>
          <p:spPr bwMode="auto">
            <a:xfrm>
              <a:off x="9890126" y="4191000"/>
              <a:ext cx="284163" cy="338138"/>
            </a:xfrm>
            <a:custGeom>
              <a:avLst/>
              <a:gdLst>
                <a:gd name="T0" fmla="*/ 77 w 179"/>
                <a:gd name="T1" fmla="*/ 0 h 213"/>
                <a:gd name="T2" fmla="*/ 88 w 179"/>
                <a:gd name="T3" fmla="*/ 0 h 213"/>
                <a:gd name="T4" fmla="*/ 98 w 179"/>
                <a:gd name="T5" fmla="*/ 1 h 213"/>
                <a:gd name="T6" fmla="*/ 131 w 179"/>
                <a:gd name="T7" fmla="*/ 5 h 213"/>
                <a:gd name="T8" fmla="*/ 159 w 179"/>
                <a:gd name="T9" fmla="*/ 12 h 213"/>
                <a:gd name="T10" fmla="*/ 179 w 179"/>
                <a:gd name="T11" fmla="*/ 17 h 213"/>
                <a:gd name="T12" fmla="*/ 179 w 179"/>
                <a:gd name="T13" fmla="*/ 213 h 213"/>
                <a:gd name="T14" fmla="*/ 114 w 179"/>
                <a:gd name="T15" fmla="*/ 213 h 213"/>
                <a:gd name="T16" fmla="*/ 114 w 179"/>
                <a:gd name="T17" fmla="*/ 66 h 213"/>
                <a:gd name="T18" fmla="*/ 98 w 179"/>
                <a:gd name="T19" fmla="*/ 63 h 213"/>
                <a:gd name="T20" fmla="*/ 86 w 179"/>
                <a:gd name="T21" fmla="*/ 63 h 213"/>
                <a:gd name="T22" fmla="*/ 77 w 179"/>
                <a:gd name="T23" fmla="*/ 63 h 213"/>
                <a:gd name="T24" fmla="*/ 72 w 179"/>
                <a:gd name="T25" fmla="*/ 64 h 213"/>
                <a:gd name="T26" fmla="*/ 68 w 179"/>
                <a:gd name="T27" fmla="*/ 66 h 213"/>
                <a:gd name="T28" fmla="*/ 67 w 179"/>
                <a:gd name="T29" fmla="*/ 68 h 213"/>
                <a:gd name="T30" fmla="*/ 67 w 179"/>
                <a:gd name="T31" fmla="*/ 70 h 213"/>
                <a:gd name="T32" fmla="*/ 65 w 179"/>
                <a:gd name="T33" fmla="*/ 73 h 213"/>
                <a:gd name="T34" fmla="*/ 65 w 179"/>
                <a:gd name="T35" fmla="*/ 78 h 213"/>
                <a:gd name="T36" fmla="*/ 65 w 179"/>
                <a:gd name="T37" fmla="*/ 84 h 213"/>
                <a:gd name="T38" fmla="*/ 67 w 179"/>
                <a:gd name="T39" fmla="*/ 92 h 213"/>
                <a:gd name="T40" fmla="*/ 70 w 179"/>
                <a:gd name="T41" fmla="*/ 103 h 213"/>
                <a:gd name="T42" fmla="*/ 77 w 179"/>
                <a:gd name="T43" fmla="*/ 127 h 213"/>
                <a:gd name="T44" fmla="*/ 86 w 179"/>
                <a:gd name="T45" fmla="*/ 150 h 213"/>
                <a:gd name="T46" fmla="*/ 86 w 179"/>
                <a:gd name="T47" fmla="*/ 213 h 213"/>
                <a:gd name="T48" fmla="*/ 42 w 179"/>
                <a:gd name="T49" fmla="*/ 213 h 213"/>
                <a:gd name="T50" fmla="*/ 40 w 179"/>
                <a:gd name="T51" fmla="*/ 208 h 213"/>
                <a:gd name="T52" fmla="*/ 35 w 179"/>
                <a:gd name="T53" fmla="*/ 196 h 213"/>
                <a:gd name="T54" fmla="*/ 28 w 179"/>
                <a:gd name="T55" fmla="*/ 178 h 213"/>
                <a:gd name="T56" fmla="*/ 21 w 179"/>
                <a:gd name="T57" fmla="*/ 157 h 213"/>
                <a:gd name="T58" fmla="*/ 14 w 179"/>
                <a:gd name="T59" fmla="*/ 136 h 213"/>
                <a:gd name="T60" fmla="*/ 7 w 179"/>
                <a:gd name="T61" fmla="*/ 119 h 213"/>
                <a:gd name="T62" fmla="*/ 4 w 179"/>
                <a:gd name="T63" fmla="*/ 105 h 213"/>
                <a:gd name="T64" fmla="*/ 0 w 179"/>
                <a:gd name="T65" fmla="*/ 85 h 213"/>
                <a:gd name="T66" fmla="*/ 0 w 179"/>
                <a:gd name="T67" fmla="*/ 68 h 213"/>
                <a:gd name="T68" fmla="*/ 2 w 179"/>
                <a:gd name="T69" fmla="*/ 43 h 213"/>
                <a:gd name="T70" fmla="*/ 12 w 179"/>
                <a:gd name="T71" fmla="*/ 26 h 213"/>
                <a:gd name="T72" fmla="*/ 25 w 179"/>
                <a:gd name="T73" fmla="*/ 12 h 213"/>
                <a:gd name="T74" fmla="*/ 42 w 179"/>
                <a:gd name="T75" fmla="*/ 5 h 213"/>
                <a:gd name="T76" fmla="*/ 60 w 179"/>
                <a:gd name="T77" fmla="*/ 1 h 213"/>
                <a:gd name="T78" fmla="*/ 77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77" y="0"/>
                  </a:moveTo>
                  <a:lnTo>
                    <a:pt x="88" y="0"/>
                  </a:lnTo>
                  <a:lnTo>
                    <a:pt x="98" y="1"/>
                  </a:lnTo>
                  <a:lnTo>
                    <a:pt x="131" y="5"/>
                  </a:lnTo>
                  <a:lnTo>
                    <a:pt x="159" y="12"/>
                  </a:lnTo>
                  <a:lnTo>
                    <a:pt x="179" y="17"/>
                  </a:lnTo>
                  <a:lnTo>
                    <a:pt x="179" y="213"/>
                  </a:lnTo>
                  <a:lnTo>
                    <a:pt x="114" y="213"/>
                  </a:lnTo>
                  <a:lnTo>
                    <a:pt x="114" y="66"/>
                  </a:lnTo>
                  <a:lnTo>
                    <a:pt x="98" y="63"/>
                  </a:lnTo>
                  <a:lnTo>
                    <a:pt x="86" y="63"/>
                  </a:lnTo>
                  <a:lnTo>
                    <a:pt x="77" y="63"/>
                  </a:lnTo>
                  <a:lnTo>
                    <a:pt x="72" y="64"/>
                  </a:lnTo>
                  <a:lnTo>
                    <a:pt x="68" y="66"/>
                  </a:lnTo>
                  <a:lnTo>
                    <a:pt x="67" y="68"/>
                  </a:lnTo>
                  <a:lnTo>
                    <a:pt x="67" y="70"/>
                  </a:lnTo>
                  <a:lnTo>
                    <a:pt x="65" y="73"/>
                  </a:lnTo>
                  <a:lnTo>
                    <a:pt x="65" y="78"/>
                  </a:lnTo>
                  <a:lnTo>
                    <a:pt x="65" y="84"/>
                  </a:lnTo>
                  <a:lnTo>
                    <a:pt x="67" y="92"/>
                  </a:lnTo>
                  <a:lnTo>
                    <a:pt x="70" y="103"/>
                  </a:lnTo>
                  <a:lnTo>
                    <a:pt x="77" y="127"/>
                  </a:lnTo>
                  <a:lnTo>
                    <a:pt x="86" y="150"/>
                  </a:lnTo>
                  <a:lnTo>
                    <a:pt x="86" y="213"/>
                  </a:lnTo>
                  <a:lnTo>
                    <a:pt x="42" y="213"/>
                  </a:lnTo>
                  <a:lnTo>
                    <a:pt x="40" y="208"/>
                  </a:lnTo>
                  <a:lnTo>
                    <a:pt x="35" y="196"/>
                  </a:lnTo>
                  <a:lnTo>
                    <a:pt x="28" y="178"/>
                  </a:lnTo>
                  <a:lnTo>
                    <a:pt x="21" y="157"/>
                  </a:lnTo>
                  <a:lnTo>
                    <a:pt x="14" y="136"/>
                  </a:lnTo>
                  <a:lnTo>
                    <a:pt x="7" y="119"/>
                  </a:lnTo>
                  <a:lnTo>
                    <a:pt x="4" y="105"/>
                  </a:lnTo>
                  <a:lnTo>
                    <a:pt x="0" y="85"/>
                  </a:lnTo>
                  <a:lnTo>
                    <a:pt x="0" y="68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5"/>
                  </a:lnTo>
                  <a:lnTo>
                    <a:pt x="60" y="1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"/>
            <p:cNvSpPr>
              <a:spLocks/>
            </p:cNvSpPr>
            <p:nvPr userDrawn="1"/>
          </p:nvSpPr>
          <p:spPr bwMode="auto">
            <a:xfrm>
              <a:off x="3489326" y="1066800"/>
              <a:ext cx="1693863" cy="1184275"/>
            </a:xfrm>
            <a:custGeom>
              <a:avLst/>
              <a:gdLst>
                <a:gd name="T0" fmla="*/ 152 w 1067"/>
                <a:gd name="T1" fmla="*/ 0 h 746"/>
                <a:gd name="T2" fmla="*/ 152 w 1067"/>
                <a:gd name="T3" fmla="*/ 2 h 746"/>
                <a:gd name="T4" fmla="*/ 151 w 1067"/>
                <a:gd name="T5" fmla="*/ 6 h 746"/>
                <a:gd name="T6" fmla="*/ 151 w 1067"/>
                <a:gd name="T7" fmla="*/ 9 h 746"/>
                <a:gd name="T8" fmla="*/ 149 w 1067"/>
                <a:gd name="T9" fmla="*/ 13 h 746"/>
                <a:gd name="T10" fmla="*/ 149 w 1067"/>
                <a:gd name="T11" fmla="*/ 13 h 746"/>
                <a:gd name="T12" fmla="*/ 131 w 1067"/>
                <a:gd name="T13" fmla="*/ 62 h 746"/>
                <a:gd name="T14" fmla="*/ 117 w 1067"/>
                <a:gd name="T15" fmla="*/ 109 h 746"/>
                <a:gd name="T16" fmla="*/ 98 w 1067"/>
                <a:gd name="T17" fmla="*/ 179 h 746"/>
                <a:gd name="T18" fmla="*/ 82 w 1067"/>
                <a:gd name="T19" fmla="*/ 252 h 746"/>
                <a:gd name="T20" fmla="*/ 72 w 1067"/>
                <a:gd name="T21" fmla="*/ 326 h 746"/>
                <a:gd name="T22" fmla="*/ 68 w 1067"/>
                <a:gd name="T23" fmla="*/ 401 h 746"/>
                <a:gd name="T24" fmla="*/ 72 w 1067"/>
                <a:gd name="T25" fmla="*/ 459 h 746"/>
                <a:gd name="T26" fmla="*/ 84 w 1067"/>
                <a:gd name="T27" fmla="*/ 517 h 746"/>
                <a:gd name="T28" fmla="*/ 100 w 1067"/>
                <a:gd name="T29" fmla="*/ 553 h 746"/>
                <a:gd name="T30" fmla="*/ 121 w 1067"/>
                <a:gd name="T31" fmla="*/ 587 h 746"/>
                <a:gd name="T32" fmla="*/ 149 w 1067"/>
                <a:gd name="T33" fmla="*/ 620 h 746"/>
                <a:gd name="T34" fmla="*/ 184 w 1067"/>
                <a:gd name="T35" fmla="*/ 646 h 746"/>
                <a:gd name="T36" fmla="*/ 224 w 1067"/>
                <a:gd name="T37" fmla="*/ 664 h 746"/>
                <a:gd name="T38" fmla="*/ 264 w 1067"/>
                <a:gd name="T39" fmla="*/ 678 h 746"/>
                <a:gd name="T40" fmla="*/ 310 w 1067"/>
                <a:gd name="T41" fmla="*/ 686 h 746"/>
                <a:gd name="T42" fmla="*/ 373 w 1067"/>
                <a:gd name="T43" fmla="*/ 695 h 746"/>
                <a:gd name="T44" fmla="*/ 441 w 1067"/>
                <a:gd name="T45" fmla="*/ 699 h 746"/>
                <a:gd name="T46" fmla="*/ 512 w 1067"/>
                <a:gd name="T47" fmla="*/ 699 h 746"/>
                <a:gd name="T48" fmla="*/ 619 w 1067"/>
                <a:gd name="T49" fmla="*/ 695 h 746"/>
                <a:gd name="T50" fmla="*/ 731 w 1067"/>
                <a:gd name="T51" fmla="*/ 686 h 746"/>
                <a:gd name="T52" fmla="*/ 845 w 1067"/>
                <a:gd name="T53" fmla="*/ 676 h 746"/>
                <a:gd name="T54" fmla="*/ 957 w 1067"/>
                <a:gd name="T55" fmla="*/ 662 h 746"/>
                <a:gd name="T56" fmla="*/ 1067 w 1067"/>
                <a:gd name="T57" fmla="*/ 648 h 746"/>
                <a:gd name="T58" fmla="*/ 1016 w 1067"/>
                <a:gd name="T59" fmla="*/ 657 h 746"/>
                <a:gd name="T60" fmla="*/ 958 w 1067"/>
                <a:gd name="T61" fmla="*/ 665 h 746"/>
                <a:gd name="T62" fmla="*/ 892 w 1067"/>
                <a:gd name="T63" fmla="*/ 676 h 746"/>
                <a:gd name="T64" fmla="*/ 824 w 1067"/>
                <a:gd name="T65" fmla="*/ 686 h 746"/>
                <a:gd name="T66" fmla="*/ 756 w 1067"/>
                <a:gd name="T67" fmla="*/ 697 h 746"/>
                <a:gd name="T68" fmla="*/ 689 w 1067"/>
                <a:gd name="T69" fmla="*/ 706 h 746"/>
                <a:gd name="T70" fmla="*/ 628 w 1067"/>
                <a:gd name="T71" fmla="*/ 714 h 746"/>
                <a:gd name="T72" fmla="*/ 577 w 1067"/>
                <a:gd name="T73" fmla="*/ 721 h 746"/>
                <a:gd name="T74" fmla="*/ 490 w 1067"/>
                <a:gd name="T75" fmla="*/ 732 h 746"/>
                <a:gd name="T76" fmla="*/ 406 w 1067"/>
                <a:gd name="T77" fmla="*/ 739 h 746"/>
                <a:gd name="T78" fmla="*/ 325 w 1067"/>
                <a:gd name="T79" fmla="*/ 744 h 746"/>
                <a:gd name="T80" fmla="*/ 252 w 1067"/>
                <a:gd name="T81" fmla="*/ 746 h 746"/>
                <a:gd name="T82" fmla="*/ 186 w 1067"/>
                <a:gd name="T83" fmla="*/ 744 h 746"/>
                <a:gd name="T84" fmla="*/ 126 w 1067"/>
                <a:gd name="T85" fmla="*/ 735 h 746"/>
                <a:gd name="T86" fmla="*/ 105 w 1067"/>
                <a:gd name="T87" fmla="*/ 730 h 746"/>
                <a:gd name="T88" fmla="*/ 82 w 1067"/>
                <a:gd name="T89" fmla="*/ 721 h 746"/>
                <a:gd name="T90" fmla="*/ 61 w 1067"/>
                <a:gd name="T91" fmla="*/ 711 h 746"/>
                <a:gd name="T92" fmla="*/ 42 w 1067"/>
                <a:gd name="T93" fmla="*/ 695 h 746"/>
                <a:gd name="T94" fmla="*/ 26 w 1067"/>
                <a:gd name="T95" fmla="*/ 676 h 746"/>
                <a:gd name="T96" fmla="*/ 12 w 1067"/>
                <a:gd name="T97" fmla="*/ 650 h 746"/>
                <a:gd name="T98" fmla="*/ 4 w 1067"/>
                <a:gd name="T99" fmla="*/ 618 h 746"/>
                <a:gd name="T100" fmla="*/ 0 w 1067"/>
                <a:gd name="T101" fmla="*/ 581 h 746"/>
                <a:gd name="T102" fmla="*/ 0 w 1067"/>
                <a:gd name="T103" fmla="*/ 550 h 746"/>
                <a:gd name="T104" fmla="*/ 2 w 1067"/>
                <a:gd name="T105" fmla="*/ 517 h 746"/>
                <a:gd name="T106" fmla="*/ 7 w 1067"/>
                <a:gd name="T107" fmla="*/ 478 h 746"/>
                <a:gd name="T108" fmla="*/ 16 w 1067"/>
                <a:gd name="T109" fmla="*/ 436 h 746"/>
                <a:gd name="T110" fmla="*/ 26 w 1067"/>
                <a:gd name="T111" fmla="*/ 392 h 746"/>
                <a:gd name="T112" fmla="*/ 39 w 1067"/>
                <a:gd name="T113" fmla="*/ 347 h 746"/>
                <a:gd name="T114" fmla="*/ 54 w 1067"/>
                <a:gd name="T115" fmla="*/ 294 h 746"/>
                <a:gd name="T116" fmla="*/ 72 w 1067"/>
                <a:gd name="T117" fmla="*/ 235 h 746"/>
                <a:gd name="T118" fmla="*/ 93 w 1067"/>
                <a:gd name="T119" fmla="*/ 170 h 746"/>
                <a:gd name="T120" fmla="*/ 119 w 1067"/>
                <a:gd name="T121" fmla="*/ 95 h 746"/>
                <a:gd name="T122" fmla="*/ 149 w 1067"/>
                <a:gd name="T123" fmla="*/ 13 h 746"/>
                <a:gd name="T124" fmla="*/ 152 w 1067"/>
                <a:gd name="T125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746">
                  <a:moveTo>
                    <a:pt x="152" y="0"/>
                  </a:moveTo>
                  <a:lnTo>
                    <a:pt x="152" y="2"/>
                  </a:lnTo>
                  <a:lnTo>
                    <a:pt x="151" y="6"/>
                  </a:lnTo>
                  <a:lnTo>
                    <a:pt x="151" y="9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31" y="62"/>
                  </a:lnTo>
                  <a:lnTo>
                    <a:pt x="117" y="109"/>
                  </a:lnTo>
                  <a:lnTo>
                    <a:pt x="98" y="179"/>
                  </a:lnTo>
                  <a:lnTo>
                    <a:pt x="82" y="252"/>
                  </a:lnTo>
                  <a:lnTo>
                    <a:pt x="72" y="326"/>
                  </a:lnTo>
                  <a:lnTo>
                    <a:pt x="68" y="401"/>
                  </a:lnTo>
                  <a:lnTo>
                    <a:pt x="72" y="459"/>
                  </a:lnTo>
                  <a:lnTo>
                    <a:pt x="84" y="517"/>
                  </a:lnTo>
                  <a:lnTo>
                    <a:pt x="100" y="553"/>
                  </a:lnTo>
                  <a:lnTo>
                    <a:pt x="121" y="587"/>
                  </a:lnTo>
                  <a:lnTo>
                    <a:pt x="149" y="620"/>
                  </a:lnTo>
                  <a:lnTo>
                    <a:pt x="184" y="646"/>
                  </a:lnTo>
                  <a:lnTo>
                    <a:pt x="224" y="664"/>
                  </a:lnTo>
                  <a:lnTo>
                    <a:pt x="264" y="678"/>
                  </a:lnTo>
                  <a:lnTo>
                    <a:pt x="310" y="686"/>
                  </a:lnTo>
                  <a:lnTo>
                    <a:pt x="373" y="695"/>
                  </a:lnTo>
                  <a:lnTo>
                    <a:pt x="441" y="699"/>
                  </a:lnTo>
                  <a:lnTo>
                    <a:pt x="512" y="699"/>
                  </a:lnTo>
                  <a:lnTo>
                    <a:pt x="619" y="695"/>
                  </a:lnTo>
                  <a:lnTo>
                    <a:pt x="731" y="686"/>
                  </a:lnTo>
                  <a:lnTo>
                    <a:pt x="845" y="676"/>
                  </a:lnTo>
                  <a:lnTo>
                    <a:pt x="957" y="662"/>
                  </a:lnTo>
                  <a:lnTo>
                    <a:pt x="1067" y="648"/>
                  </a:lnTo>
                  <a:lnTo>
                    <a:pt x="1016" y="657"/>
                  </a:lnTo>
                  <a:lnTo>
                    <a:pt x="958" y="665"/>
                  </a:lnTo>
                  <a:lnTo>
                    <a:pt x="892" y="676"/>
                  </a:lnTo>
                  <a:lnTo>
                    <a:pt x="824" y="686"/>
                  </a:lnTo>
                  <a:lnTo>
                    <a:pt x="756" y="697"/>
                  </a:lnTo>
                  <a:lnTo>
                    <a:pt x="689" y="706"/>
                  </a:lnTo>
                  <a:lnTo>
                    <a:pt x="628" y="714"/>
                  </a:lnTo>
                  <a:lnTo>
                    <a:pt x="577" y="721"/>
                  </a:lnTo>
                  <a:lnTo>
                    <a:pt x="490" y="732"/>
                  </a:lnTo>
                  <a:lnTo>
                    <a:pt x="406" y="739"/>
                  </a:lnTo>
                  <a:lnTo>
                    <a:pt x="325" y="744"/>
                  </a:lnTo>
                  <a:lnTo>
                    <a:pt x="252" y="746"/>
                  </a:lnTo>
                  <a:lnTo>
                    <a:pt x="186" y="744"/>
                  </a:lnTo>
                  <a:lnTo>
                    <a:pt x="126" y="735"/>
                  </a:lnTo>
                  <a:lnTo>
                    <a:pt x="105" y="730"/>
                  </a:lnTo>
                  <a:lnTo>
                    <a:pt x="82" y="721"/>
                  </a:lnTo>
                  <a:lnTo>
                    <a:pt x="61" y="711"/>
                  </a:lnTo>
                  <a:lnTo>
                    <a:pt x="42" y="695"/>
                  </a:lnTo>
                  <a:lnTo>
                    <a:pt x="26" y="676"/>
                  </a:lnTo>
                  <a:lnTo>
                    <a:pt x="12" y="650"/>
                  </a:lnTo>
                  <a:lnTo>
                    <a:pt x="4" y="618"/>
                  </a:lnTo>
                  <a:lnTo>
                    <a:pt x="0" y="581"/>
                  </a:lnTo>
                  <a:lnTo>
                    <a:pt x="0" y="550"/>
                  </a:lnTo>
                  <a:lnTo>
                    <a:pt x="2" y="517"/>
                  </a:lnTo>
                  <a:lnTo>
                    <a:pt x="7" y="478"/>
                  </a:lnTo>
                  <a:lnTo>
                    <a:pt x="16" y="436"/>
                  </a:lnTo>
                  <a:lnTo>
                    <a:pt x="26" y="392"/>
                  </a:lnTo>
                  <a:lnTo>
                    <a:pt x="39" y="347"/>
                  </a:lnTo>
                  <a:lnTo>
                    <a:pt x="54" y="294"/>
                  </a:lnTo>
                  <a:lnTo>
                    <a:pt x="72" y="235"/>
                  </a:lnTo>
                  <a:lnTo>
                    <a:pt x="93" y="170"/>
                  </a:lnTo>
                  <a:lnTo>
                    <a:pt x="119" y="95"/>
                  </a:lnTo>
                  <a:lnTo>
                    <a:pt x="149" y="1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AED4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8"/>
            <p:cNvSpPr>
              <a:spLocks/>
            </p:cNvSpPr>
            <p:nvPr userDrawn="1"/>
          </p:nvSpPr>
          <p:spPr bwMode="auto">
            <a:xfrm>
              <a:off x="3597276" y="1039813"/>
              <a:ext cx="1643063" cy="1136650"/>
            </a:xfrm>
            <a:custGeom>
              <a:avLst/>
              <a:gdLst>
                <a:gd name="T0" fmla="*/ 91 w 1035"/>
                <a:gd name="T1" fmla="*/ 0 h 716"/>
                <a:gd name="T2" fmla="*/ 133 w 1035"/>
                <a:gd name="T3" fmla="*/ 17 h 716"/>
                <a:gd name="T4" fmla="*/ 172 w 1035"/>
                <a:gd name="T5" fmla="*/ 38 h 716"/>
                <a:gd name="T6" fmla="*/ 205 w 1035"/>
                <a:gd name="T7" fmla="*/ 61 h 716"/>
                <a:gd name="T8" fmla="*/ 193 w 1035"/>
                <a:gd name="T9" fmla="*/ 105 h 716"/>
                <a:gd name="T10" fmla="*/ 180 w 1035"/>
                <a:gd name="T11" fmla="*/ 152 h 716"/>
                <a:gd name="T12" fmla="*/ 170 w 1035"/>
                <a:gd name="T13" fmla="*/ 199 h 716"/>
                <a:gd name="T14" fmla="*/ 159 w 1035"/>
                <a:gd name="T15" fmla="*/ 247 h 716"/>
                <a:gd name="T16" fmla="*/ 152 w 1035"/>
                <a:gd name="T17" fmla="*/ 292 h 716"/>
                <a:gd name="T18" fmla="*/ 149 w 1035"/>
                <a:gd name="T19" fmla="*/ 338 h 716"/>
                <a:gd name="T20" fmla="*/ 145 w 1035"/>
                <a:gd name="T21" fmla="*/ 378 h 716"/>
                <a:gd name="T22" fmla="*/ 147 w 1035"/>
                <a:gd name="T23" fmla="*/ 416 h 716"/>
                <a:gd name="T24" fmla="*/ 154 w 1035"/>
                <a:gd name="T25" fmla="*/ 450 h 716"/>
                <a:gd name="T26" fmla="*/ 163 w 1035"/>
                <a:gd name="T27" fmla="*/ 478 h 716"/>
                <a:gd name="T28" fmla="*/ 179 w 1035"/>
                <a:gd name="T29" fmla="*/ 499 h 716"/>
                <a:gd name="T30" fmla="*/ 203 w 1035"/>
                <a:gd name="T31" fmla="*/ 518 h 716"/>
                <a:gd name="T32" fmla="*/ 235 w 1035"/>
                <a:gd name="T33" fmla="*/ 532 h 716"/>
                <a:gd name="T34" fmla="*/ 271 w 1035"/>
                <a:gd name="T35" fmla="*/ 542 h 716"/>
                <a:gd name="T36" fmla="*/ 317 w 1035"/>
                <a:gd name="T37" fmla="*/ 549 h 716"/>
                <a:gd name="T38" fmla="*/ 366 w 1035"/>
                <a:gd name="T39" fmla="*/ 553 h 716"/>
                <a:gd name="T40" fmla="*/ 420 w 1035"/>
                <a:gd name="T41" fmla="*/ 555 h 716"/>
                <a:gd name="T42" fmla="*/ 478 w 1035"/>
                <a:gd name="T43" fmla="*/ 553 h 716"/>
                <a:gd name="T44" fmla="*/ 539 w 1035"/>
                <a:gd name="T45" fmla="*/ 548 h 716"/>
                <a:gd name="T46" fmla="*/ 602 w 1035"/>
                <a:gd name="T47" fmla="*/ 542 h 716"/>
                <a:gd name="T48" fmla="*/ 668 w 1035"/>
                <a:gd name="T49" fmla="*/ 534 h 716"/>
                <a:gd name="T50" fmla="*/ 820 w 1035"/>
                <a:gd name="T51" fmla="*/ 514 h 716"/>
                <a:gd name="T52" fmla="*/ 969 w 1035"/>
                <a:gd name="T53" fmla="*/ 495 h 716"/>
                <a:gd name="T54" fmla="*/ 990 w 1035"/>
                <a:gd name="T55" fmla="*/ 534 h 716"/>
                <a:gd name="T56" fmla="*/ 1009 w 1035"/>
                <a:gd name="T57" fmla="*/ 576 h 716"/>
                <a:gd name="T58" fmla="*/ 1025 w 1035"/>
                <a:gd name="T59" fmla="*/ 621 h 716"/>
                <a:gd name="T60" fmla="*/ 1035 w 1035"/>
                <a:gd name="T61" fmla="*/ 660 h 716"/>
                <a:gd name="T62" fmla="*/ 999 w 1035"/>
                <a:gd name="T63" fmla="*/ 665 h 716"/>
                <a:gd name="T64" fmla="*/ 889 w 1035"/>
                <a:gd name="T65" fmla="*/ 679 h 716"/>
                <a:gd name="T66" fmla="*/ 777 w 1035"/>
                <a:gd name="T67" fmla="*/ 693 h 716"/>
                <a:gd name="T68" fmla="*/ 663 w 1035"/>
                <a:gd name="T69" fmla="*/ 703 h 716"/>
                <a:gd name="T70" fmla="*/ 551 w 1035"/>
                <a:gd name="T71" fmla="*/ 712 h 716"/>
                <a:gd name="T72" fmla="*/ 444 w 1035"/>
                <a:gd name="T73" fmla="*/ 716 h 716"/>
                <a:gd name="T74" fmla="*/ 373 w 1035"/>
                <a:gd name="T75" fmla="*/ 716 h 716"/>
                <a:gd name="T76" fmla="*/ 305 w 1035"/>
                <a:gd name="T77" fmla="*/ 712 h 716"/>
                <a:gd name="T78" fmla="*/ 242 w 1035"/>
                <a:gd name="T79" fmla="*/ 703 h 716"/>
                <a:gd name="T80" fmla="*/ 196 w 1035"/>
                <a:gd name="T81" fmla="*/ 695 h 716"/>
                <a:gd name="T82" fmla="*/ 156 w 1035"/>
                <a:gd name="T83" fmla="*/ 681 h 716"/>
                <a:gd name="T84" fmla="*/ 116 w 1035"/>
                <a:gd name="T85" fmla="*/ 663 h 716"/>
                <a:gd name="T86" fmla="*/ 81 w 1035"/>
                <a:gd name="T87" fmla="*/ 637 h 716"/>
                <a:gd name="T88" fmla="*/ 53 w 1035"/>
                <a:gd name="T89" fmla="*/ 605 h 716"/>
                <a:gd name="T90" fmla="*/ 32 w 1035"/>
                <a:gd name="T91" fmla="*/ 570 h 716"/>
                <a:gd name="T92" fmla="*/ 16 w 1035"/>
                <a:gd name="T93" fmla="*/ 534 h 716"/>
                <a:gd name="T94" fmla="*/ 4 w 1035"/>
                <a:gd name="T95" fmla="*/ 476 h 716"/>
                <a:gd name="T96" fmla="*/ 0 w 1035"/>
                <a:gd name="T97" fmla="*/ 418 h 716"/>
                <a:gd name="T98" fmla="*/ 4 w 1035"/>
                <a:gd name="T99" fmla="*/ 343 h 716"/>
                <a:gd name="T100" fmla="*/ 14 w 1035"/>
                <a:gd name="T101" fmla="*/ 269 h 716"/>
                <a:gd name="T102" fmla="*/ 30 w 1035"/>
                <a:gd name="T103" fmla="*/ 196 h 716"/>
                <a:gd name="T104" fmla="*/ 49 w 1035"/>
                <a:gd name="T105" fmla="*/ 126 h 716"/>
                <a:gd name="T106" fmla="*/ 69 w 1035"/>
                <a:gd name="T107" fmla="*/ 65 h 716"/>
                <a:gd name="T108" fmla="*/ 88 w 1035"/>
                <a:gd name="T109" fmla="*/ 10 h 716"/>
                <a:gd name="T110" fmla="*/ 91 w 1035"/>
                <a:gd name="T111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5" h="716">
                  <a:moveTo>
                    <a:pt x="91" y="0"/>
                  </a:moveTo>
                  <a:lnTo>
                    <a:pt x="133" y="17"/>
                  </a:lnTo>
                  <a:lnTo>
                    <a:pt x="172" y="38"/>
                  </a:lnTo>
                  <a:lnTo>
                    <a:pt x="205" y="61"/>
                  </a:lnTo>
                  <a:lnTo>
                    <a:pt x="193" y="105"/>
                  </a:lnTo>
                  <a:lnTo>
                    <a:pt x="180" y="152"/>
                  </a:lnTo>
                  <a:lnTo>
                    <a:pt x="170" y="199"/>
                  </a:lnTo>
                  <a:lnTo>
                    <a:pt x="159" y="247"/>
                  </a:lnTo>
                  <a:lnTo>
                    <a:pt x="152" y="292"/>
                  </a:lnTo>
                  <a:lnTo>
                    <a:pt x="149" y="338"/>
                  </a:lnTo>
                  <a:lnTo>
                    <a:pt x="145" y="378"/>
                  </a:lnTo>
                  <a:lnTo>
                    <a:pt x="147" y="416"/>
                  </a:lnTo>
                  <a:lnTo>
                    <a:pt x="154" y="450"/>
                  </a:lnTo>
                  <a:lnTo>
                    <a:pt x="163" y="478"/>
                  </a:lnTo>
                  <a:lnTo>
                    <a:pt x="179" y="499"/>
                  </a:lnTo>
                  <a:lnTo>
                    <a:pt x="203" y="518"/>
                  </a:lnTo>
                  <a:lnTo>
                    <a:pt x="235" y="532"/>
                  </a:lnTo>
                  <a:lnTo>
                    <a:pt x="271" y="542"/>
                  </a:lnTo>
                  <a:lnTo>
                    <a:pt x="317" y="549"/>
                  </a:lnTo>
                  <a:lnTo>
                    <a:pt x="366" y="553"/>
                  </a:lnTo>
                  <a:lnTo>
                    <a:pt x="420" y="555"/>
                  </a:lnTo>
                  <a:lnTo>
                    <a:pt x="478" y="553"/>
                  </a:lnTo>
                  <a:lnTo>
                    <a:pt x="539" y="548"/>
                  </a:lnTo>
                  <a:lnTo>
                    <a:pt x="602" y="542"/>
                  </a:lnTo>
                  <a:lnTo>
                    <a:pt x="668" y="534"/>
                  </a:lnTo>
                  <a:lnTo>
                    <a:pt x="820" y="514"/>
                  </a:lnTo>
                  <a:lnTo>
                    <a:pt x="969" y="495"/>
                  </a:lnTo>
                  <a:lnTo>
                    <a:pt x="990" y="534"/>
                  </a:lnTo>
                  <a:lnTo>
                    <a:pt x="1009" y="576"/>
                  </a:lnTo>
                  <a:lnTo>
                    <a:pt x="1025" y="621"/>
                  </a:lnTo>
                  <a:lnTo>
                    <a:pt x="1035" y="660"/>
                  </a:lnTo>
                  <a:lnTo>
                    <a:pt x="999" y="665"/>
                  </a:lnTo>
                  <a:lnTo>
                    <a:pt x="889" y="679"/>
                  </a:lnTo>
                  <a:lnTo>
                    <a:pt x="777" y="693"/>
                  </a:lnTo>
                  <a:lnTo>
                    <a:pt x="663" y="703"/>
                  </a:lnTo>
                  <a:lnTo>
                    <a:pt x="551" y="712"/>
                  </a:lnTo>
                  <a:lnTo>
                    <a:pt x="444" y="716"/>
                  </a:lnTo>
                  <a:lnTo>
                    <a:pt x="373" y="716"/>
                  </a:lnTo>
                  <a:lnTo>
                    <a:pt x="305" y="712"/>
                  </a:lnTo>
                  <a:lnTo>
                    <a:pt x="242" y="703"/>
                  </a:lnTo>
                  <a:lnTo>
                    <a:pt x="196" y="695"/>
                  </a:lnTo>
                  <a:lnTo>
                    <a:pt x="156" y="681"/>
                  </a:lnTo>
                  <a:lnTo>
                    <a:pt x="116" y="663"/>
                  </a:lnTo>
                  <a:lnTo>
                    <a:pt x="81" y="637"/>
                  </a:lnTo>
                  <a:lnTo>
                    <a:pt x="53" y="605"/>
                  </a:lnTo>
                  <a:lnTo>
                    <a:pt x="32" y="570"/>
                  </a:lnTo>
                  <a:lnTo>
                    <a:pt x="16" y="534"/>
                  </a:lnTo>
                  <a:lnTo>
                    <a:pt x="4" y="476"/>
                  </a:lnTo>
                  <a:lnTo>
                    <a:pt x="0" y="418"/>
                  </a:lnTo>
                  <a:lnTo>
                    <a:pt x="4" y="343"/>
                  </a:lnTo>
                  <a:lnTo>
                    <a:pt x="14" y="269"/>
                  </a:lnTo>
                  <a:lnTo>
                    <a:pt x="30" y="196"/>
                  </a:lnTo>
                  <a:lnTo>
                    <a:pt x="49" y="126"/>
                  </a:lnTo>
                  <a:lnTo>
                    <a:pt x="69" y="65"/>
                  </a:lnTo>
                  <a:lnTo>
                    <a:pt x="88" y="1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9"/>
            <p:cNvSpPr>
              <a:spLocks noEditPoints="1"/>
            </p:cNvSpPr>
            <p:nvPr userDrawn="1"/>
          </p:nvSpPr>
          <p:spPr bwMode="auto">
            <a:xfrm>
              <a:off x="2420938" y="2798763"/>
              <a:ext cx="1690688" cy="1414463"/>
            </a:xfrm>
            <a:custGeom>
              <a:avLst/>
              <a:gdLst>
                <a:gd name="T0" fmla="*/ 0 w 1065"/>
                <a:gd name="T1" fmla="*/ 891 h 891"/>
                <a:gd name="T2" fmla="*/ 0 w 1065"/>
                <a:gd name="T3" fmla="*/ 891 h 891"/>
                <a:gd name="T4" fmla="*/ 546 w 1065"/>
                <a:gd name="T5" fmla="*/ 1 h 891"/>
                <a:gd name="T6" fmla="*/ 603 w 1065"/>
                <a:gd name="T7" fmla="*/ 21 h 891"/>
                <a:gd name="T8" fmla="*/ 678 w 1065"/>
                <a:gd name="T9" fmla="*/ 70 h 891"/>
                <a:gd name="T10" fmla="*/ 775 w 1065"/>
                <a:gd name="T11" fmla="*/ 159 h 891"/>
                <a:gd name="T12" fmla="*/ 843 w 1065"/>
                <a:gd name="T13" fmla="*/ 234 h 891"/>
                <a:gd name="T14" fmla="*/ 892 w 1065"/>
                <a:gd name="T15" fmla="*/ 292 h 891"/>
                <a:gd name="T16" fmla="*/ 942 w 1065"/>
                <a:gd name="T17" fmla="*/ 355 h 891"/>
                <a:gd name="T18" fmla="*/ 990 w 1065"/>
                <a:gd name="T19" fmla="*/ 415 h 891"/>
                <a:gd name="T20" fmla="*/ 1028 w 1065"/>
                <a:gd name="T21" fmla="*/ 467 h 891"/>
                <a:gd name="T22" fmla="*/ 1056 w 1065"/>
                <a:gd name="T23" fmla="*/ 504 h 891"/>
                <a:gd name="T24" fmla="*/ 1065 w 1065"/>
                <a:gd name="T25" fmla="*/ 518 h 891"/>
                <a:gd name="T26" fmla="*/ 1063 w 1065"/>
                <a:gd name="T27" fmla="*/ 514 h 891"/>
                <a:gd name="T28" fmla="*/ 1044 w 1065"/>
                <a:gd name="T29" fmla="*/ 490 h 891"/>
                <a:gd name="T30" fmla="*/ 1011 w 1065"/>
                <a:gd name="T31" fmla="*/ 448 h 891"/>
                <a:gd name="T32" fmla="*/ 967 w 1065"/>
                <a:gd name="T33" fmla="*/ 395 h 891"/>
                <a:gd name="T34" fmla="*/ 920 w 1065"/>
                <a:gd name="T35" fmla="*/ 339 h 891"/>
                <a:gd name="T36" fmla="*/ 873 w 1065"/>
                <a:gd name="T37" fmla="*/ 287 h 891"/>
                <a:gd name="T38" fmla="*/ 832 w 1065"/>
                <a:gd name="T39" fmla="*/ 246 h 891"/>
                <a:gd name="T40" fmla="*/ 747 w 1065"/>
                <a:gd name="T41" fmla="*/ 180 h 891"/>
                <a:gd name="T42" fmla="*/ 668 w 1065"/>
                <a:gd name="T43" fmla="*/ 134 h 891"/>
                <a:gd name="T44" fmla="*/ 596 w 1065"/>
                <a:gd name="T45" fmla="*/ 112 h 891"/>
                <a:gd name="T46" fmla="*/ 526 w 1065"/>
                <a:gd name="T47" fmla="*/ 112 h 891"/>
                <a:gd name="T48" fmla="*/ 463 w 1065"/>
                <a:gd name="T49" fmla="*/ 131 h 891"/>
                <a:gd name="T50" fmla="*/ 409 w 1065"/>
                <a:gd name="T51" fmla="*/ 166 h 891"/>
                <a:gd name="T52" fmla="*/ 323 w 1065"/>
                <a:gd name="T53" fmla="*/ 257 h 891"/>
                <a:gd name="T54" fmla="*/ 241 w 1065"/>
                <a:gd name="T55" fmla="*/ 379 h 891"/>
                <a:gd name="T56" fmla="*/ 159 w 1065"/>
                <a:gd name="T57" fmla="*/ 528 h 891"/>
                <a:gd name="T58" fmla="*/ 87 w 1065"/>
                <a:gd name="T59" fmla="*/ 682 h 891"/>
                <a:gd name="T60" fmla="*/ 24 w 1065"/>
                <a:gd name="T61" fmla="*/ 828 h 891"/>
                <a:gd name="T62" fmla="*/ 21 w 1065"/>
                <a:gd name="T63" fmla="*/ 833 h 891"/>
                <a:gd name="T64" fmla="*/ 75 w 1065"/>
                <a:gd name="T65" fmla="*/ 696 h 891"/>
                <a:gd name="T66" fmla="*/ 138 w 1065"/>
                <a:gd name="T67" fmla="*/ 542 h 891"/>
                <a:gd name="T68" fmla="*/ 208 w 1065"/>
                <a:gd name="T69" fmla="*/ 388 h 891"/>
                <a:gd name="T70" fmla="*/ 278 w 1065"/>
                <a:gd name="T71" fmla="*/ 245 h 891"/>
                <a:gd name="T72" fmla="*/ 332 w 1065"/>
                <a:gd name="T73" fmla="*/ 145 h 891"/>
                <a:gd name="T74" fmla="*/ 388 w 1065"/>
                <a:gd name="T75" fmla="*/ 64 h 891"/>
                <a:gd name="T76" fmla="*/ 423 w 1065"/>
                <a:gd name="T77" fmla="*/ 29 h 891"/>
                <a:gd name="T78" fmla="*/ 476 w 1065"/>
                <a:gd name="T79" fmla="*/ 3 h 891"/>
                <a:gd name="T80" fmla="*/ 512 w 1065"/>
                <a:gd name="T81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65" h="891">
                  <a:moveTo>
                    <a:pt x="0" y="891"/>
                  </a:moveTo>
                  <a:lnTo>
                    <a:pt x="0" y="891"/>
                  </a:lnTo>
                  <a:lnTo>
                    <a:pt x="0" y="891"/>
                  </a:lnTo>
                  <a:lnTo>
                    <a:pt x="0" y="891"/>
                  </a:lnTo>
                  <a:close/>
                  <a:moveTo>
                    <a:pt x="512" y="0"/>
                  </a:moveTo>
                  <a:lnTo>
                    <a:pt x="546" y="1"/>
                  </a:lnTo>
                  <a:lnTo>
                    <a:pt x="575" y="10"/>
                  </a:lnTo>
                  <a:lnTo>
                    <a:pt x="603" y="21"/>
                  </a:lnTo>
                  <a:lnTo>
                    <a:pt x="642" y="43"/>
                  </a:lnTo>
                  <a:lnTo>
                    <a:pt x="678" y="70"/>
                  </a:lnTo>
                  <a:lnTo>
                    <a:pt x="727" y="112"/>
                  </a:lnTo>
                  <a:lnTo>
                    <a:pt x="775" y="159"/>
                  </a:lnTo>
                  <a:lnTo>
                    <a:pt x="822" y="210"/>
                  </a:lnTo>
                  <a:lnTo>
                    <a:pt x="843" y="234"/>
                  </a:lnTo>
                  <a:lnTo>
                    <a:pt x="867" y="262"/>
                  </a:lnTo>
                  <a:lnTo>
                    <a:pt x="892" y="292"/>
                  </a:lnTo>
                  <a:lnTo>
                    <a:pt x="916" y="323"/>
                  </a:lnTo>
                  <a:lnTo>
                    <a:pt x="942" y="355"/>
                  </a:lnTo>
                  <a:lnTo>
                    <a:pt x="967" y="385"/>
                  </a:lnTo>
                  <a:lnTo>
                    <a:pt x="990" y="415"/>
                  </a:lnTo>
                  <a:lnTo>
                    <a:pt x="1011" y="443"/>
                  </a:lnTo>
                  <a:lnTo>
                    <a:pt x="1028" y="467"/>
                  </a:lnTo>
                  <a:lnTo>
                    <a:pt x="1044" y="488"/>
                  </a:lnTo>
                  <a:lnTo>
                    <a:pt x="1056" y="504"/>
                  </a:lnTo>
                  <a:lnTo>
                    <a:pt x="1063" y="514"/>
                  </a:lnTo>
                  <a:lnTo>
                    <a:pt x="1065" y="518"/>
                  </a:lnTo>
                  <a:lnTo>
                    <a:pt x="1065" y="518"/>
                  </a:lnTo>
                  <a:lnTo>
                    <a:pt x="1063" y="514"/>
                  </a:lnTo>
                  <a:lnTo>
                    <a:pt x="1054" y="504"/>
                  </a:lnTo>
                  <a:lnTo>
                    <a:pt x="1044" y="490"/>
                  </a:lnTo>
                  <a:lnTo>
                    <a:pt x="1028" y="471"/>
                  </a:lnTo>
                  <a:lnTo>
                    <a:pt x="1011" y="448"/>
                  </a:lnTo>
                  <a:lnTo>
                    <a:pt x="990" y="422"/>
                  </a:lnTo>
                  <a:lnTo>
                    <a:pt x="967" y="395"/>
                  </a:lnTo>
                  <a:lnTo>
                    <a:pt x="944" y="367"/>
                  </a:lnTo>
                  <a:lnTo>
                    <a:pt x="920" y="339"/>
                  </a:lnTo>
                  <a:lnTo>
                    <a:pt x="897" y="313"/>
                  </a:lnTo>
                  <a:lnTo>
                    <a:pt x="873" y="287"/>
                  </a:lnTo>
                  <a:lnTo>
                    <a:pt x="852" y="266"/>
                  </a:lnTo>
                  <a:lnTo>
                    <a:pt x="832" y="246"/>
                  </a:lnTo>
                  <a:lnTo>
                    <a:pt x="790" y="211"/>
                  </a:lnTo>
                  <a:lnTo>
                    <a:pt x="747" y="180"/>
                  </a:lnTo>
                  <a:lnTo>
                    <a:pt x="701" y="152"/>
                  </a:lnTo>
                  <a:lnTo>
                    <a:pt x="668" y="134"/>
                  </a:lnTo>
                  <a:lnTo>
                    <a:pt x="633" y="120"/>
                  </a:lnTo>
                  <a:lnTo>
                    <a:pt x="596" y="112"/>
                  </a:lnTo>
                  <a:lnTo>
                    <a:pt x="556" y="110"/>
                  </a:lnTo>
                  <a:lnTo>
                    <a:pt x="526" y="112"/>
                  </a:lnTo>
                  <a:lnTo>
                    <a:pt x="497" y="117"/>
                  </a:lnTo>
                  <a:lnTo>
                    <a:pt x="463" y="131"/>
                  </a:lnTo>
                  <a:lnTo>
                    <a:pt x="435" y="147"/>
                  </a:lnTo>
                  <a:lnTo>
                    <a:pt x="409" y="166"/>
                  </a:lnTo>
                  <a:lnTo>
                    <a:pt x="365" y="208"/>
                  </a:lnTo>
                  <a:lnTo>
                    <a:pt x="323" y="257"/>
                  </a:lnTo>
                  <a:lnTo>
                    <a:pt x="283" y="315"/>
                  </a:lnTo>
                  <a:lnTo>
                    <a:pt x="241" y="379"/>
                  </a:lnTo>
                  <a:lnTo>
                    <a:pt x="199" y="451"/>
                  </a:lnTo>
                  <a:lnTo>
                    <a:pt x="159" y="528"/>
                  </a:lnTo>
                  <a:lnTo>
                    <a:pt x="122" y="605"/>
                  </a:lnTo>
                  <a:lnTo>
                    <a:pt x="87" y="682"/>
                  </a:lnTo>
                  <a:lnTo>
                    <a:pt x="54" y="758"/>
                  </a:lnTo>
                  <a:lnTo>
                    <a:pt x="24" y="828"/>
                  </a:lnTo>
                  <a:lnTo>
                    <a:pt x="0" y="891"/>
                  </a:lnTo>
                  <a:lnTo>
                    <a:pt x="21" y="833"/>
                  </a:lnTo>
                  <a:lnTo>
                    <a:pt x="47" y="766"/>
                  </a:lnTo>
                  <a:lnTo>
                    <a:pt x="75" y="696"/>
                  </a:lnTo>
                  <a:lnTo>
                    <a:pt x="107" y="621"/>
                  </a:lnTo>
                  <a:lnTo>
                    <a:pt x="138" y="542"/>
                  </a:lnTo>
                  <a:lnTo>
                    <a:pt x="173" y="465"/>
                  </a:lnTo>
                  <a:lnTo>
                    <a:pt x="208" y="388"/>
                  </a:lnTo>
                  <a:lnTo>
                    <a:pt x="243" y="315"/>
                  </a:lnTo>
                  <a:lnTo>
                    <a:pt x="278" y="245"/>
                  </a:lnTo>
                  <a:lnTo>
                    <a:pt x="304" y="194"/>
                  </a:lnTo>
                  <a:lnTo>
                    <a:pt x="332" y="145"/>
                  </a:lnTo>
                  <a:lnTo>
                    <a:pt x="360" y="101"/>
                  </a:lnTo>
                  <a:lnTo>
                    <a:pt x="388" y="64"/>
                  </a:lnTo>
                  <a:lnTo>
                    <a:pt x="406" y="47"/>
                  </a:lnTo>
                  <a:lnTo>
                    <a:pt x="423" y="29"/>
                  </a:lnTo>
                  <a:lnTo>
                    <a:pt x="448" y="15"/>
                  </a:lnTo>
                  <a:lnTo>
                    <a:pt x="476" y="3"/>
                  </a:lnTo>
                  <a:lnTo>
                    <a:pt x="495" y="0"/>
                  </a:lnTo>
                  <a:lnTo>
                    <a:pt x="512" y="0"/>
                  </a:lnTo>
                  <a:close/>
                </a:path>
              </a:pathLst>
            </a:custGeom>
            <a:solidFill>
              <a:srgbClr val="F29FC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0"/>
            <p:cNvSpPr>
              <a:spLocks/>
            </p:cNvSpPr>
            <p:nvPr userDrawn="1"/>
          </p:nvSpPr>
          <p:spPr bwMode="auto">
            <a:xfrm>
              <a:off x="2420938" y="2973388"/>
              <a:ext cx="1690688" cy="1273175"/>
            </a:xfrm>
            <a:custGeom>
              <a:avLst/>
              <a:gdLst>
                <a:gd name="T0" fmla="*/ 596 w 1065"/>
                <a:gd name="T1" fmla="*/ 2 h 802"/>
                <a:gd name="T2" fmla="*/ 668 w 1065"/>
                <a:gd name="T3" fmla="*/ 24 h 802"/>
                <a:gd name="T4" fmla="*/ 747 w 1065"/>
                <a:gd name="T5" fmla="*/ 70 h 802"/>
                <a:gd name="T6" fmla="*/ 832 w 1065"/>
                <a:gd name="T7" fmla="*/ 136 h 802"/>
                <a:gd name="T8" fmla="*/ 873 w 1065"/>
                <a:gd name="T9" fmla="*/ 177 h 802"/>
                <a:gd name="T10" fmla="*/ 920 w 1065"/>
                <a:gd name="T11" fmla="*/ 229 h 802"/>
                <a:gd name="T12" fmla="*/ 967 w 1065"/>
                <a:gd name="T13" fmla="*/ 285 h 802"/>
                <a:gd name="T14" fmla="*/ 1011 w 1065"/>
                <a:gd name="T15" fmla="*/ 338 h 802"/>
                <a:gd name="T16" fmla="*/ 1044 w 1065"/>
                <a:gd name="T17" fmla="*/ 380 h 802"/>
                <a:gd name="T18" fmla="*/ 1063 w 1065"/>
                <a:gd name="T19" fmla="*/ 404 h 802"/>
                <a:gd name="T20" fmla="*/ 1030 w 1065"/>
                <a:gd name="T21" fmla="*/ 420 h 802"/>
                <a:gd name="T22" fmla="*/ 956 w 1065"/>
                <a:gd name="T23" fmla="*/ 438 h 802"/>
                <a:gd name="T24" fmla="*/ 911 w 1065"/>
                <a:gd name="T25" fmla="*/ 425 h 802"/>
                <a:gd name="T26" fmla="*/ 876 w 1065"/>
                <a:gd name="T27" fmla="*/ 378 h 802"/>
                <a:gd name="T28" fmla="*/ 825 w 1065"/>
                <a:gd name="T29" fmla="*/ 319 h 802"/>
                <a:gd name="T30" fmla="*/ 764 w 1065"/>
                <a:gd name="T31" fmla="*/ 255 h 802"/>
                <a:gd name="T32" fmla="*/ 699 w 1065"/>
                <a:gd name="T33" fmla="*/ 199 h 802"/>
                <a:gd name="T34" fmla="*/ 635 w 1065"/>
                <a:gd name="T35" fmla="*/ 163 h 802"/>
                <a:gd name="T36" fmla="*/ 574 w 1065"/>
                <a:gd name="T37" fmla="*/ 154 h 802"/>
                <a:gd name="T38" fmla="*/ 521 w 1065"/>
                <a:gd name="T39" fmla="*/ 180 h 802"/>
                <a:gd name="T40" fmla="*/ 467 w 1065"/>
                <a:gd name="T41" fmla="*/ 236 h 802"/>
                <a:gd name="T42" fmla="*/ 409 w 1065"/>
                <a:gd name="T43" fmla="*/ 315 h 802"/>
                <a:gd name="T44" fmla="*/ 355 w 1065"/>
                <a:gd name="T45" fmla="*/ 408 h 802"/>
                <a:gd name="T46" fmla="*/ 304 w 1065"/>
                <a:gd name="T47" fmla="*/ 508 h 802"/>
                <a:gd name="T48" fmla="*/ 257 w 1065"/>
                <a:gd name="T49" fmla="*/ 604 h 802"/>
                <a:gd name="T50" fmla="*/ 220 w 1065"/>
                <a:gd name="T51" fmla="*/ 690 h 802"/>
                <a:gd name="T52" fmla="*/ 192 w 1065"/>
                <a:gd name="T53" fmla="*/ 756 h 802"/>
                <a:gd name="T54" fmla="*/ 177 w 1065"/>
                <a:gd name="T55" fmla="*/ 795 h 802"/>
                <a:gd name="T56" fmla="*/ 119 w 1065"/>
                <a:gd name="T57" fmla="*/ 802 h 802"/>
                <a:gd name="T58" fmla="*/ 30 w 1065"/>
                <a:gd name="T59" fmla="*/ 789 h 802"/>
                <a:gd name="T60" fmla="*/ 24 w 1065"/>
                <a:gd name="T61" fmla="*/ 718 h 802"/>
                <a:gd name="T62" fmla="*/ 87 w 1065"/>
                <a:gd name="T63" fmla="*/ 572 h 802"/>
                <a:gd name="T64" fmla="*/ 159 w 1065"/>
                <a:gd name="T65" fmla="*/ 418 h 802"/>
                <a:gd name="T66" fmla="*/ 241 w 1065"/>
                <a:gd name="T67" fmla="*/ 269 h 802"/>
                <a:gd name="T68" fmla="*/ 323 w 1065"/>
                <a:gd name="T69" fmla="*/ 147 h 802"/>
                <a:gd name="T70" fmla="*/ 409 w 1065"/>
                <a:gd name="T71" fmla="*/ 56 h 802"/>
                <a:gd name="T72" fmla="*/ 463 w 1065"/>
                <a:gd name="T73" fmla="*/ 21 h 802"/>
                <a:gd name="T74" fmla="*/ 526 w 1065"/>
                <a:gd name="T75" fmla="*/ 2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65" h="802">
                  <a:moveTo>
                    <a:pt x="556" y="0"/>
                  </a:moveTo>
                  <a:lnTo>
                    <a:pt x="596" y="2"/>
                  </a:lnTo>
                  <a:lnTo>
                    <a:pt x="633" y="10"/>
                  </a:lnTo>
                  <a:lnTo>
                    <a:pt x="668" y="24"/>
                  </a:lnTo>
                  <a:lnTo>
                    <a:pt x="701" y="42"/>
                  </a:lnTo>
                  <a:lnTo>
                    <a:pt x="747" y="70"/>
                  </a:lnTo>
                  <a:lnTo>
                    <a:pt x="790" y="101"/>
                  </a:lnTo>
                  <a:lnTo>
                    <a:pt x="832" y="136"/>
                  </a:lnTo>
                  <a:lnTo>
                    <a:pt x="852" y="156"/>
                  </a:lnTo>
                  <a:lnTo>
                    <a:pt x="873" y="177"/>
                  </a:lnTo>
                  <a:lnTo>
                    <a:pt x="897" y="203"/>
                  </a:lnTo>
                  <a:lnTo>
                    <a:pt x="920" y="229"/>
                  </a:lnTo>
                  <a:lnTo>
                    <a:pt x="944" y="257"/>
                  </a:lnTo>
                  <a:lnTo>
                    <a:pt x="967" y="285"/>
                  </a:lnTo>
                  <a:lnTo>
                    <a:pt x="990" y="312"/>
                  </a:lnTo>
                  <a:lnTo>
                    <a:pt x="1011" y="338"/>
                  </a:lnTo>
                  <a:lnTo>
                    <a:pt x="1028" y="361"/>
                  </a:lnTo>
                  <a:lnTo>
                    <a:pt x="1044" y="380"/>
                  </a:lnTo>
                  <a:lnTo>
                    <a:pt x="1054" y="394"/>
                  </a:lnTo>
                  <a:lnTo>
                    <a:pt x="1063" y="404"/>
                  </a:lnTo>
                  <a:lnTo>
                    <a:pt x="1065" y="408"/>
                  </a:lnTo>
                  <a:lnTo>
                    <a:pt x="1030" y="420"/>
                  </a:lnTo>
                  <a:lnTo>
                    <a:pt x="991" y="431"/>
                  </a:lnTo>
                  <a:lnTo>
                    <a:pt x="956" y="438"/>
                  </a:lnTo>
                  <a:lnTo>
                    <a:pt x="923" y="439"/>
                  </a:lnTo>
                  <a:lnTo>
                    <a:pt x="911" y="425"/>
                  </a:lnTo>
                  <a:lnTo>
                    <a:pt x="895" y="404"/>
                  </a:lnTo>
                  <a:lnTo>
                    <a:pt x="876" y="378"/>
                  </a:lnTo>
                  <a:lnTo>
                    <a:pt x="852" y="350"/>
                  </a:lnTo>
                  <a:lnTo>
                    <a:pt x="825" y="319"/>
                  </a:lnTo>
                  <a:lnTo>
                    <a:pt x="796" y="285"/>
                  </a:lnTo>
                  <a:lnTo>
                    <a:pt x="764" y="255"/>
                  </a:lnTo>
                  <a:lnTo>
                    <a:pt x="733" y="226"/>
                  </a:lnTo>
                  <a:lnTo>
                    <a:pt x="699" y="199"/>
                  </a:lnTo>
                  <a:lnTo>
                    <a:pt x="666" y="178"/>
                  </a:lnTo>
                  <a:lnTo>
                    <a:pt x="635" y="163"/>
                  </a:lnTo>
                  <a:lnTo>
                    <a:pt x="603" y="154"/>
                  </a:lnTo>
                  <a:lnTo>
                    <a:pt x="574" y="154"/>
                  </a:lnTo>
                  <a:lnTo>
                    <a:pt x="547" y="163"/>
                  </a:lnTo>
                  <a:lnTo>
                    <a:pt x="521" y="180"/>
                  </a:lnTo>
                  <a:lnTo>
                    <a:pt x="493" y="205"/>
                  </a:lnTo>
                  <a:lnTo>
                    <a:pt x="467" y="236"/>
                  </a:lnTo>
                  <a:lnTo>
                    <a:pt x="437" y="273"/>
                  </a:lnTo>
                  <a:lnTo>
                    <a:pt x="409" y="315"/>
                  </a:lnTo>
                  <a:lnTo>
                    <a:pt x="383" y="361"/>
                  </a:lnTo>
                  <a:lnTo>
                    <a:pt x="355" y="408"/>
                  </a:lnTo>
                  <a:lnTo>
                    <a:pt x="329" y="457"/>
                  </a:lnTo>
                  <a:lnTo>
                    <a:pt x="304" y="508"/>
                  </a:lnTo>
                  <a:lnTo>
                    <a:pt x="280" y="557"/>
                  </a:lnTo>
                  <a:lnTo>
                    <a:pt x="257" y="604"/>
                  </a:lnTo>
                  <a:lnTo>
                    <a:pt x="238" y="648"/>
                  </a:lnTo>
                  <a:lnTo>
                    <a:pt x="220" y="690"/>
                  </a:lnTo>
                  <a:lnTo>
                    <a:pt x="205" y="725"/>
                  </a:lnTo>
                  <a:lnTo>
                    <a:pt x="192" y="756"/>
                  </a:lnTo>
                  <a:lnTo>
                    <a:pt x="182" y="779"/>
                  </a:lnTo>
                  <a:lnTo>
                    <a:pt x="177" y="795"/>
                  </a:lnTo>
                  <a:lnTo>
                    <a:pt x="173" y="802"/>
                  </a:lnTo>
                  <a:lnTo>
                    <a:pt x="119" y="802"/>
                  </a:lnTo>
                  <a:lnTo>
                    <a:pt x="72" y="796"/>
                  </a:lnTo>
                  <a:lnTo>
                    <a:pt x="30" y="789"/>
                  </a:lnTo>
                  <a:lnTo>
                    <a:pt x="0" y="781"/>
                  </a:lnTo>
                  <a:lnTo>
                    <a:pt x="24" y="718"/>
                  </a:lnTo>
                  <a:lnTo>
                    <a:pt x="54" y="648"/>
                  </a:lnTo>
                  <a:lnTo>
                    <a:pt x="87" y="572"/>
                  </a:lnTo>
                  <a:lnTo>
                    <a:pt x="122" y="495"/>
                  </a:lnTo>
                  <a:lnTo>
                    <a:pt x="159" y="418"/>
                  </a:lnTo>
                  <a:lnTo>
                    <a:pt x="199" y="341"/>
                  </a:lnTo>
                  <a:lnTo>
                    <a:pt x="241" y="269"/>
                  </a:lnTo>
                  <a:lnTo>
                    <a:pt x="283" y="205"/>
                  </a:lnTo>
                  <a:lnTo>
                    <a:pt x="323" y="147"/>
                  </a:lnTo>
                  <a:lnTo>
                    <a:pt x="365" y="98"/>
                  </a:lnTo>
                  <a:lnTo>
                    <a:pt x="409" y="56"/>
                  </a:lnTo>
                  <a:lnTo>
                    <a:pt x="435" y="37"/>
                  </a:lnTo>
                  <a:lnTo>
                    <a:pt x="463" y="21"/>
                  </a:lnTo>
                  <a:lnTo>
                    <a:pt x="497" y="7"/>
                  </a:lnTo>
                  <a:lnTo>
                    <a:pt x="526" y="2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"/>
            <p:cNvSpPr>
              <a:spLocks/>
            </p:cNvSpPr>
            <p:nvPr userDrawn="1"/>
          </p:nvSpPr>
          <p:spPr bwMode="auto">
            <a:xfrm>
              <a:off x="3589338" y="2143125"/>
              <a:ext cx="1660525" cy="1444625"/>
            </a:xfrm>
            <a:custGeom>
              <a:avLst/>
              <a:gdLst>
                <a:gd name="T0" fmla="*/ 1019 w 1046"/>
                <a:gd name="T1" fmla="*/ 5 h 910"/>
                <a:gd name="T2" fmla="*/ 941 w 1046"/>
                <a:gd name="T3" fmla="*/ 17 h 910"/>
                <a:gd name="T4" fmla="*/ 827 w 1046"/>
                <a:gd name="T5" fmla="*/ 36 h 910"/>
                <a:gd name="T6" fmla="*/ 687 w 1046"/>
                <a:gd name="T7" fmla="*/ 64 h 910"/>
                <a:gd name="T8" fmla="*/ 523 w 1046"/>
                <a:gd name="T9" fmla="*/ 103 h 910"/>
                <a:gd name="T10" fmla="*/ 425 w 1046"/>
                <a:gd name="T11" fmla="*/ 131 h 910"/>
                <a:gd name="T12" fmla="*/ 336 w 1046"/>
                <a:gd name="T13" fmla="*/ 166 h 910"/>
                <a:gd name="T14" fmla="*/ 255 w 1046"/>
                <a:gd name="T15" fmla="*/ 210 h 910"/>
                <a:gd name="T16" fmla="*/ 192 w 1046"/>
                <a:gd name="T17" fmla="*/ 264 h 910"/>
                <a:gd name="T18" fmla="*/ 147 w 1046"/>
                <a:gd name="T19" fmla="*/ 330 h 910"/>
                <a:gd name="T20" fmla="*/ 126 w 1046"/>
                <a:gd name="T21" fmla="*/ 409 h 910"/>
                <a:gd name="T22" fmla="*/ 131 w 1046"/>
                <a:gd name="T23" fmla="*/ 502 h 910"/>
                <a:gd name="T24" fmla="*/ 170 w 1046"/>
                <a:gd name="T25" fmla="*/ 612 h 910"/>
                <a:gd name="T26" fmla="*/ 201 w 1046"/>
                <a:gd name="T27" fmla="*/ 672 h 910"/>
                <a:gd name="T28" fmla="*/ 240 w 1046"/>
                <a:gd name="T29" fmla="*/ 738 h 910"/>
                <a:gd name="T30" fmla="*/ 283 w 1046"/>
                <a:gd name="T31" fmla="*/ 803 h 910"/>
                <a:gd name="T32" fmla="*/ 322 w 1046"/>
                <a:gd name="T33" fmla="*/ 859 h 910"/>
                <a:gd name="T34" fmla="*/ 352 w 1046"/>
                <a:gd name="T35" fmla="*/ 898 h 910"/>
                <a:gd name="T36" fmla="*/ 350 w 1046"/>
                <a:gd name="T37" fmla="*/ 898 h 910"/>
                <a:gd name="T38" fmla="*/ 317 w 1046"/>
                <a:gd name="T39" fmla="*/ 859 h 910"/>
                <a:gd name="T40" fmla="*/ 269 w 1046"/>
                <a:gd name="T41" fmla="*/ 799 h 910"/>
                <a:gd name="T42" fmla="*/ 212 w 1046"/>
                <a:gd name="T43" fmla="*/ 726 h 910"/>
                <a:gd name="T44" fmla="*/ 154 w 1046"/>
                <a:gd name="T45" fmla="*/ 645 h 910"/>
                <a:gd name="T46" fmla="*/ 96 w 1046"/>
                <a:gd name="T47" fmla="*/ 561 h 910"/>
                <a:gd name="T48" fmla="*/ 49 w 1046"/>
                <a:gd name="T49" fmla="*/ 479 h 910"/>
                <a:gd name="T50" fmla="*/ 16 w 1046"/>
                <a:gd name="T51" fmla="*/ 407 h 910"/>
                <a:gd name="T52" fmla="*/ 0 w 1046"/>
                <a:gd name="T53" fmla="*/ 327 h 910"/>
                <a:gd name="T54" fmla="*/ 18 w 1046"/>
                <a:gd name="T55" fmla="*/ 264 h 910"/>
                <a:gd name="T56" fmla="*/ 63 w 1046"/>
                <a:gd name="T57" fmla="*/ 213 h 910"/>
                <a:gd name="T58" fmla="*/ 140 w 1046"/>
                <a:gd name="T59" fmla="*/ 175 h 910"/>
                <a:gd name="T60" fmla="*/ 243 w 1046"/>
                <a:gd name="T61" fmla="*/ 141 h 910"/>
                <a:gd name="T62" fmla="*/ 371 w 1046"/>
                <a:gd name="T63" fmla="*/ 113 h 910"/>
                <a:gd name="T64" fmla="*/ 525 w 1046"/>
                <a:gd name="T65" fmla="*/ 84 h 910"/>
                <a:gd name="T66" fmla="*/ 677 w 1046"/>
                <a:gd name="T67" fmla="*/ 57 h 910"/>
                <a:gd name="T68" fmla="*/ 815 w 1046"/>
                <a:gd name="T69" fmla="*/ 35 h 910"/>
                <a:gd name="T70" fmla="*/ 932 w 1046"/>
                <a:gd name="T71" fmla="*/ 17 h 910"/>
                <a:gd name="T72" fmla="*/ 1018 w 1046"/>
                <a:gd name="T73" fmla="*/ 5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6" h="910">
                  <a:moveTo>
                    <a:pt x="1046" y="0"/>
                  </a:moveTo>
                  <a:lnTo>
                    <a:pt x="1019" y="5"/>
                  </a:lnTo>
                  <a:lnTo>
                    <a:pt x="985" y="10"/>
                  </a:lnTo>
                  <a:lnTo>
                    <a:pt x="941" y="17"/>
                  </a:lnTo>
                  <a:lnTo>
                    <a:pt x="888" y="26"/>
                  </a:lnTo>
                  <a:lnTo>
                    <a:pt x="827" y="36"/>
                  </a:lnTo>
                  <a:lnTo>
                    <a:pt x="761" y="49"/>
                  </a:lnTo>
                  <a:lnTo>
                    <a:pt x="687" y="64"/>
                  </a:lnTo>
                  <a:lnTo>
                    <a:pt x="607" y="82"/>
                  </a:lnTo>
                  <a:lnTo>
                    <a:pt x="523" y="103"/>
                  </a:lnTo>
                  <a:lnTo>
                    <a:pt x="474" y="115"/>
                  </a:lnTo>
                  <a:lnTo>
                    <a:pt x="425" y="131"/>
                  </a:lnTo>
                  <a:lnTo>
                    <a:pt x="380" y="147"/>
                  </a:lnTo>
                  <a:lnTo>
                    <a:pt x="336" y="166"/>
                  </a:lnTo>
                  <a:lnTo>
                    <a:pt x="294" y="187"/>
                  </a:lnTo>
                  <a:lnTo>
                    <a:pt x="255" y="210"/>
                  </a:lnTo>
                  <a:lnTo>
                    <a:pt x="222" y="236"/>
                  </a:lnTo>
                  <a:lnTo>
                    <a:pt x="192" y="264"/>
                  </a:lnTo>
                  <a:lnTo>
                    <a:pt x="166" y="295"/>
                  </a:lnTo>
                  <a:lnTo>
                    <a:pt x="147" y="330"/>
                  </a:lnTo>
                  <a:lnTo>
                    <a:pt x="133" y="367"/>
                  </a:lnTo>
                  <a:lnTo>
                    <a:pt x="126" y="409"/>
                  </a:lnTo>
                  <a:lnTo>
                    <a:pt x="124" y="453"/>
                  </a:lnTo>
                  <a:lnTo>
                    <a:pt x="131" y="502"/>
                  </a:lnTo>
                  <a:lnTo>
                    <a:pt x="147" y="554"/>
                  </a:lnTo>
                  <a:lnTo>
                    <a:pt x="170" y="612"/>
                  </a:lnTo>
                  <a:lnTo>
                    <a:pt x="184" y="640"/>
                  </a:lnTo>
                  <a:lnTo>
                    <a:pt x="201" y="672"/>
                  </a:lnTo>
                  <a:lnTo>
                    <a:pt x="219" y="705"/>
                  </a:lnTo>
                  <a:lnTo>
                    <a:pt x="240" y="738"/>
                  </a:lnTo>
                  <a:lnTo>
                    <a:pt x="262" y="771"/>
                  </a:lnTo>
                  <a:lnTo>
                    <a:pt x="283" y="803"/>
                  </a:lnTo>
                  <a:lnTo>
                    <a:pt x="303" y="833"/>
                  </a:lnTo>
                  <a:lnTo>
                    <a:pt x="322" y="859"/>
                  </a:lnTo>
                  <a:lnTo>
                    <a:pt x="338" y="880"/>
                  </a:lnTo>
                  <a:lnTo>
                    <a:pt x="352" y="898"/>
                  </a:lnTo>
                  <a:lnTo>
                    <a:pt x="360" y="910"/>
                  </a:lnTo>
                  <a:lnTo>
                    <a:pt x="350" y="898"/>
                  </a:lnTo>
                  <a:lnTo>
                    <a:pt x="336" y="882"/>
                  </a:lnTo>
                  <a:lnTo>
                    <a:pt x="317" y="859"/>
                  </a:lnTo>
                  <a:lnTo>
                    <a:pt x="294" y="831"/>
                  </a:lnTo>
                  <a:lnTo>
                    <a:pt x="269" y="799"/>
                  </a:lnTo>
                  <a:lnTo>
                    <a:pt x="241" y="764"/>
                  </a:lnTo>
                  <a:lnTo>
                    <a:pt x="212" y="726"/>
                  </a:lnTo>
                  <a:lnTo>
                    <a:pt x="184" y="686"/>
                  </a:lnTo>
                  <a:lnTo>
                    <a:pt x="154" y="645"/>
                  </a:lnTo>
                  <a:lnTo>
                    <a:pt x="124" y="603"/>
                  </a:lnTo>
                  <a:lnTo>
                    <a:pt x="96" y="561"/>
                  </a:lnTo>
                  <a:lnTo>
                    <a:pt x="72" y="519"/>
                  </a:lnTo>
                  <a:lnTo>
                    <a:pt x="49" y="479"/>
                  </a:lnTo>
                  <a:lnTo>
                    <a:pt x="30" y="442"/>
                  </a:lnTo>
                  <a:lnTo>
                    <a:pt x="16" y="407"/>
                  </a:lnTo>
                  <a:lnTo>
                    <a:pt x="4" y="364"/>
                  </a:lnTo>
                  <a:lnTo>
                    <a:pt x="0" y="327"/>
                  </a:lnTo>
                  <a:lnTo>
                    <a:pt x="5" y="294"/>
                  </a:lnTo>
                  <a:lnTo>
                    <a:pt x="18" y="264"/>
                  </a:lnTo>
                  <a:lnTo>
                    <a:pt x="37" y="238"/>
                  </a:lnTo>
                  <a:lnTo>
                    <a:pt x="63" y="213"/>
                  </a:lnTo>
                  <a:lnTo>
                    <a:pt x="98" y="192"/>
                  </a:lnTo>
                  <a:lnTo>
                    <a:pt x="140" y="175"/>
                  </a:lnTo>
                  <a:lnTo>
                    <a:pt x="187" y="157"/>
                  </a:lnTo>
                  <a:lnTo>
                    <a:pt x="243" y="141"/>
                  </a:lnTo>
                  <a:lnTo>
                    <a:pt x="304" y="127"/>
                  </a:lnTo>
                  <a:lnTo>
                    <a:pt x="371" y="113"/>
                  </a:lnTo>
                  <a:lnTo>
                    <a:pt x="448" y="98"/>
                  </a:lnTo>
                  <a:lnTo>
                    <a:pt x="525" y="84"/>
                  </a:lnTo>
                  <a:lnTo>
                    <a:pt x="602" y="70"/>
                  </a:lnTo>
                  <a:lnTo>
                    <a:pt x="677" y="57"/>
                  </a:lnTo>
                  <a:lnTo>
                    <a:pt x="748" y="45"/>
                  </a:lnTo>
                  <a:lnTo>
                    <a:pt x="815" y="35"/>
                  </a:lnTo>
                  <a:lnTo>
                    <a:pt x="878" y="24"/>
                  </a:lnTo>
                  <a:lnTo>
                    <a:pt x="932" y="17"/>
                  </a:lnTo>
                  <a:lnTo>
                    <a:pt x="979" y="10"/>
                  </a:lnTo>
                  <a:lnTo>
                    <a:pt x="1018" y="5"/>
                  </a:lnTo>
                  <a:lnTo>
                    <a:pt x="1046" y="0"/>
                  </a:lnTo>
                  <a:close/>
                </a:path>
              </a:pathLst>
            </a:custGeom>
            <a:solidFill>
              <a:srgbClr val="86C2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2"/>
            <p:cNvSpPr>
              <a:spLocks/>
            </p:cNvSpPr>
            <p:nvPr userDrawn="1"/>
          </p:nvSpPr>
          <p:spPr bwMode="auto">
            <a:xfrm>
              <a:off x="3786188" y="2143125"/>
              <a:ext cx="1474788" cy="1449388"/>
            </a:xfrm>
            <a:custGeom>
              <a:avLst/>
              <a:gdLst>
                <a:gd name="T0" fmla="*/ 927 w 929"/>
                <a:gd name="T1" fmla="*/ 29 h 913"/>
                <a:gd name="T2" fmla="*/ 929 w 929"/>
                <a:gd name="T3" fmla="*/ 84 h 913"/>
                <a:gd name="T4" fmla="*/ 923 w 929"/>
                <a:gd name="T5" fmla="*/ 124 h 913"/>
                <a:gd name="T6" fmla="*/ 922 w 929"/>
                <a:gd name="T7" fmla="*/ 138 h 913"/>
                <a:gd name="T8" fmla="*/ 840 w 929"/>
                <a:gd name="T9" fmla="*/ 152 h 913"/>
                <a:gd name="T10" fmla="*/ 735 w 929"/>
                <a:gd name="T11" fmla="*/ 173 h 913"/>
                <a:gd name="T12" fmla="*/ 616 w 929"/>
                <a:gd name="T13" fmla="*/ 199 h 913"/>
                <a:gd name="T14" fmla="*/ 493 w 929"/>
                <a:gd name="T15" fmla="*/ 231 h 913"/>
                <a:gd name="T16" fmla="*/ 380 w 929"/>
                <a:gd name="T17" fmla="*/ 267 h 913"/>
                <a:gd name="T18" fmla="*/ 282 w 929"/>
                <a:gd name="T19" fmla="*/ 309 h 913"/>
                <a:gd name="T20" fmla="*/ 214 w 929"/>
                <a:gd name="T21" fmla="*/ 353 h 913"/>
                <a:gd name="T22" fmla="*/ 182 w 929"/>
                <a:gd name="T23" fmla="*/ 402 h 913"/>
                <a:gd name="T24" fmla="*/ 186 w 929"/>
                <a:gd name="T25" fmla="*/ 456 h 913"/>
                <a:gd name="T26" fmla="*/ 207 w 929"/>
                <a:gd name="T27" fmla="*/ 523 h 913"/>
                <a:gd name="T28" fmla="*/ 238 w 929"/>
                <a:gd name="T29" fmla="*/ 593 h 913"/>
                <a:gd name="T30" fmla="*/ 277 w 929"/>
                <a:gd name="T31" fmla="*/ 659 h 913"/>
                <a:gd name="T32" fmla="*/ 313 w 929"/>
                <a:gd name="T33" fmla="*/ 719 h 913"/>
                <a:gd name="T34" fmla="*/ 345 w 929"/>
                <a:gd name="T35" fmla="*/ 763 h 913"/>
                <a:gd name="T36" fmla="*/ 360 w 929"/>
                <a:gd name="T37" fmla="*/ 787 h 913"/>
                <a:gd name="T38" fmla="*/ 360 w 929"/>
                <a:gd name="T39" fmla="*/ 794 h 913"/>
                <a:gd name="T40" fmla="*/ 322 w 929"/>
                <a:gd name="T41" fmla="*/ 843 h 913"/>
                <a:gd name="T42" fmla="*/ 284 w 929"/>
                <a:gd name="T43" fmla="*/ 882 h 913"/>
                <a:gd name="T44" fmla="*/ 252 w 929"/>
                <a:gd name="T45" fmla="*/ 906 h 913"/>
                <a:gd name="T46" fmla="*/ 240 w 929"/>
                <a:gd name="T47" fmla="*/ 913 h 913"/>
                <a:gd name="T48" fmla="*/ 238 w 929"/>
                <a:gd name="T49" fmla="*/ 912 h 913"/>
                <a:gd name="T50" fmla="*/ 228 w 929"/>
                <a:gd name="T51" fmla="*/ 898 h 913"/>
                <a:gd name="T52" fmla="*/ 198 w 929"/>
                <a:gd name="T53" fmla="*/ 859 h 913"/>
                <a:gd name="T54" fmla="*/ 159 w 929"/>
                <a:gd name="T55" fmla="*/ 803 h 913"/>
                <a:gd name="T56" fmla="*/ 116 w 929"/>
                <a:gd name="T57" fmla="*/ 738 h 913"/>
                <a:gd name="T58" fmla="*/ 77 w 929"/>
                <a:gd name="T59" fmla="*/ 672 h 913"/>
                <a:gd name="T60" fmla="*/ 46 w 929"/>
                <a:gd name="T61" fmla="*/ 612 h 913"/>
                <a:gd name="T62" fmla="*/ 7 w 929"/>
                <a:gd name="T63" fmla="*/ 502 h 913"/>
                <a:gd name="T64" fmla="*/ 2 w 929"/>
                <a:gd name="T65" fmla="*/ 409 h 913"/>
                <a:gd name="T66" fmla="*/ 23 w 929"/>
                <a:gd name="T67" fmla="*/ 330 h 913"/>
                <a:gd name="T68" fmla="*/ 68 w 929"/>
                <a:gd name="T69" fmla="*/ 264 h 913"/>
                <a:gd name="T70" fmla="*/ 131 w 929"/>
                <a:gd name="T71" fmla="*/ 210 h 913"/>
                <a:gd name="T72" fmla="*/ 212 w 929"/>
                <a:gd name="T73" fmla="*/ 166 h 913"/>
                <a:gd name="T74" fmla="*/ 301 w 929"/>
                <a:gd name="T75" fmla="*/ 131 h 913"/>
                <a:gd name="T76" fmla="*/ 399 w 929"/>
                <a:gd name="T77" fmla="*/ 103 h 913"/>
                <a:gd name="T78" fmla="*/ 563 w 929"/>
                <a:gd name="T79" fmla="*/ 64 h 913"/>
                <a:gd name="T80" fmla="*/ 703 w 929"/>
                <a:gd name="T81" fmla="*/ 36 h 913"/>
                <a:gd name="T82" fmla="*/ 817 w 929"/>
                <a:gd name="T83" fmla="*/ 17 h 913"/>
                <a:gd name="T84" fmla="*/ 895 w 929"/>
                <a:gd name="T85" fmla="*/ 5 h 913"/>
                <a:gd name="T86" fmla="*/ 922 w 929"/>
                <a:gd name="T87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29" h="913">
                  <a:moveTo>
                    <a:pt x="922" y="0"/>
                  </a:moveTo>
                  <a:lnTo>
                    <a:pt x="927" y="29"/>
                  </a:lnTo>
                  <a:lnTo>
                    <a:pt x="929" y="57"/>
                  </a:lnTo>
                  <a:lnTo>
                    <a:pt x="929" y="84"/>
                  </a:lnTo>
                  <a:lnTo>
                    <a:pt x="927" y="106"/>
                  </a:lnTo>
                  <a:lnTo>
                    <a:pt x="923" y="124"/>
                  </a:lnTo>
                  <a:lnTo>
                    <a:pt x="922" y="134"/>
                  </a:lnTo>
                  <a:lnTo>
                    <a:pt x="922" y="138"/>
                  </a:lnTo>
                  <a:lnTo>
                    <a:pt x="885" y="145"/>
                  </a:lnTo>
                  <a:lnTo>
                    <a:pt x="840" y="152"/>
                  </a:lnTo>
                  <a:lnTo>
                    <a:pt x="789" y="162"/>
                  </a:lnTo>
                  <a:lnTo>
                    <a:pt x="735" y="173"/>
                  </a:lnTo>
                  <a:lnTo>
                    <a:pt x="677" y="185"/>
                  </a:lnTo>
                  <a:lnTo>
                    <a:pt x="616" y="199"/>
                  </a:lnTo>
                  <a:lnTo>
                    <a:pt x="555" y="215"/>
                  </a:lnTo>
                  <a:lnTo>
                    <a:pt x="493" y="231"/>
                  </a:lnTo>
                  <a:lnTo>
                    <a:pt x="436" y="248"/>
                  </a:lnTo>
                  <a:lnTo>
                    <a:pt x="380" y="267"/>
                  </a:lnTo>
                  <a:lnTo>
                    <a:pt x="327" y="288"/>
                  </a:lnTo>
                  <a:lnTo>
                    <a:pt x="282" y="309"/>
                  </a:lnTo>
                  <a:lnTo>
                    <a:pt x="243" y="330"/>
                  </a:lnTo>
                  <a:lnTo>
                    <a:pt x="214" y="353"/>
                  </a:lnTo>
                  <a:lnTo>
                    <a:pt x="193" y="378"/>
                  </a:lnTo>
                  <a:lnTo>
                    <a:pt x="182" y="402"/>
                  </a:lnTo>
                  <a:lnTo>
                    <a:pt x="180" y="428"/>
                  </a:lnTo>
                  <a:lnTo>
                    <a:pt x="186" y="456"/>
                  </a:lnTo>
                  <a:lnTo>
                    <a:pt x="193" y="490"/>
                  </a:lnTo>
                  <a:lnTo>
                    <a:pt x="207" y="523"/>
                  </a:lnTo>
                  <a:lnTo>
                    <a:pt x="221" y="558"/>
                  </a:lnTo>
                  <a:lnTo>
                    <a:pt x="238" y="593"/>
                  </a:lnTo>
                  <a:lnTo>
                    <a:pt x="257" y="626"/>
                  </a:lnTo>
                  <a:lnTo>
                    <a:pt x="277" y="659"/>
                  </a:lnTo>
                  <a:lnTo>
                    <a:pt x="296" y="691"/>
                  </a:lnTo>
                  <a:lnTo>
                    <a:pt x="313" y="719"/>
                  </a:lnTo>
                  <a:lnTo>
                    <a:pt x="331" y="743"/>
                  </a:lnTo>
                  <a:lnTo>
                    <a:pt x="345" y="763"/>
                  </a:lnTo>
                  <a:lnTo>
                    <a:pt x="355" y="778"/>
                  </a:lnTo>
                  <a:lnTo>
                    <a:pt x="360" y="787"/>
                  </a:lnTo>
                  <a:lnTo>
                    <a:pt x="362" y="789"/>
                  </a:lnTo>
                  <a:lnTo>
                    <a:pt x="360" y="794"/>
                  </a:lnTo>
                  <a:lnTo>
                    <a:pt x="341" y="821"/>
                  </a:lnTo>
                  <a:lnTo>
                    <a:pt x="322" y="843"/>
                  </a:lnTo>
                  <a:lnTo>
                    <a:pt x="303" y="864"/>
                  </a:lnTo>
                  <a:lnTo>
                    <a:pt x="284" y="882"/>
                  </a:lnTo>
                  <a:lnTo>
                    <a:pt x="266" y="896"/>
                  </a:lnTo>
                  <a:lnTo>
                    <a:pt x="252" y="906"/>
                  </a:lnTo>
                  <a:lnTo>
                    <a:pt x="243" y="912"/>
                  </a:lnTo>
                  <a:lnTo>
                    <a:pt x="240" y="913"/>
                  </a:lnTo>
                  <a:lnTo>
                    <a:pt x="238" y="913"/>
                  </a:lnTo>
                  <a:lnTo>
                    <a:pt x="238" y="912"/>
                  </a:lnTo>
                  <a:lnTo>
                    <a:pt x="236" y="910"/>
                  </a:lnTo>
                  <a:lnTo>
                    <a:pt x="228" y="898"/>
                  </a:lnTo>
                  <a:lnTo>
                    <a:pt x="214" y="880"/>
                  </a:lnTo>
                  <a:lnTo>
                    <a:pt x="198" y="859"/>
                  </a:lnTo>
                  <a:lnTo>
                    <a:pt x="179" y="833"/>
                  </a:lnTo>
                  <a:lnTo>
                    <a:pt x="159" y="803"/>
                  </a:lnTo>
                  <a:lnTo>
                    <a:pt x="138" y="771"/>
                  </a:lnTo>
                  <a:lnTo>
                    <a:pt x="116" y="738"/>
                  </a:lnTo>
                  <a:lnTo>
                    <a:pt x="95" y="705"/>
                  </a:lnTo>
                  <a:lnTo>
                    <a:pt x="77" y="672"/>
                  </a:lnTo>
                  <a:lnTo>
                    <a:pt x="60" y="640"/>
                  </a:lnTo>
                  <a:lnTo>
                    <a:pt x="46" y="612"/>
                  </a:lnTo>
                  <a:lnTo>
                    <a:pt x="23" y="554"/>
                  </a:lnTo>
                  <a:lnTo>
                    <a:pt x="7" y="502"/>
                  </a:lnTo>
                  <a:lnTo>
                    <a:pt x="0" y="453"/>
                  </a:lnTo>
                  <a:lnTo>
                    <a:pt x="2" y="409"/>
                  </a:lnTo>
                  <a:lnTo>
                    <a:pt x="9" y="367"/>
                  </a:lnTo>
                  <a:lnTo>
                    <a:pt x="23" y="330"/>
                  </a:lnTo>
                  <a:lnTo>
                    <a:pt x="42" y="295"/>
                  </a:lnTo>
                  <a:lnTo>
                    <a:pt x="68" y="264"/>
                  </a:lnTo>
                  <a:lnTo>
                    <a:pt x="98" y="236"/>
                  </a:lnTo>
                  <a:lnTo>
                    <a:pt x="131" y="210"/>
                  </a:lnTo>
                  <a:lnTo>
                    <a:pt x="170" y="187"/>
                  </a:lnTo>
                  <a:lnTo>
                    <a:pt x="212" y="166"/>
                  </a:lnTo>
                  <a:lnTo>
                    <a:pt x="256" y="147"/>
                  </a:lnTo>
                  <a:lnTo>
                    <a:pt x="301" y="131"/>
                  </a:lnTo>
                  <a:lnTo>
                    <a:pt x="350" y="115"/>
                  </a:lnTo>
                  <a:lnTo>
                    <a:pt x="399" y="103"/>
                  </a:lnTo>
                  <a:lnTo>
                    <a:pt x="483" y="82"/>
                  </a:lnTo>
                  <a:lnTo>
                    <a:pt x="563" y="64"/>
                  </a:lnTo>
                  <a:lnTo>
                    <a:pt x="637" y="49"/>
                  </a:lnTo>
                  <a:lnTo>
                    <a:pt x="703" y="36"/>
                  </a:lnTo>
                  <a:lnTo>
                    <a:pt x="764" y="26"/>
                  </a:lnTo>
                  <a:lnTo>
                    <a:pt x="817" y="17"/>
                  </a:lnTo>
                  <a:lnTo>
                    <a:pt x="861" y="10"/>
                  </a:lnTo>
                  <a:lnTo>
                    <a:pt x="895" y="5"/>
                  </a:lnTo>
                  <a:lnTo>
                    <a:pt x="922" y="0"/>
                  </a:lnTo>
                  <a:lnTo>
                    <a:pt x="92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3"/>
            <p:cNvSpPr>
              <a:spLocks/>
            </p:cNvSpPr>
            <p:nvPr userDrawn="1"/>
          </p:nvSpPr>
          <p:spPr bwMode="auto">
            <a:xfrm>
              <a:off x="2128838" y="1058863"/>
              <a:ext cx="1546225" cy="974725"/>
            </a:xfrm>
            <a:custGeom>
              <a:avLst/>
              <a:gdLst>
                <a:gd name="T0" fmla="*/ 974 w 974"/>
                <a:gd name="T1" fmla="*/ 0 h 614"/>
                <a:gd name="T2" fmla="*/ 948 w 974"/>
                <a:gd name="T3" fmla="*/ 79 h 614"/>
                <a:gd name="T4" fmla="*/ 920 w 974"/>
                <a:gd name="T5" fmla="*/ 159 h 614"/>
                <a:gd name="T6" fmla="*/ 894 w 974"/>
                <a:gd name="T7" fmla="*/ 231 h 614"/>
                <a:gd name="T8" fmla="*/ 866 w 974"/>
                <a:gd name="T9" fmla="*/ 301 h 614"/>
                <a:gd name="T10" fmla="*/ 838 w 974"/>
                <a:gd name="T11" fmla="*/ 368 h 614"/>
                <a:gd name="T12" fmla="*/ 806 w 974"/>
                <a:gd name="T13" fmla="*/ 431 h 614"/>
                <a:gd name="T14" fmla="*/ 785 w 974"/>
                <a:gd name="T15" fmla="*/ 469 h 614"/>
                <a:gd name="T16" fmla="*/ 761 w 974"/>
                <a:gd name="T17" fmla="*/ 506 h 614"/>
                <a:gd name="T18" fmla="*/ 733 w 974"/>
                <a:gd name="T19" fmla="*/ 539 h 614"/>
                <a:gd name="T20" fmla="*/ 703 w 974"/>
                <a:gd name="T21" fmla="*/ 569 h 614"/>
                <a:gd name="T22" fmla="*/ 668 w 974"/>
                <a:gd name="T23" fmla="*/ 593 h 614"/>
                <a:gd name="T24" fmla="*/ 633 w 974"/>
                <a:gd name="T25" fmla="*/ 607 h 614"/>
                <a:gd name="T26" fmla="*/ 598 w 974"/>
                <a:gd name="T27" fmla="*/ 614 h 614"/>
                <a:gd name="T28" fmla="*/ 562 w 974"/>
                <a:gd name="T29" fmla="*/ 613 h 614"/>
                <a:gd name="T30" fmla="*/ 527 w 974"/>
                <a:gd name="T31" fmla="*/ 604 h 614"/>
                <a:gd name="T32" fmla="*/ 490 w 974"/>
                <a:gd name="T33" fmla="*/ 588 h 614"/>
                <a:gd name="T34" fmla="*/ 445 w 974"/>
                <a:gd name="T35" fmla="*/ 560 h 614"/>
                <a:gd name="T36" fmla="*/ 403 w 974"/>
                <a:gd name="T37" fmla="*/ 529 h 614"/>
                <a:gd name="T38" fmla="*/ 345 w 974"/>
                <a:gd name="T39" fmla="*/ 478 h 614"/>
                <a:gd name="T40" fmla="*/ 285 w 974"/>
                <a:gd name="T41" fmla="*/ 418 h 614"/>
                <a:gd name="T42" fmla="*/ 226 w 974"/>
                <a:gd name="T43" fmla="*/ 354 h 614"/>
                <a:gd name="T44" fmla="*/ 177 w 974"/>
                <a:gd name="T45" fmla="*/ 299 h 614"/>
                <a:gd name="T46" fmla="*/ 133 w 974"/>
                <a:gd name="T47" fmla="*/ 249 h 614"/>
                <a:gd name="T48" fmla="*/ 95 w 974"/>
                <a:gd name="T49" fmla="*/ 201 h 614"/>
                <a:gd name="T50" fmla="*/ 60 w 974"/>
                <a:gd name="T51" fmla="*/ 159 h 614"/>
                <a:gd name="T52" fmla="*/ 28 w 974"/>
                <a:gd name="T53" fmla="*/ 123 h 614"/>
                <a:gd name="T54" fmla="*/ 4 w 974"/>
                <a:gd name="T55" fmla="*/ 91 h 614"/>
                <a:gd name="T56" fmla="*/ 2 w 974"/>
                <a:gd name="T57" fmla="*/ 89 h 614"/>
                <a:gd name="T58" fmla="*/ 0 w 974"/>
                <a:gd name="T59" fmla="*/ 88 h 614"/>
                <a:gd name="T60" fmla="*/ 0 w 974"/>
                <a:gd name="T61" fmla="*/ 86 h 614"/>
                <a:gd name="T62" fmla="*/ 2 w 974"/>
                <a:gd name="T63" fmla="*/ 88 h 614"/>
                <a:gd name="T64" fmla="*/ 4 w 974"/>
                <a:gd name="T65" fmla="*/ 91 h 614"/>
                <a:gd name="T66" fmla="*/ 63 w 974"/>
                <a:gd name="T67" fmla="*/ 161 h 614"/>
                <a:gd name="T68" fmla="*/ 126 w 974"/>
                <a:gd name="T69" fmla="*/ 231 h 614"/>
                <a:gd name="T70" fmla="*/ 188 w 974"/>
                <a:gd name="T71" fmla="*/ 296 h 614"/>
                <a:gd name="T72" fmla="*/ 242 w 974"/>
                <a:gd name="T73" fmla="*/ 347 h 614"/>
                <a:gd name="T74" fmla="*/ 296 w 974"/>
                <a:gd name="T75" fmla="*/ 394 h 614"/>
                <a:gd name="T76" fmla="*/ 350 w 974"/>
                <a:gd name="T77" fmla="*/ 434 h 614"/>
                <a:gd name="T78" fmla="*/ 394 w 974"/>
                <a:gd name="T79" fmla="*/ 459 h 614"/>
                <a:gd name="T80" fmla="*/ 436 w 974"/>
                <a:gd name="T81" fmla="*/ 480 h 614"/>
                <a:gd name="T82" fmla="*/ 481 w 974"/>
                <a:gd name="T83" fmla="*/ 494 h 614"/>
                <a:gd name="T84" fmla="*/ 530 w 974"/>
                <a:gd name="T85" fmla="*/ 499 h 614"/>
                <a:gd name="T86" fmla="*/ 549 w 974"/>
                <a:gd name="T87" fmla="*/ 497 h 614"/>
                <a:gd name="T88" fmla="*/ 602 w 974"/>
                <a:gd name="T89" fmla="*/ 488 h 614"/>
                <a:gd name="T90" fmla="*/ 651 w 974"/>
                <a:gd name="T91" fmla="*/ 469 h 614"/>
                <a:gd name="T92" fmla="*/ 695 w 974"/>
                <a:gd name="T93" fmla="*/ 445 h 614"/>
                <a:gd name="T94" fmla="*/ 733 w 974"/>
                <a:gd name="T95" fmla="*/ 415 h 614"/>
                <a:gd name="T96" fmla="*/ 775 w 974"/>
                <a:gd name="T97" fmla="*/ 375 h 614"/>
                <a:gd name="T98" fmla="*/ 812 w 974"/>
                <a:gd name="T99" fmla="*/ 329 h 614"/>
                <a:gd name="T100" fmla="*/ 843 w 974"/>
                <a:gd name="T101" fmla="*/ 280 h 614"/>
                <a:gd name="T102" fmla="*/ 873 w 974"/>
                <a:gd name="T103" fmla="*/ 229 h 614"/>
                <a:gd name="T104" fmla="*/ 899 w 974"/>
                <a:gd name="T105" fmla="*/ 177 h 614"/>
                <a:gd name="T106" fmla="*/ 939 w 974"/>
                <a:gd name="T107" fmla="*/ 88 h 614"/>
                <a:gd name="T108" fmla="*/ 974 w 974"/>
                <a:gd name="T109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4" h="614">
                  <a:moveTo>
                    <a:pt x="974" y="0"/>
                  </a:moveTo>
                  <a:lnTo>
                    <a:pt x="948" y="79"/>
                  </a:lnTo>
                  <a:lnTo>
                    <a:pt x="920" y="159"/>
                  </a:lnTo>
                  <a:lnTo>
                    <a:pt x="894" y="231"/>
                  </a:lnTo>
                  <a:lnTo>
                    <a:pt x="866" y="301"/>
                  </a:lnTo>
                  <a:lnTo>
                    <a:pt x="838" y="368"/>
                  </a:lnTo>
                  <a:lnTo>
                    <a:pt x="806" y="431"/>
                  </a:lnTo>
                  <a:lnTo>
                    <a:pt x="785" y="469"/>
                  </a:lnTo>
                  <a:lnTo>
                    <a:pt x="761" y="506"/>
                  </a:lnTo>
                  <a:lnTo>
                    <a:pt x="733" y="539"/>
                  </a:lnTo>
                  <a:lnTo>
                    <a:pt x="703" y="569"/>
                  </a:lnTo>
                  <a:lnTo>
                    <a:pt x="668" y="593"/>
                  </a:lnTo>
                  <a:lnTo>
                    <a:pt x="633" y="607"/>
                  </a:lnTo>
                  <a:lnTo>
                    <a:pt x="598" y="614"/>
                  </a:lnTo>
                  <a:lnTo>
                    <a:pt x="562" y="613"/>
                  </a:lnTo>
                  <a:lnTo>
                    <a:pt x="527" y="604"/>
                  </a:lnTo>
                  <a:lnTo>
                    <a:pt x="490" y="588"/>
                  </a:lnTo>
                  <a:lnTo>
                    <a:pt x="445" y="560"/>
                  </a:lnTo>
                  <a:lnTo>
                    <a:pt x="403" y="529"/>
                  </a:lnTo>
                  <a:lnTo>
                    <a:pt x="345" y="478"/>
                  </a:lnTo>
                  <a:lnTo>
                    <a:pt x="285" y="418"/>
                  </a:lnTo>
                  <a:lnTo>
                    <a:pt x="226" y="354"/>
                  </a:lnTo>
                  <a:lnTo>
                    <a:pt x="177" y="299"/>
                  </a:lnTo>
                  <a:lnTo>
                    <a:pt x="133" y="249"/>
                  </a:lnTo>
                  <a:lnTo>
                    <a:pt x="95" y="201"/>
                  </a:lnTo>
                  <a:lnTo>
                    <a:pt x="60" y="159"/>
                  </a:lnTo>
                  <a:lnTo>
                    <a:pt x="28" y="123"/>
                  </a:lnTo>
                  <a:lnTo>
                    <a:pt x="4" y="91"/>
                  </a:lnTo>
                  <a:lnTo>
                    <a:pt x="2" y="89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4" y="91"/>
                  </a:lnTo>
                  <a:lnTo>
                    <a:pt x="63" y="161"/>
                  </a:lnTo>
                  <a:lnTo>
                    <a:pt x="126" y="231"/>
                  </a:lnTo>
                  <a:lnTo>
                    <a:pt x="188" y="296"/>
                  </a:lnTo>
                  <a:lnTo>
                    <a:pt x="242" y="347"/>
                  </a:lnTo>
                  <a:lnTo>
                    <a:pt x="296" y="394"/>
                  </a:lnTo>
                  <a:lnTo>
                    <a:pt x="350" y="434"/>
                  </a:lnTo>
                  <a:lnTo>
                    <a:pt x="394" y="459"/>
                  </a:lnTo>
                  <a:lnTo>
                    <a:pt x="436" y="480"/>
                  </a:lnTo>
                  <a:lnTo>
                    <a:pt x="481" y="494"/>
                  </a:lnTo>
                  <a:lnTo>
                    <a:pt x="530" y="499"/>
                  </a:lnTo>
                  <a:lnTo>
                    <a:pt x="549" y="497"/>
                  </a:lnTo>
                  <a:lnTo>
                    <a:pt x="602" y="488"/>
                  </a:lnTo>
                  <a:lnTo>
                    <a:pt x="651" y="469"/>
                  </a:lnTo>
                  <a:lnTo>
                    <a:pt x="695" y="445"/>
                  </a:lnTo>
                  <a:lnTo>
                    <a:pt x="733" y="415"/>
                  </a:lnTo>
                  <a:lnTo>
                    <a:pt x="775" y="375"/>
                  </a:lnTo>
                  <a:lnTo>
                    <a:pt x="812" y="329"/>
                  </a:lnTo>
                  <a:lnTo>
                    <a:pt x="843" y="280"/>
                  </a:lnTo>
                  <a:lnTo>
                    <a:pt x="873" y="229"/>
                  </a:lnTo>
                  <a:lnTo>
                    <a:pt x="899" y="177"/>
                  </a:lnTo>
                  <a:lnTo>
                    <a:pt x="939" y="88"/>
                  </a:lnTo>
                  <a:lnTo>
                    <a:pt x="974" y="0"/>
                  </a:lnTo>
                  <a:close/>
                </a:path>
              </a:pathLst>
            </a:custGeom>
            <a:solidFill>
              <a:srgbClr val="EEED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4"/>
            <p:cNvSpPr>
              <a:spLocks/>
            </p:cNvSpPr>
            <p:nvPr userDrawn="1"/>
          </p:nvSpPr>
          <p:spPr bwMode="auto">
            <a:xfrm>
              <a:off x="2079626" y="1006475"/>
              <a:ext cx="1609725" cy="844550"/>
            </a:xfrm>
            <a:custGeom>
              <a:avLst/>
              <a:gdLst>
                <a:gd name="T0" fmla="*/ 885 w 1014"/>
                <a:gd name="T1" fmla="*/ 0 h 532"/>
                <a:gd name="T2" fmla="*/ 941 w 1014"/>
                <a:gd name="T3" fmla="*/ 0 h 532"/>
                <a:gd name="T4" fmla="*/ 1002 w 1014"/>
                <a:gd name="T5" fmla="*/ 9 h 532"/>
                <a:gd name="T6" fmla="*/ 1014 w 1014"/>
                <a:gd name="T7" fmla="*/ 10 h 532"/>
                <a:gd name="T8" fmla="*/ 1012 w 1014"/>
                <a:gd name="T9" fmla="*/ 16 h 532"/>
                <a:gd name="T10" fmla="*/ 1011 w 1014"/>
                <a:gd name="T11" fmla="*/ 21 h 532"/>
                <a:gd name="T12" fmla="*/ 1009 w 1014"/>
                <a:gd name="T13" fmla="*/ 24 h 532"/>
                <a:gd name="T14" fmla="*/ 1007 w 1014"/>
                <a:gd name="T15" fmla="*/ 28 h 532"/>
                <a:gd name="T16" fmla="*/ 1005 w 1014"/>
                <a:gd name="T17" fmla="*/ 33 h 532"/>
                <a:gd name="T18" fmla="*/ 970 w 1014"/>
                <a:gd name="T19" fmla="*/ 121 h 532"/>
                <a:gd name="T20" fmla="*/ 930 w 1014"/>
                <a:gd name="T21" fmla="*/ 210 h 532"/>
                <a:gd name="T22" fmla="*/ 904 w 1014"/>
                <a:gd name="T23" fmla="*/ 262 h 532"/>
                <a:gd name="T24" fmla="*/ 874 w 1014"/>
                <a:gd name="T25" fmla="*/ 313 h 532"/>
                <a:gd name="T26" fmla="*/ 843 w 1014"/>
                <a:gd name="T27" fmla="*/ 362 h 532"/>
                <a:gd name="T28" fmla="*/ 806 w 1014"/>
                <a:gd name="T29" fmla="*/ 408 h 532"/>
                <a:gd name="T30" fmla="*/ 764 w 1014"/>
                <a:gd name="T31" fmla="*/ 448 h 532"/>
                <a:gd name="T32" fmla="*/ 726 w 1014"/>
                <a:gd name="T33" fmla="*/ 478 h 532"/>
                <a:gd name="T34" fmla="*/ 682 w 1014"/>
                <a:gd name="T35" fmla="*/ 502 h 532"/>
                <a:gd name="T36" fmla="*/ 633 w 1014"/>
                <a:gd name="T37" fmla="*/ 521 h 532"/>
                <a:gd name="T38" fmla="*/ 580 w 1014"/>
                <a:gd name="T39" fmla="*/ 530 h 532"/>
                <a:gd name="T40" fmla="*/ 561 w 1014"/>
                <a:gd name="T41" fmla="*/ 532 h 532"/>
                <a:gd name="T42" fmla="*/ 512 w 1014"/>
                <a:gd name="T43" fmla="*/ 527 h 532"/>
                <a:gd name="T44" fmla="*/ 467 w 1014"/>
                <a:gd name="T45" fmla="*/ 513 h 532"/>
                <a:gd name="T46" fmla="*/ 425 w 1014"/>
                <a:gd name="T47" fmla="*/ 492 h 532"/>
                <a:gd name="T48" fmla="*/ 381 w 1014"/>
                <a:gd name="T49" fmla="*/ 467 h 532"/>
                <a:gd name="T50" fmla="*/ 327 w 1014"/>
                <a:gd name="T51" fmla="*/ 427 h 532"/>
                <a:gd name="T52" fmla="*/ 273 w 1014"/>
                <a:gd name="T53" fmla="*/ 380 h 532"/>
                <a:gd name="T54" fmla="*/ 219 w 1014"/>
                <a:gd name="T55" fmla="*/ 329 h 532"/>
                <a:gd name="T56" fmla="*/ 145 w 1014"/>
                <a:gd name="T57" fmla="*/ 252 h 532"/>
                <a:gd name="T58" fmla="*/ 73 w 1014"/>
                <a:gd name="T59" fmla="*/ 170 h 532"/>
                <a:gd name="T60" fmla="*/ 3 w 1014"/>
                <a:gd name="T61" fmla="*/ 86 h 532"/>
                <a:gd name="T62" fmla="*/ 2 w 1014"/>
                <a:gd name="T63" fmla="*/ 84 h 532"/>
                <a:gd name="T64" fmla="*/ 2 w 1014"/>
                <a:gd name="T65" fmla="*/ 82 h 532"/>
                <a:gd name="T66" fmla="*/ 0 w 1014"/>
                <a:gd name="T67" fmla="*/ 82 h 532"/>
                <a:gd name="T68" fmla="*/ 0 w 1014"/>
                <a:gd name="T69" fmla="*/ 80 h 532"/>
                <a:gd name="T70" fmla="*/ 28 w 1014"/>
                <a:gd name="T71" fmla="*/ 63 h 532"/>
                <a:gd name="T72" fmla="*/ 59 w 1014"/>
                <a:gd name="T73" fmla="*/ 47 h 532"/>
                <a:gd name="T74" fmla="*/ 94 w 1014"/>
                <a:gd name="T75" fmla="*/ 33 h 532"/>
                <a:gd name="T76" fmla="*/ 126 w 1014"/>
                <a:gd name="T77" fmla="*/ 23 h 532"/>
                <a:gd name="T78" fmla="*/ 170 w 1014"/>
                <a:gd name="T79" fmla="*/ 75 h 532"/>
                <a:gd name="T80" fmla="*/ 212 w 1014"/>
                <a:gd name="T81" fmla="*/ 124 h 532"/>
                <a:gd name="T82" fmla="*/ 253 w 1014"/>
                <a:gd name="T83" fmla="*/ 171 h 532"/>
                <a:gd name="T84" fmla="*/ 295 w 1014"/>
                <a:gd name="T85" fmla="*/ 217 h 532"/>
                <a:gd name="T86" fmla="*/ 337 w 1014"/>
                <a:gd name="T87" fmla="*/ 259 h 532"/>
                <a:gd name="T88" fmla="*/ 378 w 1014"/>
                <a:gd name="T89" fmla="*/ 296 h 532"/>
                <a:gd name="T90" fmla="*/ 418 w 1014"/>
                <a:gd name="T91" fmla="*/ 327 h 532"/>
                <a:gd name="T92" fmla="*/ 455 w 1014"/>
                <a:gd name="T93" fmla="*/ 352 h 532"/>
                <a:gd name="T94" fmla="*/ 493 w 1014"/>
                <a:gd name="T95" fmla="*/ 369 h 532"/>
                <a:gd name="T96" fmla="*/ 528 w 1014"/>
                <a:gd name="T97" fmla="*/ 378 h 532"/>
                <a:gd name="T98" fmla="*/ 561 w 1014"/>
                <a:gd name="T99" fmla="*/ 378 h 532"/>
                <a:gd name="T100" fmla="*/ 594 w 1014"/>
                <a:gd name="T101" fmla="*/ 367 h 532"/>
                <a:gd name="T102" fmla="*/ 628 w 1014"/>
                <a:gd name="T103" fmla="*/ 348 h 532"/>
                <a:gd name="T104" fmla="*/ 657 w 1014"/>
                <a:gd name="T105" fmla="*/ 322 h 532"/>
                <a:gd name="T106" fmla="*/ 687 w 1014"/>
                <a:gd name="T107" fmla="*/ 290 h 532"/>
                <a:gd name="T108" fmla="*/ 713 w 1014"/>
                <a:gd name="T109" fmla="*/ 254 h 532"/>
                <a:gd name="T110" fmla="*/ 738 w 1014"/>
                <a:gd name="T111" fmla="*/ 213 h 532"/>
                <a:gd name="T112" fmla="*/ 761 w 1014"/>
                <a:gd name="T113" fmla="*/ 173 h 532"/>
                <a:gd name="T114" fmla="*/ 780 w 1014"/>
                <a:gd name="T115" fmla="*/ 133 h 532"/>
                <a:gd name="T116" fmla="*/ 797 w 1014"/>
                <a:gd name="T117" fmla="*/ 94 h 532"/>
                <a:gd name="T118" fmla="*/ 811 w 1014"/>
                <a:gd name="T119" fmla="*/ 59 h 532"/>
                <a:gd name="T120" fmla="*/ 823 w 1014"/>
                <a:gd name="T121" fmla="*/ 30 h 532"/>
                <a:gd name="T122" fmla="*/ 832 w 1014"/>
                <a:gd name="T123" fmla="*/ 7 h 532"/>
                <a:gd name="T124" fmla="*/ 885 w 1014"/>
                <a:gd name="T125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14" h="532">
                  <a:moveTo>
                    <a:pt x="885" y="0"/>
                  </a:moveTo>
                  <a:lnTo>
                    <a:pt x="941" y="0"/>
                  </a:lnTo>
                  <a:lnTo>
                    <a:pt x="1002" y="9"/>
                  </a:lnTo>
                  <a:lnTo>
                    <a:pt x="1014" y="10"/>
                  </a:lnTo>
                  <a:lnTo>
                    <a:pt x="1012" y="16"/>
                  </a:lnTo>
                  <a:lnTo>
                    <a:pt x="1011" y="21"/>
                  </a:lnTo>
                  <a:lnTo>
                    <a:pt x="1009" y="24"/>
                  </a:lnTo>
                  <a:lnTo>
                    <a:pt x="1007" y="28"/>
                  </a:lnTo>
                  <a:lnTo>
                    <a:pt x="1005" y="33"/>
                  </a:lnTo>
                  <a:lnTo>
                    <a:pt x="970" y="121"/>
                  </a:lnTo>
                  <a:lnTo>
                    <a:pt x="930" y="210"/>
                  </a:lnTo>
                  <a:lnTo>
                    <a:pt x="904" y="262"/>
                  </a:lnTo>
                  <a:lnTo>
                    <a:pt x="874" y="313"/>
                  </a:lnTo>
                  <a:lnTo>
                    <a:pt x="843" y="362"/>
                  </a:lnTo>
                  <a:lnTo>
                    <a:pt x="806" y="408"/>
                  </a:lnTo>
                  <a:lnTo>
                    <a:pt x="764" y="448"/>
                  </a:lnTo>
                  <a:lnTo>
                    <a:pt x="726" y="478"/>
                  </a:lnTo>
                  <a:lnTo>
                    <a:pt x="682" y="502"/>
                  </a:lnTo>
                  <a:lnTo>
                    <a:pt x="633" y="521"/>
                  </a:lnTo>
                  <a:lnTo>
                    <a:pt x="580" y="530"/>
                  </a:lnTo>
                  <a:lnTo>
                    <a:pt x="561" y="532"/>
                  </a:lnTo>
                  <a:lnTo>
                    <a:pt x="512" y="527"/>
                  </a:lnTo>
                  <a:lnTo>
                    <a:pt x="467" y="513"/>
                  </a:lnTo>
                  <a:lnTo>
                    <a:pt x="425" y="492"/>
                  </a:lnTo>
                  <a:lnTo>
                    <a:pt x="381" y="467"/>
                  </a:lnTo>
                  <a:lnTo>
                    <a:pt x="327" y="427"/>
                  </a:lnTo>
                  <a:lnTo>
                    <a:pt x="273" y="380"/>
                  </a:lnTo>
                  <a:lnTo>
                    <a:pt x="219" y="329"/>
                  </a:lnTo>
                  <a:lnTo>
                    <a:pt x="145" y="252"/>
                  </a:lnTo>
                  <a:lnTo>
                    <a:pt x="73" y="170"/>
                  </a:lnTo>
                  <a:lnTo>
                    <a:pt x="3" y="86"/>
                  </a:lnTo>
                  <a:lnTo>
                    <a:pt x="2" y="84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28" y="63"/>
                  </a:lnTo>
                  <a:lnTo>
                    <a:pt x="59" y="47"/>
                  </a:lnTo>
                  <a:lnTo>
                    <a:pt x="94" y="33"/>
                  </a:lnTo>
                  <a:lnTo>
                    <a:pt x="126" y="23"/>
                  </a:lnTo>
                  <a:lnTo>
                    <a:pt x="170" y="75"/>
                  </a:lnTo>
                  <a:lnTo>
                    <a:pt x="212" y="124"/>
                  </a:lnTo>
                  <a:lnTo>
                    <a:pt x="253" y="171"/>
                  </a:lnTo>
                  <a:lnTo>
                    <a:pt x="295" y="217"/>
                  </a:lnTo>
                  <a:lnTo>
                    <a:pt x="337" y="259"/>
                  </a:lnTo>
                  <a:lnTo>
                    <a:pt x="378" y="296"/>
                  </a:lnTo>
                  <a:lnTo>
                    <a:pt x="418" y="327"/>
                  </a:lnTo>
                  <a:lnTo>
                    <a:pt x="455" y="352"/>
                  </a:lnTo>
                  <a:lnTo>
                    <a:pt x="493" y="369"/>
                  </a:lnTo>
                  <a:lnTo>
                    <a:pt x="528" y="378"/>
                  </a:lnTo>
                  <a:lnTo>
                    <a:pt x="561" y="378"/>
                  </a:lnTo>
                  <a:lnTo>
                    <a:pt x="594" y="367"/>
                  </a:lnTo>
                  <a:lnTo>
                    <a:pt x="628" y="348"/>
                  </a:lnTo>
                  <a:lnTo>
                    <a:pt x="657" y="322"/>
                  </a:lnTo>
                  <a:lnTo>
                    <a:pt x="687" y="290"/>
                  </a:lnTo>
                  <a:lnTo>
                    <a:pt x="713" y="254"/>
                  </a:lnTo>
                  <a:lnTo>
                    <a:pt x="738" y="213"/>
                  </a:lnTo>
                  <a:lnTo>
                    <a:pt x="761" y="173"/>
                  </a:lnTo>
                  <a:lnTo>
                    <a:pt x="780" y="133"/>
                  </a:lnTo>
                  <a:lnTo>
                    <a:pt x="797" y="94"/>
                  </a:lnTo>
                  <a:lnTo>
                    <a:pt x="811" y="59"/>
                  </a:lnTo>
                  <a:lnTo>
                    <a:pt x="823" y="30"/>
                  </a:lnTo>
                  <a:lnTo>
                    <a:pt x="832" y="7"/>
                  </a:lnTo>
                  <a:lnTo>
                    <a:pt x="885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5"/>
            <p:cNvSpPr>
              <a:spLocks/>
            </p:cNvSpPr>
            <p:nvPr userDrawn="1"/>
          </p:nvSpPr>
          <p:spPr bwMode="auto">
            <a:xfrm>
              <a:off x="1520826" y="1173163"/>
              <a:ext cx="1233488" cy="1449388"/>
            </a:xfrm>
            <a:custGeom>
              <a:avLst/>
              <a:gdLst>
                <a:gd name="T0" fmla="*/ 320 w 777"/>
                <a:gd name="T1" fmla="*/ 0 h 913"/>
                <a:gd name="T2" fmla="*/ 320 w 777"/>
                <a:gd name="T3" fmla="*/ 0 h 913"/>
                <a:gd name="T4" fmla="*/ 373 w 777"/>
                <a:gd name="T5" fmla="*/ 58 h 913"/>
                <a:gd name="T6" fmla="*/ 481 w 777"/>
                <a:gd name="T7" fmla="*/ 182 h 913"/>
                <a:gd name="T8" fmla="*/ 584 w 777"/>
                <a:gd name="T9" fmla="*/ 311 h 913"/>
                <a:gd name="T10" fmla="*/ 632 w 777"/>
                <a:gd name="T11" fmla="*/ 373 h 913"/>
                <a:gd name="T12" fmla="*/ 675 w 777"/>
                <a:gd name="T13" fmla="*/ 436 h 913"/>
                <a:gd name="T14" fmla="*/ 705 w 777"/>
                <a:gd name="T15" fmla="*/ 483 h 913"/>
                <a:gd name="T16" fmla="*/ 733 w 777"/>
                <a:gd name="T17" fmla="*/ 530 h 913"/>
                <a:gd name="T18" fmla="*/ 758 w 777"/>
                <a:gd name="T19" fmla="*/ 579 h 913"/>
                <a:gd name="T20" fmla="*/ 768 w 777"/>
                <a:gd name="T21" fmla="*/ 609 h 913"/>
                <a:gd name="T22" fmla="*/ 775 w 777"/>
                <a:gd name="T23" fmla="*/ 640 h 913"/>
                <a:gd name="T24" fmla="*/ 777 w 777"/>
                <a:gd name="T25" fmla="*/ 674 h 913"/>
                <a:gd name="T26" fmla="*/ 768 w 777"/>
                <a:gd name="T27" fmla="*/ 707 h 913"/>
                <a:gd name="T28" fmla="*/ 751 w 777"/>
                <a:gd name="T29" fmla="*/ 735 h 913"/>
                <a:gd name="T30" fmla="*/ 726 w 777"/>
                <a:gd name="T31" fmla="*/ 759 h 913"/>
                <a:gd name="T32" fmla="*/ 695 w 777"/>
                <a:gd name="T33" fmla="*/ 782 h 913"/>
                <a:gd name="T34" fmla="*/ 660 w 777"/>
                <a:gd name="T35" fmla="*/ 800 h 913"/>
                <a:gd name="T36" fmla="*/ 621 w 777"/>
                <a:gd name="T37" fmla="*/ 812 h 913"/>
                <a:gd name="T38" fmla="*/ 583 w 777"/>
                <a:gd name="T39" fmla="*/ 822 h 913"/>
                <a:gd name="T40" fmla="*/ 544 w 777"/>
                <a:gd name="T41" fmla="*/ 833 h 913"/>
                <a:gd name="T42" fmla="*/ 432 w 777"/>
                <a:gd name="T43" fmla="*/ 856 h 913"/>
                <a:gd name="T44" fmla="*/ 319 w 777"/>
                <a:gd name="T45" fmla="*/ 873 h 913"/>
                <a:gd name="T46" fmla="*/ 160 w 777"/>
                <a:gd name="T47" fmla="*/ 894 h 913"/>
                <a:gd name="T48" fmla="*/ 0 w 777"/>
                <a:gd name="T49" fmla="*/ 913 h 913"/>
                <a:gd name="T50" fmla="*/ 69 w 777"/>
                <a:gd name="T51" fmla="*/ 903 h 913"/>
                <a:gd name="T52" fmla="*/ 137 w 777"/>
                <a:gd name="T53" fmla="*/ 892 h 913"/>
                <a:gd name="T54" fmla="*/ 203 w 777"/>
                <a:gd name="T55" fmla="*/ 880 h 913"/>
                <a:gd name="T56" fmla="*/ 270 w 777"/>
                <a:gd name="T57" fmla="*/ 868 h 913"/>
                <a:gd name="T58" fmla="*/ 333 w 777"/>
                <a:gd name="T59" fmla="*/ 854 h 913"/>
                <a:gd name="T60" fmla="*/ 394 w 777"/>
                <a:gd name="T61" fmla="*/ 836 h 913"/>
                <a:gd name="T62" fmla="*/ 450 w 777"/>
                <a:gd name="T63" fmla="*/ 817 h 913"/>
                <a:gd name="T64" fmla="*/ 501 w 777"/>
                <a:gd name="T65" fmla="*/ 794 h 913"/>
                <a:gd name="T66" fmla="*/ 548 w 777"/>
                <a:gd name="T67" fmla="*/ 768 h 913"/>
                <a:gd name="T68" fmla="*/ 586 w 777"/>
                <a:gd name="T69" fmla="*/ 738 h 913"/>
                <a:gd name="T70" fmla="*/ 614 w 777"/>
                <a:gd name="T71" fmla="*/ 709 h 913"/>
                <a:gd name="T72" fmla="*/ 633 w 777"/>
                <a:gd name="T73" fmla="*/ 677 h 913"/>
                <a:gd name="T74" fmla="*/ 646 w 777"/>
                <a:gd name="T75" fmla="*/ 646 h 913"/>
                <a:gd name="T76" fmla="*/ 653 w 777"/>
                <a:gd name="T77" fmla="*/ 612 h 913"/>
                <a:gd name="T78" fmla="*/ 654 w 777"/>
                <a:gd name="T79" fmla="*/ 579 h 913"/>
                <a:gd name="T80" fmla="*/ 651 w 777"/>
                <a:gd name="T81" fmla="*/ 546 h 913"/>
                <a:gd name="T82" fmla="*/ 646 w 777"/>
                <a:gd name="T83" fmla="*/ 516 h 913"/>
                <a:gd name="T84" fmla="*/ 637 w 777"/>
                <a:gd name="T85" fmla="*/ 486 h 913"/>
                <a:gd name="T86" fmla="*/ 628 w 777"/>
                <a:gd name="T87" fmla="*/ 462 h 913"/>
                <a:gd name="T88" fmla="*/ 619 w 777"/>
                <a:gd name="T89" fmla="*/ 439 h 913"/>
                <a:gd name="T90" fmla="*/ 612 w 777"/>
                <a:gd name="T91" fmla="*/ 422 h 913"/>
                <a:gd name="T92" fmla="*/ 571 w 777"/>
                <a:gd name="T93" fmla="*/ 341 h 913"/>
                <a:gd name="T94" fmla="*/ 529 w 777"/>
                <a:gd name="T95" fmla="*/ 268 h 913"/>
                <a:gd name="T96" fmla="*/ 483 w 777"/>
                <a:gd name="T97" fmla="*/ 201 h 913"/>
                <a:gd name="T98" fmla="*/ 438 w 777"/>
                <a:gd name="T99" fmla="*/ 140 h 913"/>
                <a:gd name="T100" fmla="*/ 396 w 777"/>
                <a:gd name="T101" fmla="*/ 86 h 913"/>
                <a:gd name="T102" fmla="*/ 355 w 777"/>
                <a:gd name="T103" fmla="*/ 38 h 913"/>
                <a:gd name="T104" fmla="*/ 320 w 777"/>
                <a:gd name="T105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7" h="913">
                  <a:moveTo>
                    <a:pt x="320" y="0"/>
                  </a:moveTo>
                  <a:lnTo>
                    <a:pt x="320" y="0"/>
                  </a:lnTo>
                  <a:lnTo>
                    <a:pt x="373" y="58"/>
                  </a:lnTo>
                  <a:lnTo>
                    <a:pt x="481" y="182"/>
                  </a:lnTo>
                  <a:lnTo>
                    <a:pt x="584" y="311"/>
                  </a:lnTo>
                  <a:lnTo>
                    <a:pt x="632" y="373"/>
                  </a:lnTo>
                  <a:lnTo>
                    <a:pt x="675" y="436"/>
                  </a:lnTo>
                  <a:lnTo>
                    <a:pt x="705" y="483"/>
                  </a:lnTo>
                  <a:lnTo>
                    <a:pt x="733" y="530"/>
                  </a:lnTo>
                  <a:lnTo>
                    <a:pt x="758" y="579"/>
                  </a:lnTo>
                  <a:lnTo>
                    <a:pt x="768" y="609"/>
                  </a:lnTo>
                  <a:lnTo>
                    <a:pt x="775" y="640"/>
                  </a:lnTo>
                  <a:lnTo>
                    <a:pt x="777" y="674"/>
                  </a:lnTo>
                  <a:lnTo>
                    <a:pt x="768" y="707"/>
                  </a:lnTo>
                  <a:lnTo>
                    <a:pt x="751" y="735"/>
                  </a:lnTo>
                  <a:lnTo>
                    <a:pt x="726" y="759"/>
                  </a:lnTo>
                  <a:lnTo>
                    <a:pt x="695" y="782"/>
                  </a:lnTo>
                  <a:lnTo>
                    <a:pt x="660" y="800"/>
                  </a:lnTo>
                  <a:lnTo>
                    <a:pt x="621" y="812"/>
                  </a:lnTo>
                  <a:lnTo>
                    <a:pt x="583" y="822"/>
                  </a:lnTo>
                  <a:lnTo>
                    <a:pt x="544" y="833"/>
                  </a:lnTo>
                  <a:lnTo>
                    <a:pt x="432" y="856"/>
                  </a:lnTo>
                  <a:lnTo>
                    <a:pt x="319" y="873"/>
                  </a:lnTo>
                  <a:lnTo>
                    <a:pt x="160" y="894"/>
                  </a:lnTo>
                  <a:lnTo>
                    <a:pt x="0" y="913"/>
                  </a:lnTo>
                  <a:lnTo>
                    <a:pt x="69" y="903"/>
                  </a:lnTo>
                  <a:lnTo>
                    <a:pt x="137" y="892"/>
                  </a:lnTo>
                  <a:lnTo>
                    <a:pt x="203" y="880"/>
                  </a:lnTo>
                  <a:lnTo>
                    <a:pt x="270" y="868"/>
                  </a:lnTo>
                  <a:lnTo>
                    <a:pt x="333" y="854"/>
                  </a:lnTo>
                  <a:lnTo>
                    <a:pt x="394" y="836"/>
                  </a:lnTo>
                  <a:lnTo>
                    <a:pt x="450" y="817"/>
                  </a:lnTo>
                  <a:lnTo>
                    <a:pt x="501" y="794"/>
                  </a:lnTo>
                  <a:lnTo>
                    <a:pt x="548" y="768"/>
                  </a:lnTo>
                  <a:lnTo>
                    <a:pt x="586" y="738"/>
                  </a:lnTo>
                  <a:lnTo>
                    <a:pt x="614" y="709"/>
                  </a:lnTo>
                  <a:lnTo>
                    <a:pt x="633" y="677"/>
                  </a:lnTo>
                  <a:lnTo>
                    <a:pt x="646" y="646"/>
                  </a:lnTo>
                  <a:lnTo>
                    <a:pt x="653" y="612"/>
                  </a:lnTo>
                  <a:lnTo>
                    <a:pt x="654" y="579"/>
                  </a:lnTo>
                  <a:lnTo>
                    <a:pt x="651" y="546"/>
                  </a:lnTo>
                  <a:lnTo>
                    <a:pt x="646" y="516"/>
                  </a:lnTo>
                  <a:lnTo>
                    <a:pt x="637" y="486"/>
                  </a:lnTo>
                  <a:lnTo>
                    <a:pt x="628" y="462"/>
                  </a:lnTo>
                  <a:lnTo>
                    <a:pt x="619" y="439"/>
                  </a:lnTo>
                  <a:lnTo>
                    <a:pt x="612" y="422"/>
                  </a:lnTo>
                  <a:lnTo>
                    <a:pt x="571" y="341"/>
                  </a:lnTo>
                  <a:lnTo>
                    <a:pt x="529" y="268"/>
                  </a:lnTo>
                  <a:lnTo>
                    <a:pt x="483" y="201"/>
                  </a:lnTo>
                  <a:lnTo>
                    <a:pt x="438" y="140"/>
                  </a:lnTo>
                  <a:lnTo>
                    <a:pt x="396" y="86"/>
                  </a:lnTo>
                  <a:lnTo>
                    <a:pt x="355" y="38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CCC8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6"/>
            <p:cNvSpPr>
              <a:spLocks/>
            </p:cNvSpPr>
            <p:nvPr userDrawn="1"/>
          </p:nvSpPr>
          <p:spPr bwMode="auto">
            <a:xfrm>
              <a:off x="1516063" y="1169988"/>
              <a:ext cx="1042988" cy="1452563"/>
            </a:xfrm>
            <a:custGeom>
              <a:avLst/>
              <a:gdLst>
                <a:gd name="T0" fmla="*/ 322 w 657"/>
                <a:gd name="T1" fmla="*/ 0 h 915"/>
                <a:gd name="T2" fmla="*/ 358 w 657"/>
                <a:gd name="T3" fmla="*/ 40 h 915"/>
                <a:gd name="T4" fmla="*/ 441 w 657"/>
                <a:gd name="T5" fmla="*/ 142 h 915"/>
                <a:gd name="T6" fmla="*/ 532 w 657"/>
                <a:gd name="T7" fmla="*/ 270 h 915"/>
                <a:gd name="T8" fmla="*/ 615 w 657"/>
                <a:gd name="T9" fmla="*/ 424 h 915"/>
                <a:gd name="T10" fmla="*/ 631 w 657"/>
                <a:gd name="T11" fmla="*/ 464 h 915"/>
                <a:gd name="T12" fmla="*/ 649 w 657"/>
                <a:gd name="T13" fmla="*/ 518 h 915"/>
                <a:gd name="T14" fmla="*/ 657 w 657"/>
                <a:gd name="T15" fmla="*/ 581 h 915"/>
                <a:gd name="T16" fmla="*/ 649 w 657"/>
                <a:gd name="T17" fmla="*/ 648 h 915"/>
                <a:gd name="T18" fmla="*/ 617 w 657"/>
                <a:gd name="T19" fmla="*/ 711 h 915"/>
                <a:gd name="T20" fmla="*/ 551 w 657"/>
                <a:gd name="T21" fmla="*/ 770 h 915"/>
                <a:gd name="T22" fmla="*/ 453 w 657"/>
                <a:gd name="T23" fmla="*/ 819 h 915"/>
                <a:gd name="T24" fmla="*/ 336 w 657"/>
                <a:gd name="T25" fmla="*/ 856 h 915"/>
                <a:gd name="T26" fmla="*/ 206 w 657"/>
                <a:gd name="T27" fmla="*/ 882 h 915"/>
                <a:gd name="T28" fmla="*/ 72 w 657"/>
                <a:gd name="T29" fmla="*/ 905 h 915"/>
                <a:gd name="T30" fmla="*/ 3 w 657"/>
                <a:gd name="T31" fmla="*/ 915 h 915"/>
                <a:gd name="T32" fmla="*/ 3 w 657"/>
                <a:gd name="T33" fmla="*/ 816 h 915"/>
                <a:gd name="T34" fmla="*/ 16 w 657"/>
                <a:gd name="T35" fmla="*/ 774 h 915"/>
                <a:gd name="T36" fmla="*/ 37 w 657"/>
                <a:gd name="T37" fmla="*/ 770 h 915"/>
                <a:gd name="T38" fmla="*/ 89 w 657"/>
                <a:gd name="T39" fmla="*/ 760 h 915"/>
                <a:gd name="T40" fmla="*/ 164 w 657"/>
                <a:gd name="T41" fmla="*/ 746 h 915"/>
                <a:gd name="T42" fmla="*/ 243 w 657"/>
                <a:gd name="T43" fmla="*/ 730 h 915"/>
                <a:gd name="T44" fmla="*/ 316 w 657"/>
                <a:gd name="T45" fmla="*/ 712 h 915"/>
                <a:gd name="T46" fmla="*/ 371 w 657"/>
                <a:gd name="T47" fmla="*/ 697 h 915"/>
                <a:gd name="T48" fmla="*/ 418 w 657"/>
                <a:gd name="T49" fmla="*/ 676 h 915"/>
                <a:gd name="T50" fmla="*/ 456 w 657"/>
                <a:gd name="T51" fmla="*/ 651 h 915"/>
                <a:gd name="T52" fmla="*/ 483 w 657"/>
                <a:gd name="T53" fmla="*/ 620 h 915"/>
                <a:gd name="T54" fmla="*/ 493 w 657"/>
                <a:gd name="T55" fmla="*/ 578 h 915"/>
                <a:gd name="T56" fmla="*/ 483 w 657"/>
                <a:gd name="T57" fmla="*/ 522 h 915"/>
                <a:gd name="T58" fmla="*/ 441 w 657"/>
                <a:gd name="T59" fmla="*/ 434 h 915"/>
                <a:gd name="T60" fmla="*/ 390 w 657"/>
                <a:gd name="T61" fmla="*/ 350 h 915"/>
                <a:gd name="T62" fmla="*/ 341 w 657"/>
                <a:gd name="T63" fmla="*/ 282 h 915"/>
                <a:gd name="T64" fmla="*/ 285 w 657"/>
                <a:gd name="T65" fmla="*/ 215 h 915"/>
                <a:gd name="T66" fmla="*/ 217 w 657"/>
                <a:gd name="T67" fmla="*/ 137 h 915"/>
                <a:gd name="T68" fmla="*/ 220 w 657"/>
                <a:gd name="T69" fmla="*/ 126 h 915"/>
                <a:gd name="T70" fmla="*/ 241 w 657"/>
                <a:gd name="T71" fmla="*/ 91 h 915"/>
                <a:gd name="T72" fmla="*/ 282 w 657"/>
                <a:gd name="T73" fmla="*/ 40 h 915"/>
                <a:gd name="T74" fmla="*/ 322 w 657"/>
                <a:gd name="T75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7" h="915">
                  <a:moveTo>
                    <a:pt x="322" y="0"/>
                  </a:moveTo>
                  <a:lnTo>
                    <a:pt x="322" y="0"/>
                  </a:lnTo>
                  <a:lnTo>
                    <a:pt x="323" y="2"/>
                  </a:lnTo>
                  <a:lnTo>
                    <a:pt x="358" y="40"/>
                  </a:lnTo>
                  <a:lnTo>
                    <a:pt x="399" y="88"/>
                  </a:lnTo>
                  <a:lnTo>
                    <a:pt x="441" y="142"/>
                  </a:lnTo>
                  <a:lnTo>
                    <a:pt x="486" y="203"/>
                  </a:lnTo>
                  <a:lnTo>
                    <a:pt x="532" y="270"/>
                  </a:lnTo>
                  <a:lnTo>
                    <a:pt x="574" y="343"/>
                  </a:lnTo>
                  <a:lnTo>
                    <a:pt x="615" y="424"/>
                  </a:lnTo>
                  <a:lnTo>
                    <a:pt x="622" y="441"/>
                  </a:lnTo>
                  <a:lnTo>
                    <a:pt x="631" y="464"/>
                  </a:lnTo>
                  <a:lnTo>
                    <a:pt x="640" y="488"/>
                  </a:lnTo>
                  <a:lnTo>
                    <a:pt x="649" y="518"/>
                  </a:lnTo>
                  <a:lnTo>
                    <a:pt x="654" y="548"/>
                  </a:lnTo>
                  <a:lnTo>
                    <a:pt x="657" y="581"/>
                  </a:lnTo>
                  <a:lnTo>
                    <a:pt x="656" y="614"/>
                  </a:lnTo>
                  <a:lnTo>
                    <a:pt x="649" y="648"/>
                  </a:lnTo>
                  <a:lnTo>
                    <a:pt x="636" y="679"/>
                  </a:lnTo>
                  <a:lnTo>
                    <a:pt x="617" y="711"/>
                  </a:lnTo>
                  <a:lnTo>
                    <a:pt x="589" y="740"/>
                  </a:lnTo>
                  <a:lnTo>
                    <a:pt x="551" y="770"/>
                  </a:lnTo>
                  <a:lnTo>
                    <a:pt x="504" y="796"/>
                  </a:lnTo>
                  <a:lnTo>
                    <a:pt x="453" y="819"/>
                  </a:lnTo>
                  <a:lnTo>
                    <a:pt x="397" y="838"/>
                  </a:lnTo>
                  <a:lnTo>
                    <a:pt x="336" y="856"/>
                  </a:lnTo>
                  <a:lnTo>
                    <a:pt x="273" y="870"/>
                  </a:lnTo>
                  <a:lnTo>
                    <a:pt x="206" y="882"/>
                  </a:lnTo>
                  <a:lnTo>
                    <a:pt x="140" y="894"/>
                  </a:lnTo>
                  <a:lnTo>
                    <a:pt x="72" y="905"/>
                  </a:lnTo>
                  <a:lnTo>
                    <a:pt x="3" y="915"/>
                  </a:lnTo>
                  <a:lnTo>
                    <a:pt x="3" y="915"/>
                  </a:lnTo>
                  <a:lnTo>
                    <a:pt x="0" y="863"/>
                  </a:lnTo>
                  <a:lnTo>
                    <a:pt x="3" y="816"/>
                  </a:lnTo>
                  <a:lnTo>
                    <a:pt x="14" y="774"/>
                  </a:lnTo>
                  <a:lnTo>
                    <a:pt x="16" y="774"/>
                  </a:lnTo>
                  <a:lnTo>
                    <a:pt x="21" y="772"/>
                  </a:lnTo>
                  <a:lnTo>
                    <a:pt x="37" y="770"/>
                  </a:lnTo>
                  <a:lnTo>
                    <a:pt x="59" y="765"/>
                  </a:lnTo>
                  <a:lnTo>
                    <a:pt x="89" y="760"/>
                  </a:lnTo>
                  <a:lnTo>
                    <a:pt x="126" y="754"/>
                  </a:lnTo>
                  <a:lnTo>
                    <a:pt x="164" y="746"/>
                  </a:lnTo>
                  <a:lnTo>
                    <a:pt x="205" y="739"/>
                  </a:lnTo>
                  <a:lnTo>
                    <a:pt x="243" y="730"/>
                  </a:lnTo>
                  <a:lnTo>
                    <a:pt x="282" y="721"/>
                  </a:lnTo>
                  <a:lnTo>
                    <a:pt x="316" y="712"/>
                  </a:lnTo>
                  <a:lnTo>
                    <a:pt x="346" y="705"/>
                  </a:lnTo>
                  <a:lnTo>
                    <a:pt x="371" y="697"/>
                  </a:lnTo>
                  <a:lnTo>
                    <a:pt x="395" y="686"/>
                  </a:lnTo>
                  <a:lnTo>
                    <a:pt x="418" y="676"/>
                  </a:lnTo>
                  <a:lnTo>
                    <a:pt x="437" y="665"/>
                  </a:lnTo>
                  <a:lnTo>
                    <a:pt x="456" y="651"/>
                  </a:lnTo>
                  <a:lnTo>
                    <a:pt x="472" y="637"/>
                  </a:lnTo>
                  <a:lnTo>
                    <a:pt x="483" y="620"/>
                  </a:lnTo>
                  <a:lnTo>
                    <a:pt x="491" y="600"/>
                  </a:lnTo>
                  <a:lnTo>
                    <a:pt x="493" y="578"/>
                  </a:lnTo>
                  <a:lnTo>
                    <a:pt x="491" y="551"/>
                  </a:lnTo>
                  <a:lnTo>
                    <a:pt x="483" y="522"/>
                  </a:lnTo>
                  <a:lnTo>
                    <a:pt x="467" y="487"/>
                  </a:lnTo>
                  <a:lnTo>
                    <a:pt x="441" y="434"/>
                  </a:lnTo>
                  <a:lnTo>
                    <a:pt x="414" y="389"/>
                  </a:lnTo>
                  <a:lnTo>
                    <a:pt x="390" y="350"/>
                  </a:lnTo>
                  <a:lnTo>
                    <a:pt x="365" y="313"/>
                  </a:lnTo>
                  <a:lnTo>
                    <a:pt x="341" y="282"/>
                  </a:lnTo>
                  <a:lnTo>
                    <a:pt x="315" y="249"/>
                  </a:lnTo>
                  <a:lnTo>
                    <a:pt x="285" y="215"/>
                  </a:lnTo>
                  <a:lnTo>
                    <a:pt x="254" y="179"/>
                  </a:lnTo>
                  <a:lnTo>
                    <a:pt x="217" y="137"/>
                  </a:lnTo>
                  <a:lnTo>
                    <a:pt x="217" y="137"/>
                  </a:lnTo>
                  <a:lnTo>
                    <a:pt x="220" y="126"/>
                  </a:lnTo>
                  <a:lnTo>
                    <a:pt x="229" y="110"/>
                  </a:lnTo>
                  <a:lnTo>
                    <a:pt x="241" y="91"/>
                  </a:lnTo>
                  <a:lnTo>
                    <a:pt x="257" y="68"/>
                  </a:lnTo>
                  <a:lnTo>
                    <a:pt x="282" y="40"/>
                  </a:lnTo>
                  <a:lnTo>
                    <a:pt x="302" y="18"/>
                  </a:lnTo>
                  <a:lnTo>
                    <a:pt x="322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7"/>
            <p:cNvSpPr>
              <a:spLocks/>
            </p:cNvSpPr>
            <p:nvPr userDrawn="1"/>
          </p:nvSpPr>
          <p:spPr bwMode="auto">
            <a:xfrm>
              <a:off x="1530351" y="2603500"/>
              <a:ext cx="1246188" cy="1592263"/>
            </a:xfrm>
            <a:custGeom>
              <a:avLst/>
              <a:gdLst>
                <a:gd name="T0" fmla="*/ 482 w 785"/>
                <a:gd name="T1" fmla="*/ 0 h 1003"/>
                <a:gd name="T2" fmla="*/ 551 w 785"/>
                <a:gd name="T3" fmla="*/ 2 h 1003"/>
                <a:gd name="T4" fmla="*/ 619 w 785"/>
                <a:gd name="T5" fmla="*/ 7 h 1003"/>
                <a:gd name="T6" fmla="*/ 654 w 785"/>
                <a:gd name="T7" fmla="*/ 16 h 1003"/>
                <a:gd name="T8" fmla="*/ 687 w 785"/>
                <a:gd name="T9" fmla="*/ 26 h 1003"/>
                <a:gd name="T10" fmla="*/ 718 w 785"/>
                <a:gd name="T11" fmla="*/ 42 h 1003"/>
                <a:gd name="T12" fmla="*/ 746 w 785"/>
                <a:gd name="T13" fmla="*/ 65 h 1003"/>
                <a:gd name="T14" fmla="*/ 766 w 785"/>
                <a:gd name="T15" fmla="*/ 91 h 1003"/>
                <a:gd name="T16" fmla="*/ 776 w 785"/>
                <a:gd name="T17" fmla="*/ 119 h 1003"/>
                <a:gd name="T18" fmla="*/ 783 w 785"/>
                <a:gd name="T19" fmla="*/ 151 h 1003"/>
                <a:gd name="T20" fmla="*/ 785 w 785"/>
                <a:gd name="T21" fmla="*/ 182 h 1003"/>
                <a:gd name="T22" fmla="*/ 780 w 785"/>
                <a:gd name="T23" fmla="*/ 235 h 1003"/>
                <a:gd name="T24" fmla="*/ 773 w 785"/>
                <a:gd name="T25" fmla="*/ 287 h 1003"/>
                <a:gd name="T26" fmla="*/ 760 w 785"/>
                <a:gd name="T27" fmla="*/ 338 h 1003"/>
                <a:gd name="T28" fmla="*/ 729 w 785"/>
                <a:gd name="T29" fmla="*/ 455 h 1003"/>
                <a:gd name="T30" fmla="*/ 692 w 785"/>
                <a:gd name="T31" fmla="*/ 571 h 1003"/>
                <a:gd name="T32" fmla="*/ 652 w 785"/>
                <a:gd name="T33" fmla="*/ 685 h 1003"/>
                <a:gd name="T34" fmla="*/ 592 w 785"/>
                <a:gd name="T35" fmla="*/ 844 h 1003"/>
                <a:gd name="T36" fmla="*/ 530 w 785"/>
                <a:gd name="T37" fmla="*/ 1003 h 1003"/>
                <a:gd name="T38" fmla="*/ 561 w 785"/>
                <a:gd name="T39" fmla="*/ 912 h 1003"/>
                <a:gd name="T40" fmla="*/ 592 w 785"/>
                <a:gd name="T41" fmla="*/ 812 h 1003"/>
                <a:gd name="T42" fmla="*/ 622 w 785"/>
                <a:gd name="T43" fmla="*/ 709 h 1003"/>
                <a:gd name="T44" fmla="*/ 643 w 785"/>
                <a:gd name="T45" fmla="*/ 623 h 1003"/>
                <a:gd name="T46" fmla="*/ 662 w 785"/>
                <a:gd name="T47" fmla="*/ 539 h 1003"/>
                <a:gd name="T48" fmla="*/ 676 w 785"/>
                <a:gd name="T49" fmla="*/ 459 h 1003"/>
                <a:gd name="T50" fmla="*/ 687 w 785"/>
                <a:gd name="T51" fmla="*/ 382 h 1003"/>
                <a:gd name="T52" fmla="*/ 690 w 785"/>
                <a:gd name="T53" fmla="*/ 312 h 1003"/>
                <a:gd name="T54" fmla="*/ 689 w 785"/>
                <a:gd name="T55" fmla="*/ 268 h 1003"/>
                <a:gd name="T56" fmla="*/ 682 w 785"/>
                <a:gd name="T57" fmla="*/ 228 h 1003"/>
                <a:gd name="T58" fmla="*/ 673 w 785"/>
                <a:gd name="T59" fmla="*/ 191 h 1003"/>
                <a:gd name="T60" fmla="*/ 657 w 785"/>
                <a:gd name="T61" fmla="*/ 156 h 1003"/>
                <a:gd name="T62" fmla="*/ 638 w 785"/>
                <a:gd name="T63" fmla="*/ 124 h 1003"/>
                <a:gd name="T64" fmla="*/ 612 w 785"/>
                <a:gd name="T65" fmla="*/ 96 h 1003"/>
                <a:gd name="T66" fmla="*/ 578 w 785"/>
                <a:gd name="T67" fmla="*/ 72 h 1003"/>
                <a:gd name="T68" fmla="*/ 538 w 785"/>
                <a:gd name="T69" fmla="*/ 53 h 1003"/>
                <a:gd name="T70" fmla="*/ 535 w 785"/>
                <a:gd name="T71" fmla="*/ 53 h 1003"/>
                <a:gd name="T72" fmla="*/ 530 w 785"/>
                <a:gd name="T73" fmla="*/ 49 h 1003"/>
                <a:gd name="T74" fmla="*/ 519 w 785"/>
                <a:gd name="T75" fmla="*/ 46 h 1003"/>
                <a:gd name="T76" fmla="*/ 481 w 785"/>
                <a:gd name="T77" fmla="*/ 35 h 1003"/>
                <a:gd name="T78" fmla="*/ 435 w 785"/>
                <a:gd name="T79" fmla="*/ 28 h 1003"/>
                <a:gd name="T80" fmla="*/ 383 w 785"/>
                <a:gd name="T81" fmla="*/ 23 h 1003"/>
                <a:gd name="T82" fmla="*/ 323 w 785"/>
                <a:gd name="T83" fmla="*/ 21 h 1003"/>
                <a:gd name="T84" fmla="*/ 271 w 785"/>
                <a:gd name="T85" fmla="*/ 23 h 1003"/>
                <a:gd name="T86" fmla="*/ 213 w 785"/>
                <a:gd name="T87" fmla="*/ 25 h 1003"/>
                <a:gd name="T88" fmla="*/ 150 w 785"/>
                <a:gd name="T89" fmla="*/ 30 h 1003"/>
                <a:gd name="T90" fmla="*/ 78 w 785"/>
                <a:gd name="T91" fmla="*/ 37 h 1003"/>
                <a:gd name="T92" fmla="*/ 0 w 785"/>
                <a:gd name="T93" fmla="*/ 46 h 1003"/>
                <a:gd name="T94" fmla="*/ 0 w 785"/>
                <a:gd name="T95" fmla="*/ 46 h 1003"/>
                <a:gd name="T96" fmla="*/ 161 w 785"/>
                <a:gd name="T97" fmla="*/ 25 h 1003"/>
                <a:gd name="T98" fmla="*/ 321 w 785"/>
                <a:gd name="T99" fmla="*/ 9 h 1003"/>
                <a:gd name="T100" fmla="*/ 482 w 785"/>
                <a:gd name="T101" fmla="*/ 0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5" h="1003">
                  <a:moveTo>
                    <a:pt x="482" y="0"/>
                  </a:moveTo>
                  <a:lnTo>
                    <a:pt x="551" y="2"/>
                  </a:lnTo>
                  <a:lnTo>
                    <a:pt x="619" y="7"/>
                  </a:lnTo>
                  <a:lnTo>
                    <a:pt x="654" y="16"/>
                  </a:lnTo>
                  <a:lnTo>
                    <a:pt x="687" y="26"/>
                  </a:lnTo>
                  <a:lnTo>
                    <a:pt x="718" y="42"/>
                  </a:lnTo>
                  <a:lnTo>
                    <a:pt x="746" y="65"/>
                  </a:lnTo>
                  <a:lnTo>
                    <a:pt x="766" y="91"/>
                  </a:lnTo>
                  <a:lnTo>
                    <a:pt x="776" y="119"/>
                  </a:lnTo>
                  <a:lnTo>
                    <a:pt x="783" y="151"/>
                  </a:lnTo>
                  <a:lnTo>
                    <a:pt x="785" y="182"/>
                  </a:lnTo>
                  <a:lnTo>
                    <a:pt x="780" y="235"/>
                  </a:lnTo>
                  <a:lnTo>
                    <a:pt x="773" y="287"/>
                  </a:lnTo>
                  <a:lnTo>
                    <a:pt x="760" y="338"/>
                  </a:lnTo>
                  <a:lnTo>
                    <a:pt x="729" y="455"/>
                  </a:lnTo>
                  <a:lnTo>
                    <a:pt x="692" y="571"/>
                  </a:lnTo>
                  <a:lnTo>
                    <a:pt x="652" y="685"/>
                  </a:lnTo>
                  <a:lnTo>
                    <a:pt x="592" y="844"/>
                  </a:lnTo>
                  <a:lnTo>
                    <a:pt x="530" y="1003"/>
                  </a:lnTo>
                  <a:lnTo>
                    <a:pt x="561" y="912"/>
                  </a:lnTo>
                  <a:lnTo>
                    <a:pt x="592" y="812"/>
                  </a:lnTo>
                  <a:lnTo>
                    <a:pt x="622" y="709"/>
                  </a:lnTo>
                  <a:lnTo>
                    <a:pt x="643" y="623"/>
                  </a:lnTo>
                  <a:lnTo>
                    <a:pt x="662" y="539"/>
                  </a:lnTo>
                  <a:lnTo>
                    <a:pt x="676" y="459"/>
                  </a:lnTo>
                  <a:lnTo>
                    <a:pt x="687" y="382"/>
                  </a:lnTo>
                  <a:lnTo>
                    <a:pt x="690" y="312"/>
                  </a:lnTo>
                  <a:lnTo>
                    <a:pt x="689" y="268"/>
                  </a:lnTo>
                  <a:lnTo>
                    <a:pt x="682" y="228"/>
                  </a:lnTo>
                  <a:lnTo>
                    <a:pt x="673" y="191"/>
                  </a:lnTo>
                  <a:lnTo>
                    <a:pt x="657" y="156"/>
                  </a:lnTo>
                  <a:lnTo>
                    <a:pt x="638" y="124"/>
                  </a:lnTo>
                  <a:lnTo>
                    <a:pt x="612" y="96"/>
                  </a:lnTo>
                  <a:lnTo>
                    <a:pt x="578" y="72"/>
                  </a:lnTo>
                  <a:lnTo>
                    <a:pt x="538" y="53"/>
                  </a:lnTo>
                  <a:lnTo>
                    <a:pt x="535" y="53"/>
                  </a:lnTo>
                  <a:lnTo>
                    <a:pt x="530" y="49"/>
                  </a:lnTo>
                  <a:lnTo>
                    <a:pt x="519" y="46"/>
                  </a:lnTo>
                  <a:lnTo>
                    <a:pt x="481" y="35"/>
                  </a:lnTo>
                  <a:lnTo>
                    <a:pt x="435" y="28"/>
                  </a:lnTo>
                  <a:lnTo>
                    <a:pt x="383" y="23"/>
                  </a:lnTo>
                  <a:lnTo>
                    <a:pt x="323" y="21"/>
                  </a:lnTo>
                  <a:lnTo>
                    <a:pt x="271" y="23"/>
                  </a:lnTo>
                  <a:lnTo>
                    <a:pt x="213" y="25"/>
                  </a:lnTo>
                  <a:lnTo>
                    <a:pt x="150" y="30"/>
                  </a:lnTo>
                  <a:lnTo>
                    <a:pt x="78" y="3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61" y="25"/>
                  </a:lnTo>
                  <a:lnTo>
                    <a:pt x="321" y="9"/>
                  </a:lnTo>
                  <a:lnTo>
                    <a:pt x="482" y="0"/>
                  </a:lnTo>
                  <a:close/>
                </a:path>
              </a:pathLst>
            </a:custGeom>
            <a:solidFill>
              <a:srgbClr val="F3997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8"/>
            <p:cNvSpPr>
              <a:spLocks/>
            </p:cNvSpPr>
            <p:nvPr userDrawn="1"/>
          </p:nvSpPr>
          <p:spPr bwMode="auto">
            <a:xfrm>
              <a:off x="1530351" y="2636838"/>
              <a:ext cx="1095375" cy="1558925"/>
            </a:xfrm>
            <a:custGeom>
              <a:avLst/>
              <a:gdLst>
                <a:gd name="T0" fmla="*/ 383 w 690"/>
                <a:gd name="T1" fmla="*/ 2 h 982"/>
                <a:gd name="T2" fmla="*/ 481 w 690"/>
                <a:gd name="T3" fmla="*/ 14 h 982"/>
                <a:gd name="T4" fmla="*/ 530 w 690"/>
                <a:gd name="T5" fmla="*/ 28 h 982"/>
                <a:gd name="T6" fmla="*/ 538 w 690"/>
                <a:gd name="T7" fmla="*/ 32 h 982"/>
                <a:gd name="T8" fmla="*/ 612 w 690"/>
                <a:gd name="T9" fmla="*/ 75 h 982"/>
                <a:gd name="T10" fmla="*/ 657 w 690"/>
                <a:gd name="T11" fmla="*/ 135 h 982"/>
                <a:gd name="T12" fmla="*/ 682 w 690"/>
                <a:gd name="T13" fmla="*/ 207 h 982"/>
                <a:gd name="T14" fmla="*/ 690 w 690"/>
                <a:gd name="T15" fmla="*/ 291 h 982"/>
                <a:gd name="T16" fmla="*/ 676 w 690"/>
                <a:gd name="T17" fmla="*/ 438 h 982"/>
                <a:gd name="T18" fmla="*/ 643 w 690"/>
                <a:gd name="T19" fmla="*/ 602 h 982"/>
                <a:gd name="T20" fmla="*/ 592 w 690"/>
                <a:gd name="T21" fmla="*/ 791 h 982"/>
                <a:gd name="T22" fmla="*/ 530 w 690"/>
                <a:gd name="T23" fmla="*/ 982 h 982"/>
                <a:gd name="T24" fmla="*/ 524 w 690"/>
                <a:gd name="T25" fmla="*/ 980 h 982"/>
                <a:gd name="T26" fmla="*/ 496 w 690"/>
                <a:gd name="T27" fmla="*/ 968 h 982"/>
                <a:gd name="T28" fmla="*/ 458 w 690"/>
                <a:gd name="T29" fmla="*/ 947 h 982"/>
                <a:gd name="T30" fmla="*/ 432 w 690"/>
                <a:gd name="T31" fmla="*/ 928 h 982"/>
                <a:gd name="T32" fmla="*/ 414 w 690"/>
                <a:gd name="T33" fmla="*/ 914 h 982"/>
                <a:gd name="T34" fmla="*/ 421 w 690"/>
                <a:gd name="T35" fmla="*/ 893 h 982"/>
                <a:gd name="T36" fmla="*/ 444 w 690"/>
                <a:gd name="T37" fmla="*/ 833 h 982"/>
                <a:gd name="T38" fmla="*/ 475 w 690"/>
                <a:gd name="T39" fmla="*/ 751 h 982"/>
                <a:gd name="T40" fmla="*/ 505 w 690"/>
                <a:gd name="T41" fmla="*/ 657 h 982"/>
                <a:gd name="T42" fmla="*/ 533 w 690"/>
                <a:gd name="T43" fmla="*/ 559 h 982"/>
                <a:gd name="T44" fmla="*/ 551 w 690"/>
                <a:gd name="T45" fmla="*/ 467 h 982"/>
                <a:gd name="T46" fmla="*/ 558 w 690"/>
                <a:gd name="T47" fmla="*/ 382 h 982"/>
                <a:gd name="T48" fmla="*/ 558 w 690"/>
                <a:gd name="T49" fmla="*/ 306 h 982"/>
                <a:gd name="T50" fmla="*/ 545 w 690"/>
                <a:gd name="T51" fmla="*/ 249 h 982"/>
                <a:gd name="T52" fmla="*/ 516 w 690"/>
                <a:gd name="T53" fmla="*/ 208 h 982"/>
                <a:gd name="T54" fmla="*/ 461 w 690"/>
                <a:gd name="T55" fmla="*/ 182 h 982"/>
                <a:gd name="T56" fmla="*/ 377 w 690"/>
                <a:gd name="T57" fmla="*/ 172 h 982"/>
                <a:gd name="T58" fmla="*/ 271 w 690"/>
                <a:gd name="T59" fmla="*/ 172 h 982"/>
                <a:gd name="T60" fmla="*/ 143 w 690"/>
                <a:gd name="T61" fmla="*/ 179 h 982"/>
                <a:gd name="T62" fmla="*/ 52 w 690"/>
                <a:gd name="T63" fmla="*/ 172 h 982"/>
                <a:gd name="T64" fmla="*/ 24 w 690"/>
                <a:gd name="T65" fmla="*/ 114 h 982"/>
                <a:gd name="T66" fmla="*/ 0 w 690"/>
                <a:gd name="T67" fmla="*/ 25 h 982"/>
                <a:gd name="T68" fmla="*/ 150 w 690"/>
                <a:gd name="T69" fmla="*/ 9 h 982"/>
                <a:gd name="T70" fmla="*/ 271 w 690"/>
                <a:gd name="T71" fmla="*/ 2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0" h="982">
                  <a:moveTo>
                    <a:pt x="323" y="0"/>
                  </a:moveTo>
                  <a:lnTo>
                    <a:pt x="383" y="2"/>
                  </a:lnTo>
                  <a:lnTo>
                    <a:pt x="435" y="7"/>
                  </a:lnTo>
                  <a:lnTo>
                    <a:pt x="481" y="14"/>
                  </a:lnTo>
                  <a:lnTo>
                    <a:pt x="519" y="25"/>
                  </a:lnTo>
                  <a:lnTo>
                    <a:pt x="530" y="28"/>
                  </a:lnTo>
                  <a:lnTo>
                    <a:pt x="535" y="32"/>
                  </a:lnTo>
                  <a:lnTo>
                    <a:pt x="538" y="32"/>
                  </a:lnTo>
                  <a:lnTo>
                    <a:pt x="578" y="51"/>
                  </a:lnTo>
                  <a:lnTo>
                    <a:pt x="612" y="75"/>
                  </a:lnTo>
                  <a:lnTo>
                    <a:pt x="638" y="103"/>
                  </a:lnTo>
                  <a:lnTo>
                    <a:pt x="657" y="135"/>
                  </a:lnTo>
                  <a:lnTo>
                    <a:pt x="673" y="170"/>
                  </a:lnTo>
                  <a:lnTo>
                    <a:pt x="682" y="207"/>
                  </a:lnTo>
                  <a:lnTo>
                    <a:pt x="689" y="247"/>
                  </a:lnTo>
                  <a:lnTo>
                    <a:pt x="690" y="291"/>
                  </a:lnTo>
                  <a:lnTo>
                    <a:pt x="687" y="361"/>
                  </a:lnTo>
                  <a:lnTo>
                    <a:pt x="676" y="438"/>
                  </a:lnTo>
                  <a:lnTo>
                    <a:pt x="662" y="518"/>
                  </a:lnTo>
                  <a:lnTo>
                    <a:pt x="643" y="602"/>
                  </a:lnTo>
                  <a:lnTo>
                    <a:pt x="622" y="688"/>
                  </a:lnTo>
                  <a:lnTo>
                    <a:pt x="592" y="791"/>
                  </a:lnTo>
                  <a:lnTo>
                    <a:pt x="561" y="891"/>
                  </a:lnTo>
                  <a:lnTo>
                    <a:pt x="530" y="982"/>
                  </a:lnTo>
                  <a:lnTo>
                    <a:pt x="530" y="982"/>
                  </a:lnTo>
                  <a:lnTo>
                    <a:pt x="524" y="980"/>
                  </a:lnTo>
                  <a:lnTo>
                    <a:pt x="512" y="975"/>
                  </a:lnTo>
                  <a:lnTo>
                    <a:pt x="496" y="968"/>
                  </a:lnTo>
                  <a:lnTo>
                    <a:pt x="477" y="958"/>
                  </a:lnTo>
                  <a:lnTo>
                    <a:pt x="458" y="947"/>
                  </a:lnTo>
                  <a:lnTo>
                    <a:pt x="444" y="937"/>
                  </a:lnTo>
                  <a:lnTo>
                    <a:pt x="432" y="928"/>
                  </a:lnTo>
                  <a:lnTo>
                    <a:pt x="421" y="919"/>
                  </a:lnTo>
                  <a:lnTo>
                    <a:pt x="414" y="914"/>
                  </a:lnTo>
                  <a:lnTo>
                    <a:pt x="412" y="912"/>
                  </a:lnTo>
                  <a:lnTo>
                    <a:pt x="421" y="893"/>
                  </a:lnTo>
                  <a:lnTo>
                    <a:pt x="432" y="867"/>
                  </a:lnTo>
                  <a:lnTo>
                    <a:pt x="444" y="833"/>
                  </a:lnTo>
                  <a:lnTo>
                    <a:pt x="460" y="795"/>
                  </a:lnTo>
                  <a:lnTo>
                    <a:pt x="475" y="751"/>
                  </a:lnTo>
                  <a:lnTo>
                    <a:pt x="489" y="706"/>
                  </a:lnTo>
                  <a:lnTo>
                    <a:pt x="505" y="657"/>
                  </a:lnTo>
                  <a:lnTo>
                    <a:pt x="519" y="608"/>
                  </a:lnTo>
                  <a:lnTo>
                    <a:pt x="533" y="559"/>
                  </a:lnTo>
                  <a:lnTo>
                    <a:pt x="544" y="511"/>
                  </a:lnTo>
                  <a:lnTo>
                    <a:pt x="551" y="467"/>
                  </a:lnTo>
                  <a:lnTo>
                    <a:pt x="556" y="425"/>
                  </a:lnTo>
                  <a:lnTo>
                    <a:pt x="558" y="382"/>
                  </a:lnTo>
                  <a:lnTo>
                    <a:pt x="559" y="341"/>
                  </a:lnTo>
                  <a:lnTo>
                    <a:pt x="558" y="306"/>
                  </a:lnTo>
                  <a:lnTo>
                    <a:pt x="554" y="275"/>
                  </a:lnTo>
                  <a:lnTo>
                    <a:pt x="545" y="249"/>
                  </a:lnTo>
                  <a:lnTo>
                    <a:pt x="533" y="228"/>
                  </a:lnTo>
                  <a:lnTo>
                    <a:pt x="516" y="208"/>
                  </a:lnTo>
                  <a:lnTo>
                    <a:pt x="493" y="194"/>
                  </a:lnTo>
                  <a:lnTo>
                    <a:pt x="461" y="182"/>
                  </a:lnTo>
                  <a:lnTo>
                    <a:pt x="425" y="175"/>
                  </a:lnTo>
                  <a:lnTo>
                    <a:pt x="377" y="172"/>
                  </a:lnTo>
                  <a:lnTo>
                    <a:pt x="323" y="170"/>
                  </a:lnTo>
                  <a:lnTo>
                    <a:pt x="271" y="172"/>
                  </a:lnTo>
                  <a:lnTo>
                    <a:pt x="211" y="173"/>
                  </a:lnTo>
                  <a:lnTo>
                    <a:pt x="143" y="179"/>
                  </a:lnTo>
                  <a:lnTo>
                    <a:pt x="64" y="187"/>
                  </a:lnTo>
                  <a:lnTo>
                    <a:pt x="52" y="172"/>
                  </a:lnTo>
                  <a:lnTo>
                    <a:pt x="38" y="147"/>
                  </a:lnTo>
                  <a:lnTo>
                    <a:pt x="24" y="114"/>
                  </a:lnTo>
                  <a:lnTo>
                    <a:pt x="10" y="74"/>
                  </a:lnTo>
                  <a:lnTo>
                    <a:pt x="0" y="25"/>
                  </a:lnTo>
                  <a:lnTo>
                    <a:pt x="78" y="16"/>
                  </a:lnTo>
                  <a:lnTo>
                    <a:pt x="150" y="9"/>
                  </a:lnTo>
                  <a:lnTo>
                    <a:pt x="213" y="4"/>
                  </a:lnTo>
                  <a:lnTo>
                    <a:pt x="271" y="2"/>
                  </a:lnTo>
                  <a:lnTo>
                    <a:pt x="323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9"/>
            <p:cNvSpPr>
              <a:spLocks/>
            </p:cNvSpPr>
            <p:nvPr userDrawn="1"/>
          </p:nvSpPr>
          <p:spPr bwMode="auto">
            <a:xfrm>
              <a:off x="5127626" y="5248275"/>
              <a:ext cx="290513" cy="325438"/>
            </a:xfrm>
            <a:custGeom>
              <a:avLst/>
              <a:gdLst>
                <a:gd name="T0" fmla="*/ 148 w 183"/>
                <a:gd name="T1" fmla="*/ 6 h 205"/>
                <a:gd name="T2" fmla="*/ 162 w 183"/>
                <a:gd name="T3" fmla="*/ 35 h 205"/>
                <a:gd name="T4" fmla="*/ 164 w 183"/>
                <a:gd name="T5" fmla="*/ 70 h 205"/>
                <a:gd name="T6" fmla="*/ 168 w 183"/>
                <a:gd name="T7" fmla="*/ 121 h 205"/>
                <a:gd name="T8" fmla="*/ 169 w 183"/>
                <a:gd name="T9" fmla="*/ 158 h 205"/>
                <a:gd name="T10" fmla="*/ 173 w 183"/>
                <a:gd name="T11" fmla="*/ 174 h 205"/>
                <a:gd name="T12" fmla="*/ 180 w 183"/>
                <a:gd name="T13" fmla="*/ 186 h 205"/>
                <a:gd name="T14" fmla="*/ 183 w 183"/>
                <a:gd name="T15" fmla="*/ 191 h 205"/>
                <a:gd name="T16" fmla="*/ 182 w 183"/>
                <a:gd name="T17" fmla="*/ 200 h 205"/>
                <a:gd name="T18" fmla="*/ 173 w 183"/>
                <a:gd name="T19" fmla="*/ 205 h 205"/>
                <a:gd name="T20" fmla="*/ 164 w 183"/>
                <a:gd name="T21" fmla="*/ 203 h 205"/>
                <a:gd name="T22" fmla="*/ 155 w 183"/>
                <a:gd name="T23" fmla="*/ 198 h 205"/>
                <a:gd name="T24" fmla="*/ 147 w 183"/>
                <a:gd name="T25" fmla="*/ 179 h 205"/>
                <a:gd name="T26" fmla="*/ 143 w 183"/>
                <a:gd name="T27" fmla="*/ 139 h 205"/>
                <a:gd name="T28" fmla="*/ 138 w 183"/>
                <a:gd name="T29" fmla="*/ 81 h 205"/>
                <a:gd name="T30" fmla="*/ 131 w 183"/>
                <a:gd name="T31" fmla="*/ 49 h 205"/>
                <a:gd name="T32" fmla="*/ 126 w 183"/>
                <a:gd name="T33" fmla="*/ 42 h 205"/>
                <a:gd name="T34" fmla="*/ 120 w 183"/>
                <a:gd name="T35" fmla="*/ 42 h 205"/>
                <a:gd name="T36" fmla="*/ 115 w 183"/>
                <a:gd name="T37" fmla="*/ 49 h 205"/>
                <a:gd name="T38" fmla="*/ 103 w 183"/>
                <a:gd name="T39" fmla="*/ 70 h 205"/>
                <a:gd name="T40" fmla="*/ 82 w 183"/>
                <a:gd name="T41" fmla="*/ 109 h 205"/>
                <a:gd name="T42" fmla="*/ 68 w 183"/>
                <a:gd name="T43" fmla="*/ 140 h 205"/>
                <a:gd name="T44" fmla="*/ 63 w 183"/>
                <a:gd name="T45" fmla="*/ 151 h 205"/>
                <a:gd name="T46" fmla="*/ 57 w 183"/>
                <a:gd name="T47" fmla="*/ 160 h 205"/>
                <a:gd name="T48" fmla="*/ 49 w 183"/>
                <a:gd name="T49" fmla="*/ 165 h 205"/>
                <a:gd name="T50" fmla="*/ 30 w 183"/>
                <a:gd name="T51" fmla="*/ 163 h 205"/>
                <a:gd name="T52" fmla="*/ 14 w 183"/>
                <a:gd name="T53" fmla="*/ 137 h 205"/>
                <a:gd name="T54" fmla="*/ 0 w 183"/>
                <a:gd name="T55" fmla="*/ 62 h 205"/>
                <a:gd name="T56" fmla="*/ 5 w 183"/>
                <a:gd name="T57" fmla="*/ 13 h 205"/>
                <a:gd name="T58" fmla="*/ 10 w 183"/>
                <a:gd name="T59" fmla="*/ 7 h 205"/>
                <a:gd name="T60" fmla="*/ 19 w 183"/>
                <a:gd name="T61" fmla="*/ 4 h 205"/>
                <a:gd name="T62" fmla="*/ 28 w 183"/>
                <a:gd name="T63" fmla="*/ 6 h 205"/>
                <a:gd name="T64" fmla="*/ 35 w 183"/>
                <a:gd name="T65" fmla="*/ 13 h 205"/>
                <a:gd name="T66" fmla="*/ 35 w 183"/>
                <a:gd name="T67" fmla="*/ 25 h 205"/>
                <a:gd name="T68" fmla="*/ 33 w 183"/>
                <a:gd name="T69" fmla="*/ 56 h 205"/>
                <a:gd name="T70" fmla="*/ 38 w 183"/>
                <a:gd name="T71" fmla="*/ 104 h 205"/>
                <a:gd name="T72" fmla="*/ 59 w 183"/>
                <a:gd name="T73" fmla="*/ 95 h 205"/>
                <a:gd name="T74" fmla="*/ 85 w 183"/>
                <a:gd name="T75" fmla="*/ 42 h 205"/>
                <a:gd name="T76" fmla="*/ 103 w 183"/>
                <a:gd name="T77" fmla="*/ 16 h 205"/>
                <a:gd name="T78" fmla="*/ 124 w 183"/>
                <a:gd name="T79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3" h="205">
                  <a:moveTo>
                    <a:pt x="134" y="0"/>
                  </a:moveTo>
                  <a:lnTo>
                    <a:pt x="148" y="6"/>
                  </a:lnTo>
                  <a:lnTo>
                    <a:pt x="157" y="18"/>
                  </a:lnTo>
                  <a:lnTo>
                    <a:pt x="162" y="35"/>
                  </a:lnTo>
                  <a:lnTo>
                    <a:pt x="162" y="48"/>
                  </a:lnTo>
                  <a:lnTo>
                    <a:pt x="164" y="70"/>
                  </a:lnTo>
                  <a:lnTo>
                    <a:pt x="166" y="95"/>
                  </a:lnTo>
                  <a:lnTo>
                    <a:pt x="168" y="121"/>
                  </a:lnTo>
                  <a:lnTo>
                    <a:pt x="169" y="144"/>
                  </a:lnTo>
                  <a:lnTo>
                    <a:pt x="169" y="158"/>
                  </a:lnTo>
                  <a:lnTo>
                    <a:pt x="171" y="167"/>
                  </a:lnTo>
                  <a:lnTo>
                    <a:pt x="173" y="174"/>
                  </a:lnTo>
                  <a:lnTo>
                    <a:pt x="176" y="181"/>
                  </a:lnTo>
                  <a:lnTo>
                    <a:pt x="180" y="186"/>
                  </a:lnTo>
                  <a:lnTo>
                    <a:pt x="182" y="188"/>
                  </a:lnTo>
                  <a:lnTo>
                    <a:pt x="183" y="191"/>
                  </a:lnTo>
                  <a:lnTo>
                    <a:pt x="183" y="196"/>
                  </a:lnTo>
                  <a:lnTo>
                    <a:pt x="182" y="200"/>
                  </a:lnTo>
                  <a:lnTo>
                    <a:pt x="178" y="203"/>
                  </a:lnTo>
                  <a:lnTo>
                    <a:pt x="173" y="205"/>
                  </a:lnTo>
                  <a:lnTo>
                    <a:pt x="169" y="205"/>
                  </a:lnTo>
                  <a:lnTo>
                    <a:pt x="164" y="203"/>
                  </a:lnTo>
                  <a:lnTo>
                    <a:pt x="159" y="202"/>
                  </a:lnTo>
                  <a:lnTo>
                    <a:pt x="155" y="198"/>
                  </a:lnTo>
                  <a:lnTo>
                    <a:pt x="152" y="195"/>
                  </a:lnTo>
                  <a:lnTo>
                    <a:pt x="147" y="179"/>
                  </a:lnTo>
                  <a:lnTo>
                    <a:pt x="143" y="161"/>
                  </a:lnTo>
                  <a:lnTo>
                    <a:pt x="143" y="139"/>
                  </a:lnTo>
                  <a:lnTo>
                    <a:pt x="141" y="111"/>
                  </a:lnTo>
                  <a:lnTo>
                    <a:pt x="138" y="81"/>
                  </a:lnTo>
                  <a:lnTo>
                    <a:pt x="133" y="55"/>
                  </a:lnTo>
                  <a:lnTo>
                    <a:pt x="131" y="49"/>
                  </a:lnTo>
                  <a:lnTo>
                    <a:pt x="129" y="46"/>
                  </a:lnTo>
                  <a:lnTo>
                    <a:pt x="126" y="42"/>
                  </a:lnTo>
                  <a:lnTo>
                    <a:pt x="124" y="42"/>
                  </a:lnTo>
                  <a:lnTo>
                    <a:pt x="120" y="42"/>
                  </a:lnTo>
                  <a:lnTo>
                    <a:pt x="119" y="46"/>
                  </a:lnTo>
                  <a:lnTo>
                    <a:pt x="115" y="49"/>
                  </a:lnTo>
                  <a:lnTo>
                    <a:pt x="112" y="55"/>
                  </a:lnTo>
                  <a:lnTo>
                    <a:pt x="103" y="70"/>
                  </a:lnTo>
                  <a:lnTo>
                    <a:pt x="92" y="88"/>
                  </a:lnTo>
                  <a:lnTo>
                    <a:pt x="82" y="109"/>
                  </a:lnTo>
                  <a:lnTo>
                    <a:pt x="75" y="126"/>
                  </a:lnTo>
                  <a:lnTo>
                    <a:pt x="68" y="140"/>
                  </a:lnTo>
                  <a:lnTo>
                    <a:pt x="66" y="146"/>
                  </a:lnTo>
                  <a:lnTo>
                    <a:pt x="63" y="151"/>
                  </a:lnTo>
                  <a:lnTo>
                    <a:pt x="61" y="156"/>
                  </a:lnTo>
                  <a:lnTo>
                    <a:pt x="57" y="160"/>
                  </a:lnTo>
                  <a:lnTo>
                    <a:pt x="52" y="163"/>
                  </a:lnTo>
                  <a:lnTo>
                    <a:pt x="49" y="165"/>
                  </a:lnTo>
                  <a:lnTo>
                    <a:pt x="42" y="167"/>
                  </a:lnTo>
                  <a:lnTo>
                    <a:pt x="30" y="163"/>
                  </a:lnTo>
                  <a:lnTo>
                    <a:pt x="21" y="153"/>
                  </a:lnTo>
                  <a:lnTo>
                    <a:pt x="14" y="137"/>
                  </a:lnTo>
                  <a:lnTo>
                    <a:pt x="5" y="100"/>
                  </a:lnTo>
                  <a:lnTo>
                    <a:pt x="0" y="62"/>
                  </a:lnTo>
                  <a:lnTo>
                    <a:pt x="3" y="20"/>
                  </a:lnTo>
                  <a:lnTo>
                    <a:pt x="5" y="13"/>
                  </a:lnTo>
                  <a:lnTo>
                    <a:pt x="7" y="9"/>
                  </a:lnTo>
                  <a:lnTo>
                    <a:pt x="10" y="7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23" y="4"/>
                  </a:lnTo>
                  <a:lnTo>
                    <a:pt x="28" y="6"/>
                  </a:lnTo>
                  <a:lnTo>
                    <a:pt x="33" y="9"/>
                  </a:lnTo>
                  <a:lnTo>
                    <a:pt x="35" y="13"/>
                  </a:lnTo>
                  <a:lnTo>
                    <a:pt x="36" y="18"/>
                  </a:lnTo>
                  <a:lnTo>
                    <a:pt x="35" y="25"/>
                  </a:lnTo>
                  <a:lnTo>
                    <a:pt x="35" y="37"/>
                  </a:lnTo>
                  <a:lnTo>
                    <a:pt x="33" y="56"/>
                  </a:lnTo>
                  <a:lnTo>
                    <a:pt x="35" y="79"/>
                  </a:lnTo>
                  <a:lnTo>
                    <a:pt x="38" y="104"/>
                  </a:lnTo>
                  <a:lnTo>
                    <a:pt x="43" y="126"/>
                  </a:lnTo>
                  <a:lnTo>
                    <a:pt x="59" y="95"/>
                  </a:lnTo>
                  <a:lnTo>
                    <a:pt x="73" y="65"/>
                  </a:lnTo>
                  <a:lnTo>
                    <a:pt x="85" y="42"/>
                  </a:lnTo>
                  <a:lnTo>
                    <a:pt x="96" y="27"/>
                  </a:lnTo>
                  <a:lnTo>
                    <a:pt x="103" y="16"/>
                  </a:lnTo>
                  <a:lnTo>
                    <a:pt x="113" y="6"/>
                  </a:lnTo>
                  <a:lnTo>
                    <a:pt x="124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0"/>
            <p:cNvSpPr>
              <a:spLocks/>
            </p:cNvSpPr>
            <p:nvPr userDrawn="1"/>
          </p:nvSpPr>
          <p:spPr bwMode="auto">
            <a:xfrm>
              <a:off x="5440363" y="5235575"/>
              <a:ext cx="244475" cy="307975"/>
            </a:xfrm>
            <a:custGeom>
              <a:avLst/>
              <a:gdLst>
                <a:gd name="T0" fmla="*/ 77 w 154"/>
                <a:gd name="T1" fmla="*/ 0 h 194"/>
                <a:gd name="T2" fmla="*/ 90 w 154"/>
                <a:gd name="T3" fmla="*/ 0 h 194"/>
                <a:gd name="T4" fmla="*/ 95 w 154"/>
                <a:gd name="T5" fmla="*/ 1 h 194"/>
                <a:gd name="T6" fmla="*/ 97 w 154"/>
                <a:gd name="T7" fmla="*/ 3 h 194"/>
                <a:gd name="T8" fmla="*/ 98 w 154"/>
                <a:gd name="T9" fmla="*/ 7 h 194"/>
                <a:gd name="T10" fmla="*/ 98 w 154"/>
                <a:gd name="T11" fmla="*/ 10 h 194"/>
                <a:gd name="T12" fmla="*/ 97 w 154"/>
                <a:gd name="T13" fmla="*/ 15 h 194"/>
                <a:gd name="T14" fmla="*/ 93 w 154"/>
                <a:gd name="T15" fmla="*/ 19 h 194"/>
                <a:gd name="T16" fmla="*/ 90 w 154"/>
                <a:gd name="T17" fmla="*/ 22 h 194"/>
                <a:gd name="T18" fmla="*/ 84 w 154"/>
                <a:gd name="T19" fmla="*/ 24 h 194"/>
                <a:gd name="T20" fmla="*/ 72 w 154"/>
                <a:gd name="T21" fmla="*/ 31 h 194"/>
                <a:gd name="T22" fmla="*/ 60 w 154"/>
                <a:gd name="T23" fmla="*/ 43 h 194"/>
                <a:gd name="T24" fmla="*/ 49 w 154"/>
                <a:gd name="T25" fmla="*/ 63 h 194"/>
                <a:gd name="T26" fmla="*/ 39 w 154"/>
                <a:gd name="T27" fmla="*/ 91 h 194"/>
                <a:gd name="T28" fmla="*/ 34 w 154"/>
                <a:gd name="T29" fmla="*/ 112 h 194"/>
                <a:gd name="T30" fmla="*/ 34 w 154"/>
                <a:gd name="T31" fmla="*/ 131 h 194"/>
                <a:gd name="T32" fmla="*/ 37 w 154"/>
                <a:gd name="T33" fmla="*/ 147 h 194"/>
                <a:gd name="T34" fmla="*/ 42 w 154"/>
                <a:gd name="T35" fmla="*/ 161 h 194"/>
                <a:gd name="T36" fmla="*/ 53 w 154"/>
                <a:gd name="T37" fmla="*/ 168 h 194"/>
                <a:gd name="T38" fmla="*/ 67 w 154"/>
                <a:gd name="T39" fmla="*/ 169 h 194"/>
                <a:gd name="T40" fmla="*/ 81 w 154"/>
                <a:gd name="T41" fmla="*/ 166 h 194"/>
                <a:gd name="T42" fmla="*/ 97 w 154"/>
                <a:gd name="T43" fmla="*/ 157 h 194"/>
                <a:gd name="T44" fmla="*/ 109 w 154"/>
                <a:gd name="T45" fmla="*/ 140 h 194"/>
                <a:gd name="T46" fmla="*/ 119 w 154"/>
                <a:gd name="T47" fmla="*/ 117 h 194"/>
                <a:gd name="T48" fmla="*/ 126 w 154"/>
                <a:gd name="T49" fmla="*/ 94 h 194"/>
                <a:gd name="T50" fmla="*/ 125 w 154"/>
                <a:gd name="T51" fmla="*/ 75 h 194"/>
                <a:gd name="T52" fmla="*/ 121 w 154"/>
                <a:gd name="T53" fmla="*/ 59 h 194"/>
                <a:gd name="T54" fmla="*/ 112 w 154"/>
                <a:gd name="T55" fmla="*/ 49 h 194"/>
                <a:gd name="T56" fmla="*/ 104 w 154"/>
                <a:gd name="T57" fmla="*/ 43 h 194"/>
                <a:gd name="T58" fmla="*/ 98 w 154"/>
                <a:gd name="T59" fmla="*/ 42 h 194"/>
                <a:gd name="T60" fmla="*/ 95 w 154"/>
                <a:gd name="T61" fmla="*/ 38 h 194"/>
                <a:gd name="T62" fmla="*/ 93 w 154"/>
                <a:gd name="T63" fmla="*/ 35 h 194"/>
                <a:gd name="T64" fmla="*/ 93 w 154"/>
                <a:gd name="T65" fmla="*/ 31 h 194"/>
                <a:gd name="T66" fmla="*/ 93 w 154"/>
                <a:gd name="T67" fmla="*/ 29 h 194"/>
                <a:gd name="T68" fmla="*/ 95 w 154"/>
                <a:gd name="T69" fmla="*/ 26 h 194"/>
                <a:gd name="T70" fmla="*/ 97 w 154"/>
                <a:gd name="T71" fmla="*/ 24 h 194"/>
                <a:gd name="T72" fmla="*/ 100 w 154"/>
                <a:gd name="T73" fmla="*/ 22 h 194"/>
                <a:gd name="T74" fmla="*/ 104 w 154"/>
                <a:gd name="T75" fmla="*/ 21 h 194"/>
                <a:gd name="T76" fmla="*/ 109 w 154"/>
                <a:gd name="T77" fmla="*/ 22 h 194"/>
                <a:gd name="T78" fmla="*/ 128 w 154"/>
                <a:gd name="T79" fmla="*/ 31 h 194"/>
                <a:gd name="T80" fmla="*/ 144 w 154"/>
                <a:gd name="T81" fmla="*/ 47 h 194"/>
                <a:gd name="T82" fmla="*/ 152 w 154"/>
                <a:gd name="T83" fmla="*/ 70 h 194"/>
                <a:gd name="T84" fmla="*/ 154 w 154"/>
                <a:gd name="T85" fmla="*/ 98 h 194"/>
                <a:gd name="T86" fmla="*/ 147 w 154"/>
                <a:gd name="T87" fmla="*/ 129 h 194"/>
                <a:gd name="T88" fmla="*/ 133 w 154"/>
                <a:gd name="T89" fmla="*/ 154 h 194"/>
                <a:gd name="T90" fmla="*/ 116 w 154"/>
                <a:gd name="T91" fmla="*/ 175 h 194"/>
                <a:gd name="T92" fmla="*/ 95 w 154"/>
                <a:gd name="T93" fmla="*/ 189 h 194"/>
                <a:gd name="T94" fmla="*/ 69 w 154"/>
                <a:gd name="T95" fmla="*/ 194 h 194"/>
                <a:gd name="T96" fmla="*/ 41 w 154"/>
                <a:gd name="T97" fmla="*/ 190 h 194"/>
                <a:gd name="T98" fmla="*/ 23 w 154"/>
                <a:gd name="T99" fmla="*/ 180 h 194"/>
                <a:gd name="T100" fmla="*/ 11 w 154"/>
                <a:gd name="T101" fmla="*/ 164 h 194"/>
                <a:gd name="T102" fmla="*/ 2 w 154"/>
                <a:gd name="T103" fmla="*/ 145 h 194"/>
                <a:gd name="T104" fmla="*/ 0 w 154"/>
                <a:gd name="T105" fmla="*/ 124 h 194"/>
                <a:gd name="T106" fmla="*/ 2 w 154"/>
                <a:gd name="T107" fmla="*/ 101 h 194"/>
                <a:gd name="T108" fmla="*/ 7 w 154"/>
                <a:gd name="T109" fmla="*/ 77 h 194"/>
                <a:gd name="T110" fmla="*/ 20 w 154"/>
                <a:gd name="T111" fmla="*/ 50 h 194"/>
                <a:gd name="T112" fmla="*/ 32 w 154"/>
                <a:gd name="T113" fmla="*/ 31 h 194"/>
                <a:gd name="T114" fmla="*/ 46 w 154"/>
                <a:gd name="T115" fmla="*/ 15 h 194"/>
                <a:gd name="T116" fmla="*/ 62 w 154"/>
                <a:gd name="T117" fmla="*/ 5 h 194"/>
                <a:gd name="T118" fmla="*/ 77 w 154"/>
                <a:gd name="T1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94">
                  <a:moveTo>
                    <a:pt x="77" y="0"/>
                  </a:moveTo>
                  <a:lnTo>
                    <a:pt x="90" y="0"/>
                  </a:lnTo>
                  <a:lnTo>
                    <a:pt x="95" y="1"/>
                  </a:lnTo>
                  <a:lnTo>
                    <a:pt x="97" y="3"/>
                  </a:lnTo>
                  <a:lnTo>
                    <a:pt x="98" y="7"/>
                  </a:lnTo>
                  <a:lnTo>
                    <a:pt x="98" y="10"/>
                  </a:lnTo>
                  <a:lnTo>
                    <a:pt x="97" y="15"/>
                  </a:lnTo>
                  <a:lnTo>
                    <a:pt x="93" y="19"/>
                  </a:lnTo>
                  <a:lnTo>
                    <a:pt x="90" y="22"/>
                  </a:lnTo>
                  <a:lnTo>
                    <a:pt x="84" y="24"/>
                  </a:lnTo>
                  <a:lnTo>
                    <a:pt x="72" y="31"/>
                  </a:lnTo>
                  <a:lnTo>
                    <a:pt x="60" y="43"/>
                  </a:lnTo>
                  <a:lnTo>
                    <a:pt x="49" y="63"/>
                  </a:lnTo>
                  <a:lnTo>
                    <a:pt x="39" y="91"/>
                  </a:lnTo>
                  <a:lnTo>
                    <a:pt x="34" y="112"/>
                  </a:lnTo>
                  <a:lnTo>
                    <a:pt x="34" y="131"/>
                  </a:lnTo>
                  <a:lnTo>
                    <a:pt x="37" y="147"/>
                  </a:lnTo>
                  <a:lnTo>
                    <a:pt x="42" y="161"/>
                  </a:lnTo>
                  <a:lnTo>
                    <a:pt x="53" y="168"/>
                  </a:lnTo>
                  <a:lnTo>
                    <a:pt x="67" y="169"/>
                  </a:lnTo>
                  <a:lnTo>
                    <a:pt x="81" y="166"/>
                  </a:lnTo>
                  <a:lnTo>
                    <a:pt x="97" y="157"/>
                  </a:lnTo>
                  <a:lnTo>
                    <a:pt x="109" y="140"/>
                  </a:lnTo>
                  <a:lnTo>
                    <a:pt x="119" y="117"/>
                  </a:lnTo>
                  <a:lnTo>
                    <a:pt x="126" y="94"/>
                  </a:lnTo>
                  <a:lnTo>
                    <a:pt x="125" y="75"/>
                  </a:lnTo>
                  <a:lnTo>
                    <a:pt x="121" y="59"/>
                  </a:lnTo>
                  <a:lnTo>
                    <a:pt x="112" y="49"/>
                  </a:lnTo>
                  <a:lnTo>
                    <a:pt x="104" y="43"/>
                  </a:lnTo>
                  <a:lnTo>
                    <a:pt x="98" y="42"/>
                  </a:lnTo>
                  <a:lnTo>
                    <a:pt x="95" y="38"/>
                  </a:lnTo>
                  <a:lnTo>
                    <a:pt x="93" y="35"/>
                  </a:lnTo>
                  <a:lnTo>
                    <a:pt x="93" y="31"/>
                  </a:lnTo>
                  <a:lnTo>
                    <a:pt x="93" y="29"/>
                  </a:lnTo>
                  <a:lnTo>
                    <a:pt x="95" y="26"/>
                  </a:lnTo>
                  <a:lnTo>
                    <a:pt x="97" y="24"/>
                  </a:lnTo>
                  <a:lnTo>
                    <a:pt x="100" y="22"/>
                  </a:lnTo>
                  <a:lnTo>
                    <a:pt x="104" y="21"/>
                  </a:lnTo>
                  <a:lnTo>
                    <a:pt x="109" y="22"/>
                  </a:lnTo>
                  <a:lnTo>
                    <a:pt x="128" y="31"/>
                  </a:lnTo>
                  <a:lnTo>
                    <a:pt x="144" y="47"/>
                  </a:lnTo>
                  <a:lnTo>
                    <a:pt x="152" y="70"/>
                  </a:lnTo>
                  <a:lnTo>
                    <a:pt x="154" y="98"/>
                  </a:lnTo>
                  <a:lnTo>
                    <a:pt x="147" y="129"/>
                  </a:lnTo>
                  <a:lnTo>
                    <a:pt x="133" y="154"/>
                  </a:lnTo>
                  <a:lnTo>
                    <a:pt x="116" y="175"/>
                  </a:lnTo>
                  <a:lnTo>
                    <a:pt x="95" y="189"/>
                  </a:lnTo>
                  <a:lnTo>
                    <a:pt x="69" y="194"/>
                  </a:lnTo>
                  <a:lnTo>
                    <a:pt x="41" y="190"/>
                  </a:lnTo>
                  <a:lnTo>
                    <a:pt x="23" y="180"/>
                  </a:lnTo>
                  <a:lnTo>
                    <a:pt x="11" y="164"/>
                  </a:lnTo>
                  <a:lnTo>
                    <a:pt x="2" y="145"/>
                  </a:lnTo>
                  <a:lnTo>
                    <a:pt x="0" y="124"/>
                  </a:lnTo>
                  <a:lnTo>
                    <a:pt x="2" y="101"/>
                  </a:lnTo>
                  <a:lnTo>
                    <a:pt x="7" y="77"/>
                  </a:lnTo>
                  <a:lnTo>
                    <a:pt x="20" y="50"/>
                  </a:lnTo>
                  <a:lnTo>
                    <a:pt x="32" y="31"/>
                  </a:lnTo>
                  <a:lnTo>
                    <a:pt x="46" y="15"/>
                  </a:lnTo>
                  <a:lnTo>
                    <a:pt x="62" y="5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1"/>
            <p:cNvSpPr>
              <a:spLocks/>
            </p:cNvSpPr>
            <p:nvPr userDrawn="1"/>
          </p:nvSpPr>
          <p:spPr bwMode="auto">
            <a:xfrm>
              <a:off x="5703888" y="5240338"/>
              <a:ext cx="277813" cy="292100"/>
            </a:xfrm>
            <a:custGeom>
              <a:avLst/>
              <a:gdLst>
                <a:gd name="T0" fmla="*/ 21 w 175"/>
                <a:gd name="T1" fmla="*/ 0 h 184"/>
                <a:gd name="T2" fmla="*/ 30 w 175"/>
                <a:gd name="T3" fmla="*/ 5 h 184"/>
                <a:gd name="T4" fmla="*/ 35 w 175"/>
                <a:gd name="T5" fmla="*/ 16 h 184"/>
                <a:gd name="T6" fmla="*/ 39 w 175"/>
                <a:gd name="T7" fmla="*/ 44 h 184"/>
                <a:gd name="T8" fmla="*/ 51 w 175"/>
                <a:gd name="T9" fmla="*/ 86 h 184"/>
                <a:gd name="T10" fmla="*/ 63 w 175"/>
                <a:gd name="T11" fmla="*/ 116 h 184"/>
                <a:gd name="T12" fmla="*/ 69 w 175"/>
                <a:gd name="T13" fmla="*/ 126 h 184"/>
                <a:gd name="T14" fmla="*/ 74 w 175"/>
                <a:gd name="T15" fmla="*/ 130 h 184"/>
                <a:gd name="T16" fmla="*/ 79 w 175"/>
                <a:gd name="T17" fmla="*/ 128 h 184"/>
                <a:gd name="T18" fmla="*/ 88 w 175"/>
                <a:gd name="T19" fmla="*/ 117 h 184"/>
                <a:gd name="T20" fmla="*/ 105 w 175"/>
                <a:gd name="T21" fmla="*/ 91 h 184"/>
                <a:gd name="T22" fmla="*/ 126 w 175"/>
                <a:gd name="T23" fmla="*/ 49 h 184"/>
                <a:gd name="T24" fmla="*/ 137 w 175"/>
                <a:gd name="T25" fmla="*/ 21 h 184"/>
                <a:gd name="T26" fmla="*/ 140 w 175"/>
                <a:gd name="T27" fmla="*/ 11 h 184"/>
                <a:gd name="T28" fmla="*/ 147 w 175"/>
                <a:gd name="T29" fmla="*/ 4 h 184"/>
                <a:gd name="T30" fmla="*/ 156 w 175"/>
                <a:gd name="T31" fmla="*/ 2 h 184"/>
                <a:gd name="T32" fmla="*/ 165 w 175"/>
                <a:gd name="T33" fmla="*/ 5 h 184"/>
                <a:gd name="T34" fmla="*/ 168 w 175"/>
                <a:gd name="T35" fmla="*/ 16 h 184"/>
                <a:gd name="T36" fmla="*/ 168 w 175"/>
                <a:gd name="T37" fmla="*/ 28 h 184"/>
                <a:gd name="T38" fmla="*/ 167 w 175"/>
                <a:gd name="T39" fmla="*/ 72 h 184"/>
                <a:gd name="T40" fmla="*/ 168 w 175"/>
                <a:gd name="T41" fmla="*/ 116 h 184"/>
                <a:gd name="T42" fmla="*/ 175 w 175"/>
                <a:gd name="T43" fmla="*/ 168 h 184"/>
                <a:gd name="T44" fmla="*/ 175 w 175"/>
                <a:gd name="T45" fmla="*/ 179 h 184"/>
                <a:gd name="T46" fmla="*/ 170 w 175"/>
                <a:gd name="T47" fmla="*/ 184 h 184"/>
                <a:gd name="T48" fmla="*/ 163 w 175"/>
                <a:gd name="T49" fmla="*/ 184 h 184"/>
                <a:gd name="T50" fmla="*/ 158 w 175"/>
                <a:gd name="T51" fmla="*/ 182 h 184"/>
                <a:gd name="T52" fmla="*/ 151 w 175"/>
                <a:gd name="T53" fmla="*/ 177 h 184"/>
                <a:gd name="T54" fmla="*/ 147 w 175"/>
                <a:gd name="T55" fmla="*/ 166 h 184"/>
                <a:gd name="T56" fmla="*/ 140 w 175"/>
                <a:gd name="T57" fmla="*/ 110 h 184"/>
                <a:gd name="T58" fmla="*/ 130 w 175"/>
                <a:gd name="T59" fmla="*/ 96 h 184"/>
                <a:gd name="T60" fmla="*/ 112 w 175"/>
                <a:gd name="T61" fmla="*/ 135 h 184"/>
                <a:gd name="T62" fmla="*/ 90 w 175"/>
                <a:gd name="T63" fmla="*/ 159 h 184"/>
                <a:gd name="T64" fmla="*/ 60 w 175"/>
                <a:gd name="T65" fmla="*/ 154 h 184"/>
                <a:gd name="T66" fmla="*/ 34 w 175"/>
                <a:gd name="T67" fmla="*/ 123 h 184"/>
                <a:gd name="T68" fmla="*/ 14 w 175"/>
                <a:gd name="T69" fmla="*/ 75 h 184"/>
                <a:gd name="T70" fmla="*/ 2 w 175"/>
                <a:gd name="T71" fmla="*/ 30 h 184"/>
                <a:gd name="T72" fmla="*/ 0 w 175"/>
                <a:gd name="T73" fmla="*/ 11 h 184"/>
                <a:gd name="T74" fmla="*/ 14 w 175"/>
                <a:gd name="T7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5" h="184">
                  <a:moveTo>
                    <a:pt x="18" y="0"/>
                  </a:moveTo>
                  <a:lnTo>
                    <a:pt x="21" y="0"/>
                  </a:lnTo>
                  <a:lnTo>
                    <a:pt x="27" y="2"/>
                  </a:lnTo>
                  <a:lnTo>
                    <a:pt x="30" y="5"/>
                  </a:lnTo>
                  <a:lnTo>
                    <a:pt x="32" y="9"/>
                  </a:lnTo>
                  <a:lnTo>
                    <a:pt x="35" y="16"/>
                  </a:lnTo>
                  <a:lnTo>
                    <a:pt x="35" y="23"/>
                  </a:lnTo>
                  <a:lnTo>
                    <a:pt x="39" y="44"/>
                  </a:lnTo>
                  <a:lnTo>
                    <a:pt x="44" y="65"/>
                  </a:lnTo>
                  <a:lnTo>
                    <a:pt x="51" y="86"/>
                  </a:lnTo>
                  <a:lnTo>
                    <a:pt x="58" y="103"/>
                  </a:lnTo>
                  <a:lnTo>
                    <a:pt x="63" y="116"/>
                  </a:lnTo>
                  <a:lnTo>
                    <a:pt x="65" y="121"/>
                  </a:lnTo>
                  <a:lnTo>
                    <a:pt x="69" y="126"/>
                  </a:lnTo>
                  <a:lnTo>
                    <a:pt x="70" y="130"/>
                  </a:lnTo>
                  <a:lnTo>
                    <a:pt x="74" y="130"/>
                  </a:lnTo>
                  <a:lnTo>
                    <a:pt x="76" y="130"/>
                  </a:lnTo>
                  <a:lnTo>
                    <a:pt x="79" y="128"/>
                  </a:lnTo>
                  <a:lnTo>
                    <a:pt x="83" y="124"/>
                  </a:lnTo>
                  <a:lnTo>
                    <a:pt x="88" y="117"/>
                  </a:lnTo>
                  <a:lnTo>
                    <a:pt x="95" y="107"/>
                  </a:lnTo>
                  <a:lnTo>
                    <a:pt x="105" y="91"/>
                  </a:lnTo>
                  <a:lnTo>
                    <a:pt x="116" y="72"/>
                  </a:lnTo>
                  <a:lnTo>
                    <a:pt x="126" y="49"/>
                  </a:lnTo>
                  <a:lnTo>
                    <a:pt x="135" y="26"/>
                  </a:lnTo>
                  <a:lnTo>
                    <a:pt x="137" y="21"/>
                  </a:lnTo>
                  <a:lnTo>
                    <a:pt x="139" y="16"/>
                  </a:lnTo>
                  <a:lnTo>
                    <a:pt x="140" y="11"/>
                  </a:lnTo>
                  <a:lnTo>
                    <a:pt x="142" y="7"/>
                  </a:lnTo>
                  <a:lnTo>
                    <a:pt x="147" y="4"/>
                  </a:lnTo>
                  <a:lnTo>
                    <a:pt x="151" y="2"/>
                  </a:lnTo>
                  <a:lnTo>
                    <a:pt x="156" y="2"/>
                  </a:lnTo>
                  <a:lnTo>
                    <a:pt x="161" y="2"/>
                  </a:lnTo>
                  <a:lnTo>
                    <a:pt x="165" y="5"/>
                  </a:lnTo>
                  <a:lnTo>
                    <a:pt x="167" y="11"/>
                  </a:lnTo>
                  <a:lnTo>
                    <a:pt x="168" y="16"/>
                  </a:lnTo>
                  <a:lnTo>
                    <a:pt x="168" y="21"/>
                  </a:lnTo>
                  <a:lnTo>
                    <a:pt x="168" y="28"/>
                  </a:lnTo>
                  <a:lnTo>
                    <a:pt x="168" y="51"/>
                  </a:lnTo>
                  <a:lnTo>
                    <a:pt x="167" y="72"/>
                  </a:lnTo>
                  <a:lnTo>
                    <a:pt x="167" y="89"/>
                  </a:lnTo>
                  <a:lnTo>
                    <a:pt x="168" y="116"/>
                  </a:lnTo>
                  <a:lnTo>
                    <a:pt x="172" y="145"/>
                  </a:lnTo>
                  <a:lnTo>
                    <a:pt x="175" y="168"/>
                  </a:lnTo>
                  <a:lnTo>
                    <a:pt x="175" y="173"/>
                  </a:lnTo>
                  <a:lnTo>
                    <a:pt x="175" y="179"/>
                  </a:lnTo>
                  <a:lnTo>
                    <a:pt x="174" y="182"/>
                  </a:lnTo>
                  <a:lnTo>
                    <a:pt x="170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60" y="184"/>
                  </a:lnTo>
                  <a:lnTo>
                    <a:pt x="158" y="182"/>
                  </a:lnTo>
                  <a:lnTo>
                    <a:pt x="153" y="180"/>
                  </a:lnTo>
                  <a:lnTo>
                    <a:pt x="151" y="177"/>
                  </a:lnTo>
                  <a:lnTo>
                    <a:pt x="149" y="172"/>
                  </a:lnTo>
                  <a:lnTo>
                    <a:pt x="147" y="166"/>
                  </a:lnTo>
                  <a:lnTo>
                    <a:pt x="144" y="142"/>
                  </a:lnTo>
                  <a:lnTo>
                    <a:pt x="140" y="110"/>
                  </a:lnTo>
                  <a:lnTo>
                    <a:pt x="139" y="79"/>
                  </a:lnTo>
                  <a:lnTo>
                    <a:pt x="130" y="96"/>
                  </a:lnTo>
                  <a:lnTo>
                    <a:pt x="121" y="116"/>
                  </a:lnTo>
                  <a:lnTo>
                    <a:pt x="112" y="135"/>
                  </a:lnTo>
                  <a:lnTo>
                    <a:pt x="100" y="149"/>
                  </a:lnTo>
                  <a:lnTo>
                    <a:pt x="90" y="159"/>
                  </a:lnTo>
                  <a:lnTo>
                    <a:pt x="76" y="161"/>
                  </a:lnTo>
                  <a:lnTo>
                    <a:pt x="60" y="154"/>
                  </a:lnTo>
                  <a:lnTo>
                    <a:pt x="46" y="140"/>
                  </a:lnTo>
                  <a:lnTo>
                    <a:pt x="34" y="123"/>
                  </a:lnTo>
                  <a:lnTo>
                    <a:pt x="23" y="100"/>
                  </a:lnTo>
                  <a:lnTo>
                    <a:pt x="14" y="75"/>
                  </a:lnTo>
                  <a:lnTo>
                    <a:pt x="7" y="51"/>
                  </a:lnTo>
                  <a:lnTo>
                    <a:pt x="2" y="30"/>
                  </a:lnTo>
                  <a:lnTo>
                    <a:pt x="0" y="19"/>
                  </a:lnTo>
                  <a:lnTo>
                    <a:pt x="0" y="11"/>
                  </a:lnTo>
                  <a:lnTo>
                    <a:pt x="4" y="4"/>
                  </a:lnTo>
                  <a:lnTo>
                    <a:pt x="14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2"/>
            <p:cNvSpPr>
              <a:spLocks/>
            </p:cNvSpPr>
            <p:nvPr userDrawn="1"/>
          </p:nvSpPr>
          <p:spPr bwMode="auto">
            <a:xfrm>
              <a:off x="6043613" y="5221288"/>
              <a:ext cx="227013" cy="296863"/>
            </a:xfrm>
            <a:custGeom>
              <a:avLst/>
              <a:gdLst>
                <a:gd name="T0" fmla="*/ 136 w 143"/>
                <a:gd name="T1" fmla="*/ 5 h 187"/>
                <a:gd name="T2" fmla="*/ 143 w 143"/>
                <a:gd name="T3" fmla="*/ 28 h 187"/>
                <a:gd name="T4" fmla="*/ 134 w 143"/>
                <a:gd name="T5" fmla="*/ 51 h 187"/>
                <a:gd name="T6" fmla="*/ 127 w 143"/>
                <a:gd name="T7" fmla="*/ 61 h 187"/>
                <a:gd name="T8" fmla="*/ 119 w 143"/>
                <a:gd name="T9" fmla="*/ 63 h 187"/>
                <a:gd name="T10" fmla="*/ 112 w 143"/>
                <a:gd name="T11" fmla="*/ 61 h 187"/>
                <a:gd name="T12" fmla="*/ 110 w 143"/>
                <a:gd name="T13" fmla="*/ 58 h 187"/>
                <a:gd name="T14" fmla="*/ 112 w 143"/>
                <a:gd name="T15" fmla="*/ 51 h 187"/>
                <a:gd name="T16" fmla="*/ 112 w 143"/>
                <a:gd name="T17" fmla="*/ 44 h 187"/>
                <a:gd name="T18" fmla="*/ 108 w 143"/>
                <a:gd name="T19" fmla="*/ 40 h 187"/>
                <a:gd name="T20" fmla="*/ 94 w 143"/>
                <a:gd name="T21" fmla="*/ 44 h 187"/>
                <a:gd name="T22" fmla="*/ 71 w 143"/>
                <a:gd name="T23" fmla="*/ 87 h 187"/>
                <a:gd name="T24" fmla="*/ 56 w 143"/>
                <a:gd name="T25" fmla="*/ 149 h 187"/>
                <a:gd name="T26" fmla="*/ 52 w 143"/>
                <a:gd name="T27" fmla="*/ 178 h 187"/>
                <a:gd name="T28" fmla="*/ 49 w 143"/>
                <a:gd name="T29" fmla="*/ 185 h 187"/>
                <a:gd name="T30" fmla="*/ 42 w 143"/>
                <a:gd name="T31" fmla="*/ 187 h 187"/>
                <a:gd name="T32" fmla="*/ 31 w 143"/>
                <a:gd name="T33" fmla="*/ 187 h 187"/>
                <a:gd name="T34" fmla="*/ 24 w 143"/>
                <a:gd name="T35" fmla="*/ 182 h 187"/>
                <a:gd name="T36" fmla="*/ 19 w 143"/>
                <a:gd name="T37" fmla="*/ 171 h 187"/>
                <a:gd name="T38" fmla="*/ 14 w 143"/>
                <a:gd name="T39" fmla="*/ 138 h 187"/>
                <a:gd name="T40" fmla="*/ 9 w 143"/>
                <a:gd name="T41" fmla="*/ 100 h 187"/>
                <a:gd name="T42" fmla="*/ 3 w 143"/>
                <a:gd name="T43" fmla="*/ 52 h 187"/>
                <a:gd name="T44" fmla="*/ 0 w 143"/>
                <a:gd name="T45" fmla="*/ 23 h 187"/>
                <a:gd name="T46" fmla="*/ 0 w 143"/>
                <a:gd name="T47" fmla="*/ 12 h 187"/>
                <a:gd name="T48" fmla="*/ 3 w 143"/>
                <a:gd name="T49" fmla="*/ 7 h 187"/>
                <a:gd name="T50" fmla="*/ 12 w 143"/>
                <a:gd name="T51" fmla="*/ 3 h 187"/>
                <a:gd name="T52" fmla="*/ 23 w 143"/>
                <a:gd name="T53" fmla="*/ 7 h 187"/>
                <a:gd name="T54" fmla="*/ 28 w 143"/>
                <a:gd name="T55" fmla="*/ 14 h 187"/>
                <a:gd name="T56" fmla="*/ 33 w 143"/>
                <a:gd name="T57" fmla="*/ 38 h 187"/>
                <a:gd name="T58" fmla="*/ 38 w 143"/>
                <a:gd name="T59" fmla="*/ 91 h 187"/>
                <a:gd name="T60" fmla="*/ 49 w 143"/>
                <a:gd name="T61" fmla="*/ 82 h 187"/>
                <a:gd name="T62" fmla="*/ 75 w 143"/>
                <a:gd name="T63" fmla="*/ 26 h 187"/>
                <a:gd name="T64" fmla="*/ 106 w 143"/>
                <a:gd name="T6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3" h="187">
                  <a:moveTo>
                    <a:pt x="126" y="0"/>
                  </a:moveTo>
                  <a:lnTo>
                    <a:pt x="136" y="5"/>
                  </a:lnTo>
                  <a:lnTo>
                    <a:pt x="141" y="16"/>
                  </a:lnTo>
                  <a:lnTo>
                    <a:pt x="143" y="28"/>
                  </a:lnTo>
                  <a:lnTo>
                    <a:pt x="140" y="42"/>
                  </a:lnTo>
                  <a:lnTo>
                    <a:pt x="134" y="51"/>
                  </a:lnTo>
                  <a:lnTo>
                    <a:pt x="131" y="56"/>
                  </a:lnTo>
                  <a:lnTo>
                    <a:pt x="127" y="61"/>
                  </a:lnTo>
                  <a:lnTo>
                    <a:pt x="122" y="63"/>
                  </a:lnTo>
                  <a:lnTo>
                    <a:pt x="119" y="63"/>
                  </a:lnTo>
                  <a:lnTo>
                    <a:pt x="113" y="63"/>
                  </a:lnTo>
                  <a:lnTo>
                    <a:pt x="112" y="61"/>
                  </a:lnTo>
                  <a:lnTo>
                    <a:pt x="110" y="59"/>
                  </a:lnTo>
                  <a:lnTo>
                    <a:pt x="110" y="58"/>
                  </a:lnTo>
                  <a:lnTo>
                    <a:pt x="112" y="54"/>
                  </a:lnTo>
                  <a:lnTo>
                    <a:pt x="112" y="51"/>
                  </a:lnTo>
                  <a:lnTo>
                    <a:pt x="112" y="47"/>
                  </a:lnTo>
                  <a:lnTo>
                    <a:pt x="112" y="44"/>
                  </a:lnTo>
                  <a:lnTo>
                    <a:pt x="112" y="42"/>
                  </a:lnTo>
                  <a:lnTo>
                    <a:pt x="108" y="40"/>
                  </a:lnTo>
                  <a:lnTo>
                    <a:pt x="105" y="38"/>
                  </a:lnTo>
                  <a:lnTo>
                    <a:pt x="94" y="44"/>
                  </a:lnTo>
                  <a:lnTo>
                    <a:pt x="84" y="59"/>
                  </a:lnTo>
                  <a:lnTo>
                    <a:pt x="71" y="87"/>
                  </a:lnTo>
                  <a:lnTo>
                    <a:pt x="63" y="121"/>
                  </a:lnTo>
                  <a:lnTo>
                    <a:pt x="56" y="149"/>
                  </a:lnTo>
                  <a:lnTo>
                    <a:pt x="54" y="173"/>
                  </a:lnTo>
                  <a:lnTo>
                    <a:pt x="52" y="178"/>
                  </a:lnTo>
                  <a:lnTo>
                    <a:pt x="50" y="184"/>
                  </a:lnTo>
                  <a:lnTo>
                    <a:pt x="49" y="185"/>
                  </a:lnTo>
                  <a:lnTo>
                    <a:pt x="45" y="187"/>
                  </a:lnTo>
                  <a:lnTo>
                    <a:pt x="42" y="187"/>
                  </a:lnTo>
                  <a:lnTo>
                    <a:pt x="38" y="187"/>
                  </a:lnTo>
                  <a:lnTo>
                    <a:pt x="31" y="187"/>
                  </a:lnTo>
                  <a:lnTo>
                    <a:pt x="28" y="184"/>
                  </a:lnTo>
                  <a:lnTo>
                    <a:pt x="24" y="182"/>
                  </a:lnTo>
                  <a:lnTo>
                    <a:pt x="23" y="178"/>
                  </a:lnTo>
                  <a:lnTo>
                    <a:pt x="19" y="171"/>
                  </a:lnTo>
                  <a:lnTo>
                    <a:pt x="16" y="159"/>
                  </a:lnTo>
                  <a:lnTo>
                    <a:pt x="14" y="138"/>
                  </a:lnTo>
                  <a:lnTo>
                    <a:pt x="12" y="121"/>
                  </a:lnTo>
                  <a:lnTo>
                    <a:pt x="9" y="100"/>
                  </a:lnTo>
                  <a:lnTo>
                    <a:pt x="7" y="75"/>
                  </a:lnTo>
                  <a:lnTo>
                    <a:pt x="3" y="52"/>
                  </a:lnTo>
                  <a:lnTo>
                    <a:pt x="2" y="35"/>
                  </a:lnTo>
                  <a:lnTo>
                    <a:pt x="0" y="23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2" y="9"/>
                  </a:lnTo>
                  <a:lnTo>
                    <a:pt x="3" y="7"/>
                  </a:lnTo>
                  <a:lnTo>
                    <a:pt x="7" y="5"/>
                  </a:lnTo>
                  <a:lnTo>
                    <a:pt x="12" y="3"/>
                  </a:lnTo>
                  <a:lnTo>
                    <a:pt x="19" y="5"/>
                  </a:lnTo>
                  <a:lnTo>
                    <a:pt x="23" y="7"/>
                  </a:lnTo>
                  <a:lnTo>
                    <a:pt x="26" y="10"/>
                  </a:lnTo>
                  <a:lnTo>
                    <a:pt x="28" y="14"/>
                  </a:lnTo>
                  <a:lnTo>
                    <a:pt x="30" y="19"/>
                  </a:lnTo>
                  <a:lnTo>
                    <a:pt x="33" y="38"/>
                  </a:lnTo>
                  <a:lnTo>
                    <a:pt x="36" y="63"/>
                  </a:lnTo>
                  <a:lnTo>
                    <a:pt x="38" y="91"/>
                  </a:lnTo>
                  <a:lnTo>
                    <a:pt x="42" y="119"/>
                  </a:lnTo>
                  <a:lnTo>
                    <a:pt x="49" y="82"/>
                  </a:lnTo>
                  <a:lnTo>
                    <a:pt x="61" y="51"/>
                  </a:lnTo>
                  <a:lnTo>
                    <a:pt x="75" y="26"/>
                  </a:lnTo>
                  <a:lnTo>
                    <a:pt x="89" y="9"/>
                  </a:lnTo>
                  <a:lnTo>
                    <a:pt x="106" y="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3"/>
            <p:cNvSpPr>
              <a:spLocks/>
            </p:cNvSpPr>
            <p:nvPr userDrawn="1"/>
          </p:nvSpPr>
          <p:spPr bwMode="auto">
            <a:xfrm>
              <a:off x="6329363" y="5248275"/>
              <a:ext cx="85725" cy="261938"/>
            </a:xfrm>
            <a:custGeom>
              <a:avLst/>
              <a:gdLst>
                <a:gd name="T0" fmla="*/ 21 w 54"/>
                <a:gd name="T1" fmla="*/ 0 h 165"/>
                <a:gd name="T2" fmla="*/ 26 w 54"/>
                <a:gd name="T3" fmla="*/ 2 h 165"/>
                <a:gd name="T4" fmla="*/ 31 w 54"/>
                <a:gd name="T5" fmla="*/ 4 h 165"/>
                <a:gd name="T6" fmla="*/ 33 w 54"/>
                <a:gd name="T7" fmla="*/ 6 h 165"/>
                <a:gd name="T8" fmla="*/ 35 w 54"/>
                <a:gd name="T9" fmla="*/ 11 h 165"/>
                <a:gd name="T10" fmla="*/ 37 w 54"/>
                <a:gd name="T11" fmla="*/ 14 h 165"/>
                <a:gd name="T12" fmla="*/ 37 w 54"/>
                <a:gd name="T13" fmla="*/ 20 h 165"/>
                <a:gd name="T14" fmla="*/ 37 w 54"/>
                <a:gd name="T15" fmla="*/ 35 h 165"/>
                <a:gd name="T16" fmla="*/ 37 w 54"/>
                <a:gd name="T17" fmla="*/ 62 h 165"/>
                <a:gd name="T18" fmla="*/ 38 w 54"/>
                <a:gd name="T19" fmla="*/ 93 h 165"/>
                <a:gd name="T20" fmla="*/ 40 w 54"/>
                <a:gd name="T21" fmla="*/ 119 h 165"/>
                <a:gd name="T22" fmla="*/ 44 w 54"/>
                <a:gd name="T23" fmla="*/ 137 h 165"/>
                <a:gd name="T24" fmla="*/ 51 w 54"/>
                <a:gd name="T25" fmla="*/ 149 h 165"/>
                <a:gd name="T26" fmla="*/ 52 w 54"/>
                <a:gd name="T27" fmla="*/ 151 h 165"/>
                <a:gd name="T28" fmla="*/ 52 w 54"/>
                <a:gd name="T29" fmla="*/ 154 h 165"/>
                <a:gd name="T30" fmla="*/ 54 w 54"/>
                <a:gd name="T31" fmla="*/ 158 h 165"/>
                <a:gd name="T32" fmla="*/ 52 w 54"/>
                <a:gd name="T33" fmla="*/ 160 h 165"/>
                <a:gd name="T34" fmla="*/ 51 w 54"/>
                <a:gd name="T35" fmla="*/ 163 h 165"/>
                <a:gd name="T36" fmla="*/ 47 w 54"/>
                <a:gd name="T37" fmla="*/ 165 h 165"/>
                <a:gd name="T38" fmla="*/ 38 w 54"/>
                <a:gd name="T39" fmla="*/ 165 h 165"/>
                <a:gd name="T40" fmla="*/ 30 w 54"/>
                <a:gd name="T41" fmla="*/ 163 h 165"/>
                <a:gd name="T42" fmla="*/ 21 w 54"/>
                <a:gd name="T43" fmla="*/ 156 h 165"/>
                <a:gd name="T44" fmla="*/ 16 w 54"/>
                <a:gd name="T45" fmla="*/ 144 h 165"/>
                <a:gd name="T46" fmla="*/ 9 w 54"/>
                <a:gd name="T47" fmla="*/ 121 h 165"/>
                <a:gd name="T48" fmla="*/ 5 w 54"/>
                <a:gd name="T49" fmla="*/ 95 h 165"/>
                <a:gd name="T50" fmla="*/ 2 w 54"/>
                <a:gd name="T51" fmla="*/ 67 h 165"/>
                <a:gd name="T52" fmla="*/ 0 w 54"/>
                <a:gd name="T53" fmla="*/ 44 h 165"/>
                <a:gd name="T54" fmla="*/ 0 w 54"/>
                <a:gd name="T55" fmla="*/ 25 h 165"/>
                <a:gd name="T56" fmla="*/ 0 w 54"/>
                <a:gd name="T57" fmla="*/ 18 h 165"/>
                <a:gd name="T58" fmla="*/ 2 w 54"/>
                <a:gd name="T59" fmla="*/ 11 h 165"/>
                <a:gd name="T60" fmla="*/ 5 w 54"/>
                <a:gd name="T61" fmla="*/ 6 h 165"/>
                <a:gd name="T62" fmla="*/ 9 w 54"/>
                <a:gd name="T63" fmla="*/ 2 h 165"/>
                <a:gd name="T64" fmla="*/ 14 w 54"/>
                <a:gd name="T65" fmla="*/ 0 h 165"/>
                <a:gd name="T66" fmla="*/ 21 w 54"/>
                <a:gd name="T67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165">
                  <a:moveTo>
                    <a:pt x="21" y="0"/>
                  </a:moveTo>
                  <a:lnTo>
                    <a:pt x="26" y="2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5" y="11"/>
                  </a:lnTo>
                  <a:lnTo>
                    <a:pt x="37" y="14"/>
                  </a:lnTo>
                  <a:lnTo>
                    <a:pt x="37" y="20"/>
                  </a:lnTo>
                  <a:lnTo>
                    <a:pt x="37" y="35"/>
                  </a:lnTo>
                  <a:lnTo>
                    <a:pt x="37" y="62"/>
                  </a:lnTo>
                  <a:lnTo>
                    <a:pt x="38" y="93"/>
                  </a:lnTo>
                  <a:lnTo>
                    <a:pt x="40" y="119"/>
                  </a:lnTo>
                  <a:lnTo>
                    <a:pt x="44" y="137"/>
                  </a:lnTo>
                  <a:lnTo>
                    <a:pt x="51" y="149"/>
                  </a:lnTo>
                  <a:lnTo>
                    <a:pt x="52" y="151"/>
                  </a:lnTo>
                  <a:lnTo>
                    <a:pt x="52" y="154"/>
                  </a:lnTo>
                  <a:lnTo>
                    <a:pt x="54" y="158"/>
                  </a:lnTo>
                  <a:lnTo>
                    <a:pt x="52" y="160"/>
                  </a:lnTo>
                  <a:lnTo>
                    <a:pt x="51" y="163"/>
                  </a:lnTo>
                  <a:lnTo>
                    <a:pt x="47" y="165"/>
                  </a:lnTo>
                  <a:lnTo>
                    <a:pt x="38" y="165"/>
                  </a:lnTo>
                  <a:lnTo>
                    <a:pt x="30" y="163"/>
                  </a:lnTo>
                  <a:lnTo>
                    <a:pt x="21" y="156"/>
                  </a:lnTo>
                  <a:lnTo>
                    <a:pt x="16" y="144"/>
                  </a:lnTo>
                  <a:lnTo>
                    <a:pt x="9" y="121"/>
                  </a:lnTo>
                  <a:lnTo>
                    <a:pt x="5" y="95"/>
                  </a:lnTo>
                  <a:lnTo>
                    <a:pt x="2" y="67"/>
                  </a:lnTo>
                  <a:lnTo>
                    <a:pt x="0" y="44"/>
                  </a:lnTo>
                  <a:lnTo>
                    <a:pt x="0" y="25"/>
                  </a:lnTo>
                  <a:lnTo>
                    <a:pt x="0" y="18"/>
                  </a:lnTo>
                  <a:lnTo>
                    <a:pt x="2" y="11"/>
                  </a:lnTo>
                  <a:lnTo>
                    <a:pt x="5" y="6"/>
                  </a:lnTo>
                  <a:lnTo>
                    <a:pt x="9" y="2"/>
                  </a:lnTo>
                  <a:lnTo>
                    <a:pt x="14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4"/>
            <p:cNvSpPr>
              <a:spLocks/>
            </p:cNvSpPr>
            <p:nvPr userDrawn="1"/>
          </p:nvSpPr>
          <p:spPr bwMode="auto">
            <a:xfrm>
              <a:off x="6334126" y="5121275"/>
              <a:ext cx="61913" cy="38100"/>
            </a:xfrm>
            <a:custGeom>
              <a:avLst/>
              <a:gdLst>
                <a:gd name="T0" fmla="*/ 20 w 39"/>
                <a:gd name="T1" fmla="*/ 0 h 24"/>
                <a:gd name="T2" fmla="*/ 27 w 39"/>
                <a:gd name="T3" fmla="*/ 0 h 24"/>
                <a:gd name="T4" fmla="*/ 32 w 39"/>
                <a:gd name="T5" fmla="*/ 3 h 24"/>
                <a:gd name="T6" fmla="*/ 35 w 39"/>
                <a:gd name="T7" fmla="*/ 7 h 24"/>
                <a:gd name="T8" fmla="*/ 39 w 39"/>
                <a:gd name="T9" fmla="*/ 10 h 24"/>
                <a:gd name="T10" fmla="*/ 39 w 39"/>
                <a:gd name="T11" fmla="*/ 14 h 24"/>
                <a:gd name="T12" fmla="*/ 37 w 39"/>
                <a:gd name="T13" fmla="*/ 17 h 24"/>
                <a:gd name="T14" fmla="*/ 35 w 39"/>
                <a:gd name="T15" fmla="*/ 19 h 24"/>
                <a:gd name="T16" fmla="*/ 30 w 39"/>
                <a:gd name="T17" fmla="*/ 21 h 24"/>
                <a:gd name="T18" fmla="*/ 27 w 39"/>
                <a:gd name="T19" fmla="*/ 23 h 24"/>
                <a:gd name="T20" fmla="*/ 20 w 39"/>
                <a:gd name="T21" fmla="*/ 24 h 24"/>
                <a:gd name="T22" fmla="*/ 16 w 39"/>
                <a:gd name="T23" fmla="*/ 24 h 24"/>
                <a:gd name="T24" fmla="*/ 13 w 39"/>
                <a:gd name="T25" fmla="*/ 23 h 24"/>
                <a:gd name="T26" fmla="*/ 7 w 39"/>
                <a:gd name="T27" fmla="*/ 23 h 24"/>
                <a:gd name="T28" fmla="*/ 4 w 39"/>
                <a:gd name="T29" fmla="*/ 21 h 24"/>
                <a:gd name="T30" fmla="*/ 2 w 39"/>
                <a:gd name="T31" fmla="*/ 17 h 24"/>
                <a:gd name="T32" fmla="*/ 0 w 39"/>
                <a:gd name="T33" fmla="*/ 14 h 24"/>
                <a:gd name="T34" fmla="*/ 0 w 39"/>
                <a:gd name="T35" fmla="*/ 10 h 24"/>
                <a:gd name="T36" fmla="*/ 2 w 39"/>
                <a:gd name="T37" fmla="*/ 7 h 24"/>
                <a:gd name="T38" fmla="*/ 4 w 39"/>
                <a:gd name="T39" fmla="*/ 3 h 24"/>
                <a:gd name="T40" fmla="*/ 6 w 39"/>
                <a:gd name="T41" fmla="*/ 2 h 24"/>
                <a:gd name="T42" fmla="*/ 9 w 39"/>
                <a:gd name="T43" fmla="*/ 0 h 24"/>
                <a:gd name="T44" fmla="*/ 14 w 39"/>
                <a:gd name="T45" fmla="*/ 0 h 24"/>
                <a:gd name="T46" fmla="*/ 20 w 39"/>
                <a:gd name="T4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24">
                  <a:moveTo>
                    <a:pt x="20" y="0"/>
                  </a:moveTo>
                  <a:lnTo>
                    <a:pt x="27" y="0"/>
                  </a:lnTo>
                  <a:lnTo>
                    <a:pt x="32" y="3"/>
                  </a:lnTo>
                  <a:lnTo>
                    <a:pt x="35" y="7"/>
                  </a:lnTo>
                  <a:lnTo>
                    <a:pt x="39" y="10"/>
                  </a:lnTo>
                  <a:lnTo>
                    <a:pt x="39" y="14"/>
                  </a:lnTo>
                  <a:lnTo>
                    <a:pt x="37" y="17"/>
                  </a:lnTo>
                  <a:lnTo>
                    <a:pt x="35" y="19"/>
                  </a:lnTo>
                  <a:lnTo>
                    <a:pt x="30" y="21"/>
                  </a:lnTo>
                  <a:lnTo>
                    <a:pt x="27" y="23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7"/>
                  </a:lnTo>
                  <a:lnTo>
                    <a:pt x="4" y="3"/>
                  </a:lnTo>
                  <a:lnTo>
                    <a:pt x="6" y="2"/>
                  </a:lnTo>
                  <a:lnTo>
                    <a:pt x="9" y="0"/>
                  </a:lnTo>
                  <a:lnTo>
                    <a:pt x="14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5"/>
            <p:cNvSpPr>
              <a:spLocks/>
            </p:cNvSpPr>
            <p:nvPr userDrawn="1"/>
          </p:nvSpPr>
          <p:spPr bwMode="auto">
            <a:xfrm>
              <a:off x="6440488" y="5170488"/>
              <a:ext cx="211138" cy="414338"/>
            </a:xfrm>
            <a:custGeom>
              <a:avLst/>
              <a:gdLst>
                <a:gd name="T0" fmla="*/ 72 w 133"/>
                <a:gd name="T1" fmla="*/ 2 h 261"/>
                <a:gd name="T2" fmla="*/ 99 w 133"/>
                <a:gd name="T3" fmla="*/ 14 h 261"/>
                <a:gd name="T4" fmla="*/ 112 w 133"/>
                <a:gd name="T5" fmla="*/ 39 h 261"/>
                <a:gd name="T6" fmla="*/ 99 w 133"/>
                <a:gd name="T7" fmla="*/ 55 h 261"/>
                <a:gd name="T8" fmla="*/ 89 w 133"/>
                <a:gd name="T9" fmla="*/ 55 h 261"/>
                <a:gd name="T10" fmla="*/ 82 w 133"/>
                <a:gd name="T11" fmla="*/ 49 h 261"/>
                <a:gd name="T12" fmla="*/ 73 w 133"/>
                <a:gd name="T13" fmla="*/ 34 h 261"/>
                <a:gd name="T14" fmla="*/ 54 w 133"/>
                <a:gd name="T15" fmla="*/ 27 h 261"/>
                <a:gd name="T16" fmla="*/ 38 w 133"/>
                <a:gd name="T17" fmla="*/ 30 h 261"/>
                <a:gd name="T18" fmla="*/ 33 w 133"/>
                <a:gd name="T19" fmla="*/ 39 h 261"/>
                <a:gd name="T20" fmla="*/ 35 w 133"/>
                <a:gd name="T21" fmla="*/ 49 h 261"/>
                <a:gd name="T22" fmla="*/ 45 w 133"/>
                <a:gd name="T23" fmla="*/ 65 h 261"/>
                <a:gd name="T24" fmla="*/ 72 w 133"/>
                <a:gd name="T25" fmla="*/ 90 h 261"/>
                <a:gd name="T26" fmla="*/ 105 w 133"/>
                <a:gd name="T27" fmla="*/ 123 h 261"/>
                <a:gd name="T28" fmla="*/ 129 w 133"/>
                <a:gd name="T29" fmla="*/ 158 h 261"/>
                <a:gd name="T30" fmla="*/ 127 w 133"/>
                <a:gd name="T31" fmla="*/ 198 h 261"/>
                <a:gd name="T32" fmla="*/ 99 w 133"/>
                <a:gd name="T33" fmla="*/ 235 h 261"/>
                <a:gd name="T34" fmla="*/ 66 w 133"/>
                <a:gd name="T35" fmla="*/ 256 h 261"/>
                <a:gd name="T36" fmla="*/ 35 w 133"/>
                <a:gd name="T37" fmla="*/ 261 h 261"/>
                <a:gd name="T38" fmla="*/ 16 w 133"/>
                <a:gd name="T39" fmla="*/ 251 h 261"/>
                <a:gd name="T40" fmla="*/ 3 w 133"/>
                <a:gd name="T41" fmla="*/ 235 h 261"/>
                <a:gd name="T42" fmla="*/ 2 w 133"/>
                <a:gd name="T43" fmla="*/ 217 h 261"/>
                <a:gd name="T44" fmla="*/ 7 w 133"/>
                <a:gd name="T45" fmla="*/ 214 h 261"/>
                <a:gd name="T46" fmla="*/ 12 w 133"/>
                <a:gd name="T47" fmla="*/ 216 h 261"/>
                <a:gd name="T48" fmla="*/ 21 w 133"/>
                <a:gd name="T49" fmla="*/ 226 h 261"/>
                <a:gd name="T50" fmla="*/ 44 w 133"/>
                <a:gd name="T51" fmla="*/ 237 h 261"/>
                <a:gd name="T52" fmla="*/ 82 w 133"/>
                <a:gd name="T53" fmla="*/ 219 h 261"/>
                <a:gd name="T54" fmla="*/ 101 w 133"/>
                <a:gd name="T55" fmla="*/ 181 h 261"/>
                <a:gd name="T56" fmla="*/ 87 w 133"/>
                <a:gd name="T57" fmla="*/ 146 h 261"/>
                <a:gd name="T58" fmla="*/ 47 w 133"/>
                <a:gd name="T59" fmla="*/ 107 h 261"/>
                <a:gd name="T60" fmla="*/ 12 w 133"/>
                <a:gd name="T61" fmla="*/ 70 h 261"/>
                <a:gd name="T62" fmla="*/ 0 w 133"/>
                <a:gd name="T63" fmla="*/ 39 h 261"/>
                <a:gd name="T64" fmla="*/ 12 w 133"/>
                <a:gd name="T65" fmla="*/ 13 h 261"/>
                <a:gd name="T66" fmla="*/ 51 w 133"/>
                <a:gd name="T6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3" h="261">
                  <a:moveTo>
                    <a:pt x="51" y="0"/>
                  </a:moveTo>
                  <a:lnTo>
                    <a:pt x="72" y="2"/>
                  </a:lnTo>
                  <a:lnTo>
                    <a:pt x="87" y="7"/>
                  </a:lnTo>
                  <a:lnTo>
                    <a:pt x="99" y="14"/>
                  </a:lnTo>
                  <a:lnTo>
                    <a:pt x="108" y="25"/>
                  </a:lnTo>
                  <a:lnTo>
                    <a:pt x="112" y="39"/>
                  </a:lnTo>
                  <a:lnTo>
                    <a:pt x="108" y="49"/>
                  </a:lnTo>
                  <a:lnTo>
                    <a:pt x="99" y="55"/>
                  </a:lnTo>
                  <a:lnTo>
                    <a:pt x="92" y="56"/>
                  </a:lnTo>
                  <a:lnTo>
                    <a:pt x="89" y="55"/>
                  </a:lnTo>
                  <a:lnTo>
                    <a:pt x="85" y="53"/>
                  </a:lnTo>
                  <a:lnTo>
                    <a:pt x="82" y="49"/>
                  </a:lnTo>
                  <a:lnTo>
                    <a:pt x="80" y="44"/>
                  </a:lnTo>
                  <a:lnTo>
                    <a:pt x="73" y="34"/>
                  </a:lnTo>
                  <a:lnTo>
                    <a:pt x="65" y="28"/>
                  </a:lnTo>
                  <a:lnTo>
                    <a:pt x="54" y="27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5" y="34"/>
                  </a:lnTo>
                  <a:lnTo>
                    <a:pt x="33" y="39"/>
                  </a:lnTo>
                  <a:lnTo>
                    <a:pt x="33" y="44"/>
                  </a:lnTo>
                  <a:lnTo>
                    <a:pt x="35" y="49"/>
                  </a:lnTo>
                  <a:lnTo>
                    <a:pt x="38" y="55"/>
                  </a:lnTo>
                  <a:lnTo>
                    <a:pt x="45" y="65"/>
                  </a:lnTo>
                  <a:lnTo>
                    <a:pt x="58" y="77"/>
                  </a:lnTo>
                  <a:lnTo>
                    <a:pt x="72" y="90"/>
                  </a:lnTo>
                  <a:lnTo>
                    <a:pt x="84" y="104"/>
                  </a:lnTo>
                  <a:lnTo>
                    <a:pt x="105" y="123"/>
                  </a:lnTo>
                  <a:lnTo>
                    <a:pt x="120" y="142"/>
                  </a:lnTo>
                  <a:lnTo>
                    <a:pt x="129" y="158"/>
                  </a:lnTo>
                  <a:lnTo>
                    <a:pt x="133" y="175"/>
                  </a:lnTo>
                  <a:lnTo>
                    <a:pt x="127" y="198"/>
                  </a:lnTo>
                  <a:lnTo>
                    <a:pt x="115" y="219"/>
                  </a:lnTo>
                  <a:lnTo>
                    <a:pt x="99" y="235"/>
                  </a:lnTo>
                  <a:lnTo>
                    <a:pt x="82" y="249"/>
                  </a:lnTo>
                  <a:lnTo>
                    <a:pt x="66" y="256"/>
                  </a:lnTo>
                  <a:lnTo>
                    <a:pt x="49" y="261"/>
                  </a:lnTo>
                  <a:lnTo>
                    <a:pt x="35" y="261"/>
                  </a:lnTo>
                  <a:lnTo>
                    <a:pt x="23" y="258"/>
                  </a:lnTo>
                  <a:lnTo>
                    <a:pt x="16" y="251"/>
                  </a:lnTo>
                  <a:lnTo>
                    <a:pt x="9" y="244"/>
                  </a:lnTo>
                  <a:lnTo>
                    <a:pt x="3" y="235"/>
                  </a:lnTo>
                  <a:lnTo>
                    <a:pt x="2" y="223"/>
                  </a:lnTo>
                  <a:lnTo>
                    <a:pt x="2" y="217"/>
                  </a:lnTo>
                  <a:lnTo>
                    <a:pt x="3" y="216"/>
                  </a:lnTo>
                  <a:lnTo>
                    <a:pt x="7" y="214"/>
                  </a:lnTo>
                  <a:lnTo>
                    <a:pt x="10" y="214"/>
                  </a:lnTo>
                  <a:lnTo>
                    <a:pt x="12" y="216"/>
                  </a:lnTo>
                  <a:lnTo>
                    <a:pt x="16" y="217"/>
                  </a:lnTo>
                  <a:lnTo>
                    <a:pt x="21" y="226"/>
                  </a:lnTo>
                  <a:lnTo>
                    <a:pt x="31" y="233"/>
                  </a:lnTo>
                  <a:lnTo>
                    <a:pt x="44" y="237"/>
                  </a:lnTo>
                  <a:lnTo>
                    <a:pt x="65" y="231"/>
                  </a:lnTo>
                  <a:lnTo>
                    <a:pt x="82" y="219"/>
                  </a:lnTo>
                  <a:lnTo>
                    <a:pt x="96" y="200"/>
                  </a:lnTo>
                  <a:lnTo>
                    <a:pt x="101" y="181"/>
                  </a:lnTo>
                  <a:lnTo>
                    <a:pt x="99" y="163"/>
                  </a:lnTo>
                  <a:lnTo>
                    <a:pt x="87" y="146"/>
                  </a:lnTo>
                  <a:lnTo>
                    <a:pt x="70" y="128"/>
                  </a:lnTo>
                  <a:lnTo>
                    <a:pt x="47" y="107"/>
                  </a:lnTo>
                  <a:lnTo>
                    <a:pt x="26" y="88"/>
                  </a:lnTo>
                  <a:lnTo>
                    <a:pt x="12" y="70"/>
                  </a:lnTo>
                  <a:lnTo>
                    <a:pt x="3" y="53"/>
                  </a:lnTo>
                  <a:lnTo>
                    <a:pt x="0" y="39"/>
                  </a:lnTo>
                  <a:lnTo>
                    <a:pt x="3" y="25"/>
                  </a:lnTo>
                  <a:lnTo>
                    <a:pt x="12" y="13"/>
                  </a:lnTo>
                  <a:lnTo>
                    <a:pt x="28" y="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6"/>
            <p:cNvSpPr>
              <a:spLocks/>
            </p:cNvSpPr>
            <p:nvPr userDrawn="1"/>
          </p:nvSpPr>
          <p:spPr bwMode="auto">
            <a:xfrm>
              <a:off x="6692901" y="5076825"/>
              <a:ext cx="233363" cy="504825"/>
            </a:xfrm>
            <a:custGeom>
              <a:avLst/>
              <a:gdLst>
                <a:gd name="T0" fmla="*/ 26 w 147"/>
                <a:gd name="T1" fmla="*/ 2 h 318"/>
                <a:gd name="T2" fmla="*/ 35 w 147"/>
                <a:gd name="T3" fmla="*/ 9 h 318"/>
                <a:gd name="T4" fmla="*/ 38 w 147"/>
                <a:gd name="T5" fmla="*/ 21 h 318"/>
                <a:gd name="T6" fmla="*/ 31 w 147"/>
                <a:gd name="T7" fmla="*/ 66 h 318"/>
                <a:gd name="T8" fmla="*/ 26 w 147"/>
                <a:gd name="T9" fmla="*/ 163 h 318"/>
                <a:gd name="T10" fmla="*/ 47 w 147"/>
                <a:gd name="T11" fmla="*/ 178 h 318"/>
                <a:gd name="T12" fmla="*/ 77 w 147"/>
                <a:gd name="T13" fmla="*/ 131 h 318"/>
                <a:gd name="T14" fmla="*/ 107 w 147"/>
                <a:gd name="T15" fmla="*/ 119 h 318"/>
                <a:gd name="T16" fmla="*/ 129 w 147"/>
                <a:gd name="T17" fmla="*/ 136 h 318"/>
                <a:gd name="T18" fmla="*/ 143 w 147"/>
                <a:gd name="T19" fmla="*/ 182 h 318"/>
                <a:gd name="T20" fmla="*/ 147 w 147"/>
                <a:gd name="T21" fmla="*/ 255 h 318"/>
                <a:gd name="T22" fmla="*/ 142 w 147"/>
                <a:gd name="T23" fmla="*/ 310 h 318"/>
                <a:gd name="T24" fmla="*/ 135 w 147"/>
                <a:gd name="T25" fmla="*/ 318 h 318"/>
                <a:gd name="T26" fmla="*/ 126 w 147"/>
                <a:gd name="T27" fmla="*/ 318 h 318"/>
                <a:gd name="T28" fmla="*/ 121 w 147"/>
                <a:gd name="T29" fmla="*/ 315 h 318"/>
                <a:gd name="T30" fmla="*/ 117 w 147"/>
                <a:gd name="T31" fmla="*/ 308 h 318"/>
                <a:gd name="T32" fmla="*/ 119 w 147"/>
                <a:gd name="T33" fmla="*/ 262 h 318"/>
                <a:gd name="T34" fmla="*/ 115 w 147"/>
                <a:gd name="T35" fmla="*/ 198 h 318"/>
                <a:gd name="T36" fmla="*/ 107 w 147"/>
                <a:gd name="T37" fmla="*/ 163 h 318"/>
                <a:gd name="T38" fmla="*/ 100 w 147"/>
                <a:gd name="T39" fmla="*/ 156 h 318"/>
                <a:gd name="T40" fmla="*/ 93 w 147"/>
                <a:gd name="T41" fmla="*/ 157 h 318"/>
                <a:gd name="T42" fmla="*/ 84 w 147"/>
                <a:gd name="T43" fmla="*/ 164 h 318"/>
                <a:gd name="T44" fmla="*/ 58 w 147"/>
                <a:gd name="T45" fmla="*/ 213 h 318"/>
                <a:gd name="T46" fmla="*/ 38 w 147"/>
                <a:gd name="T47" fmla="*/ 254 h 318"/>
                <a:gd name="T48" fmla="*/ 31 w 147"/>
                <a:gd name="T49" fmla="*/ 259 h 318"/>
                <a:gd name="T50" fmla="*/ 26 w 147"/>
                <a:gd name="T51" fmla="*/ 261 h 318"/>
                <a:gd name="T52" fmla="*/ 19 w 147"/>
                <a:gd name="T53" fmla="*/ 261 h 318"/>
                <a:gd name="T54" fmla="*/ 12 w 147"/>
                <a:gd name="T55" fmla="*/ 257 h 318"/>
                <a:gd name="T56" fmla="*/ 7 w 147"/>
                <a:gd name="T57" fmla="*/ 248 h 318"/>
                <a:gd name="T58" fmla="*/ 5 w 147"/>
                <a:gd name="T59" fmla="*/ 226 h 318"/>
                <a:gd name="T60" fmla="*/ 2 w 147"/>
                <a:gd name="T61" fmla="*/ 170 h 318"/>
                <a:gd name="T62" fmla="*/ 2 w 147"/>
                <a:gd name="T63" fmla="*/ 96 h 318"/>
                <a:gd name="T64" fmla="*/ 7 w 147"/>
                <a:gd name="T65" fmla="*/ 23 h 318"/>
                <a:gd name="T66" fmla="*/ 9 w 147"/>
                <a:gd name="T67" fmla="*/ 10 h 318"/>
                <a:gd name="T68" fmla="*/ 12 w 147"/>
                <a:gd name="T69" fmla="*/ 3 h 318"/>
                <a:gd name="T70" fmla="*/ 19 w 147"/>
                <a:gd name="T7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7" h="318">
                  <a:moveTo>
                    <a:pt x="19" y="0"/>
                  </a:moveTo>
                  <a:lnTo>
                    <a:pt x="26" y="2"/>
                  </a:lnTo>
                  <a:lnTo>
                    <a:pt x="31" y="3"/>
                  </a:lnTo>
                  <a:lnTo>
                    <a:pt x="35" y="9"/>
                  </a:lnTo>
                  <a:lnTo>
                    <a:pt x="38" y="14"/>
                  </a:lnTo>
                  <a:lnTo>
                    <a:pt x="38" y="21"/>
                  </a:lnTo>
                  <a:lnTo>
                    <a:pt x="38" y="28"/>
                  </a:lnTo>
                  <a:lnTo>
                    <a:pt x="31" y="66"/>
                  </a:lnTo>
                  <a:lnTo>
                    <a:pt x="28" y="112"/>
                  </a:lnTo>
                  <a:lnTo>
                    <a:pt x="26" y="163"/>
                  </a:lnTo>
                  <a:lnTo>
                    <a:pt x="30" y="215"/>
                  </a:lnTo>
                  <a:lnTo>
                    <a:pt x="47" y="178"/>
                  </a:lnTo>
                  <a:lnTo>
                    <a:pt x="63" y="150"/>
                  </a:lnTo>
                  <a:lnTo>
                    <a:pt x="77" y="131"/>
                  </a:lnTo>
                  <a:lnTo>
                    <a:pt x="93" y="121"/>
                  </a:lnTo>
                  <a:lnTo>
                    <a:pt x="107" y="119"/>
                  </a:lnTo>
                  <a:lnTo>
                    <a:pt x="119" y="124"/>
                  </a:lnTo>
                  <a:lnTo>
                    <a:pt x="129" y="136"/>
                  </a:lnTo>
                  <a:lnTo>
                    <a:pt x="138" y="156"/>
                  </a:lnTo>
                  <a:lnTo>
                    <a:pt x="143" y="182"/>
                  </a:lnTo>
                  <a:lnTo>
                    <a:pt x="147" y="215"/>
                  </a:lnTo>
                  <a:lnTo>
                    <a:pt x="147" y="255"/>
                  </a:lnTo>
                  <a:lnTo>
                    <a:pt x="143" y="303"/>
                  </a:lnTo>
                  <a:lnTo>
                    <a:pt x="142" y="310"/>
                  </a:lnTo>
                  <a:lnTo>
                    <a:pt x="140" y="315"/>
                  </a:lnTo>
                  <a:lnTo>
                    <a:pt x="135" y="318"/>
                  </a:lnTo>
                  <a:lnTo>
                    <a:pt x="129" y="318"/>
                  </a:lnTo>
                  <a:lnTo>
                    <a:pt x="126" y="318"/>
                  </a:lnTo>
                  <a:lnTo>
                    <a:pt x="124" y="317"/>
                  </a:lnTo>
                  <a:lnTo>
                    <a:pt x="121" y="315"/>
                  </a:lnTo>
                  <a:lnTo>
                    <a:pt x="119" y="311"/>
                  </a:lnTo>
                  <a:lnTo>
                    <a:pt x="117" y="308"/>
                  </a:lnTo>
                  <a:lnTo>
                    <a:pt x="117" y="303"/>
                  </a:lnTo>
                  <a:lnTo>
                    <a:pt x="119" y="262"/>
                  </a:lnTo>
                  <a:lnTo>
                    <a:pt x="117" y="227"/>
                  </a:lnTo>
                  <a:lnTo>
                    <a:pt x="115" y="198"/>
                  </a:lnTo>
                  <a:lnTo>
                    <a:pt x="110" y="170"/>
                  </a:lnTo>
                  <a:lnTo>
                    <a:pt x="107" y="163"/>
                  </a:lnTo>
                  <a:lnTo>
                    <a:pt x="103" y="157"/>
                  </a:lnTo>
                  <a:lnTo>
                    <a:pt x="100" y="156"/>
                  </a:lnTo>
                  <a:lnTo>
                    <a:pt x="96" y="156"/>
                  </a:lnTo>
                  <a:lnTo>
                    <a:pt x="93" y="157"/>
                  </a:lnTo>
                  <a:lnTo>
                    <a:pt x="89" y="161"/>
                  </a:lnTo>
                  <a:lnTo>
                    <a:pt x="84" y="164"/>
                  </a:lnTo>
                  <a:lnTo>
                    <a:pt x="72" y="185"/>
                  </a:lnTo>
                  <a:lnTo>
                    <a:pt x="58" y="213"/>
                  </a:lnTo>
                  <a:lnTo>
                    <a:pt x="42" y="248"/>
                  </a:lnTo>
                  <a:lnTo>
                    <a:pt x="38" y="254"/>
                  </a:lnTo>
                  <a:lnTo>
                    <a:pt x="35" y="257"/>
                  </a:lnTo>
                  <a:lnTo>
                    <a:pt x="31" y="259"/>
                  </a:lnTo>
                  <a:lnTo>
                    <a:pt x="28" y="261"/>
                  </a:lnTo>
                  <a:lnTo>
                    <a:pt x="26" y="261"/>
                  </a:lnTo>
                  <a:lnTo>
                    <a:pt x="23" y="261"/>
                  </a:lnTo>
                  <a:lnTo>
                    <a:pt x="19" y="261"/>
                  </a:lnTo>
                  <a:lnTo>
                    <a:pt x="16" y="259"/>
                  </a:lnTo>
                  <a:lnTo>
                    <a:pt x="12" y="257"/>
                  </a:lnTo>
                  <a:lnTo>
                    <a:pt x="10" y="254"/>
                  </a:lnTo>
                  <a:lnTo>
                    <a:pt x="7" y="248"/>
                  </a:lnTo>
                  <a:lnTo>
                    <a:pt x="7" y="241"/>
                  </a:lnTo>
                  <a:lnTo>
                    <a:pt x="5" y="226"/>
                  </a:lnTo>
                  <a:lnTo>
                    <a:pt x="3" y="201"/>
                  </a:lnTo>
                  <a:lnTo>
                    <a:pt x="2" y="170"/>
                  </a:lnTo>
                  <a:lnTo>
                    <a:pt x="0" y="135"/>
                  </a:lnTo>
                  <a:lnTo>
                    <a:pt x="2" y="96"/>
                  </a:lnTo>
                  <a:lnTo>
                    <a:pt x="3" y="59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9" y="10"/>
                  </a:lnTo>
                  <a:lnTo>
                    <a:pt x="10" y="7"/>
                  </a:lnTo>
                  <a:lnTo>
                    <a:pt x="12" y="3"/>
                  </a:lnTo>
                  <a:lnTo>
                    <a:pt x="1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7"/>
            <p:cNvSpPr>
              <a:spLocks/>
            </p:cNvSpPr>
            <p:nvPr userDrawn="1"/>
          </p:nvSpPr>
          <p:spPr bwMode="auto">
            <a:xfrm>
              <a:off x="6978651" y="5259388"/>
              <a:ext cx="71438" cy="303213"/>
            </a:xfrm>
            <a:custGeom>
              <a:avLst/>
              <a:gdLst>
                <a:gd name="T0" fmla="*/ 14 w 45"/>
                <a:gd name="T1" fmla="*/ 0 h 191"/>
                <a:gd name="T2" fmla="*/ 19 w 45"/>
                <a:gd name="T3" fmla="*/ 0 h 191"/>
                <a:gd name="T4" fmla="*/ 24 w 45"/>
                <a:gd name="T5" fmla="*/ 2 h 191"/>
                <a:gd name="T6" fmla="*/ 28 w 45"/>
                <a:gd name="T7" fmla="*/ 4 h 191"/>
                <a:gd name="T8" fmla="*/ 31 w 45"/>
                <a:gd name="T9" fmla="*/ 6 h 191"/>
                <a:gd name="T10" fmla="*/ 35 w 45"/>
                <a:gd name="T11" fmla="*/ 9 h 191"/>
                <a:gd name="T12" fmla="*/ 37 w 45"/>
                <a:gd name="T13" fmla="*/ 14 h 191"/>
                <a:gd name="T14" fmla="*/ 38 w 45"/>
                <a:gd name="T15" fmla="*/ 20 h 191"/>
                <a:gd name="T16" fmla="*/ 38 w 45"/>
                <a:gd name="T17" fmla="*/ 28 h 191"/>
                <a:gd name="T18" fmla="*/ 37 w 45"/>
                <a:gd name="T19" fmla="*/ 65 h 191"/>
                <a:gd name="T20" fmla="*/ 35 w 45"/>
                <a:gd name="T21" fmla="*/ 102 h 191"/>
                <a:gd name="T22" fmla="*/ 37 w 45"/>
                <a:gd name="T23" fmla="*/ 132 h 191"/>
                <a:gd name="T24" fmla="*/ 38 w 45"/>
                <a:gd name="T25" fmla="*/ 158 h 191"/>
                <a:gd name="T26" fmla="*/ 44 w 45"/>
                <a:gd name="T27" fmla="*/ 177 h 191"/>
                <a:gd name="T28" fmla="*/ 45 w 45"/>
                <a:gd name="T29" fmla="*/ 181 h 191"/>
                <a:gd name="T30" fmla="*/ 45 w 45"/>
                <a:gd name="T31" fmla="*/ 186 h 191"/>
                <a:gd name="T32" fmla="*/ 44 w 45"/>
                <a:gd name="T33" fmla="*/ 188 h 191"/>
                <a:gd name="T34" fmla="*/ 40 w 45"/>
                <a:gd name="T35" fmla="*/ 191 h 191"/>
                <a:gd name="T36" fmla="*/ 37 w 45"/>
                <a:gd name="T37" fmla="*/ 191 h 191"/>
                <a:gd name="T38" fmla="*/ 31 w 45"/>
                <a:gd name="T39" fmla="*/ 191 h 191"/>
                <a:gd name="T40" fmla="*/ 28 w 45"/>
                <a:gd name="T41" fmla="*/ 189 h 191"/>
                <a:gd name="T42" fmla="*/ 23 w 45"/>
                <a:gd name="T43" fmla="*/ 188 h 191"/>
                <a:gd name="T44" fmla="*/ 19 w 45"/>
                <a:gd name="T45" fmla="*/ 184 h 191"/>
                <a:gd name="T46" fmla="*/ 16 w 45"/>
                <a:gd name="T47" fmla="*/ 177 h 191"/>
                <a:gd name="T48" fmla="*/ 12 w 45"/>
                <a:gd name="T49" fmla="*/ 170 h 191"/>
                <a:gd name="T50" fmla="*/ 9 w 45"/>
                <a:gd name="T51" fmla="*/ 149 h 191"/>
                <a:gd name="T52" fmla="*/ 4 w 45"/>
                <a:gd name="T53" fmla="*/ 121 h 191"/>
                <a:gd name="T54" fmla="*/ 2 w 45"/>
                <a:gd name="T55" fmla="*/ 90 h 191"/>
                <a:gd name="T56" fmla="*/ 0 w 45"/>
                <a:gd name="T57" fmla="*/ 55 h 191"/>
                <a:gd name="T58" fmla="*/ 2 w 45"/>
                <a:gd name="T59" fmla="*/ 23 h 191"/>
                <a:gd name="T60" fmla="*/ 2 w 45"/>
                <a:gd name="T61" fmla="*/ 16 h 191"/>
                <a:gd name="T62" fmla="*/ 4 w 45"/>
                <a:gd name="T63" fmla="*/ 9 h 191"/>
                <a:gd name="T64" fmla="*/ 7 w 45"/>
                <a:gd name="T65" fmla="*/ 6 h 191"/>
                <a:gd name="T66" fmla="*/ 11 w 45"/>
                <a:gd name="T67" fmla="*/ 2 h 191"/>
                <a:gd name="T68" fmla="*/ 14 w 45"/>
                <a:gd name="T6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" h="191">
                  <a:moveTo>
                    <a:pt x="14" y="0"/>
                  </a:moveTo>
                  <a:lnTo>
                    <a:pt x="19" y="0"/>
                  </a:lnTo>
                  <a:lnTo>
                    <a:pt x="24" y="2"/>
                  </a:lnTo>
                  <a:lnTo>
                    <a:pt x="28" y="4"/>
                  </a:lnTo>
                  <a:lnTo>
                    <a:pt x="31" y="6"/>
                  </a:lnTo>
                  <a:lnTo>
                    <a:pt x="35" y="9"/>
                  </a:lnTo>
                  <a:lnTo>
                    <a:pt x="37" y="14"/>
                  </a:lnTo>
                  <a:lnTo>
                    <a:pt x="38" y="20"/>
                  </a:lnTo>
                  <a:lnTo>
                    <a:pt x="38" y="28"/>
                  </a:lnTo>
                  <a:lnTo>
                    <a:pt x="37" y="65"/>
                  </a:lnTo>
                  <a:lnTo>
                    <a:pt x="35" y="102"/>
                  </a:lnTo>
                  <a:lnTo>
                    <a:pt x="37" y="132"/>
                  </a:lnTo>
                  <a:lnTo>
                    <a:pt x="38" y="158"/>
                  </a:lnTo>
                  <a:lnTo>
                    <a:pt x="44" y="177"/>
                  </a:lnTo>
                  <a:lnTo>
                    <a:pt x="45" y="181"/>
                  </a:lnTo>
                  <a:lnTo>
                    <a:pt x="45" y="186"/>
                  </a:lnTo>
                  <a:lnTo>
                    <a:pt x="44" y="188"/>
                  </a:lnTo>
                  <a:lnTo>
                    <a:pt x="40" y="191"/>
                  </a:lnTo>
                  <a:lnTo>
                    <a:pt x="37" y="191"/>
                  </a:lnTo>
                  <a:lnTo>
                    <a:pt x="31" y="191"/>
                  </a:lnTo>
                  <a:lnTo>
                    <a:pt x="28" y="189"/>
                  </a:lnTo>
                  <a:lnTo>
                    <a:pt x="23" y="188"/>
                  </a:lnTo>
                  <a:lnTo>
                    <a:pt x="19" y="184"/>
                  </a:lnTo>
                  <a:lnTo>
                    <a:pt x="16" y="177"/>
                  </a:lnTo>
                  <a:lnTo>
                    <a:pt x="12" y="170"/>
                  </a:lnTo>
                  <a:lnTo>
                    <a:pt x="9" y="149"/>
                  </a:lnTo>
                  <a:lnTo>
                    <a:pt x="4" y="121"/>
                  </a:lnTo>
                  <a:lnTo>
                    <a:pt x="2" y="90"/>
                  </a:lnTo>
                  <a:lnTo>
                    <a:pt x="0" y="55"/>
                  </a:lnTo>
                  <a:lnTo>
                    <a:pt x="2" y="23"/>
                  </a:lnTo>
                  <a:lnTo>
                    <a:pt x="2" y="16"/>
                  </a:lnTo>
                  <a:lnTo>
                    <a:pt x="4" y="9"/>
                  </a:lnTo>
                  <a:lnTo>
                    <a:pt x="7" y="6"/>
                  </a:lnTo>
                  <a:lnTo>
                    <a:pt x="11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8"/>
            <p:cNvSpPr>
              <a:spLocks/>
            </p:cNvSpPr>
            <p:nvPr userDrawn="1"/>
          </p:nvSpPr>
          <p:spPr bwMode="auto">
            <a:xfrm>
              <a:off x="7011988" y="5137150"/>
              <a:ext cx="63500" cy="44450"/>
            </a:xfrm>
            <a:custGeom>
              <a:avLst/>
              <a:gdLst>
                <a:gd name="T0" fmla="*/ 10 w 40"/>
                <a:gd name="T1" fmla="*/ 0 h 28"/>
                <a:gd name="T2" fmla="*/ 17 w 40"/>
                <a:gd name="T3" fmla="*/ 0 h 28"/>
                <a:gd name="T4" fmla="*/ 23 w 40"/>
                <a:gd name="T5" fmla="*/ 2 h 28"/>
                <a:gd name="T6" fmla="*/ 30 w 40"/>
                <a:gd name="T7" fmla="*/ 6 h 28"/>
                <a:gd name="T8" fmla="*/ 35 w 40"/>
                <a:gd name="T9" fmla="*/ 9 h 28"/>
                <a:gd name="T10" fmla="*/ 38 w 40"/>
                <a:gd name="T11" fmla="*/ 13 h 28"/>
                <a:gd name="T12" fmla="*/ 40 w 40"/>
                <a:gd name="T13" fmla="*/ 18 h 28"/>
                <a:gd name="T14" fmla="*/ 38 w 40"/>
                <a:gd name="T15" fmla="*/ 21 h 28"/>
                <a:gd name="T16" fmla="*/ 37 w 40"/>
                <a:gd name="T17" fmla="*/ 25 h 28"/>
                <a:gd name="T18" fmla="*/ 35 w 40"/>
                <a:gd name="T19" fmla="*/ 27 h 28"/>
                <a:gd name="T20" fmla="*/ 30 w 40"/>
                <a:gd name="T21" fmla="*/ 28 h 28"/>
                <a:gd name="T22" fmla="*/ 26 w 40"/>
                <a:gd name="T23" fmla="*/ 28 h 28"/>
                <a:gd name="T24" fmla="*/ 21 w 40"/>
                <a:gd name="T25" fmla="*/ 28 h 28"/>
                <a:gd name="T26" fmla="*/ 16 w 40"/>
                <a:gd name="T27" fmla="*/ 27 h 28"/>
                <a:gd name="T28" fmla="*/ 10 w 40"/>
                <a:gd name="T29" fmla="*/ 25 h 28"/>
                <a:gd name="T30" fmla="*/ 5 w 40"/>
                <a:gd name="T31" fmla="*/ 21 h 28"/>
                <a:gd name="T32" fmla="*/ 2 w 40"/>
                <a:gd name="T33" fmla="*/ 18 h 28"/>
                <a:gd name="T34" fmla="*/ 0 w 40"/>
                <a:gd name="T35" fmla="*/ 14 h 28"/>
                <a:gd name="T36" fmla="*/ 0 w 40"/>
                <a:gd name="T37" fmla="*/ 9 h 28"/>
                <a:gd name="T38" fmla="*/ 2 w 40"/>
                <a:gd name="T39" fmla="*/ 6 h 28"/>
                <a:gd name="T40" fmla="*/ 3 w 40"/>
                <a:gd name="T41" fmla="*/ 4 h 28"/>
                <a:gd name="T42" fmla="*/ 7 w 40"/>
                <a:gd name="T43" fmla="*/ 2 h 28"/>
                <a:gd name="T44" fmla="*/ 10 w 40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28">
                  <a:moveTo>
                    <a:pt x="10" y="0"/>
                  </a:moveTo>
                  <a:lnTo>
                    <a:pt x="17" y="0"/>
                  </a:lnTo>
                  <a:lnTo>
                    <a:pt x="23" y="2"/>
                  </a:lnTo>
                  <a:lnTo>
                    <a:pt x="30" y="6"/>
                  </a:lnTo>
                  <a:lnTo>
                    <a:pt x="35" y="9"/>
                  </a:lnTo>
                  <a:lnTo>
                    <a:pt x="38" y="13"/>
                  </a:lnTo>
                  <a:lnTo>
                    <a:pt x="40" y="18"/>
                  </a:lnTo>
                  <a:lnTo>
                    <a:pt x="38" y="21"/>
                  </a:lnTo>
                  <a:lnTo>
                    <a:pt x="37" y="25"/>
                  </a:lnTo>
                  <a:lnTo>
                    <a:pt x="35" y="27"/>
                  </a:lnTo>
                  <a:lnTo>
                    <a:pt x="30" y="28"/>
                  </a:lnTo>
                  <a:lnTo>
                    <a:pt x="26" y="28"/>
                  </a:lnTo>
                  <a:lnTo>
                    <a:pt x="21" y="28"/>
                  </a:lnTo>
                  <a:lnTo>
                    <a:pt x="16" y="27"/>
                  </a:lnTo>
                  <a:lnTo>
                    <a:pt x="10" y="25"/>
                  </a:lnTo>
                  <a:lnTo>
                    <a:pt x="5" y="21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4"/>
                  </a:lnTo>
                  <a:lnTo>
                    <a:pt x="7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9"/>
            <p:cNvSpPr>
              <a:spLocks/>
            </p:cNvSpPr>
            <p:nvPr userDrawn="1"/>
          </p:nvSpPr>
          <p:spPr bwMode="auto">
            <a:xfrm>
              <a:off x="7105651" y="5262563"/>
              <a:ext cx="261938" cy="330200"/>
            </a:xfrm>
            <a:custGeom>
              <a:avLst/>
              <a:gdLst>
                <a:gd name="T0" fmla="*/ 156 w 165"/>
                <a:gd name="T1" fmla="*/ 4 h 208"/>
                <a:gd name="T2" fmla="*/ 165 w 165"/>
                <a:gd name="T3" fmla="*/ 28 h 208"/>
                <a:gd name="T4" fmla="*/ 163 w 165"/>
                <a:gd name="T5" fmla="*/ 72 h 208"/>
                <a:gd name="T6" fmla="*/ 158 w 165"/>
                <a:gd name="T7" fmla="*/ 124 h 208"/>
                <a:gd name="T8" fmla="*/ 156 w 165"/>
                <a:gd name="T9" fmla="*/ 163 h 208"/>
                <a:gd name="T10" fmla="*/ 161 w 165"/>
                <a:gd name="T11" fmla="*/ 193 h 208"/>
                <a:gd name="T12" fmla="*/ 163 w 165"/>
                <a:gd name="T13" fmla="*/ 198 h 208"/>
                <a:gd name="T14" fmla="*/ 160 w 165"/>
                <a:gd name="T15" fmla="*/ 203 h 208"/>
                <a:gd name="T16" fmla="*/ 154 w 165"/>
                <a:gd name="T17" fmla="*/ 207 h 208"/>
                <a:gd name="T18" fmla="*/ 147 w 165"/>
                <a:gd name="T19" fmla="*/ 207 h 208"/>
                <a:gd name="T20" fmla="*/ 139 w 165"/>
                <a:gd name="T21" fmla="*/ 203 h 208"/>
                <a:gd name="T22" fmla="*/ 132 w 165"/>
                <a:gd name="T23" fmla="*/ 187 h 208"/>
                <a:gd name="T24" fmla="*/ 133 w 165"/>
                <a:gd name="T25" fmla="*/ 131 h 208"/>
                <a:gd name="T26" fmla="*/ 133 w 165"/>
                <a:gd name="T27" fmla="*/ 49 h 208"/>
                <a:gd name="T28" fmla="*/ 130 w 165"/>
                <a:gd name="T29" fmla="*/ 42 h 208"/>
                <a:gd name="T30" fmla="*/ 125 w 165"/>
                <a:gd name="T31" fmla="*/ 40 h 208"/>
                <a:gd name="T32" fmla="*/ 118 w 165"/>
                <a:gd name="T33" fmla="*/ 47 h 208"/>
                <a:gd name="T34" fmla="*/ 91 w 165"/>
                <a:gd name="T35" fmla="*/ 89 h 208"/>
                <a:gd name="T36" fmla="*/ 70 w 165"/>
                <a:gd name="T37" fmla="*/ 130 h 208"/>
                <a:gd name="T38" fmla="*/ 55 w 165"/>
                <a:gd name="T39" fmla="*/ 152 h 208"/>
                <a:gd name="T40" fmla="*/ 34 w 165"/>
                <a:gd name="T41" fmla="*/ 158 h 208"/>
                <a:gd name="T42" fmla="*/ 16 w 165"/>
                <a:gd name="T43" fmla="*/ 149 h 208"/>
                <a:gd name="T44" fmla="*/ 7 w 165"/>
                <a:gd name="T45" fmla="*/ 138 h 208"/>
                <a:gd name="T46" fmla="*/ 4 w 165"/>
                <a:gd name="T47" fmla="*/ 107 h 208"/>
                <a:gd name="T48" fmla="*/ 0 w 165"/>
                <a:gd name="T49" fmla="*/ 49 h 208"/>
                <a:gd name="T50" fmla="*/ 4 w 165"/>
                <a:gd name="T51" fmla="*/ 18 h 208"/>
                <a:gd name="T52" fmla="*/ 7 w 165"/>
                <a:gd name="T53" fmla="*/ 11 h 208"/>
                <a:gd name="T54" fmla="*/ 16 w 165"/>
                <a:gd name="T55" fmla="*/ 11 h 208"/>
                <a:gd name="T56" fmla="*/ 27 w 165"/>
                <a:gd name="T57" fmla="*/ 12 h 208"/>
                <a:gd name="T58" fmla="*/ 32 w 165"/>
                <a:gd name="T59" fmla="*/ 16 h 208"/>
                <a:gd name="T60" fmla="*/ 35 w 165"/>
                <a:gd name="T61" fmla="*/ 21 h 208"/>
                <a:gd name="T62" fmla="*/ 35 w 165"/>
                <a:gd name="T63" fmla="*/ 30 h 208"/>
                <a:gd name="T64" fmla="*/ 32 w 165"/>
                <a:gd name="T65" fmla="*/ 63 h 208"/>
                <a:gd name="T66" fmla="*/ 34 w 165"/>
                <a:gd name="T67" fmla="*/ 102 h 208"/>
                <a:gd name="T68" fmla="*/ 35 w 165"/>
                <a:gd name="T69" fmla="*/ 119 h 208"/>
                <a:gd name="T70" fmla="*/ 37 w 165"/>
                <a:gd name="T71" fmla="*/ 121 h 208"/>
                <a:gd name="T72" fmla="*/ 41 w 165"/>
                <a:gd name="T73" fmla="*/ 117 h 208"/>
                <a:gd name="T74" fmla="*/ 63 w 165"/>
                <a:gd name="T75" fmla="*/ 88 h 208"/>
                <a:gd name="T76" fmla="*/ 90 w 165"/>
                <a:gd name="T77" fmla="*/ 46 h 208"/>
                <a:gd name="T78" fmla="*/ 116 w 165"/>
                <a:gd name="T79" fmla="*/ 12 h 208"/>
                <a:gd name="T80" fmla="*/ 147 w 165"/>
                <a:gd name="T8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208">
                  <a:moveTo>
                    <a:pt x="147" y="0"/>
                  </a:moveTo>
                  <a:lnTo>
                    <a:pt x="156" y="4"/>
                  </a:lnTo>
                  <a:lnTo>
                    <a:pt x="163" y="14"/>
                  </a:lnTo>
                  <a:lnTo>
                    <a:pt x="165" y="28"/>
                  </a:lnTo>
                  <a:lnTo>
                    <a:pt x="165" y="47"/>
                  </a:lnTo>
                  <a:lnTo>
                    <a:pt x="163" y="72"/>
                  </a:lnTo>
                  <a:lnTo>
                    <a:pt x="161" y="100"/>
                  </a:lnTo>
                  <a:lnTo>
                    <a:pt x="158" y="124"/>
                  </a:lnTo>
                  <a:lnTo>
                    <a:pt x="156" y="144"/>
                  </a:lnTo>
                  <a:lnTo>
                    <a:pt x="156" y="163"/>
                  </a:lnTo>
                  <a:lnTo>
                    <a:pt x="158" y="180"/>
                  </a:lnTo>
                  <a:lnTo>
                    <a:pt x="161" y="193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1" y="200"/>
                  </a:lnTo>
                  <a:lnTo>
                    <a:pt x="160" y="203"/>
                  </a:lnTo>
                  <a:lnTo>
                    <a:pt x="158" y="205"/>
                  </a:lnTo>
                  <a:lnTo>
                    <a:pt x="154" y="207"/>
                  </a:lnTo>
                  <a:lnTo>
                    <a:pt x="151" y="208"/>
                  </a:lnTo>
                  <a:lnTo>
                    <a:pt x="147" y="207"/>
                  </a:lnTo>
                  <a:lnTo>
                    <a:pt x="144" y="205"/>
                  </a:lnTo>
                  <a:lnTo>
                    <a:pt x="139" y="203"/>
                  </a:lnTo>
                  <a:lnTo>
                    <a:pt x="135" y="196"/>
                  </a:lnTo>
                  <a:lnTo>
                    <a:pt x="132" y="187"/>
                  </a:lnTo>
                  <a:lnTo>
                    <a:pt x="130" y="175"/>
                  </a:lnTo>
                  <a:lnTo>
                    <a:pt x="133" y="131"/>
                  </a:lnTo>
                  <a:lnTo>
                    <a:pt x="133" y="89"/>
                  </a:lnTo>
                  <a:lnTo>
                    <a:pt x="133" y="49"/>
                  </a:lnTo>
                  <a:lnTo>
                    <a:pt x="132" y="44"/>
                  </a:lnTo>
                  <a:lnTo>
                    <a:pt x="130" y="42"/>
                  </a:lnTo>
                  <a:lnTo>
                    <a:pt x="128" y="40"/>
                  </a:lnTo>
                  <a:lnTo>
                    <a:pt x="125" y="40"/>
                  </a:lnTo>
                  <a:lnTo>
                    <a:pt x="121" y="44"/>
                  </a:lnTo>
                  <a:lnTo>
                    <a:pt x="118" y="47"/>
                  </a:lnTo>
                  <a:lnTo>
                    <a:pt x="105" y="68"/>
                  </a:lnTo>
                  <a:lnTo>
                    <a:pt x="91" y="89"/>
                  </a:lnTo>
                  <a:lnTo>
                    <a:pt x="81" y="110"/>
                  </a:lnTo>
                  <a:lnTo>
                    <a:pt x="70" y="130"/>
                  </a:lnTo>
                  <a:lnTo>
                    <a:pt x="62" y="144"/>
                  </a:lnTo>
                  <a:lnTo>
                    <a:pt x="55" y="152"/>
                  </a:lnTo>
                  <a:lnTo>
                    <a:pt x="46" y="159"/>
                  </a:lnTo>
                  <a:lnTo>
                    <a:pt x="34" y="158"/>
                  </a:lnTo>
                  <a:lnTo>
                    <a:pt x="23" y="154"/>
                  </a:lnTo>
                  <a:lnTo>
                    <a:pt x="16" y="149"/>
                  </a:lnTo>
                  <a:lnTo>
                    <a:pt x="11" y="144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4" y="107"/>
                  </a:lnTo>
                  <a:lnTo>
                    <a:pt x="2" y="79"/>
                  </a:lnTo>
                  <a:lnTo>
                    <a:pt x="0" y="49"/>
                  </a:lnTo>
                  <a:lnTo>
                    <a:pt x="2" y="23"/>
                  </a:lnTo>
                  <a:lnTo>
                    <a:pt x="4" y="18"/>
                  </a:lnTo>
                  <a:lnTo>
                    <a:pt x="6" y="14"/>
                  </a:lnTo>
                  <a:lnTo>
                    <a:pt x="7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23" y="11"/>
                  </a:lnTo>
                  <a:lnTo>
                    <a:pt x="27" y="12"/>
                  </a:lnTo>
                  <a:lnTo>
                    <a:pt x="30" y="14"/>
                  </a:lnTo>
                  <a:lnTo>
                    <a:pt x="32" y="16"/>
                  </a:lnTo>
                  <a:lnTo>
                    <a:pt x="34" y="18"/>
                  </a:lnTo>
                  <a:lnTo>
                    <a:pt x="35" y="21"/>
                  </a:lnTo>
                  <a:lnTo>
                    <a:pt x="35" y="25"/>
                  </a:lnTo>
                  <a:lnTo>
                    <a:pt x="35" y="30"/>
                  </a:lnTo>
                  <a:lnTo>
                    <a:pt x="34" y="44"/>
                  </a:lnTo>
                  <a:lnTo>
                    <a:pt x="32" y="63"/>
                  </a:lnTo>
                  <a:lnTo>
                    <a:pt x="32" y="84"/>
                  </a:lnTo>
                  <a:lnTo>
                    <a:pt x="34" y="102"/>
                  </a:lnTo>
                  <a:lnTo>
                    <a:pt x="35" y="116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7" y="121"/>
                  </a:lnTo>
                  <a:lnTo>
                    <a:pt x="39" y="119"/>
                  </a:lnTo>
                  <a:lnTo>
                    <a:pt x="41" y="117"/>
                  </a:lnTo>
                  <a:lnTo>
                    <a:pt x="51" y="105"/>
                  </a:lnTo>
                  <a:lnTo>
                    <a:pt x="63" y="88"/>
                  </a:lnTo>
                  <a:lnTo>
                    <a:pt x="76" y="67"/>
                  </a:lnTo>
                  <a:lnTo>
                    <a:pt x="90" y="46"/>
                  </a:lnTo>
                  <a:lnTo>
                    <a:pt x="100" y="30"/>
                  </a:lnTo>
                  <a:lnTo>
                    <a:pt x="116" y="12"/>
                  </a:lnTo>
                  <a:lnTo>
                    <a:pt x="130" y="4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0"/>
            <p:cNvSpPr>
              <a:spLocks/>
            </p:cNvSpPr>
            <p:nvPr userDrawn="1"/>
          </p:nvSpPr>
          <p:spPr bwMode="auto">
            <a:xfrm>
              <a:off x="7416801" y="5257800"/>
              <a:ext cx="284163" cy="596900"/>
            </a:xfrm>
            <a:custGeom>
              <a:avLst/>
              <a:gdLst>
                <a:gd name="T0" fmla="*/ 119 w 179"/>
                <a:gd name="T1" fmla="*/ 1 h 376"/>
                <a:gd name="T2" fmla="*/ 130 w 179"/>
                <a:gd name="T3" fmla="*/ 8 h 376"/>
                <a:gd name="T4" fmla="*/ 128 w 179"/>
                <a:gd name="T5" fmla="*/ 15 h 376"/>
                <a:gd name="T6" fmla="*/ 123 w 179"/>
                <a:gd name="T7" fmla="*/ 17 h 376"/>
                <a:gd name="T8" fmla="*/ 114 w 179"/>
                <a:gd name="T9" fmla="*/ 19 h 376"/>
                <a:gd name="T10" fmla="*/ 88 w 179"/>
                <a:gd name="T11" fmla="*/ 29 h 376"/>
                <a:gd name="T12" fmla="*/ 49 w 179"/>
                <a:gd name="T13" fmla="*/ 59 h 376"/>
                <a:gd name="T14" fmla="*/ 30 w 179"/>
                <a:gd name="T15" fmla="*/ 98 h 376"/>
                <a:gd name="T16" fmla="*/ 44 w 179"/>
                <a:gd name="T17" fmla="*/ 136 h 376"/>
                <a:gd name="T18" fmla="*/ 67 w 179"/>
                <a:gd name="T19" fmla="*/ 145 h 376"/>
                <a:gd name="T20" fmla="*/ 89 w 179"/>
                <a:gd name="T21" fmla="*/ 129 h 376"/>
                <a:gd name="T22" fmla="*/ 109 w 179"/>
                <a:gd name="T23" fmla="*/ 110 h 376"/>
                <a:gd name="T24" fmla="*/ 117 w 179"/>
                <a:gd name="T25" fmla="*/ 99 h 376"/>
                <a:gd name="T26" fmla="*/ 123 w 179"/>
                <a:gd name="T27" fmla="*/ 92 h 376"/>
                <a:gd name="T28" fmla="*/ 126 w 179"/>
                <a:gd name="T29" fmla="*/ 85 h 376"/>
                <a:gd name="T30" fmla="*/ 128 w 179"/>
                <a:gd name="T31" fmla="*/ 75 h 376"/>
                <a:gd name="T32" fmla="*/ 128 w 179"/>
                <a:gd name="T33" fmla="*/ 66 h 376"/>
                <a:gd name="T34" fmla="*/ 131 w 179"/>
                <a:gd name="T35" fmla="*/ 61 h 376"/>
                <a:gd name="T36" fmla="*/ 140 w 179"/>
                <a:gd name="T37" fmla="*/ 57 h 376"/>
                <a:gd name="T38" fmla="*/ 151 w 179"/>
                <a:gd name="T39" fmla="*/ 59 h 376"/>
                <a:gd name="T40" fmla="*/ 158 w 179"/>
                <a:gd name="T41" fmla="*/ 64 h 376"/>
                <a:gd name="T42" fmla="*/ 161 w 179"/>
                <a:gd name="T43" fmla="*/ 75 h 376"/>
                <a:gd name="T44" fmla="*/ 166 w 179"/>
                <a:gd name="T45" fmla="*/ 124 h 376"/>
                <a:gd name="T46" fmla="*/ 172 w 179"/>
                <a:gd name="T47" fmla="*/ 185 h 376"/>
                <a:gd name="T48" fmla="*/ 177 w 179"/>
                <a:gd name="T49" fmla="*/ 232 h 376"/>
                <a:gd name="T50" fmla="*/ 179 w 179"/>
                <a:gd name="T51" fmla="*/ 287 h 376"/>
                <a:gd name="T52" fmla="*/ 170 w 179"/>
                <a:gd name="T53" fmla="*/ 336 h 376"/>
                <a:gd name="T54" fmla="*/ 145 w 179"/>
                <a:gd name="T55" fmla="*/ 369 h 376"/>
                <a:gd name="T56" fmla="*/ 107 w 179"/>
                <a:gd name="T57" fmla="*/ 376 h 376"/>
                <a:gd name="T58" fmla="*/ 95 w 179"/>
                <a:gd name="T59" fmla="*/ 367 h 376"/>
                <a:gd name="T60" fmla="*/ 95 w 179"/>
                <a:gd name="T61" fmla="*/ 360 h 376"/>
                <a:gd name="T62" fmla="*/ 100 w 179"/>
                <a:gd name="T63" fmla="*/ 358 h 376"/>
                <a:gd name="T64" fmla="*/ 117 w 179"/>
                <a:gd name="T65" fmla="*/ 358 h 376"/>
                <a:gd name="T66" fmla="*/ 142 w 179"/>
                <a:gd name="T67" fmla="*/ 334 h 376"/>
                <a:gd name="T68" fmla="*/ 151 w 179"/>
                <a:gd name="T69" fmla="*/ 281 h 376"/>
                <a:gd name="T70" fmla="*/ 147 w 179"/>
                <a:gd name="T71" fmla="*/ 220 h 376"/>
                <a:gd name="T72" fmla="*/ 140 w 179"/>
                <a:gd name="T73" fmla="*/ 164 h 376"/>
                <a:gd name="T74" fmla="*/ 135 w 179"/>
                <a:gd name="T75" fmla="*/ 119 h 376"/>
                <a:gd name="T76" fmla="*/ 103 w 179"/>
                <a:gd name="T77" fmla="*/ 152 h 376"/>
                <a:gd name="T78" fmla="*/ 65 w 179"/>
                <a:gd name="T79" fmla="*/ 164 h 376"/>
                <a:gd name="T80" fmla="*/ 23 w 179"/>
                <a:gd name="T81" fmla="*/ 152 h 376"/>
                <a:gd name="T82" fmla="*/ 2 w 179"/>
                <a:gd name="T83" fmla="*/ 119 h 376"/>
                <a:gd name="T84" fmla="*/ 4 w 179"/>
                <a:gd name="T85" fmla="*/ 82 h 376"/>
                <a:gd name="T86" fmla="*/ 28 w 179"/>
                <a:gd name="T87" fmla="*/ 42 h 376"/>
                <a:gd name="T88" fmla="*/ 65 w 179"/>
                <a:gd name="T89" fmla="*/ 10 h 376"/>
                <a:gd name="T90" fmla="*/ 107 w 179"/>
                <a:gd name="T91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9" h="376">
                  <a:moveTo>
                    <a:pt x="107" y="0"/>
                  </a:moveTo>
                  <a:lnTo>
                    <a:pt x="119" y="1"/>
                  </a:lnTo>
                  <a:lnTo>
                    <a:pt x="128" y="5"/>
                  </a:lnTo>
                  <a:lnTo>
                    <a:pt x="130" y="8"/>
                  </a:lnTo>
                  <a:lnTo>
                    <a:pt x="130" y="12"/>
                  </a:lnTo>
                  <a:lnTo>
                    <a:pt x="128" y="15"/>
                  </a:lnTo>
                  <a:lnTo>
                    <a:pt x="126" y="17"/>
                  </a:lnTo>
                  <a:lnTo>
                    <a:pt x="123" y="17"/>
                  </a:lnTo>
                  <a:lnTo>
                    <a:pt x="119" y="19"/>
                  </a:lnTo>
                  <a:lnTo>
                    <a:pt x="114" y="19"/>
                  </a:lnTo>
                  <a:lnTo>
                    <a:pt x="107" y="21"/>
                  </a:lnTo>
                  <a:lnTo>
                    <a:pt x="88" y="29"/>
                  </a:lnTo>
                  <a:lnTo>
                    <a:pt x="67" y="42"/>
                  </a:lnTo>
                  <a:lnTo>
                    <a:pt x="49" y="59"/>
                  </a:lnTo>
                  <a:lnTo>
                    <a:pt x="35" y="77"/>
                  </a:lnTo>
                  <a:lnTo>
                    <a:pt x="30" y="98"/>
                  </a:lnTo>
                  <a:lnTo>
                    <a:pt x="34" y="120"/>
                  </a:lnTo>
                  <a:lnTo>
                    <a:pt x="44" y="136"/>
                  </a:lnTo>
                  <a:lnTo>
                    <a:pt x="54" y="143"/>
                  </a:lnTo>
                  <a:lnTo>
                    <a:pt x="67" y="145"/>
                  </a:lnTo>
                  <a:lnTo>
                    <a:pt x="77" y="138"/>
                  </a:lnTo>
                  <a:lnTo>
                    <a:pt x="89" y="129"/>
                  </a:lnTo>
                  <a:lnTo>
                    <a:pt x="102" y="117"/>
                  </a:lnTo>
                  <a:lnTo>
                    <a:pt x="109" y="110"/>
                  </a:lnTo>
                  <a:lnTo>
                    <a:pt x="114" y="103"/>
                  </a:lnTo>
                  <a:lnTo>
                    <a:pt x="117" y="99"/>
                  </a:lnTo>
                  <a:lnTo>
                    <a:pt x="121" y="96"/>
                  </a:lnTo>
                  <a:lnTo>
                    <a:pt x="123" y="92"/>
                  </a:lnTo>
                  <a:lnTo>
                    <a:pt x="124" y="91"/>
                  </a:lnTo>
                  <a:lnTo>
                    <a:pt x="126" y="85"/>
                  </a:lnTo>
                  <a:lnTo>
                    <a:pt x="128" y="80"/>
                  </a:lnTo>
                  <a:lnTo>
                    <a:pt x="128" y="75"/>
                  </a:lnTo>
                  <a:lnTo>
                    <a:pt x="128" y="71"/>
                  </a:lnTo>
                  <a:lnTo>
                    <a:pt x="128" y="66"/>
                  </a:lnTo>
                  <a:lnTo>
                    <a:pt x="130" y="63"/>
                  </a:lnTo>
                  <a:lnTo>
                    <a:pt x="131" y="61"/>
                  </a:lnTo>
                  <a:lnTo>
                    <a:pt x="135" y="59"/>
                  </a:lnTo>
                  <a:lnTo>
                    <a:pt x="140" y="57"/>
                  </a:lnTo>
                  <a:lnTo>
                    <a:pt x="145" y="59"/>
                  </a:lnTo>
                  <a:lnTo>
                    <a:pt x="151" y="59"/>
                  </a:lnTo>
                  <a:lnTo>
                    <a:pt x="154" y="61"/>
                  </a:lnTo>
                  <a:lnTo>
                    <a:pt x="158" y="64"/>
                  </a:lnTo>
                  <a:lnTo>
                    <a:pt x="159" y="70"/>
                  </a:lnTo>
                  <a:lnTo>
                    <a:pt x="161" y="75"/>
                  </a:lnTo>
                  <a:lnTo>
                    <a:pt x="163" y="94"/>
                  </a:lnTo>
                  <a:lnTo>
                    <a:pt x="166" y="124"/>
                  </a:lnTo>
                  <a:lnTo>
                    <a:pt x="170" y="166"/>
                  </a:lnTo>
                  <a:lnTo>
                    <a:pt x="172" y="185"/>
                  </a:lnTo>
                  <a:lnTo>
                    <a:pt x="173" y="208"/>
                  </a:lnTo>
                  <a:lnTo>
                    <a:pt x="177" y="232"/>
                  </a:lnTo>
                  <a:lnTo>
                    <a:pt x="179" y="260"/>
                  </a:lnTo>
                  <a:lnTo>
                    <a:pt x="179" y="287"/>
                  </a:lnTo>
                  <a:lnTo>
                    <a:pt x="175" y="313"/>
                  </a:lnTo>
                  <a:lnTo>
                    <a:pt x="170" y="336"/>
                  </a:lnTo>
                  <a:lnTo>
                    <a:pt x="161" y="355"/>
                  </a:lnTo>
                  <a:lnTo>
                    <a:pt x="145" y="369"/>
                  </a:lnTo>
                  <a:lnTo>
                    <a:pt x="124" y="376"/>
                  </a:lnTo>
                  <a:lnTo>
                    <a:pt x="107" y="376"/>
                  </a:lnTo>
                  <a:lnTo>
                    <a:pt x="96" y="371"/>
                  </a:lnTo>
                  <a:lnTo>
                    <a:pt x="95" y="367"/>
                  </a:lnTo>
                  <a:lnTo>
                    <a:pt x="95" y="364"/>
                  </a:lnTo>
                  <a:lnTo>
                    <a:pt x="95" y="360"/>
                  </a:lnTo>
                  <a:lnTo>
                    <a:pt x="96" y="358"/>
                  </a:lnTo>
                  <a:lnTo>
                    <a:pt x="100" y="358"/>
                  </a:lnTo>
                  <a:lnTo>
                    <a:pt x="103" y="358"/>
                  </a:lnTo>
                  <a:lnTo>
                    <a:pt x="117" y="358"/>
                  </a:lnTo>
                  <a:lnTo>
                    <a:pt x="131" y="351"/>
                  </a:lnTo>
                  <a:lnTo>
                    <a:pt x="142" y="334"/>
                  </a:lnTo>
                  <a:lnTo>
                    <a:pt x="149" y="309"/>
                  </a:lnTo>
                  <a:lnTo>
                    <a:pt x="151" y="281"/>
                  </a:lnTo>
                  <a:lnTo>
                    <a:pt x="149" y="246"/>
                  </a:lnTo>
                  <a:lnTo>
                    <a:pt x="147" y="220"/>
                  </a:lnTo>
                  <a:lnTo>
                    <a:pt x="144" y="192"/>
                  </a:lnTo>
                  <a:lnTo>
                    <a:pt x="140" y="164"/>
                  </a:lnTo>
                  <a:lnTo>
                    <a:pt x="138" y="138"/>
                  </a:lnTo>
                  <a:lnTo>
                    <a:pt x="135" y="119"/>
                  </a:lnTo>
                  <a:lnTo>
                    <a:pt x="121" y="138"/>
                  </a:lnTo>
                  <a:lnTo>
                    <a:pt x="103" y="152"/>
                  </a:lnTo>
                  <a:lnTo>
                    <a:pt x="86" y="161"/>
                  </a:lnTo>
                  <a:lnTo>
                    <a:pt x="65" y="164"/>
                  </a:lnTo>
                  <a:lnTo>
                    <a:pt x="42" y="161"/>
                  </a:lnTo>
                  <a:lnTo>
                    <a:pt x="23" y="152"/>
                  </a:lnTo>
                  <a:lnTo>
                    <a:pt x="11" y="136"/>
                  </a:lnTo>
                  <a:lnTo>
                    <a:pt x="2" y="119"/>
                  </a:lnTo>
                  <a:lnTo>
                    <a:pt x="0" y="99"/>
                  </a:lnTo>
                  <a:lnTo>
                    <a:pt x="4" y="82"/>
                  </a:lnTo>
                  <a:lnTo>
                    <a:pt x="13" y="63"/>
                  </a:lnTo>
                  <a:lnTo>
                    <a:pt x="28" y="42"/>
                  </a:lnTo>
                  <a:lnTo>
                    <a:pt x="46" y="24"/>
                  </a:lnTo>
                  <a:lnTo>
                    <a:pt x="65" y="10"/>
                  </a:lnTo>
                  <a:lnTo>
                    <a:pt x="86" y="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1"/>
            <p:cNvSpPr>
              <a:spLocks/>
            </p:cNvSpPr>
            <p:nvPr userDrawn="1"/>
          </p:nvSpPr>
          <p:spPr bwMode="auto">
            <a:xfrm>
              <a:off x="7905751" y="5046663"/>
              <a:ext cx="330200" cy="479425"/>
            </a:xfrm>
            <a:custGeom>
              <a:avLst/>
              <a:gdLst>
                <a:gd name="T0" fmla="*/ 21 w 208"/>
                <a:gd name="T1" fmla="*/ 1 h 302"/>
                <a:gd name="T2" fmla="*/ 30 w 208"/>
                <a:gd name="T3" fmla="*/ 7 h 302"/>
                <a:gd name="T4" fmla="*/ 35 w 208"/>
                <a:gd name="T5" fmla="*/ 19 h 302"/>
                <a:gd name="T6" fmla="*/ 44 w 208"/>
                <a:gd name="T7" fmla="*/ 122 h 302"/>
                <a:gd name="T8" fmla="*/ 58 w 208"/>
                <a:gd name="T9" fmla="*/ 210 h 302"/>
                <a:gd name="T10" fmla="*/ 89 w 208"/>
                <a:gd name="T11" fmla="*/ 168 h 302"/>
                <a:gd name="T12" fmla="*/ 131 w 208"/>
                <a:gd name="T13" fmla="*/ 136 h 302"/>
                <a:gd name="T14" fmla="*/ 170 w 208"/>
                <a:gd name="T15" fmla="*/ 129 h 302"/>
                <a:gd name="T16" fmla="*/ 194 w 208"/>
                <a:gd name="T17" fmla="*/ 138 h 302"/>
                <a:gd name="T18" fmla="*/ 208 w 208"/>
                <a:gd name="T19" fmla="*/ 169 h 302"/>
                <a:gd name="T20" fmla="*/ 205 w 208"/>
                <a:gd name="T21" fmla="*/ 215 h 302"/>
                <a:gd name="T22" fmla="*/ 187 w 208"/>
                <a:gd name="T23" fmla="*/ 260 h 302"/>
                <a:gd name="T24" fmla="*/ 154 w 208"/>
                <a:gd name="T25" fmla="*/ 294 h 302"/>
                <a:gd name="T26" fmla="*/ 126 w 208"/>
                <a:gd name="T27" fmla="*/ 302 h 302"/>
                <a:gd name="T28" fmla="*/ 115 w 208"/>
                <a:gd name="T29" fmla="*/ 301 h 302"/>
                <a:gd name="T30" fmla="*/ 108 w 208"/>
                <a:gd name="T31" fmla="*/ 295 h 302"/>
                <a:gd name="T32" fmla="*/ 105 w 208"/>
                <a:gd name="T33" fmla="*/ 288 h 302"/>
                <a:gd name="T34" fmla="*/ 107 w 208"/>
                <a:gd name="T35" fmla="*/ 281 h 302"/>
                <a:gd name="T36" fmla="*/ 112 w 208"/>
                <a:gd name="T37" fmla="*/ 281 h 302"/>
                <a:gd name="T38" fmla="*/ 133 w 208"/>
                <a:gd name="T39" fmla="*/ 283 h 302"/>
                <a:gd name="T40" fmla="*/ 161 w 208"/>
                <a:gd name="T41" fmla="*/ 257 h 302"/>
                <a:gd name="T42" fmla="*/ 177 w 208"/>
                <a:gd name="T43" fmla="*/ 197 h 302"/>
                <a:gd name="T44" fmla="*/ 171 w 208"/>
                <a:gd name="T45" fmla="*/ 157 h 302"/>
                <a:gd name="T46" fmla="*/ 164 w 208"/>
                <a:gd name="T47" fmla="*/ 152 h 302"/>
                <a:gd name="T48" fmla="*/ 154 w 208"/>
                <a:gd name="T49" fmla="*/ 154 h 302"/>
                <a:gd name="T50" fmla="*/ 140 w 208"/>
                <a:gd name="T51" fmla="*/ 161 h 302"/>
                <a:gd name="T52" fmla="*/ 110 w 208"/>
                <a:gd name="T53" fmla="*/ 183 h 302"/>
                <a:gd name="T54" fmla="*/ 79 w 208"/>
                <a:gd name="T55" fmla="*/ 227 h 302"/>
                <a:gd name="T56" fmla="*/ 63 w 208"/>
                <a:gd name="T57" fmla="*/ 266 h 302"/>
                <a:gd name="T58" fmla="*/ 56 w 208"/>
                <a:gd name="T59" fmla="*/ 274 h 302"/>
                <a:gd name="T60" fmla="*/ 45 w 208"/>
                <a:gd name="T61" fmla="*/ 276 h 302"/>
                <a:gd name="T62" fmla="*/ 37 w 208"/>
                <a:gd name="T63" fmla="*/ 274 h 302"/>
                <a:gd name="T64" fmla="*/ 31 w 208"/>
                <a:gd name="T65" fmla="*/ 267 h 302"/>
                <a:gd name="T66" fmla="*/ 31 w 208"/>
                <a:gd name="T67" fmla="*/ 259 h 302"/>
                <a:gd name="T68" fmla="*/ 31 w 208"/>
                <a:gd name="T69" fmla="*/ 224 h 302"/>
                <a:gd name="T70" fmla="*/ 26 w 208"/>
                <a:gd name="T71" fmla="*/ 187 h 302"/>
                <a:gd name="T72" fmla="*/ 17 w 208"/>
                <a:gd name="T73" fmla="*/ 140 h 302"/>
                <a:gd name="T74" fmla="*/ 7 w 208"/>
                <a:gd name="T75" fmla="*/ 78 h 302"/>
                <a:gd name="T76" fmla="*/ 0 w 208"/>
                <a:gd name="T77" fmla="*/ 22 h 302"/>
                <a:gd name="T78" fmla="*/ 2 w 208"/>
                <a:gd name="T79" fmla="*/ 8 h 302"/>
                <a:gd name="T80" fmla="*/ 9 w 208"/>
                <a:gd name="T81" fmla="*/ 1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302">
                  <a:moveTo>
                    <a:pt x="14" y="0"/>
                  </a:moveTo>
                  <a:lnTo>
                    <a:pt x="21" y="1"/>
                  </a:lnTo>
                  <a:lnTo>
                    <a:pt x="26" y="3"/>
                  </a:lnTo>
                  <a:lnTo>
                    <a:pt x="30" y="7"/>
                  </a:lnTo>
                  <a:lnTo>
                    <a:pt x="33" y="12"/>
                  </a:lnTo>
                  <a:lnTo>
                    <a:pt x="35" y="19"/>
                  </a:lnTo>
                  <a:lnTo>
                    <a:pt x="40" y="75"/>
                  </a:lnTo>
                  <a:lnTo>
                    <a:pt x="44" y="122"/>
                  </a:lnTo>
                  <a:lnTo>
                    <a:pt x="49" y="166"/>
                  </a:lnTo>
                  <a:lnTo>
                    <a:pt x="58" y="210"/>
                  </a:lnTo>
                  <a:lnTo>
                    <a:pt x="72" y="189"/>
                  </a:lnTo>
                  <a:lnTo>
                    <a:pt x="89" y="168"/>
                  </a:lnTo>
                  <a:lnTo>
                    <a:pt x="108" y="150"/>
                  </a:lnTo>
                  <a:lnTo>
                    <a:pt x="131" y="136"/>
                  </a:lnTo>
                  <a:lnTo>
                    <a:pt x="157" y="129"/>
                  </a:lnTo>
                  <a:lnTo>
                    <a:pt x="170" y="129"/>
                  </a:lnTo>
                  <a:lnTo>
                    <a:pt x="184" y="133"/>
                  </a:lnTo>
                  <a:lnTo>
                    <a:pt x="194" y="138"/>
                  </a:lnTo>
                  <a:lnTo>
                    <a:pt x="203" y="152"/>
                  </a:lnTo>
                  <a:lnTo>
                    <a:pt x="208" y="169"/>
                  </a:lnTo>
                  <a:lnTo>
                    <a:pt x="208" y="192"/>
                  </a:lnTo>
                  <a:lnTo>
                    <a:pt x="205" y="215"/>
                  </a:lnTo>
                  <a:lnTo>
                    <a:pt x="198" y="239"/>
                  </a:lnTo>
                  <a:lnTo>
                    <a:pt x="187" y="260"/>
                  </a:lnTo>
                  <a:lnTo>
                    <a:pt x="173" y="280"/>
                  </a:lnTo>
                  <a:lnTo>
                    <a:pt x="154" y="294"/>
                  </a:lnTo>
                  <a:lnTo>
                    <a:pt x="133" y="302"/>
                  </a:lnTo>
                  <a:lnTo>
                    <a:pt x="126" y="302"/>
                  </a:lnTo>
                  <a:lnTo>
                    <a:pt x="119" y="301"/>
                  </a:lnTo>
                  <a:lnTo>
                    <a:pt x="115" y="301"/>
                  </a:lnTo>
                  <a:lnTo>
                    <a:pt x="112" y="297"/>
                  </a:lnTo>
                  <a:lnTo>
                    <a:pt x="108" y="295"/>
                  </a:lnTo>
                  <a:lnTo>
                    <a:pt x="107" y="292"/>
                  </a:lnTo>
                  <a:lnTo>
                    <a:pt x="105" y="288"/>
                  </a:lnTo>
                  <a:lnTo>
                    <a:pt x="105" y="285"/>
                  </a:lnTo>
                  <a:lnTo>
                    <a:pt x="107" y="281"/>
                  </a:lnTo>
                  <a:lnTo>
                    <a:pt x="108" y="281"/>
                  </a:lnTo>
                  <a:lnTo>
                    <a:pt x="112" y="281"/>
                  </a:lnTo>
                  <a:lnTo>
                    <a:pt x="122" y="285"/>
                  </a:lnTo>
                  <a:lnTo>
                    <a:pt x="133" y="283"/>
                  </a:lnTo>
                  <a:lnTo>
                    <a:pt x="145" y="276"/>
                  </a:lnTo>
                  <a:lnTo>
                    <a:pt x="161" y="257"/>
                  </a:lnTo>
                  <a:lnTo>
                    <a:pt x="171" y="229"/>
                  </a:lnTo>
                  <a:lnTo>
                    <a:pt x="177" y="197"/>
                  </a:lnTo>
                  <a:lnTo>
                    <a:pt x="173" y="162"/>
                  </a:lnTo>
                  <a:lnTo>
                    <a:pt x="171" y="157"/>
                  </a:lnTo>
                  <a:lnTo>
                    <a:pt x="168" y="154"/>
                  </a:lnTo>
                  <a:lnTo>
                    <a:pt x="164" y="152"/>
                  </a:lnTo>
                  <a:lnTo>
                    <a:pt x="161" y="152"/>
                  </a:lnTo>
                  <a:lnTo>
                    <a:pt x="154" y="154"/>
                  </a:lnTo>
                  <a:lnTo>
                    <a:pt x="149" y="155"/>
                  </a:lnTo>
                  <a:lnTo>
                    <a:pt x="140" y="161"/>
                  </a:lnTo>
                  <a:lnTo>
                    <a:pt x="126" y="169"/>
                  </a:lnTo>
                  <a:lnTo>
                    <a:pt x="110" y="183"/>
                  </a:lnTo>
                  <a:lnTo>
                    <a:pt x="94" y="201"/>
                  </a:lnTo>
                  <a:lnTo>
                    <a:pt x="79" y="227"/>
                  </a:lnTo>
                  <a:lnTo>
                    <a:pt x="66" y="259"/>
                  </a:lnTo>
                  <a:lnTo>
                    <a:pt x="63" y="266"/>
                  </a:lnTo>
                  <a:lnTo>
                    <a:pt x="59" y="271"/>
                  </a:lnTo>
                  <a:lnTo>
                    <a:pt x="56" y="274"/>
                  </a:lnTo>
                  <a:lnTo>
                    <a:pt x="51" y="276"/>
                  </a:lnTo>
                  <a:lnTo>
                    <a:pt x="45" y="276"/>
                  </a:lnTo>
                  <a:lnTo>
                    <a:pt x="40" y="276"/>
                  </a:lnTo>
                  <a:lnTo>
                    <a:pt x="37" y="274"/>
                  </a:lnTo>
                  <a:lnTo>
                    <a:pt x="33" y="271"/>
                  </a:lnTo>
                  <a:lnTo>
                    <a:pt x="31" y="267"/>
                  </a:lnTo>
                  <a:lnTo>
                    <a:pt x="31" y="264"/>
                  </a:lnTo>
                  <a:lnTo>
                    <a:pt x="31" y="259"/>
                  </a:lnTo>
                  <a:lnTo>
                    <a:pt x="33" y="243"/>
                  </a:lnTo>
                  <a:lnTo>
                    <a:pt x="31" y="224"/>
                  </a:lnTo>
                  <a:lnTo>
                    <a:pt x="28" y="201"/>
                  </a:lnTo>
                  <a:lnTo>
                    <a:pt x="26" y="187"/>
                  </a:lnTo>
                  <a:lnTo>
                    <a:pt x="21" y="166"/>
                  </a:lnTo>
                  <a:lnTo>
                    <a:pt x="17" y="140"/>
                  </a:lnTo>
                  <a:lnTo>
                    <a:pt x="12" y="110"/>
                  </a:lnTo>
                  <a:lnTo>
                    <a:pt x="7" y="78"/>
                  </a:lnTo>
                  <a:lnTo>
                    <a:pt x="4" y="49"/>
                  </a:lnTo>
                  <a:lnTo>
                    <a:pt x="0" y="22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5"/>
                  </a:lnTo>
                  <a:lnTo>
                    <a:pt x="9" y="1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2"/>
            <p:cNvSpPr>
              <a:spLocks/>
            </p:cNvSpPr>
            <p:nvPr userDrawn="1"/>
          </p:nvSpPr>
          <p:spPr bwMode="auto">
            <a:xfrm>
              <a:off x="8275638" y="5257800"/>
              <a:ext cx="254000" cy="590550"/>
            </a:xfrm>
            <a:custGeom>
              <a:avLst/>
              <a:gdLst>
                <a:gd name="T0" fmla="*/ 150 w 160"/>
                <a:gd name="T1" fmla="*/ 1 h 372"/>
                <a:gd name="T2" fmla="*/ 159 w 160"/>
                <a:gd name="T3" fmla="*/ 10 h 372"/>
                <a:gd name="T4" fmla="*/ 160 w 160"/>
                <a:gd name="T5" fmla="*/ 45 h 372"/>
                <a:gd name="T6" fmla="*/ 150 w 160"/>
                <a:gd name="T7" fmla="*/ 105 h 372"/>
                <a:gd name="T8" fmla="*/ 131 w 160"/>
                <a:gd name="T9" fmla="*/ 175 h 372"/>
                <a:gd name="T10" fmla="*/ 117 w 160"/>
                <a:gd name="T11" fmla="*/ 241 h 372"/>
                <a:gd name="T12" fmla="*/ 115 w 160"/>
                <a:gd name="T13" fmla="*/ 287 h 372"/>
                <a:gd name="T14" fmla="*/ 118 w 160"/>
                <a:gd name="T15" fmla="*/ 318 h 372"/>
                <a:gd name="T16" fmla="*/ 122 w 160"/>
                <a:gd name="T17" fmla="*/ 350 h 372"/>
                <a:gd name="T18" fmla="*/ 120 w 160"/>
                <a:gd name="T19" fmla="*/ 365 h 372"/>
                <a:gd name="T20" fmla="*/ 115 w 160"/>
                <a:gd name="T21" fmla="*/ 372 h 372"/>
                <a:gd name="T22" fmla="*/ 110 w 160"/>
                <a:gd name="T23" fmla="*/ 372 h 372"/>
                <a:gd name="T24" fmla="*/ 103 w 160"/>
                <a:gd name="T25" fmla="*/ 369 h 372"/>
                <a:gd name="T26" fmla="*/ 97 w 160"/>
                <a:gd name="T27" fmla="*/ 364 h 372"/>
                <a:gd name="T28" fmla="*/ 99 w 160"/>
                <a:gd name="T29" fmla="*/ 357 h 372"/>
                <a:gd name="T30" fmla="*/ 99 w 160"/>
                <a:gd name="T31" fmla="*/ 348 h 372"/>
                <a:gd name="T32" fmla="*/ 97 w 160"/>
                <a:gd name="T33" fmla="*/ 336 h 372"/>
                <a:gd name="T34" fmla="*/ 94 w 160"/>
                <a:gd name="T35" fmla="*/ 262 h 372"/>
                <a:gd name="T36" fmla="*/ 101 w 160"/>
                <a:gd name="T37" fmla="*/ 206 h 372"/>
                <a:gd name="T38" fmla="*/ 113 w 160"/>
                <a:gd name="T39" fmla="*/ 147 h 372"/>
                <a:gd name="T40" fmla="*/ 131 w 160"/>
                <a:gd name="T41" fmla="*/ 66 h 372"/>
                <a:gd name="T42" fmla="*/ 103 w 160"/>
                <a:gd name="T43" fmla="*/ 119 h 372"/>
                <a:gd name="T44" fmla="*/ 80 w 160"/>
                <a:gd name="T45" fmla="*/ 155 h 372"/>
                <a:gd name="T46" fmla="*/ 59 w 160"/>
                <a:gd name="T47" fmla="*/ 168 h 372"/>
                <a:gd name="T48" fmla="*/ 43 w 160"/>
                <a:gd name="T49" fmla="*/ 164 h 372"/>
                <a:gd name="T50" fmla="*/ 31 w 160"/>
                <a:gd name="T51" fmla="*/ 159 h 372"/>
                <a:gd name="T52" fmla="*/ 22 w 160"/>
                <a:gd name="T53" fmla="*/ 150 h 372"/>
                <a:gd name="T54" fmla="*/ 15 w 160"/>
                <a:gd name="T55" fmla="*/ 133 h 372"/>
                <a:gd name="T56" fmla="*/ 5 w 160"/>
                <a:gd name="T57" fmla="*/ 96 h 372"/>
                <a:gd name="T58" fmla="*/ 0 w 160"/>
                <a:gd name="T59" fmla="*/ 61 h 372"/>
                <a:gd name="T60" fmla="*/ 1 w 160"/>
                <a:gd name="T61" fmla="*/ 38 h 372"/>
                <a:gd name="T62" fmla="*/ 14 w 160"/>
                <a:gd name="T63" fmla="*/ 29 h 372"/>
                <a:gd name="T64" fmla="*/ 21 w 160"/>
                <a:gd name="T65" fmla="*/ 33 h 372"/>
                <a:gd name="T66" fmla="*/ 26 w 160"/>
                <a:gd name="T67" fmla="*/ 42 h 372"/>
                <a:gd name="T68" fmla="*/ 28 w 160"/>
                <a:gd name="T69" fmla="*/ 54 h 372"/>
                <a:gd name="T70" fmla="*/ 33 w 160"/>
                <a:gd name="T71" fmla="*/ 98 h 372"/>
                <a:gd name="T72" fmla="*/ 43 w 160"/>
                <a:gd name="T73" fmla="*/ 136 h 372"/>
                <a:gd name="T74" fmla="*/ 59 w 160"/>
                <a:gd name="T75" fmla="*/ 138 h 372"/>
                <a:gd name="T76" fmla="*/ 89 w 160"/>
                <a:gd name="T77" fmla="*/ 98 h 372"/>
                <a:gd name="T78" fmla="*/ 122 w 160"/>
                <a:gd name="T79" fmla="*/ 29 h 372"/>
                <a:gd name="T80" fmla="*/ 136 w 160"/>
                <a:gd name="T81" fmla="*/ 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" h="372">
                  <a:moveTo>
                    <a:pt x="145" y="0"/>
                  </a:moveTo>
                  <a:lnTo>
                    <a:pt x="150" y="1"/>
                  </a:lnTo>
                  <a:lnTo>
                    <a:pt x="155" y="3"/>
                  </a:lnTo>
                  <a:lnTo>
                    <a:pt x="159" y="10"/>
                  </a:lnTo>
                  <a:lnTo>
                    <a:pt x="160" y="24"/>
                  </a:lnTo>
                  <a:lnTo>
                    <a:pt x="160" y="45"/>
                  </a:lnTo>
                  <a:lnTo>
                    <a:pt x="157" y="71"/>
                  </a:lnTo>
                  <a:lnTo>
                    <a:pt x="150" y="105"/>
                  </a:lnTo>
                  <a:lnTo>
                    <a:pt x="139" y="140"/>
                  </a:lnTo>
                  <a:lnTo>
                    <a:pt x="131" y="175"/>
                  </a:lnTo>
                  <a:lnTo>
                    <a:pt x="122" y="211"/>
                  </a:lnTo>
                  <a:lnTo>
                    <a:pt x="117" y="241"/>
                  </a:lnTo>
                  <a:lnTo>
                    <a:pt x="115" y="267"/>
                  </a:lnTo>
                  <a:lnTo>
                    <a:pt x="115" y="287"/>
                  </a:lnTo>
                  <a:lnTo>
                    <a:pt x="117" y="304"/>
                  </a:lnTo>
                  <a:lnTo>
                    <a:pt x="118" y="318"/>
                  </a:lnTo>
                  <a:lnTo>
                    <a:pt x="120" y="337"/>
                  </a:lnTo>
                  <a:lnTo>
                    <a:pt x="122" y="350"/>
                  </a:lnTo>
                  <a:lnTo>
                    <a:pt x="122" y="360"/>
                  </a:lnTo>
                  <a:lnTo>
                    <a:pt x="120" y="365"/>
                  </a:lnTo>
                  <a:lnTo>
                    <a:pt x="118" y="371"/>
                  </a:lnTo>
                  <a:lnTo>
                    <a:pt x="115" y="372"/>
                  </a:lnTo>
                  <a:lnTo>
                    <a:pt x="113" y="372"/>
                  </a:lnTo>
                  <a:lnTo>
                    <a:pt x="110" y="372"/>
                  </a:lnTo>
                  <a:lnTo>
                    <a:pt x="104" y="371"/>
                  </a:lnTo>
                  <a:lnTo>
                    <a:pt x="103" y="369"/>
                  </a:lnTo>
                  <a:lnTo>
                    <a:pt x="99" y="367"/>
                  </a:lnTo>
                  <a:lnTo>
                    <a:pt x="97" y="364"/>
                  </a:lnTo>
                  <a:lnTo>
                    <a:pt x="97" y="360"/>
                  </a:lnTo>
                  <a:lnTo>
                    <a:pt x="99" y="357"/>
                  </a:lnTo>
                  <a:lnTo>
                    <a:pt x="99" y="351"/>
                  </a:lnTo>
                  <a:lnTo>
                    <a:pt x="99" y="348"/>
                  </a:lnTo>
                  <a:lnTo>
                    <a:pt x="97" y="343"/>
                  </a:lnTo>
                  <a:lnTo>
                    <a:pt x="97" y="336"/>
                  </a:lnTo>
                  <a:lnTo>
                    <a:pt x="94" y="295"/>
                  </a:lnTo>
                  <a:lnTo>
                    <a:pt x="94" y="262"/>
                  </a:lnTo>
                  <a:lnTo>
                    <a:pt x="96" y="234"/>
                  </a:lnTo>
                  <a:lnTo>
                    <a:pt x="101" y="206"/>
                  </a:lnTo>
                  <a:lnTo>
                    <a:pt x="106" y="178"/>
                  </a:lnTo>
                  <a:lnTo>
                    <a:pt x="113" y="147"/>
                  </a:lnTo>
                  <a:lnTo>
                    <a:pt x="122" y="110"/>
                  </a:lnTo>
                  <a:lnTo>
                    <a:pt x="131" y="66"/>
                  </a:lnTo>
                  <a:lnTo>
                    <a:pt x="117" y="94"/>
                  </a:lnTo>
                  <a:lnTo>
                    <a:pt x="103" y="119"/>
                  </a:lnTo>
                  <a:lnTo>
                    <a:pt x="90" y="140"/>
                  </a:lnTo>
                  <a:lnTo>
                    <a:pt x="80" y="155"/>
                  </a:lnTo>
                  <a:lnTo>
                    <a:pt x="70" y="164"/>
                  </a:lnTo>
                  <a:lnTo>
                    <a:pt x="59" y="168"/>
                  </a:lnTo>
                  <a:lnTo>
                    <a:pt x="50" y="168"/>
                  </a:lnTo>
                  <a:lnTo>
                    <a:pt x="43" y="164"/>
                  </a:lnTo>
                  <a:lnTo>
                    <a:pt x="36" y="162"/>
                  </a:lnTo>
                  <a:lnTo>
                    <a:pt x="31" y="159"/>
                  </a:lnTo>
                  <a:lnTo>
                    <a:pt x="26" y="155"/>
                  </a:lnTo>
                  <a:lnTo>
                    <a:pt x="22" y="150"/>
                  </a:lnTo>
                  <a:lnTo>
                    <a:pt x="19" y="143"/>
                  </a:lnTo>
                  <a:lnTo>
                    <a:pt x="15" y="133"/>
                  </a:lnTo>
                  <a:lnTo>
                    <a:pt x="10" y="115"/>
                  </a:lnTo>
                  <a:lnTo>
                    <a:pt x="5" y="96"/>
                  </a:lnTo>
                  <a:lnTo>
                    <a:pt x="3" y="77"/>
                  </a:lnTo>
                  <a:lnTo>
                    <a:pt x="0" y="61"/>
                  </a:lnTo>
                  <a:lnTo>
                    <a:pt x="0" y="49"/>
                  </a:lnTo>
                  <a:lnTo>
                    <a:pt x="1" y="38"/>
                  </a:lnTo>
                  <a:lnTo>
                    <a:pt x="7" y="31"/>
                  </a:lnTo>
                  <a:lnTo>
                    <a:pt x="14" y="29"/>
                  </a:lnTo>
                  <a:lnTo>
                    <a:pt x="17" y="31"/>
                  </a:lnTo>
                  <a:lnTo>
                    <a:pt x="21" y="33"/>
                  </a:lnTo>
                  <a:lnTo>
                    <a:pt x="22" y="36"/>
                  </a:lnTo>
                  <a:lnTo>
                    <a:pt x="26" y="42"/>
                  </a:lnTo>
                  <a:lnTo>
                    <a:pt x="28" y="47"/>
                  </a:lnTo>
                  <a:lnTo>
                    <a:pt x="28" y="54"/>
                  </a:lnTo>
                  <a:lnTo>
                    <a:pt x="29" y="73"/>
                  </a:lnTo>
                  <a:lnTo>
                    <a:pt x="33" y="98"/>
                  </a:lnTo>
                  <a:lnTo>
                    <a:pt x="38" y="122"/>
                  </a:lnTo>
                  <a:lnTo>
                    <a:pt x="43" y="136"/>
                  </a:lnTo>
                  <a:lnTo>
                    <a:pt x="50" y="141"/>
                  </a:lnTo>
                  <a:lnTo>
                    <a:pt x="59" y="138"/>
                  </a:lnTo>
                  <a:lnTo>
                    <a:pt x="70" y="126"/>
                  </a:lnTo>
                  <a:lnTo>
                    <a:pt x="89" y="98"/>
                  </a:lnTo>
                  <a:lnTo>
                    <a:pt x="106" y="66"/>
                  </a:lnTo>
                  <a:lnTo>
                    <a:pt x="122" y="29"/>
                  </a:lnTo>
                  <a:lnTo>
                    <a:pt x="129" y="10"/>
                  </a:lnTo>
                  <a:lnTo>
                    <a:pt x="136" y="1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3"/>
            <p:cNvSpPr>
              <a:spLocks/>
            </p:cNvSpPr>
            <p:nvPr userDrawn="1"/>
          </p:nvSpPr>
          <p:spPr bwMode="auto">
            <a:xfrm>
              <a:off x="8743951" y="5254625"/>
              <a:ext cx="280988" cy="344488"/>
            </a:xfrm>
            <a:custGeom>
              <a:avLst/>
              <a:gdLst>
                <a:gd name="T0" fmla="*/ 135 w 177"/>
                <a:gd name="T1" fmla="*/ 2 h 217"/>
                <a:gd name="T2" fmla="*/ 161 w 177"/>
                <a:gd name="T3" fmla="*/ 14 h 217"/>
                <a:gd name="T4" fmla="*/ 164 w 177"/>
                <a:gd name="T5" fmla="*/ 42 h 217"/>
                <a:gd name="T6" fmla="*/ 166 w 177"/>
                <a:gd name="T7" fmla="*/ 96 h 217"/>
                <a:gd name="T8" fmla="*/ 170 w 177"/>
                <a:gd name="T9" fmla="*/ 154 h 217"/>
                <a:gd name="T10" fmla="*/ 177 w 177"/>
                <a:gd name="T11" fmla="*/ 196 h 217"/>
                <a:gd name="T12" fmla="*/ 177 w 177"/>
                <a:gd name="T13" fmla="*/ 210 h 217"/>
                <a:gd name="T14" fmla="*/ 171 w 177"/>
                <a:gd name="T15" fmla="*/ 217 h 217"/>
                <a:gd name="T16" fmla="*/ 161 w 177"/>
                <a:gd name="T17" fmla="*/ 217 h 217"/>
                <a:gd name="T18" fmla="*/ 150 w 177"/>
                <a:gd name="T19" fmla="*/ 213 h 217"/>
                <a:gd name="T20" fmla="*/ 143 w 177"/>
                <a:gd name="T21" fmla="*/ 206 h 217"/>
                <a:gd name="T22" fmla="*/ 142 w 177"/>
                <a:gd name="T23" fmla="*/ 191 h 217"/>
                <a:gd name="T24" fmla="*/ 140 w 177"/>
                <a:gd name="T25" fmla="*/ 150 h 217"/>
                <a:gd name="T26" fmla="*/ 135 w 177"/>
                <a:gd name="T27" fmla="*/ 87 h 217"/>
                <a:gd name="T28" fmla="*/ 129 w 177"/>
                <a:gd name="T29" fmla="*/ 35 h 217"/>
                <a:gd name="T30" fmla="*/ 126 w 177"/>
                <a:gd name="T31" fmla="*/ 28 h 217"/>
                <a:gd name="T32" fmla="*/ 122 w 177"/>
                <a:gd name="T33" fmla="*/ 28 h 217"/>
                <a:gd name="T34" fmla="*/ 115 w 177"/>
                <a:gd name="T35" fmla="*/ 35 h 217"/>
                <a:gd name="T36" fmla="*/ 100 w 177"/>
                <a:gd name="T37" fmla="*/ 56 h 217"/>
                <a:gd name="T38" fmla="*/ 73 w 177"/>
                <a:gd name="T39" fmla="*/ 100 h 217"/>
                <a:gd name="T40" fmla="*/ 47 w 177"/>
                <a:gd name="T41" fmla="*/ 170 h 217"/>
                <a:gd name="T42" fmla="*/ 44 w 177"/>
                <a:gd name="T43" fmla="*/ 177 h 217"/>
                <a:gd name="T44" fmla="*/ 35 w 177"/>
                <a:gd name="T45" fmla="*/ 178 h 217"/>
                <a:gd name="T46" fmla="*/ 23 w 177"/>
                <a:gd name="T47" fmla="*/ 177 h 217"/>
                <a:gd name="T48" fmla="*/ 14 w 177"/>
                <a:gd name="T49" fmla="*/ 171 h 217"/>
                <a:gd name="T50" fmla="*/ 11 w 177"/>
                <a:gd name="T51" fmla="*/ 166 h 217"/>
                <a:gd name="T52" fmla="*/ 7 w 177"/>
                <a:gd name="T53" fmla="*/ 154 h 217"/>
                <a:gd name="T54" fmla="*/ 4 w 177"/>
                <a:gd name="T55" fmla="*/ 126 h 217"/>
                <a:gd name="T56" fmla="*/ 2 w 177"/>
                <a:gd name="T57" fmla="*/ 75 h 217"/>
                <a:gd name="T58" fmla="*/ 0 w 177"/>
                <a:gd name="T59" fmla="*/ 24 h 217"/>
                <a:gd name="T60" fmla="*/ 2 w 177"/>
                <a:gd name="T61" fmla="*/ 10 h 217"/>
                <a:gd name="T62" fmla="*/ 7 w 177"/>
                <a:gd name="T63" fmla="*/ 2 h 217"/>
                <a:gd name="T64" fmla="*/ 16 w 177"/>
                <a:gd name="T65" fmla="*/ 2 h 217"/>
                <a:gd name="T66" fmla="*/ 26 w 177"/>
                <a:gd name="T67" fmla="*/ 14 h 217"/>
                <a:gd name="T68" fmla="*/ 28 w 177"/>
                <a:gd name="T69" fmla="*/ 38 h 217"/>
                <a:gd name="T70" fmla="*/ 30 w 177"/>
                <a:gd name="T71" fmla="*/ 98 h 217"/>
                <a:gd name="T72" fmla="*/ 46 w 177"/>
                <a:gd name="T73" fmla="*/ 101 h 217"/>
                <a:gd name="T74" fmla="*/ 73 w 177"/>
                <a:gd name="T75" fmla="*/ 54 h 217"/>
                <a:gd name="T76" fmla="*/ 96 w 177"/>
                <a:gd name="T77" fmla="*/ 17 h 217"/>
                <a:gd name="T78" fmla="*/ 112 w 177"/>
                <a:gd name="T79" fmla="*/ 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7" h="217">
                  <a:moveTo>
                    <a:pt x="121" y="0"/>
                  </a:moveTo>
                  <a:lnTo>
                    <a:pt x="135" y="2"/>
                  </a:lnTo>
                  <a:lnTo>
                    <a:pt x="152" y="7"/>
                  </a:lnTo>
                  <a:lnTo>
                    <a:pt x="161" y="14"/>
                  </a:lnTo>
                  <a:lnTo>
                    <a:pt x="163" y="24"/>
                  </a:lnTo>
                  <a:lnTo>
                    <a:pt x="164" y="42"/>
                  </a:lnTo>
                  <a:lnTo>
                    <a:pt x="164" y="68"/>
                  </a:lnTo>
                  <a:lnTo>
                    <a:pt x="166" y="96"/>
                  </a:lnTo>
                  <a:lnTo>
                    <a:pt x="168" y="124"/>
                  </a:lnTo>
                  <a:lnTo>
                    <a:pt x="170" y="154"/>
                  </a:lnTo>
                  <a:lnTo>
                    <a:pt x="173" y="177"/>
                  </a:lnTo>
                  <a:lnTo>
                    <a:pt x="177" y="196"/>
                  </a:lnTo>
                  <a:lnTo>
                    <a:pt x="177" y="205"/>
                  </a:lnTo>
                  <a:lnTo>
                    <a:pt x="177" y="210"/>
                  </a:lnTo>
                  <a:lnTo>
                    <a:pt x="175" y="213"/>
                  </a:lnTo>
                  <a:lnTo>
                    <a:pt x="171" y="217"/>
                  </a:lnTo>
                  <a:lnTo>
                    <a:pt x="168" y="217"/>
                  </a:lnTo>
                  <a:lnTo>
                    <a:pt x="161" y="217"/>
                  </a:lnTo>
                  <a:lnTo>
                    <a:pt x="156" y="215"/>
                  </a:lnTo>
                  <a:lnTo>
                    <a:pt x="150" y="213"/>
                  </a:lnTo>
                  <a:lnTo>
                    <a:pt x="147" y="210"/>
                  </a:lnTo>
                  <a:lnTo>
                    <a:pt x="143" y="206"/>
                  </a:lnTo>
                  <a:lnTo>
                    <a:pt x="142" y="199"/>
                  </a:lnTo>
                  <a:lnTo>
                    <a:pt x="142" y="191"/>
                  </a:lnTo>
                  <a:lnTo>
                    <a:pt x="140" y="175"/>
                  </a:lnTo>
                  <a:lnTo>
                    <a:pt x="140" y="150"/>
                  </a:lnTo>
                  <a:lnTo>
                    <a:pt x="138" y="119"/>
                  </a:lnTo>
                  <a:lnTo>
                    <a:pt x="135" y="87"/>
                  </a:lnTo>
                  <a:lnTo>
                    <a:pt x="133" y="58"/>
                  </a:lnTo>
                  <a:lnTo>
                    <a:pt x="129" y="35"/>
                  </a:lnTo>
                  <a:lnTo>
                    <a:pt x="128" y="30"/>
                  </a:lnTo>
                  <a:lnTo>
                    <a:pt x="126" y="28"/>
                  </a:lnTo>
                  <a:lnTo>
                    <a:pt x="124" y="26"/>
                  </a:lnTo>
                  <a:lnTo>
                    <a:pt x="122" y="28"/>
                  </a:lnTo>
                  <a:lnTo>
                    <a:pt x="119" y="30"/>
                  </a:lnTo>
                  <a:lnTo>
                    <a:pt x="115" y="35"/>
                  </a:lnTo>
                  <a:lnTo>
                    <a:pt x="110" y="42"/>
                  </a:lnTo>
                  <a:lnTo>
                    <a:pt x="100" y="56"/>
                  </a:lnTo>
                  <a:lnTo>
                    <a:pt x="87" y="75"/>
                  </a:lnTo>
                  <a:lnTo>
                    <a:pt x="73" y="100"/>
                  </a:lnTo>
                  <a:lnTo>
                    <a:pt x="60" y="131"/>
                  </a:lnTo>
                  <a:lnTo>
                    <a:pt x="47" y="170"/>
                  </a:lnTo>
                  <a:lnTo>
                    <a:pt x="46" y="173"/>
                  </a:lnTo>
                  <a:lnTo>
                    <a:pt x="44" y="177"/>
                  </a:lnTo>
                  <a:lnTo>
                    <a:pt x="40" y="178"/>
                  </a:lnTo>
                  <a:lnTo>
                    <a:pt x="35" y="178"/>
                  </a:lnTo>
                  <a:lnTo>
                    <a:pt x="30" y="178"/>
                  </a:lnTo>
                  <a:lnTo>
                    <a:pt x="23" y="177"/>
                  </a:lnTo>
                  <a:lnTo>
                    <a:pt x="19" y="175"/>
                  </a:lnTo>
                  <a:lnTo>
                    <a:pt x="14" y="171"/>
                  </a:lnTo>
                  <a:lnTo>
                    <a:pt x="12" y="170"/>
                  </a:lnTo>
                  <a:lnTo>
                    <a:pt x="11" y="166"/>
                  </a:lnTo>
                  <a:lnTo>
                    <a:pt x="9" y="161"/>
                  </a:lnTo>
                  <a:lnTo>
                    <a:pt x="7" y="154"/>
                  </a:lnTo>
                  <a:lnTo>
                    <a:pt x="5" y="143"/>
                  </a:lnTo>
                  <a:lnTo>
                    <a:pt x="4" y="126"/>
                  </a:lnTo>
                  <a:lnTo>
                    <a:pt x="2" y="101"/>
                  </a:lnTo>
                  <a:lnTo>
                    <a:pt x="2" y="75"/>
                  </a:lnTo>
                  <a:lnTo>
                    <a:pt x="0" y="49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2" y="10"/>
                  </a:lnTo>
                  <a:lnTo>
                    <a:pt x="4" y="5"/>
                  </a:lnTo>
                  <a:lnTo>
                    <a:pt x="7" y="2"/>
                  </a:lnTo>
                  <a:lnTo>
                    <a:pt x="11" y="2"/>
                  </a:lnTo>
                  <a:lnTo>
                    <a:pt x="16" y="2"/>
                  </a:lnTo>
                  <a:lnTo>
                    <a:pt x="23" y="5"/>
                  </a:lnTo>
                  <a:lnTo>
                    <a:pt x="26" y="14"/>
                  </a:lnTo>
                  <a:lnTo>
                    <a:pt x="28" y="24"/>
                  </a:lnTo>
                  <a:lnTo>
                    <a:pt x="28" y="38"/>
                  </a:lnTo>
                  <a:lnTo>
                    <a:pt x="28" y="68"/>
                  </a:lnTo>
                  <a:lnTo>
                    <a:pt x="30" y="98"/>
                  </a:lnTo>
                  <a:lnTo>
                    <a:pt x="33" y="128"/>
                  </a:lnTo>
                  <a:lnTo>
                    <a:pt x="46" y="101"/>
                  </a:lnTo>
                  <a:lnTo>
                    <a:pt x="60" y="77"/>
                  </a:lnTo>
                  <a:lnTo>
                    <a:pt x="73" y="54"/>
                  </a:lnTo>
                  <a:lnTo>
                    <a:pt x="86" y="33"/>
                  </a:lnTo>
                  <a:lnTo>
                    <a:pt x="96" y="17"/>
                  </a:lnTo>
                  <a:lnTo>
                    <a:pt x="105" y="5"/>
                  </a:lnTo>
                  <a:lnTo>
                    <a:pt x="112" y="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4"/>
            <p:cNvSpPr>
              <a:spLocks/>
            </p:cNvSpPr>
            <p:nvPr userDrawn="1"/>
          </p:nvSpPr>
          <p:spPr bwMode="auto">
            <a:xfrm>
              <a:off x="9043988" y="5251450"/>
              <a:ext cx="271463" cy="330200"/>
            </a:xfrm>
            <a:custGeom>
              <a:avLst/>
              <a:gdLst>
                <a:gd name="T0" fmla="*/ 114 w 171"/>
                <a:gd name="T1" fmla="*/ 2 h 208"/>
                <a:gd name="T2" fmla="*/ 121 w 171"/>
                <a:gd name="T3" fmla="*/ 5 h 208"/>
                <a:gd name="T4" fmla="*/ 124 w 171"/>
                <a:gd name="T5" fmla="*/ 12 h 208"/>
                <a:gd name="T6" fmla="*/ 119 w 171"/>
                <a:gd name="T7" fmla="*/ 23 h 208"/>
                <a:gd name="T8" fmla="*/ 73 w 171"/>
                <a:gd name="T9" fmla="*/ 47 h 208"/>
                <a:gd name="T10" fmla="*/ 42 w 171"/>
                <a:gd name="T11" fmla="*/ 79 h 208"/>
                <a:gd name="T12" fmla="*/ 30 w 171"/>
                <a:gd name="T13" fmla="*/ 109 h 208"/>
                <a:gd name="T14" fmla="*/ 38 w 171"/>
                <a:gd name="T15" fmla="*/ 123 h 208"/>
                <a:gd name="T16" fmla="*/ 65 w 171"/>
                <a:gd name="T17" fmla="*/ 119 h 208"/>
                <a:gd name="T18" fmla="*/ 98 w 171"/>
                <a:gd name="T19" fmla="*/ 105 h 208"/>
                <a:gd name="T20" fmla="*/ 126 w 171"/>
                <a:gd name="T21" fmla="*/ 86 h 208"/>
                <a:gd name="T22" fmla="*/ 128 w 171"/>
                <a:gd name="T23" fmla="*/ 60 h 208"/>
                <a:gd name="T24" fmla="*/ 140 w 171"/>
                <a:gd name="T25" fmla="*/ 49 h 208"/>
                <a:gd name="T26" fmla="*/ 152 w 171"/>
                <a:gd name="T27" fmla="*/ 54 h 208"/>
                <a:gd name="T28" fmla="*/ 157 w 171"/>
                <a:gd name="T29" fmla="*/ 58 h 208"/>
                <a:gd name="T30" fmla="*/ 159 w 171"/>
                <a:gd name="T31" fmla="*/ 63 h 208"/>
                <a:gd name="T32" fmla="*/ 161 w 171"/>
                <a:gd name="T33" fmla="*/ 112 h 208"/>
                <a:gd name="T34" fmla="*/ 166 w 171"/>
                <a:gd name="T35" fmla="*/ 172 h 208"/>
                <a:gd name="T36" fmla="*/ 169 w 171"/>
                <a:gd name="T37" fmla="*/ 200 h 208"/>
                <a:gd name="T38" fmla="*/ 164 w 171"/>
                <a:gd name="T39" fmla="*/ 207 h 208"/>
                <a:gd name="T40" fmla="*/ 156 w 171"/>
                <a:gd name="T41" fmla="*/ 207 h 208"/>
                <a:gd name="T42" fmla="*/ 147 w 171"/>
                <a:gd name="T43" fmla="*/ 198 h 208"/>
                <a:gd name="T44" fmla="*/ 135 w 171"/>
                <a:gd name="T45" fmla="*/ 158 h 208"/>
                <a:gd name="T46" fmla="*/ 129 w 171"/>
                <a:gd name="T47" fmla="*/ 117 h 208"/>
                <a:gd name="T48" fmla="*/ 86 w 171"/>
                <a:gd name="T49" fmla="*/ 140 h 208"/>
                <a:gd name="T50" fmla="*/ 44 w 171"/>
                <a:gd name="T51" fmla="*/ 151 h 208"/>
                <a:gd name="T52" fmla="*/ 12 w 171"/>
                <a:gd name="T53" fmla="*/ 138 h 208"/>
                <a:gd name="T54" fmla="*/ 0 w 171"/>
                <a:gd name="T55" fmla="*/ 102 h 208"/>
                <a:gd name="T56" fmla="*/ 17 w 171"/>
                <a:gd name="T57" fmla="*/ 58 h 208"/>
                <a:gd name="T58" fmla="*/ 58 w 171"/>
                <a:gd name="T59" fmla="*/ 19 h 208"/>
                <a:gd name="T60" fmla="*/ 91 w 171"/>
                <a:gd name="T61" fmla="*/ 2 h 208"/>
                <a:gd name="T62" fmla="*/ 110 w 171"/>
                <a:gd name="T6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1" h="208">
                  <a:moveTo>
                    <a:pt x="110" y="0"/>
                  </a:moveTo>
                  <a:lnTo>
                    <a:pt x="114" y="2"/>
                  </a:lnTo>
                  <a:lnTo>
                    <a:pt x="117" y="4"/>
                  </a:lnTo>
                  <a:lnTo>
                    <a:pt x="121" y="5"/>
                  </a:lnTo>
                  <a:lnTo>
                    <a:pt x="122" y="9"/>
                  </a:lnTo>
                  <a:lnTo>
                    <a:pt x="124" y="12"/>
                  </a:lnTo>
                  <a:lnTo>
                    <a:pt x="122" y="18"/>
                  </a:lnTo>
                  <a:lnTo>
                    <a:pt x="119" y="23"/>
                  </a:lnTo>
                  <a:lnTo>
                    <a:pt x="96" y="33"/>
                  </a:lnTo>
                  <a:lnTo>
                    <a:pt x="73" y="47"/>
                  </a:lnTo>
                  <a:lnTo>
                    <a:pt x="56" y="63"/>
                  </a:lnTo>
                  <a:lnTo>
                    <a:pt x="42" y="79"/>
                  </a:lnTo>
                  <a:lnTo>
                    <a:pt x="33" y="95"/>
                  </a:lnTo>
                  <a:lnTo>
                    <a:pt x="30" y="109"/>
                  </a:lnTo>
                  <a:lnTo>
                    <a:pt x="31" y="119"/>
                  </a:lnTo>
                  <a:lnTo>
                    <a:pt x="38" y="123"/>
                  </a:lnTo>
                  <a:lnTo>
                    <a:pt x="49" y="123"/>
                  </a:lnTo>
                  <a:lnTo>
                    <a:pt x="65" y="119"/>
                  </a:lnTo>
                  <a:lnTo>
                    <a:pt x="82" y="112"/>
                  </a:lnTo>
                  <a:lnTo>
                    <a:pt x="98" y="105"/>
                  </a:lnTo>
                  <a:lnTo>
                    <a:pt x="114" y="95"/>
                  </a:lnTo>
                  <a:lnTo>
                    <a:pt x="126" y="86"/>
                  </a:lnTo>
                  <a:lnTo>
                    <a:pt x="126" y="70"/>
                  </a:lnTo>
                  <a:lnTo>
                    <a:pt x="128" y="60"/>
                  </a:lnTo>
                  <a:lnTo>
                    <a:pt x="131" y="51"/>
                  </a:lnTo>
                  <a:lnTo>
                    <a:pt x="140" y="49"/>
                  </a:lnTo>
                  <a:lnTo>
                    <a:pt x="147" y="51"/>
                  </a:lnTo>
                  <a:lnTo>
                    <a:pt x="152" y="54"/>
                  </a:lnTo>
                  <a:lnTo>
                    <a:pt x="154" y="56"/>
                  </a:lnTo>
                  <a:lnTo>
                    <a:pt x="157" y="58"/>
                  </a:lnTo>
                  <a:lnTo>
                    <a:pt x="157" y="61"/>
                  </a:lnTo>
                  <a:lnTo>
                    <a:pt x="159" y="63"/>
                  </a:lnTo>
                  <a:lnTo>
                    <a:pt x="159" y="84"/>
                  </a:lnTo>
                  <a:lnTo>
                    <a:pt x="161" y="112"/>
                  </a:lnTo>
                  <a:lnTo>
                    <a:pt x="163" y="142"/>
                  </a:lnTo>
                  <a:lnTo>
                    <a:pt x="166" y="172"/>
                  </a:lnTo>
                  <a:lnTo>
                    <a:pt x="171" y="194"/>
                  </a:lnTo>
                  <a:lnTo>
                    <a:pt x="169" y="200"/>
                  </a:lnTo>
                  <a:lnTo>
                    <a:pt x="168" y="205"/>
                  </a:lnTo>
                  <a:lnTo>
                    <a:pt x="164" y="207"/>
                  </a:lnTo>
                  <a:lnTo>
                    <a:pt x="161" y="208"/>
                  </a:lnTo>
                  <a:lnTo>
                    <a:pt x="156" y="207"/>
                  </a:lnTo>
                  <a:lnTo>
                    <a:pt x="150" y="203"/>
                  </a:lnTo>
                  <a:lnTo>
                    <a:pt x="147" y="198"/>
                  </a:lnTo>
                  <a:lnTo>
                    <a:pt x="140" y="179"/>
                  </a:lnTo>
                  <a:lnTo>
                    <a:pt x="135" y="158"/>
                  </a:lnTo>
                  <a:lnTo>
                    <a:pt x="131" y="135"/>
                  </a:lnTo>
                  <a:lnTo>
                    <a:pt x="129" y="117"/>
                  </a:lnTo>
                  <a:lnTo>
                    <a:pt x="108" y="130"/>
                  </a:lnTo>
                  <a:lnTo>
                    <a:pt x="86" y="140"/>
                  </a:lnTo>
                  <a:lnTo>
                    <a:pt x="65" y="147"/>
                  </a:lnTo>
                  <a:lnTo>
                    <a:pt x="44" y="151"/>
                  </a:lnTo>
                  <a:lnTo>
                    <a:pt x="26" y="149"/>
                  </a:lnTo>
                  <a:lnTo>
                    <a:pt x="12" y="138"/>
                  </a:lnTo>
                  <a:lnTo>
                    <a:pt x="2" y="121"/>
                  </a:lnTo>
                  <a:lnTo>
                    <a:pt x="0" y="102"/>
                  </a:lnTo>
                  <a:lnTo>
                    <a:pt x="5" y="81"/>
                  </a:lnTo>
                  <a:lnTo>
                    <a:pt x="17" y="58"/>
                  </a:lnTo>
                  <a:lnTo>
                    <a:pt x="37" y="37"/>
                  </a:lnTo>
                  <a:lnTo>
                    <a:pt x="58" y="19"/>
                  </a:lnTo>
                  <a:lnTo>
                    <a:pt x="75" y="9"/>
                  </a:lnTo>
                  <a:lnTo>
                    <a:pt x="91" y="2"/>
                  </a:lnTo>
                  <a:lnTo>
                    <a:pt x="101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5"/>
            <p:cNvSpPr>
              <a:spLocks/>
            </p:cNvSpPr>
            <p:nvPr userDrawn="1"/>
          </p:nvSpPr>
          <p:spPr bwMode="auto">
            <a:xfrm>
              <a:off x="9356726" y="5065713"/>
              <a:ext cx="120650" cy="503238"/>
            </a:xfrm>
            <a:custGeom>
              <a:avLst/>
              <a:gdLst>
                <a:gd name="T0" fmla="*/ 16 w 76"/>
                <a:gd name="T1" fmla="*/ 0 h 317"/>
                <a:gd name="T2" fmla="*/ 21 w 76"/>
                <a:gd name="T3" fmla="*/ 0 h 317"/>
                <a:gd name="T4" fmla="*/ 28 w 76"/>
                <a:gd name="T5" fmla="*/ 3 h 317"/>
                <a:gd name="T6" fmla="*/ 34 w 76"/>
                <a:gd name="T7" fmla="*/ 10 h 317"/>
                <a:gd name="T8" fmla="*/ 35 w 76"/>
                <a:gd name="T9" fmla="*/ 24 h 317"/>
                <a:gd name="T10" fmla="*/ 35 w 76"/>
                <a:gd name="T11" fmla="*/ 47 h 317"/>
                <a:gd name="T12" fmla="*/ 37 w 76"/>
                <a:gd name="T13" fmla="*/ 72 h 317"/>
                <a:gd name="T14" fmla="*/ 37 w 76"/>
                <a:gd name="T15" fmla="*/ 103 h 317"/>
                <a:gd name="T16" fmla="*/ 39 w 76"/>
                <a:gd name="T17" fmla="*/ 142 h 317"/>
                <a:gd name="T18" fmla="*/ 42 w 76"/>
                <a:gd name="T19" fmla="*/ 180 h 317"/>
                <a:gd name="T20" fmla="*/ 46 w 76"/>
                <a:gd name="T21" fmla="*/ 219 h 317"/>
                <a:gd name="T22" fmla="*/ 51 w 76"/>
                <a:gd name="T23" fmla="*/ 255 h 317"/>
                <a:gd name="T24" fmla="*/ 53 w 76"/>
                <a:gd name="T25" fmla="*/ 254 h 317"/>
                <a:gd name="T26" fmla="*/ 56 w 76"/>
                <a:gd name="T27" fmla="*/ 252 h 317"/>
                <a:gd name="T28" fmla="*/ 60 w 76"/>
                <a:gd name="T29" fmla="*/ 250 h 317"/>
                <a:gd name="T30" fmla="*/ 62 w 76"/>
                <a:gd name="T31" fmla="*/ 248 h 317"/>
                <a:gd name="T32" fmla="*/ 65 w 76"/>
                <a:gd name="T33" fmla="*/ 247 h 317"/>
                <a:gd name="T34" fmla="*/ 69 w 76"/>
                <a:gd name="T35" fmla="*/ 247 h 317"/>
                <a:gd name="T36" fmla="*/ 70 w 76"/>
                <a:gd name="T37" fmla="*/ 248 h 317"/>
                <a:gd name="T38" fmla="*/ 74 w 76"/>
                <a:gd name="T39" fmla="*/ 250 h 317"/>
                <a:gd name="T40" fmla="*/ 74 w 76"/>
                <a:gd name="T41" fmla="*/ 255 h 317"/>
                <a:gd name="T42" fmla="*/ 76 w 76"/>
                <a:gd name="T43" fmla="*/ 261 h 317"/>
                <a:gd name="T44" fmla="*/ 72 w 76"/>
                <a:gd name="T45" fmla="*/ 283 h 317"/>
                <a:gd name="T46" fmla="*/ 63 w 76"/>
                <a:gd name="T47" fmla="*/ 301 h 317"/>
                <a:gd name="T48" fmla="*/ 53 w 76"/>
                <a:gd name="T49" fmla="*/ 313 h 317"/>
                <a:gd name="T50" fmla="*/ 42 w 76"/>
                <a:gd name="T51" fmla="*/ 317 h 317"/>
                <a:gd name="T52" fmla="*/ 35 w 76"/>
                <a:gd name="T53" fmla="*/ 315 h 317"/>
                <a:gd name="T54" fmla="*/ 30 w 76"/>
                <a:gd name="T55" fmla="*/ 306 h 317"/>
                <a:gd name="T56" fmla="*/ 27 w 76"/>
                <a:gd name="T57" fmla="*/ 296 h 317"/>
                <a:gd name="T58" fmla="*/ 23 w 76"/>
                <a:gd name="T59" fmla="*/ 282 h 317"/>
                <a:gd name="T60" fmla="*/ 21 w 76"/>
                <a:gd name="T61" fmla="*/ 264 h 317"/>
                <a:gd name="T62" fmla="*/ 18 w 76"/>
                <a:gd name="T63" fmla="*/ 238 h 317"/>
                <a:gd name="T64" fmla="*/ 14 w 76"/>
                <a:gd name="T65" fmla="*/ 205 h 317"/>
                <a:gd name="T66" fmla="*/ 13 w 76"/>
                <a:gd name="T67" fmla="*/ 168 h 317"/>
                <a:gd name="T68" fmla="*/ 9 w 76"/>
                <a:gd name="T69" fmla="*/ 131 h 317"/>
                <a:gd name="T70" fmla="*/ 6 w 76"/>
                <a:gd name="T71" fmla="*/ 94 h 317"/>
                <a:gd name="T72" fmla="*/ 2 w 76"/>
                <a:gd name="T73" fmla="*/ 65 h 317"/>
                <a:gd name="T74" fmla="*/ 0 w 76"/>
                <a:gd name="T75" fmla="*/ 40 h 317"/>
                <a:gd name="T76" fmla="*/ 0 w 76"/>
                <a:gd name="T77" fmla="*/ 26 h 317"/>
                <a:gd name="T78" fmla="*/ 0 w 76"/>
                <a:gd name="T79" fmla="*/ 19 h 317"/>
                <a:gd name="T80" fmla="*/ 0 w 76"/>
                <a:gd name="T81" fmla="*/ 12 h 317"/>
                <a:gd name="T82" fmla="*/ 4 w 76"/>
                <a:gd name="T83" fmla="*/ 7 h 317"/>
                <a:gd name="T84" fmla="*/ 6 w 76"/>
                <a:gd name="T85" fmla="*/ 3 h 317"/>
                <a:gd name="T86" fmla="*/ 9 w 76"/>
                <a:gd name="T87" fmla="*/ 2 h 317"/>
                <a:gd name="T88" fmla="*/ 13 w 76"/>
                <a:gd name="T89" fmla="*/ 0 h 317"/>
                <a:gd name="T90" fmla="*/ 16 w 76"/>
                <a:gd name="T91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6" h="317">
                  <a:moveTo>
                    <a:pt x="16" y="0"/>
                  </a:moveTo>
                  <a:lnTo>
                    <a:pt x="21" y="0"/>
                  </a:lnTo>
                  <a:lnTo>
                    <a:pt x="28" y="3"/>
                  </a:lnTo>
                  <a:lnTo>
                    <a:pt x="34" y="10"/>
                  </a:lnTo>
                  <a:lnTo>
                    <a:pt x="35" y="24"/>
                  </a:lnTo>
                  <a:lnTo>
                    <a:pt x="35" y="47"/>
                  </a:lnTo>
                  <a:lnTo>
                    <a:pt x="37" y="72"/>
                  </a:lnTo>
                  <a:lnTo>
                    <a:pt x="37" y="103"/>
                  </a:lnTo>
                  <a:lnTo>
                    <a:pt x="39" y="142"/>
                  </a:lnTo>
                  <a:lnTo>
                    <a:pt x="42" y="180"/>
                  </a:lnTo>
                  <a:lnTo>
                    <a:pt x="46" y="219"/>
                  </a:lnTo>
                  <a:lnTo>
                    <a:pt x="51" y="255"/>
                  </a:lnTo>
                  <a:lnTo>
                    <a:pt x="53" y="254"/>
                  </a:lnTo>
                  <a:lnTo>
                    <a:pt x="56" y="252"/>
                  </a:lnTo>
                  <a:lnTo>
                    <a:pt x="60" y="250"/>
                  </a:lnTo>
                  <a:lnTo>
                    <a:pt x="62" y="248"/>
                  </a:lnTo>
                  <a:lnTo>
                    <a:pt x="65" y="247"/>
                  </a:lnTo>
                  <a:lnTo>
                    <a:pt x="69" y="247"/>
                  </a:lnTo>
                  <a:lnTo>
                    <a:pt x="70" y="248"/>
                  </a:lnTo>
                  <a:lnTo>
                    <a:pt x="74" y="250"/>
                  </a:lnTo>
                  <a:lnTo>
                    <a:pt x="74" y="255"/>
                  </a:lnTo>
                  <a:lnTo>
                    <a:pt x="76" y="261"/>
                  </a:lnTo>
                  <a:lnTo>
                    <a:pt x="72" y="283"/>
                  </a:lnTo>
                  <a:lnTo>
                    <a:pt x="63" y="301"/>
                  </a:lnTo>
                  <a:lnTo>
                    <a:pt x="53" y="313"/>
                  </a:lnTo>
                  <a:lnTo>
                    <a:pt x="42" y="317"/>
                  </a:lnTo>
                  <a:lnTo>
                    <a:pt x="35" y="315"/>
                  </a:lnTo>
                  <a:lnTo>
                    <a:pt x="30" y="306"/>
                  </a:lnTo>
                  <a:lnTo>
                    <a:pt x="27" y="296"/>
                  </a:lnTo>
                  <a:lnTo>
                    <a:pt x="23" y="282"/>
                  </a:lnTo>
                  <a:lnTo>
                    <a:pt x="21" y="264"/>
                  </a:lnTo>
                  <a:lnTo>
                    <a:pt x="18" y="238"/>
                  </a:lnTo>
                  <a:lnTo>
                    <a:pt x="14" y="205"/>
                  </a:lnTo>
                  <a:lnTo>
                    <a:pt x="13" y="168"/>
                  </a:lnTo>
                  <a:lnTo>
                    <a:pt x="9" y="131"/>
                  </a:lnTo>
                  <a:lnTo>
                    <a:pt x="6" y="94"/>
                  </a:lnTo>
                  <a:lnTo>
                    <a:pt x="2" y="65"/>
                  </a:lnTo>
                  <a:lnTo>
                    <a:pt x="0" y="40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0" y="12"/>
                  </a:lnTo>
                  <a:lnTo>
                    <a:pt x="4" y="7"/>
                  </a:lnTo>
                  <a:lnTo>
                    <a:pt x="6" y="3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6"/>
            <p:cNvSpPr>
              <a:spLocks/>
            </p:cNvSpPr>
            <p:nvPr userDrawn="1"/>
          </p:nvSpPr>
          <p:spPr bwMode="auto">
            <a:xfrm>
              <a:off x="9299576" y="5176838"/>
              <a:ext cx="312738" cy="74613"/>
            </a:xfrm>
            <a:custGeom>
              <a:avLst/>
              <a:gdLst>
                <a:gd name="T0" fmla="*/ 183 w 197"/>
                <a:gd name="T1" fmla="*/ 0 h 47"/>
                <a:gd name="T2" fmla="*/ 187 w 197"/>
                <a:gd name="T3" fmla="*/ 3 h 47"/>
                <a:gd name="T4" fmla="*/ 192 w 197"/>
                <a:gd name="T5" fmla="*/ 7 h 47"/>
                <a:gd name="T6" fmla="*/ 196 w 197"/>
                <a:gd name="T7" fmla="*/ 10 h 47"/>
                <a:gd name="T8" fmla="*/ 197 w 197"/>
                <a:gd name="T9" fmla="*/ 14 h 47"/>
                <a:gd name="T10" fmla="*/ 196 w 197"/>
                <a:gd name="T11" fmla="*/ 16 h 47"/>
                <a:gd name="T12" fmla="*/ 194 w 197"/>
                <a:gd name="T13" fmla="*/ 19 h 47"/>
                <a:gd name="T14" fmla="*/ 190 w 197"/>
                <a:gd name="T15" fmla="*/ 21 h 47"/>
                <a:gd name="T16" fmla="*/ 183 w 197"/>
                <a:gd name="T17" fmla="*/ 23 h 47"/>
                <a:gd name="T18" fmla="*/ 176 w 197"/>
                <a:gd name="T19" fmla="*/ 24 h 47"/>
                <a:gd name="T20" fmla="*/ 157 w 197"/>
                <a:gd name="T21" fmla="*/ 26 h 47"/>
                <a:gd name="T22" fmla="*/ 131 w 197"/>
                <a:gd name="T23" fmla="*/ 31 h 47"/>
                <a:gd name="T24" fmla="*/ 105 w 197"/>
                <a:gd name="T25" fmla="*/ 37 h 47"/>
                <a:gd name="T26" fmla="*/ 78 w 197"/>
                <a:gd name="T27" fmla="*/ 42 h 47"/>
                <a:gd name="T28" fmla="*/ 52 w 197"/>
                <a:gd name="T29" fmla="*/ 45 h 47"/>
                <a:gd name="T30" fmla="*/ 33 w 197"/>
                <a:gd name="T31" fmla="*/ 47 h 47"/>
                <a:gd name="T32" fmla="*/ 19 w 197"/>
                <a:gd name="T33" fmla="*/ 47 h 47"/>
                <a:gd name="T34" fmla="*/ 8 w 197"/>
                <a:gd name="T35" fmla="*/ 42 h 47"/>
                <a:gd name="T36" fmla="*/ 2 w 197"/>
                <a:gd name="T37" fmla="*/ 35 h 47"/>
                <a:gd name="T38" fmla="*/ 0 w 197"/>
                <a:gd name="T39" fmla="*/ 31 h 47"/>
                <a:gd name="T40" fmla="*/ 2 w 197"/>
                <a:gd name="T41" fmla="*/ 26 h 47"/>
                <a:gd name="T42" fmla="*/ 3 w 197"/>
                <a:gd name="T43" fmla="*/ 23 h 47"/>
                <a:gd name="T44" fmla="*/ 5 w 197"/>
                <a:gd name="T45" fmla="*/ 21 h 47"/>
                <a:gd name="T46" fmla="*/ 10 w 197"/>
                <a:gd name="T47" fmla="*/ 19 h 47"/>
                <a:gd name="T48" fmla="*/ 17 w 197"/>
                <a:gd name="T49" fmla="*/ 17 h 47"/>
                <a:gd name="T50" fmla="*/ 31 w 197"/>
                <a:gd name="T51" fmla="*/ 17 h 47"/>
                <a:gd name="T52" fmla="*/ 47 w 197"/>
                <a:gd name="T53" fmla="*/ 16 h 47"/>
                <a:gd name="T54" fmla="*/ 64 w 197"/>
                <a:gd name="T55" fmla="*/ 12 h 47"/>
                <a:gd name="T56" fmla="*/ 122 w 197"/>
                <a:gd name="T57" fmla="*/ 5 h 47"/>
                <a:gd name="T58" fmla="*/ 183 w 197"/>
                <a:gd name="T5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97" h="47">
                  <a:moveTo>
                    <a:pt x="183" y="0"/>
                  </a:moveTo>
                  <a:lnTo>
                    <a:pt x="187" y="3"/>
                  </a:lnTo>
                  <a:lnTo>
                    <a:pt x="192" y="7"/>
                  </a:lnTo>
                  <a:lnTo>
                    <a:pt x="196" y="10"/>
                  </a:lnTo>
                  <a:lnTo>
                    <a:pt x="197" y="14"/>
                  </a:lnTo>
                  <a:lnTo>
                    <a:pt x="196" y="16"/>
                  </a:lnTo>
                  <a:lnTo>
                    <a:pt x="194" y="19"/>
                  </a:lnTo>
                  <a:lnTo>
                    <a:pt x="190" y="21"/>
                  </a:lnTo>
                  <a:lnTo>
                    <a:pt x="183" y="23"/>
                  </a:lnTo>
                  <a:lnTo>
                    <a:pt x="176" y="24"/>
                  </a:lnTo>
                  <a:lnTo>
                    <a:pt x="157" y="26"/>
                  </a:lnTo>
                  <a:lnTo>
                    <a:pt x="131" y="31"/>
                  </a:lnTo>
                  <a:lnTo>
                    <a:pt x="105" y="37"/>
                  </a:lnTo>
                  <a:lnTo>
                    <a:pt x="78" y="42"/>
                  </a:lnTo>
                  <a:lnTo>
                    <a:pt x="52" y="45"/>
                  </a:lnTo>
                  <a:lnTo>
                    <a:pt x="33" y="47"/>
                  </a:lnTo>
                  <a:lnTo>
                    <a:pt x="19" y="47"/>
                  </a:lnTo>
                  <a:lnTo>
                    <a:pt x="8" y="42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2" y="26"/>
                  </a:lnTo>
                  <a:lnTo>
                    <a:pt x="3" y="23"/>
                  </a:lnTo>
                  <a:lnTo>
                    <a:pt x="5" y="21"/>
                  </a:lnTo>
                  <a:lnTo>
                    <a:pt x="10" y="19"/>
                  </a:lnTo>
                  <a:lnTo>
                    <a:pt x="17" y="17"/>
                  </a:lnTo>
                  <a:lnTo>
                    <a:pt x="31" y="17"/>
                  </a:lnTo>
                  <a:lnTo>
                    <a:pt x="47" y="16"/>
                  </a:lnTo>
                  <a:lnTo>
                    <a:pt x="64" y="12"/>
                  </a:lnTo>
                  <a:lnTo>
                    <a:pt x="122" y="5"/>
                  </a:lnTo>
                  <a:lnTo>
                    <a:pt x="18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7"/>
            <p:cNvSpPr>
              <a:spLocks/>
            </p:cNvSpPr>
            <p:nvPr userDrawn="1"/>
          </p:nvSpPr>
          <p:spPr bwMode="auto">
            <a:xfrm>
              <a:off x="9512301" y="5254625"/>
              <a:ext cx="277813" cy="300038"/>
            </a:xfrm>
            <a:custGeom>
              <a:avLst/>
              <a:gdLst>
                <a:gd name="T0" fmla="*/ 158 w 175"/>
                <a:gd name="T1" fmla="*/ 2 h 189"/>
                <a:gd name="T2" fmla="*/ 163 w 175"/>
                <a:gd name="T3" fmla="*/ 19 h 189"/>
                <a:gd name="T4" fmla="*/ 159 w 175"/>
                <a:gd name="T5" fmla="*/ 65 h 189"/>
                <a:gd name="T6" fmla="*/ 161 w 175"/>
                <a:gd name="T7" fmla="*/ 112 h 189"/>
                <a:gd name="T8" fmla="*/ 168 w 175"/>
                <a:gd name="T9" fmla="*/ 157 h 189"/>
                <a:gd name="T10" fmla="*/ 172 w 175"/>
                <a:gd name="T11" fmla="*/ 163 h 189"/>
                <a:gd name="T12" fmla="*/ 175 w 175"/>
                <a:gd name="T13" fmla="*/ 170 h 189"/>
                <a:gd name="T14" fmla="*/ 173 w 175"/>
                <a:gd name="T15" fmla="*/ 180 h 189"/>
                <a:gd name="T16" fmla="*/ 168 w 175"/>
                <a:gd name="T17" fmla="*/ 189 h 189"/>
                <a:gd name="T18" fmla="*/ 159 w 175"/>
                <a:gd name="T19" fmla="*/ 189 h 189"/>
                <a:gd name="T20" fmla="*/ 153 w 175"/>
                <a:gd name="T21" fmla="*/ 185 h 189"/>
                <a:gd name="T22" fmla="*/ 142 w 175"/>
                <a:gd name="T23" fmla="*/ 166 h 189"/>
                <a:gd name="T24" fmla="*/ 132 w 175"/>
                <a:gd name="T25" fmla="*/ 112 h 189"/>
                <a:gd name="T26" fmla="*/ 104 w 175"/>
                <a:gd name="T27" fmla="*/ 156 h 189"/>
                <a:gd name="T28" fmla="*/ 76 w 175"/>
                <a:gd name="T29" fmla="*/ 173 h 189"/>
                <a:gd name="T30" fmla="*/ 46 w 175"/>
                <a:gd name="T31" fmla="*/ 164 h 189"/>
                <a:gd name="T32" fmla="*/ 23 w 175"/>
                <a:gd name="T33" fmla="*/ 131 h 189"/>
                <a:gd name="T34" fmla="*/ 9 w 175"/>
                <a:gd name="T35" fmla="*/ 87 h 189"/>
                <a:gd name="T36" fmla="*/ 2 w 175"/>
                <a:gd name="T37" fmla="*/ 49 h 189"/>
                <a:gd name="T38" fmla="*/ 0 w 175"/>
                <a:gd name="T39" fmla="*/ 31 h 189"/>
                <a:gd name="T40" fmla="*/ 2 w 175"/>
                <a:gd name="T41" fmla="*/ 23 h 189"/>
                <a:gd name="T42" fmla="*/ 6 w 175"/>
                <a:gd name="T43" fmla="*/ 16 h 189"/>
                <a:gd name="T44" fmla="*/ 13 w 175"/>
                <a:gd name="T45" fmla="*/ 12 h 189"/>
                <a:gd name="T46" fmla="*/ 28 w 175"/>
                <a:gd name="T47" fmla="*/ 14 h 189"/>
                <a:gd name="T48" fmla="*/ 34 w 175"/>
                <a:gd name="T49" fmla="*/ 31 h 189"/>
                <a:gd name="T50" fmla="*/ 41 w 175"/>
                <a:gd name="T51" fmla="*/ 82 h 189"/>
                <a:gd name="T52" fmla="*/ 55 w 175"/>
                <a:gd name="T53" fmla="*/ 135 h 189"/>
                <a:gd name="T54" fmla="*/ 63 w 175"/>
                <a:gd name="T55" fmla="*/ 145 h 189"/>
                <a:gd name="T56" fmla="*/ 72 w 175"/>
                <a:gd name="T57" fmla="*/ 147 h 189"/>
                <a:gd name="T58" fmla="*/ 83 w 175"/>
                <a:gd name="T59" fmla="*/ 140 h 189"/>
                <a:gd name="T60" fmla="*/ 109 w 175"/>
                <a:gd name="T61" fmla="*/ 105 h 189"/>
                <a:gd name="T62" fmla="*/ 133 w 175"/>
                <a:gd name="T63" fmla="*/ 42 h 189"/>
                <a:gd name="T64" fmla="*/ 139 w 175"/>
                <a:gd name="T65" fmla="*/ 9 h 189"/>
                <a:gd name="T66" fmla="*/ 153 w 175"/>
                <a:gd name="T67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5" h="189">
                  <a:moveTo>
                    <a:pt x="153" y="0"/>
                  </a:moveTo>
                  <a:lnTo>
                    <a:pt x="158" y="2"/>
                  </a:lnTo>
                  <a:lnTo>
                    <a:pt x="161" y="9"/>
                  </a:lnTo>
                  <a:lnTo>
                    <a:pt x="163" y="19"/>
                  </a:lnTo>
                  <a:lnTo>
                    <a:pt x="163" y="35"/>
                  </a:lnTo>
                  <a:lnTo>
                    <a:pt x="159" y="65"/>
                  </a:lnTo>
                  <a:lnTo>
                    <a:pt x="159" y="89"/>
                  </a:lnTo>
                  <a:lnTo>
                    <a:pt x="161" y="112"/>
                  </a:lnTo>
                  <a:lnTo>
                    <a:pt x="163" y="133"/>
                  </a:lnTo>
                  <a:lnTo>
                    <a:pt x="168" y="157"/>
                  </a:lnTo>
                  <a:lnTo>
                    <a:pt x="170" y="159"/>
                  </a:lnTo>
                  <a:lnTo>
                    <a:pt x="172" y="163"/>
                  </a:lnTo>
                  <a:lnTo>
                    <a:pt x="173" y="166"/>
                  </a:lnTo>
                  <a:lnTo>
                    <a:pt x="175" y="170"/>
                  </a:lnTo>
                  <a:lnTo>
                    <a:pt x="175" y="175"/>
                  </a:lnTo>
                  <a:lnTo>
                    <a:pt x="173" y="180"/>
                  </a:lnTo>
                  <a:lnTo>
                    <a:pt x="170" y="185"/>
                  </a:lnTo>
                  <a:lnTo>
                    <a:pt x="168" y="189"/>
                  </a:lnTo>
                  <a:lnTo>
                    <a:pt x="163" y="189"/>
                  </a:lnTo>
                  <a:lnTo>
                    <a:pt x="159" y="189"/>
                  </a:lnTo>
                  <a:lnTo>
                    <a:pt x="156" y="189"/>
                  </a:lnTo>
                  <a:lnTo>
                    <a:pt x="153" y="185"/>
                  </a:lnTo>
                  <a:lnTo>
                    <a:pt x="149" y="182"/>
                  </a:lnTo>
                  <a:lnTo>
                    <a:pt x="142" y="166"/>
                  </a:lnTo>
                  <a:lnTo>
                    <a:pt x="137" y="142"/>
                  </a:lnTo>
                  <a:lnTo>
                    <a:pt x="132" y="112"/>
                  </a:lnTo>
                  <a:lnTo>
                    <a:pt x="119" y="135"/>
                  </a:lnTo>
                  <a:lnTo>
                    <a:pt x="104" y="156"/>
                  </a:lnTo>
                  <a:lnTo>
                    <a:pt x="91" y="168"/>
                  </a:lnTo>
                  <a:lnTo>
                    <a:pt x="76" y="173"/>
                  </a:lnTo>
                  <a:lnTo>
                    <a:pt x="62" y="173"/>
                  </a:lnTo>
                  <a:lnTo>
                    <a:pt x="46" y="164"/>
                  </a:lnTo>
                  <a:lnTo>
                    <a:pt x="32" y="149"/>
                  </a:lnTo>
                  <a:lnTo>
                    <a:pt x="23" y="131"/>
                  </a:lnTo>
                  <a:lnTo>
                    <a:pt x="16" y="108"/>
                  </a:lnTo>
                  <a:lnTo>
                    <a:pt x="9" y="87"/>
                  </a:lnTo>
                  <a:lnTo>
                    <a:pt x="6" y="66"/>
                  </a:lnTo>
                  <a:lnTo>
                    <a:pt x="2" y="49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6"/>
                  </a:lnTo>
                  <a:lnTo>
                    <a:pt x="9" y="12"/>
                  </a:lnTo>
                  <a:lnTo>
                    <a:pt x="13" y="12"/>
                  </a:lnTo>
                  <a:lnTo>
                    <a:pt x="20" y="10"/>
                  </a:lnTo>
                  <a:lnTo>
                    <a:pt x="28" y="14"/>
                  </a:lnTo>
                  <a:lnTo>
                    <a:pt x="32" y="19"/>
                  </a:lnTo>
                  <a:lnTo>
                    <a:pt x="34" y="31"/>
                  </a:lnTo>
                  <a:lnTo>
                    <a:pt x="37" y="51"/>
                  </a:lnTo>
                  <a:lnTo>
                    <a:pt x="41" y="82"/>
                  </a:lnTo>
                  <a:lnTo>
                    <a:pt x="48" y="112"/>
                  </a:lnTo>
                  <a:lnTo>
                    <a:pt x="55" y="135"/>
                  </a:lnTo>
                  <a:lnTo>
                    <a:pt x="58" y="142"/>
                  </a:lnTo>
                  <a:lnTo>
                    <a:pt x="63" y="145"/>
                  </a:lnTo>
                  <a:lnTo>
                    <a:pt x="69" y="147"/>
                  </a:lnTo>
                  <a:lnTo>
                    <a:pt x="72" y="147"/>
                  </a:lnTo>
                  <a:lnTo>
                    <a:pt x="77" y="145"/>
                  </a:lnTo>
                  <a:lnTo>
                    <a:pt x="83" y="140"/>
                  </a:lnTo>
                  <a:lnTo>
                    <a:pt x="97" y="126"/>
                  </a:lnTo>
                  <a:lnTo>
                    <a:pt x="109" y="105"/>
                  </a:lnTo>
                  <a:lnTo>
                    <a:pt x="123" y="77"/>
                  </a:lnTo>
                  <a:lnTo>
                    <a:pt x="133" y="42"/>
                  </a:lnTo>
                  <a:lnTo>
                    <a:pt x="135" y="23"/>
                  </a:lnTo>
                  <a:lnTo>
                    <a:pt x="139" y="9"/>
                  </a:lnTo>
                  <a:lnTo>
                    <a:pt x="144" y="0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8"/>
            <p:cNvSpPr>
              <a:spLocks/>
            </p:cNvSpPr>
            <p:nvPr userDrawn="1"/>
          </p:nvSpPr>
          <p:spPr bwMode="auto">
            <a:xfrm>
              <a:off x="9853613" y="5240338"/>
              <a:ext cx="217488" cy="314325"/>
            </a:xfrm>
            <a:custGeom>
              <a:avLst/>
              <a:gdLst>
                <a:gd name="T0" fmla="*/ 105 w 137"/>
                <a:gd name="T1" fmla="*/ 0 h 198"/>
                <a:gd name="T2" fmla="*/ 119 w 137"/>
                <a:gd name="T3" fmla="*/ 0 h 198"/>
                <a:gd name="T4" fmla="*/ 128 w 137"/>
                <a:gd name="T5" fmla="*/ 5 h 198"/>
                <a:gd name="T6" fmla="*/ 135 w 137"/>
                <a:gd name="T7" fmla="*/ 14 h 198"/>
                <a:gd name="T8" fmla="*/ 137 w 137"/>
                <a:gd name="T9" fmla="*/ 32 h 198"/>
                <a:gd name="T10" fmla="*/ 135 w 137"/>
                <a:gd name="T11" fmla="*/ 46 h 198"/>
                <a:gd name="T12" fmla="*/ 132 w 137"/>
                <a:gd name="T13" fmla="*/ 58 h 198"/>
                <a:gd name="T14" fmla="*/ 126 w 137"/>
                <a:gd name="T15" fmla="*/ 68 h 198"/>
                <a:gd name="T16" fmla="*/ 118 w 137"/>
                <a:gd name="T17" fmla="*/ 74 h 198"/>
                <a:gd name="T18" fmla="*/ 107 w 137"/>
                <a:gd name="T19" fmla="*/ 75 h 198"/>
                <a:gd name="T20" fmla="*/ 104 w 137"/>
                <a:gd name="T21" fmla="*/ 74 h 198"/>
                <a:gd name="T22" fmla="*/ 102 w 137"/>
                <a:gd name="T23" fmla="*/ 72 h 198"/>
                <a:gd name="T24" fmla="*/ 102 w 137"/>
                <a:gd name="T25" fmla="*/ 68 h 198"/>
                <a:gd name="T26" fmla="*/ 102 w 137"/>
                <a:gd name="T27" fmla="*/ 67 h 198"/>
                <a:gd name="T28" fmla="*/ 104 w 137"/>
                <a:gd name="T29" fmla="*/ 63 h 198"/>
                <a:gd name="T30" fmla="*/ 105 w 137"/>
                <a:gd name="T31" fmla="*/ 58 h 198"/>
                <a:gd name="T32" fmla="*/ 105 w 137"/>
                <a:gd name="T33" fmla="*/ 49 h 198"/>
                <a:gd name="T34" fmla="*/ 107 w 137"/>
                <a:gd name="T35" fmla="*/ 39 h 198"/>
                <a:gd name="T36" fmla="*/ 104 w 137"/>
                <a:gd name="T37" fmla="*/ 30 h 198"/>
                <a:gd name="T38" fmla="*/ 98 w 137"/>
                <a:gd name="T39" fmla="*/ 26 h 198"/>
                <a:gd name="T40" fmla="*/ 88 w 137"/>
                <a:gd name="T41" fmla="*/ 28 h 198"/>
                <a:gd name="T42" fmla="*/ 77 w 137"/>
                <a:gd name="T43" fmla="*/ 37 h 198"/>
                <a:gd name="T44" fmla="*/ 69 w 137"/>
                <a:gd name="T45" fmla="*/ 54 h 198"/>
                <a:gd name="T46" fmla="*/ 58 w 137"/>
                <a:gd name="T47" fmla="*/ 75 h 198"/>
                <a:gd name="T48" fmla="*/ 53 w 137"/>
                <a:gd name="T49" fmla="*/ 103 h 198"/>
                <a:gd name="T50" fmla="*/ 51 w 137"/>
                <a:gd name="T51" fmla="*/ 117 h 198"/>
                <a:gd name="T52" fmla="*/ 51 w 137"/>
                <a:gd name="T53" fmla="*/ 131 h 198"/>
                <a:gd name="T54" fmla="*/ 51 w 137"/>
                <a:gd name="T55" fmla="*/ 149 h 198"/>
                <a:gd name="T56" fmla="*/ 55 w 137"/>
                <a:gd name="T57" fmla="*/ 175 h 198"/>
                <a:gd name="T58" fmla="*/ 56 w 137"/>
                <a:gd name="T59" fmla="*/ 182 h 198"/>
                <a:gd name="T60" fmla="*/ 56 w 137"/>
                <a:gd name="T61" fmla="*/ 189 h 198"/>
                <a:gd name="T62" fmla="*/ 55 w 137"/>
                <a:gd name="T63" fmla="*/ 193 h 198"/>
                <a:gd name="T64" fmla="*/ 55 w 137"/>
                <a:gd name="T65" fmla="*/ 196 h 198"/>
                <a:gd name="T66" fmla="*/ 53 w 137"/>
                <a:gd name="T67" fmla="*/ 198 h 198"/>
                <a:gd name="T68" fmla="*/ 49 w 137"/>
                <a:gd name="T69" fmla="*/ 198 h 198"/>
                <a:gd name="T70" fmla="*/ 46 w 137"/>
                <a:gd name="T71" fmla="*/ 198 h 198"/>
                <a:gd name="T72" fmla="*/ 41 w 137"/>
                <a:gd name="T73" fmla="*/ 198 h 198"/>
                <a:gd name="T74" fmla="*/ 35 w 137"/>
                <a:gd name="T75" fmla="*/ 196 h 198"/>
                <a:gd name="T76" fmla="*/ 32 w 137"/>
                <a:gd name="T77" fmla="*/ 194 h 198"/>
                <a:gd name="T78" fmla="*/ 28 w 137"/>
                <a:gd name="T79" fmla="*/ 191 h 198"/>
                <a:gd name="T80" fmla="*/ 27 w 137"/>
                <a:gd name="T81" fmla="*/ 186 h 198"/>
                <a:gd name="T82" fmla="*/ 14 w 137"/>
                <a:gd name="T83" fmla="*/ 138 h 198"/>
                <a:gd name="T84" fmla="*/ 7 w 137"/>
                <a:gd name="T85" fmla="*/ 93 h 198"/>
                <a:gd name="T86" fmla="*/ 2 w 137"/>
                <a:gd name="T87" fmla="*/ 49 h 198"/>
                <a:gd name="T88" fmla="*/ 0 w 137"/>
                <a:gd name="T89" fmla="*/ 14 h 198"/>
                <a:gd name="T90" fmla="*/ 0 w 137"/>
                <a:gd name="T91" fmla="*/ 9 h 198"/>
                <a:gd name="T92" fmla="*/ 4 w 137"/>
                <a:gd name="T93" fmla="*/ 5 h 198"/>
                <a:gd name="T94" fmla="*/ 7 w 137"/>
                <a:gd name="T95" fmla="*/ 4 h 198"/>
                <a:gd name="T96" fmla="*/ 11 w 137"/>
                <a:gd name="T97" fmla="*/ 2 h 198"/>
                <a:gd name="T98" fmla="*/ 14 w 137"/>
                <a:gd name="T99" fmla="*/ 2 h 198"/>
                <a:gd name="T100" fmla="*/ 18 w 137"/>
                <a:gd name="T101" fmla="*/ 4 h 198"/>
                <a:gd name="T102" fmla="*/ 21 w 137"/>
                <a:gd name="T103" fmla="*/ 4 h 198"/>
                <a:gd name="T104" fmla="*/ 25 w 137"/>
                <a:gd name="T105" fmla="*/ 7 h 198"/>
                <a:gd name="T106" fmla="*/ 27 w 137"/>
                <a:gd name="T107" fmla="*/ 12 h 198"/>
                <a:gd name="T108" fmla="*/ 30 w 137"/>
                <a:gd name="T109" fmla="*/ 28 h 198"/>
                <a:gd name="T110" fmla="*/ 34 w 137"/>
                <a:gd name="T111" fmla="*/ 47 h 198"/>
                <a:gd name="T112" fmla="*/ 37 w 137"/>
                <a:gd name="T113" fmla="*/ 68 h 198"/>
                <a:gd name="T114" fmla="*/ 44 w 137"/>
                <a:gd name="T115" fmla="*/ 49 h 198"/>
                <a:gd name="T116" fmla="*/ 55 w 137"/>
                <a:gd name="T117" fmla="*/ 32 h 198"/>
                <a:gd name="T118" fmla="*/ 67 w 137"/>
                <a:gd name="T119" fmla="*/ 16 h 198"/>
                <a:gd name="T120" fmla="*/ 84 w 137"/>
                <a:gd name="T121" fmla="*/ 5 h 198"/>
                <a:gd name="T122" fmla="*/ 105 w 137"/>
                <a:gd name="T12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" h="198">
                  <a:moveTo>
                    <a:pt x="105" y="0"/>
                  </a:moveTo>
                  <a:lnTo>
                    <a:pt x="119" y="0"/>
                  </a:lnTo>
                  <a:lnTo>
                    <a:pt x="128" y="5"/>
                  </a:lnTo>
                  <a:lnTo>
                    <a:pt x="135" y="14"/>
                  </a:lnTo>
                  <a:lnTo>
                    <a:pt x="137" y="32"/>
                  </a:lnTo>
                  <a:lnTo>
                    <a:pt x="135" y="46"/>
                  </a:lnTo>
                  <a:lnTo>
                    <a:pt x="132" y="58"/>
                  </a:lnTo>
                  <a:lnTo>
                    <a:pt x="126" y="68"/>
                  </a:lnTo>
                  <a:lnTo>
                    <a:pt x="118" y="74"/>
                  </a:lnTo>
                  <a:lnTo>
                    <a:pt x="107" y="75"/>
                  </a:lnTo>
                  <a:lnTo>
                    <a:pt x="104" y="74"/>
                  </a:lnTo>
                  <a:lnTo>
                    <a:pt x="102" y="72"/>
                  </a:lnTo>
                  <a:lnTo>
                    <a:pt x="102" y="68"/>
                  </a:lnTo>
                  <a:lnTo>
                    <a:pt x="102" y="67"/>
                  </a:lnTo>
                  <a:lnTo>
                    <a:pt x="104" y="63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7" y="39"/>
                  </a:lnTo>
                  <a:lnTo>
                    <a:pt x="104" y="30"/>
                  </a:lnTo>
                  <a:lnTo>
                    <a:pt x="98" y="26"/>
                  </a:lnTo>
                  <a:lnTo>
                    <a:pt x="88" y="28"/>
                  </a:lnTo>
                  <a:lnTo>
                    <a:pt x="77" y="37"/>
                  </a:lnTo>
                  <a:lnTo>
                    <a:pt x="69" y="54"/>
                  </a:lnTo>
                  <a:lnTo>
                    <a:pt x="58" y="75"/>
                  </a:lnTo>
                  <a:lnTo>
                    <a:pt x="53" y="103"/>
                  </a:lnTo>
                  <a:lnTo>
                    <a:pt x="51" y="117"/>
                  </a:lnTo>
                  <a:lnTo>
                    <a:pt x="51" y="131"/>
                  </a:lnTo>
                  <a:lnTo>
                    <a:pt x="51" y="149"/>
                  </a:lnTo>
                  <a:lnTo>
                    <a:pt x="55" y="175"/>
                  </a:lnTo>
                  <a:lnTo>
                    <a:pt x="56" y="182"/>
                  </a:lnTo>
                  <a:lnTo>
                    <a:pt x="56" y="189"/>
                  </a:lnTo>
                  <a:lnTo>
                    <a:pt x="55" y="193"/>
                  </a:lnTo>
                  <a:lnTo>
                    <a:pt x="55" y="196"/>
                  </a:lnTo>
                  <a:lnTo>
                    <a:pt x="53" y="198"/>
                  </a:lnTo>
                  <a:lnTo>
                    <a:pt x="49" y="198"/>
                  </a:lnTo>
                  <a:lnTo>
                    <a:pt x="46" y="198"/>
                  </a:lnTo>
                  <a:lnTo>
                    <a:pt x="41" y="198"/>
                  </a:lnTo>
                  <a:lnTo>
                    <a:pt x="35" y="196"/>
                  </a:lnTo>
                  <a:lnTo>
                    <a:pt x="32" y="194"/>
                  </a:lnTo>
                  <a:lnTo>
                    <a:pt x="28" y="191"/>
                  </a:lnTo>
                  <a:lnTo>
                    <a:pt x="27" y="186"/>
                  </a:lnTo>
                  <a:lnTo>
                    <a:pt x="14" y="138"/>
                  </a:lnTo>
                  <a:lnTo>
                    <a:pt x="7" y="93"/>
                  </a:lnTo>
                  <a:lnTo>
                    <a:pt x="2" y="49"/>
                  </a:lnTo>
                  <a:lnTo>
                    <a:pt x="0" y="14"/>
                  </a:lnTo>
                  <a:lnTo>
                    <a:pt x="0" y="9"/>
                  </a:lnTo>
                  <a:lnTo>
                    <a:pt x="4" y="5"/>
                  </a:lnTo>
                  <a:lnTo>
                    <a:pt x="7" y="4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8" y="4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28"/>
                  </a:lnTo>
                  <a:lnTo>
                    <a:pt x="34" y="47"/>
                  </a:lnTo>
                  <a:lnTo>
                    <a:pt x="37" y="68"/>
                  </a:lnTo>
                  <a:lnTo>
                    <a:pt x="44" y="49"/>
                  </a:lnTo>
                  <a:lnTo>
                    <a:pt x="55" y="32"/>
                  </a:lnTo>
                  <a:lnTo>
                    <a:pt x="67" y="16"/>
                  </a:lnTo>
                  <a:lnTo>
                    <a:pt x="84" y="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59"/>
            <p:cNvSpPr>
              <a:spLocks noEditPoints="1"/>
            </p:cNvSpPr>
            <p:nvPr userDrawn="1"/>
          </p:nvSpPr>
          <p:spPr bwMode="auto">
            <a:xfrm>
              <a:off x="10059988" y="5268913"/>
              <a:ext cx="266700" cy="285750"/>
            </a:xfrm>
            <a:custGeom>
              <a:avLst/>
              <a:gdLst>
                <a:gd name="T0" fmla="*/ 110 w 168"/>
                <a:gd name="T1" fmla="*/ 26 h 180"/>
                <a:gd name="T2" fmla="*/ 84 w 168"/>
                <a:gd name="T3" fmla="*/ 42 h 180"/>
                <a:gd name="T4" fmla="*/ 59 w 168"/>
                <a:gd name="T5" fmla="*/ 68 h 180"/>
                <a:gd name="T6" fmla="*/ 51 w 168"/>
                <a:gd name="T7" fmla="*/ 87 h 180"/>
                <a:gd name="T8" fmla="*/ 86 w 168"/>
                <a:gd name="T9" fmla="*/ 80 h 180"/>
                <a:gd name="T10" fmla="*/ 124 w 168"/>
                <a:gd name="T11" fmla="*/ 59 h 180"/>
                <a:gd name="T12" fmla="*/ 138 w 168"/>
                <a:gd name="T13" fmla="*/ 35 h 180"/>
                <a:gd name="T14" fmla="*/ 124 w 168"/>
                <a:gd name="T15" fmla="*/ 22 h 180"/>
                <a:gd name="T16" fmla="*/ 134 w 168"/>
                <a:gd name="T17" fmla="*/ 1 h 180"/>
                <a:gd name="T18" fmla="*/ 162 w 168"/>
                <a:gd name="T19" fmla="*/ 22 h 180"/>
                <a:gd name="T20" fmla="*/ 164 w 168"/>
                <a:gd name="T21" fmla="*/ 57 h 180"/>
                <a:gd name="T22" fmla="*/ 136 w 168"/>
                <a:gd name="T23" fmla="*/ 87 h 180"/>
                <a:gd name="T24" fmla="*/ 91 w 168"/>
                <a:gd name="T25" fmla="*/ 108 h 180"/>
                <a:gd name="T26" fmla="*/ 51 w 168"/>
                <a:gd name="T27" fmla="*/ 115 h 180"/>
                <a:gd name="T28" fmla="*/ 59 w 168"/>
                <a:gd name="T29" fmla="*/ 138 h 180"/>
                <a:gd name="T30" fmla="*/ 93 w 168"/>
                <a:gd name="T31" fmla="*/ 155 h 180"/>
                <a:gd name="T32" fmla="*/ 138 w 168"/>
                <a:gd name="T33" fmla="*/ 150 h 180"/>
                <a:gd name="T34" fmla="*/ 148 w 168"/>
                <a:gd name="T35" fmla="*/ 147 h 180"/>
                <a:gd name="T36" fmla="*/ 155 w 168"/>
                <a:gd name="T37" fmla="*/ 148 h 180"/>
                <a:gd name="T38" fmla="*/ 157 w 168"/>
                <a:gd name="T39" fmla="*/ 154 h 180"/>
                <a:gd name="T40" fmla="*/ 154 w 168"/>
                <a:gd name="T41" fmla="*/ 162 h 180"/>
                <a:gd name="T42" fmla="*/ 147 w 168"/>
                <a:gd name="T43" fmla="*/ 171 h 180"/>
                <a:gd name="T44" fmla="*/ 117 w 168"/>
                <a:gd name="T45" fmla="*/ 180 h 180"/>
                <a:gd name="T46" fmla="*/ 66 w 168"/>
                <a:gd name="T47" fmla="*/ 175 h 180"/>
                <a:gd name="T48" fmla="*/ 28 w 168"/>
                <a:gd name="T49" fmla="*/ 145 h 180"/>
                <a:gd name="T50" fmla="*/ 19 w 168"/>
                <a:gd name="T51" fmla="*/ 112 h 180"/>
                <a:gd name="T52" fmla="*/ 5 w 168"/>
                <a:gd name="T53" fmla="*/ 105 h 180"/>
                <a:gd name="T54" fmla="*/ 0 w 168"/>
                <a:gd name="T55" fmla="*/ 98 h 180"/>
                <a:gd name="T56" fmla="*/ 2 w 168"/>
                <a:gd name="T57" fmla="*/ 91 h 180"/>
                <a:gd name="T58" fmla="*/ 9 w 168"/>
                <a:gd name="T59" fmla="*/ 84 h 180"/>
                <a:gd name="T60" fmla="*/ 23 w 168"/>
                <a:gd name="T61" fmla="*/ 80 h 180"/>
                <a:gd name="T62" fmla="*/ 51 w 168"/>
                <a:gd name="T63" fmla="*/ 35 h 180"/>
                <a:gd name="T64" fmla="*/ 91 w 168"/>
                <a:gd name="T65" fmla="*/ 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" h="180">
                  <a:moveTo>
                    <a:pt x="124" y="22"/>
                  </a:moveTo>
                  <a:lnTo>
                    <a:pt x="110" y="26"/>
                  </a:lnTo>
                  <a:lnTo>
                    <a:pt x="96" y="33"/>
                  </a:lnTo>
                  <a:lnTo>
                    <a:pt x="84" y="42"/>
                  </a:lnTo>
                  <a:lnTo>
                    <a:pt x="73" y="50"/>
                  </a:lnTo>
                  <a:lnTo>
                    <a:pt x="59" y="68"/>
                  </a:lnTo>
                  <a:lnTo>
                    <a:pt x="51" y="84"/>
                  </a:lnTo>
                  <a:lnTo>
                    <a:pt x="51" y="87"/>
                  </a:lnTo>
                  <a:lnTo>
                    <a:pt x="61" y="85"/>
                  </a:lnTo>
                  <a:lnTo>
                    <a:pt x="86" y="80"/>
                  </a:lnTo>
                  <a:lnTo>
                    <a:pt x="106" y="70"/>
                  </a:lnTo>
                  <a:lnTo>
                    <a:pt x="124" y="59"/>
                  </a:lnTo>
                  <a:lnTo>
                    <a:pt x="134" y="47"/>
                  </a:lnTo>
                  <a:lnTo>
                    <a:pt x="138" y="35"/>
                  </a:lnTo>
                  <a:lnTo>
                    <a:pt x="133" y="26"/>
                  </a:lnTo>
                  <a:lnTo>
                    <a:pt x="124" y="22"/>
                  </a:lnTo>
                  <a:close/>
                  <a:moveTo>
                    <a:pt x="113" y="0"/>
                  </a:moveTo>
                  <a:lnTo>
                    <a:pt x="134" y="1"/>
                  </a:lnTo>
                  <a:lnTo>
                    <a:pt x="154" y="10"/>
                  </a:lnTo>
                  <a:lnTo>
                    <a:pt x="162" y="22"/>
                  </a:lnTo>
                  <a:lnTo>
                    <a:pt x="168" y="38"/>
                  </a:lnTo>
                  <a:lnTo>
                    <a:pt x="164" y="57"/>
                  </a:lnTo>
                  <a:lnTo>
                    <a:pt x="154" y="71"/>
                  </a:lnTo>
                  <a:lnTo>
                    <a:pt x="136" y="87"/>
                  </a:lnTo>
                  <a:lnTo>
                    <a:pt x="115" y="99"/>
                  </a:lnTo>
                  <a:lnTo>
                    <a:pt x="91" y="108"/>
                  </a:lnTo>
                  <a:lnTo>
                    <a:pt x="68" y="113"/>
                  </a:lnTo>
                  <a:lnTo>
                    <a:pt x="51" y="115"/>
                  </a:lnTo>
                  <a:lnTo>
                    <a:pt x="51" y="122"/>
                  </a:lnTo>
                  <a:lnTo>
                    <a:pt x="59" y="138"/>
                  </a:lnTo>
                  <a:lnTo>
                    <a:pt x="73" y="148"/>
                  </a:lnTo>
                  <a:lnTo>
                    <a:pt x="93" y="155"/>
                  </a:lnTo>
                  <a:lnTo>
                    <a:pt x="113" y="155"/>
                  </a:lnTo>
                  <a:lnTo>
                    <a:pt x="138" y="150"/>
                  </a:lnTo>
                  <a:lnTo>
                    <a:pt x="143" y="148"/>
                  </a:lnTo>
                  <a:lnTo>
                    <a:pt x="148" y="147"/>
                  </a:lnTo>
                  <a:lnTo>
                    <a:pt x="152" y="147"/>
                  </a:lnTo>
                  <a:lnTo>
                    <a:pt x="155" y="148"/>
                  </a:lnTo>
                  <a:lnTo>
                    <a:pt x="157" y="150"/>
                  </a:lnTo>
                  <a:lnTo>
                    <a:pt x="157" y="154"/>
                  </a:lnTo>
                  <a:lnTo>
                    <a:pt x="157" y="159"/>
                  </a:lnTo>
                  <a:lnTo>
                    <a:pt x="154" y="162"/>
                  </a:lnTo>
                  <a:lnTo>
                    <a:pt x="152" y="168"/>
                  </a:lnTo>
                  <a:lnTo>
                    <a:pt x="147" y="171"/>
                  </a:lnTo>
                  <a:lnTo>
                    <a:pt x="143" y="173"/>
                  </a:lnTo>
                  <a:lnTo>
                    <a:pt x="117" y="180"/>
                  </a:lnTo>
                  <a:lnTo>
                    <a:pt x="91" y="180"/>
                  </a:lnTo>
                  <a:lnTo>
                    <a:pt x="66" y="175"/>
                  </a:lnTo>
                  <a:lnTo>
                    <a:pt x="45" y="162"/>
                  </a:lnTo>
                  <a:lnTo>
                    <a:pt x="28" y="145"/>
                  </a:lnTo>
                  <a:lnTo>
                    <a:pt x="21" y="126"/>
                  </a:lnTo>
                  <a:lnTo>
                    <a:pt x="19" y="112"/>
                  </a:lnTo>
                  <a:lnTo>
                    <a:pt x="10" y="110"/>
                  </a:lnTo>
                  <a:lnTo>
                    <a:pt x="5" y="105"/>
                  </a:lnTo>
                  <a:lnTo>
                    <a:pt x="2" y="101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2" y="91"/>
                  </a:lnTo>
                  <a:lnTo>
                    <a:pt x="3" y="87"/>
                  </a:lnTo>
                  <a:lnTo>
                    <a:pt x="9" y="84"/>
                  </a:lnTo>
                  <a:lnTo>
                    <a:pt x="21" y="85"/>
                  </a:lnTo>
                  <a:lnTo>
                    <a:pt x="23" y="80"/>
                  </a:lnTo>
                  <a:lnTo>
                    <a:pt x="33" y="57"/>
                  </a:lnTo>
                  <a:lnTo>
                    <a:pt x="51" y="35"/>
                  </a:lnTo>
                  <a:lnTo>
                    <a:pt x="70" y="19"/>
                  </a:lnTo>
                  <a:lnTo>
                    <a:pt x="91" y="7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Tijdelijke aanduiding voor tekst 23"/>
          <p:cNvSpPr>
            <a:spLocks noGrp="1"/>
          </p:cNvSpPr>
          <p:nvPr>
            <p:ph type="body" sz="quarter" idx="19" hasCustomPrompt="1"/>
          </p:nvPr>
        </p:nvSpPr>
        <p:spPr>
          <a:xfrm>
            <a:off x="1455826" y="2334126"/>
            <a:ext cx="1701295" cy="4089898"/>
          </a:xfrm>
          <a:solidFill>
            <a:schemeClr val="accent1">
              <a:alpha val="90000"/>
            </a:schemeClr>
          </a:solidFill>
        </p:spPr>
        <p:txBody>
          <a:bodyPr lIns="144000" tIns="1728000" rIns="144000" bIns="108000">
            <a:normAutofit/>
          </a:bodyPr>
          <a:lstStyle>
            <a:lvl1pPr marL="0" indent="0" algn="ctr">
              <a:buNone/>
              <a:defRPr sz="16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Hoofdstuk titel</a:t>
            </a:r>
            <a:endParaRPr lang="en-US" dirty="0"/>
          </a:p>
        </p:txBody>
      </p:sp>
      <p:sp>
        <p:nvSpPr>
          <p:cNvPr id="138" name="Tijdelijke aanduiding voor tekst 23"/>
          <p:cNvSpPr>
            <a:spLocks noGrp="1"/>
          </p:cNvSpPr>
          <p:nvPr>
            <p:ph type="body" sz="quarter" idx="20" hasCustomPrompt="1"/>
          </p:nvPr>
        </p:nvSpPr>
        <p:spPr>
          <a:xfrm>
            <a:off x="3346634" y="2334126"/>
            <a:ext cx="1701295" cy="4089898"/>
          </a:xfrm>
          <a:solidFill>
            <a:schemeClr val="accent2">
              <a:alpha val="90000"/>
            </a:schemeClr>
          </a:solidFill>
        </p:spPr>
        <p:txBody>
          <a:bodyPr lIns="144000" tIns="1728000" rIns="144000" bIns="108000">
            <a:normAutofit/>
          </a:bodyPr>
          <a:lstStyle>
            <a:lvl1pPr marL="0" indent="0" algn="ctr">
              <a:buNone/>
              <a:defRPr sz="16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Hoofdstuk titel</a:t>
            </a:r>
            <a:endParaRPr lang="en-US" dirty="0"/>
          </a:p>
        </p:txBody>
      </p:sp>
      <p:sp>
        <p:nvSpPr>
          <p:cNvPr id="139" name="Tijdelijke aanduiding voor tekst 23"/>
          <p:cNvSpPr>
            <a:spLocks noGrp="1"/>
          </p:cNvSpPr>
          <p:nvPr>
            <p:ph type="body" sz="quarter" idx="21" hasCustomPrompt="1"/>
          </p:nvPr>
        </p:nvSpPr>
        <p:spPr>
          <a:xfrm>
            <a:off x="5248133" y="2334126"/>
            <a:ext cx="1701295" cy="4089898"/>
          </a:xfrm>
          <a:solidFill>
            <a:schemeClr val="accent3">
              <a:alpha val="90000"/>
            </a:schemeClr>
          </a:solidFill>
        </p:spPr>
        <p:txBody>
          <a:bodyPr lIns="144000" tIns="1728000" rIns="144000" bIns="108000">
            <a:normAutofit/>
          </a:bodyPr>
          <a:lstStyle>
            <a:lvl1pPr marL="0" indent="0" algn="ctr">
              <a:buNone/>
              <a:defRPr sz="16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Hoofdstuk titel</a:t>
            </a:r>
            <a:endParaRPr lang="en-US" dirty="0"/>
          </a:p>
        </p:txBody>
      </p:sp>
      <p:sp>
        <p:nvSpPr>
          <p:cNvPr id="140" name="Tijdelijke aanduiding voor tekst 23"/>
          <p:cNvSpPr>
            <a:spLocks noGrp="1"/>
          </p:cNvSpPr>
          <p:nvPr>
            <p:ph type="body" sz="quarter" idx="22" hasCustomPrompt="1"/>
          </p:nvPr>
        </p:nvSpPr>
        <p:spPr>
          <a:xfrm>
            <a:off x="7137466" y="2334126"/>
            <a:ext cx="1701295" cy="4089898"/>
          </a:xfrm>
          <a:solidFill>
            <a:schemeClr val="accent4">
              <a:alpha val="90000"/>
            </a:schemeClr>
          </a:solidFill>
        </p:spPr>
        <p:txBody>
          <a:bodyPr lIns="144000" tIns="1728000" rIns="144000" bIns="108000">
            <a:normAutofit/>
          </a:bodyPr>
          <a:lstStyle>
            <a:lvl1pPr marL="0" indent="0" algn="ctr">
              <a:buNone/>
              <a:defRPr sz="16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Hoofdstuk titel</a:t>
            </a:r>
            <a:endParaRPr lang="en-US" dirty="0"/>
          </a:p>
        </p:txBody>
      </p:sp>
      <p:sp>
        <p:nvSpPr>
          <p:cNvPr id="141" name="Tijdelijke aanduiding voor tekst 23"/>
          <p:cNvSpPr>
            <a:spLocks noGrp="1"/>
          </p:cNvSpPr>
          <p:nvPr>
            <p:ph type="body" sz="quarter" idx="23" hasCustomPrompt="1"/>
          </p:nvPr>
        </p:nvSpPr>
        <p:spPr>
          <a:xfrm>
            <a:off x="9036916" y="2334126"/>
            <a:ext cx="1701295" cy="4089898"/>
          </a:xfrm>
          <a:solidFill>
            <a:schemeClr val="accent5">
              <a:alpha val="90000"/>
            </a:schemeClr>
          </a:solidFill>
        </p:spPr>
        <p:txBody>
          <a:bodyPr lIns="144000" tIns="1728000" rIns="144000" bIns="108000">
            <a:normAutofit/>
          </a:bodyPr>
          <a:lstStyle>
            <a:lvl1pPr marL="0" indent="0" algn="ctr">
              <a:buNone/>
              <a:defRPr sz="16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Hoofdstuk titel</a:t>
            </a:r>
            <a:endParaRPr lang="en-US" dirty="0"/>
          </a:p>
        </p:txBody>
      </p:sp>
      <p:sp>
        <p:nvSpPr>
          <p:cNvPr id="126" name="Bloem_rechts"/>
          <p:cNvSpPr>
            <a:spLocks noGrp="1"/>
          </p:cNvSpPr>
          <p:nvPr>
            <p:ph type="body" sz="quarter" idx="18" hasCustomPrompt="1"/>
          </p:nvPr>
        </p:nvSpPr>
        <p:spPr>
          <a:xfrm>
            <a:off x="6492667" y="5546816"/>
            <a:ext cx="1266434" cy="1314267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5" name="Bloem_links"/>
          <p:cNvSpPr>
            <a:spLocks noGrp="1"/>
          </p:cNvSpPr>
          <p:nvPr>
            <p:ph type="body" sz="quarter" idx="17" hasCustomPrompt="1"/>
          </p:nvPr>
        </p:nvSpPr>
        <p:spPr>
          <a:xfrm>
            <a:off x="573995" y="4835398"/>
            <a:ext cx="1251199" cy="1781749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2" name="Graspol_rechts"/>
          <p:cNvSpPr>
            <a:spLocks noGrp="1"/>
          </p:cNvSpPr>
          <p:nvPr>
            <p:ph type="body" sz="quarter" idx="16" hasCustomPrompt="1"/>
          </p:nvPr>
        </p:nvSpPr>
        <p:spPr>
          <a:xfrm>
            <a:off x="10255456" y="5472217"/>
            <a:ext cx="1953039" cy="994887"/>
          </a:xfr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7" name="Graspol_links"/>
          <p:cNvSpPr>
            <a:spLocks noGrp="1"/>
          </p:cNvSpPr>
          <p:nvPr>
            <p:ph type="body" sz="quarter" idx="15" hasCustomPrompt="1"/>
          </p:nvPr>
        </p:nvSpPr>
        <p:spPr>
          <a:xfrm>
            <a:off x="-9938" y="5025895"/>
            <a:ext cx="1499778" cy="1335609"/>
          </a:xfr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6" name="Gras_voor"/>
          <p:cNvSpPr>
            <a:spLocks noGrp="1"/>
          </p:cNvSpPr>
          <p:nvPr>
            <p:ph type="body" sz="quarter" idx="14" hasCustomPrompt="1"/>
          </p:nvPr>
        </p:nvSpPr>
        <p:spPr>
          <a:xfrm>
            <a:off x="-9525" y="5287366"/>
            <a:ext cx="12199938" cy="1570634"/>
          </a:xfr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Bloem_blur"/>
          <p:cNvSpPr>
            <a:spLocks noGrp="1"/>
          </p:cNvSpPr>
          <p:nvPr>
            <p:ph type="body" sz="quarter" idx="13" hasCustomPrompt="1"/>
          </p:nvPr>
        </p:nvSpPr>
        <p:spPr>
          <a:xfrm>
            <a:off x="-9525" y="4940168"/>
            <a:ext cx="12199938" cy="1917832"/>
          </a:xfr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9" name="Tekstvak 118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Menu dia - Met animatie</a:t>
            </a:r>
          </a:p>
        </p:txBody>
      </p:sp>
      <p:grpSp>
        <p:nvGrpSpPr>
          <p:cNvPr id="92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</p:grpSpPr>
        <p:sp>
          <p:nvSpPr>
            <p:cNvPr id="93" name="Rechthoek 92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hthoek 95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hthoek 96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hthoek 98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hthoek 127"/>
            <p:cNvSpPr/>
            <p:nvPr userDrawn="1"/>
          </p:nvSpPr>
          <p:spPr>
            <a:xfrm>
              <a:off x="0" y="5812900"/>
              <a:ext cx="12192000" cy="39493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hthoek 128"/>
            <p:cNvSpPr/>
            <p:nvPr userDrawn="1"/>
          </p:nvSpPr>
          <p:spPr>
            <a:xfrm>
              <a:off x="0" y="1792697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hthoek 130"/>
            <p:cNvSpPr/>
            <p:nvPr userDrawn="1"/>
          </p:nvSpPr>
          <p:spPr>
            <a:xfrm rot="16200000">
              <a:off x="-2698771" y="2698774"/>
              <a:ext cx="6853368" cy="1455824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hthoek 132"/>
            <p:cNvSpPr/>
            <p:nvPr userDrawn="1"/>
          </p:nvSpPr>
          <p:spPr>
            <a:xfrm rot="16200000">
              <a:off x="-172425" y="3331240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hthoek 133"/>
            <p:cNvSpPr/>
            <p:nvPr userDrawn="1"/>
          </p:nvSpPr>
          <p:spPr>
            <a:xfrm rot="16200000">
              <a:off x="1721455" y="3331240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hthoek 134"/>
            <p:cNvSpPr/>
            <p:nvPr userDrawn="1"/>
          </p:nvSpPr>
          <p:spPr>
            <a:xfrm rot="16200000">
              <a:off x="3615335" y="3331240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hthoek 135"/>
            <p:cNvSpPr/>
            <p:nvPr userDrawn="1"/>
          </p:nvSpPr>
          <p:spPr>
            <a:xfrm rot="16200000">
              <a:off x="5509215" y="3331241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hthoek 136"/>
            <p:cNvSpPr/>
            <p:nvPr userDrawn="1"/>
          </p:nvSpPr>
          <p:spPr>
            <a:xfrm rot="16200000">
              <a:off x="8035560" y="2698774"/>
              <a:ext cx="6853368" cy="1455824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4" name="Titel 1"/>
          <p:cNvSpPr>
            <a:spLocks noGrp="1"/>
          </p:cNvSpPr>
          <p:nvPr>
            <p:ph type="title"/>
          </p:nvPr>
        </p:nvSpPr>
        <p:spPr>
          <a:xfrm>
            <a:off x="3355097" y="1105533"/>
            <a:ext cx="8304409" cy="47542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029056"/>
      </p:ext>
    </p:extLst>
  </p:cSld>
  <p:clrMapOvr>
    <a:masterClrMapping/>
  </p:clrMapOvr>
  <p:transition xmlns:p14="http://schemas.microsoft.com/office/powerpoint/2010/main" spd="slow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>
        <p:tmplLst>
          <p:tmpl>
            <p:tnLst>
              <p:par>
                <p:cTn xmlns:p14="http://schemas.microsoft.com/office/powerpoint/2010/main"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8" grpId="0" animBg="1">
        <p:tmplLst>
          <p:tmpl>
            <p:tnLst>
              <p:par>
                <p:cTn xmlns:p14="http://schemas.microsoft.com/office/powerpoint/2010/main" presetID="2" presetClass="entr" presetSubtype="4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9" grpId="0" animBg="1">
        <p:tmplLst>
          <p:tmpl>
            <p:tnLst>
              <p:par>
                <p:cTn xmlns:p14="http://schemas.microsoft.com/office/powerpoint/2010/main"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0" grpId="0" animBg="1">
        <p:tmplLst>
          <p:tmpl>
            <p:tnLst>
              <p:par>
                <p:cTn xmlns:p14="http://schemas.microsoft.com/office/powerpoint/2010/main" presetID="2" presetClass="entr" presetSubtype="4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1" grpId="0" animBg="1">
        <p:tmplLst>
          <p:tmpl>
            <p:tnLst>
              <p:par>
                <p:cTn xmlns:p14="http://schemas.microsoft.com/office/powerpoint/2010/main"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4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nu - Zonder anima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732" y="-1700079"/>
            <a:ext cx="12213464" cy="8548815"/>
          </a:xfrm>
          <a:prstGeom prst="rect">
            <a:avLst/>
          </a:prstGeom>
        </p:spPr>
      </p:pic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9E8073-2A9C-467C-B5DE-4B8C9B288DC7}" type="datetime1">
              <a:rPr lang="en-US" smtClean="0"/>
              <a:t>6/10/18</a:t>
            </a:fld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Gras_achter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7" y="2523753"/>
            <a:ext cx="12208496" cy="3943351"/>
          </a:xfrm>
          <a:prstGeom prst="rect">
            <a:avLst/>
          </a:prstGeom>
        </p:spPr>
      </p:pic>
      <p:sp>
        <p:nvSpPr>
          <p:cNvPr id="118" name="Ovaal 117"/>
          <p:cNvSpPr/>
          <p:nvPr userDrawn="1"/>
        </p:nvSpPr>
        <p:spPr>
          <a:xfrm>
            <a:off x="-1451082" y="-1719824"/>
            <a:ext cx="5289958" cy="5289958"/>
          </a:xfrm>
          <a:prstGeom prst="ellipse">
            <a:avLst/>
          </a:prstGeom>
          <a:solidFill>
            <a:schemeClr val="bg1">
              <a:alpha val="63000"/>
            </a:schemeClr>
          </a:solidFill>
          <a:ln>
            <a:noFill/>
          </a:ln>
          <a:effectLst>
            <a:softEdge rad="838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6-puntige ster 7"/>
          <p:cNvSpPr/>
          <p:nvPr userDrawn="1"/>
        </p:nvSpPr>
        <p:spPr>
          <a:xfrm rot="20040497">
            <a:off x="-3464863" y="-4112032"/>
            <a:ext cx="9068687" cy="9889645"/>
          </a:xfrm>
          <a:prstGeom prst="star6">
            <a:avLst>
              <a:gd name="adj" fmla="val 7354"/>
              <a:gd name="hf" fmla="val 115470"/>
            </a:avLst>
          </a:prstGeom>
          <a:solidFill>
            <a:schemeClr val="bg1">
              <a:alpha val="80000"/>
            </a:schemeClr>
          </a:solidFill>
          <a:ln>
            <a:noFill/>
          </a:ln>
          <a:effectLst>
            <a:softEdge rad="215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13" name="Lensflare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249" y="-1457264"/>
            <a:ext cx="4008747" cy="6320589"/>
          </a:xfrm>
          <a:prstGeom prst="rect">
            <a:avLst/>
          </a:prstGeom>
        </p:spPr>
      </p:pic>
      <p:grpSp>
        <p:nvGrpSpPr>
          <p:cNvPr id="35" name="Logo"/>
          <p:cNvGrpSpPr/>
          <p:nvPr userDrawn="1"/>
        </p:nvGrpSpPr>
        <p:grpSpPr>
          <a:xfrm>
            <a:off x="536692" y="543619"/>
            <a:ext cx="2189507" cy="1159485"/>
            <a:chOff x="1516063" y="1006475"/>
            <a:chExt cx="9155113" cy="4848225"/>
          </a:xfrm>
        </p:grpSpPr>
        <p:sp>
          <p:nvSpPr>
            <p:cNvPr id="36" name="Freeform 6"/>
            <p:cNvSpPr>
              <a:spLocks/>
            </p:cNvSpPr>
            <p:nvPr userDrawn="1"/>
          </p:nvSpPr>
          <p:spPr bwMode="auto">
            <a:xfrm>
              <a:off x="5629276" y="4187825"/>
              <a:ext cx="406400" cy="471488"/>
            </a:xfrm>
            <a:custGeom>
              <a:avLst/>
              <a:gdLst>
                <a:gd name="T0" fmla="*/ 131 w 256"/>
                <a:gd name="T1" fmla="*/ 0 h 297"/>
                <a:gd name="T2" fmla="*/ 163 w 256"/>
                <a:gd name="T3" fmla="*/ 3 h 297"/>
                <a:gd name="T4" fmla="*/ 191 w 256"/>
                <a:gd name="T5" fmla="*/ 14 h 297"/>
                <a:gd name="T6" fmla="*/ 212 w 256"/>
                <a:gd name="T7" fmla="*/ 28 h 297"/>
                <a:gd name="T8" fmla="*/ 231 w 256"/>
                <a:gd name="T9" fmla="*/ 47 h 297"/>
                <a:gd name="T10" fmla="*/ 243 w 256"/>
                <a:gd name="T11" fmla="*/ 70 h 297"/>
                <a:gd name="T12" fmla="*/ 252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3 w 256"/>
                <a:gd name="T21" fmla="*/ 297 h 297"/>
                <a:gd name="T22" fmla="*/ 173 w 256"/>
                <a:gd name="T23" fmla="*/ 140 h 297"/>
                <a:gd name="T24" fmla="*/ 173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1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1" y="0"/>
                  </a:moveTo>
                  <a:lnTo>
                    <a:pt x="163" y="3"/>
                  </a:lnTo>
                  <a:lnTo>
                    <a:pt x="191" y="14"/>
                  </a:lnTo>
                  <a:lnTo>
                    <a:pt x="212" y="28"/>
                  </a:lnTo>
                  <a:lnTo>
                    <a:pt x="231" y="47"/>
                  </a:lnTo>
                  <a:lnTo>
                    <a:pt x="243" y="70"/>
                  </a:lnTo>
                  <a:lnTo>
                    <a:pt x="252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7"/>
            <p:cNvSpPr>
              <a:spLocks/>
            </p:cNvSpPr>
            <p:nvPr userDrawn="1"/>
          </p:nvSpPr>
          <p:spPr bwMode="auto">
            <a:xfrm>
              <a:off x="8863013" y="4187825"/>
              <a:ext cx="406400" cy="471488"/>
            </a:xfrm>
            <a:custGeom>
              <a:avLst/>
              <a:gdLst>
                <a:gd name="T0" fmla="*/ 130 w 256"/>
                <a:gd name="T1" fmla="*/ 0 h 297"/>
                <a:gd name="T2" fmla="*/ 163 w 256"/>
                <a:gd name="T3" fmla="*/ 3 h 297"/>
                <a:gd name="T4" fmla="*/ 189 w 256"/>
                <a:gd name="T5" fmla="*/ 14 h 297"/>
                <a:gd name="T6" fmla="*/ 212 w 256"/>
                <a:gd name="T7" fmla="*/ 28 h 297"/>
                <a:gd name="T8" fmla="*/ 229 w 256"/>
                <a:gd name="T9" fmla="*/ 47 h 297"/>
                <a:gd name="T10" fmla="*/ 243 w 256"/>
                <a:gd name="T11" fmla="*/ 70 h 297"/>
                <a:gd name="T12" fmla="*/ 250 w 256"/>
                <a:gd name="T13" fmla="*/ 98 h 297"/>
                <a:gd name="T14" fmla="*/ 254 w 256"/>
                <a:gd name="T15" fmla="*/ 122 h 297"/>
                <a:gd name="T16" fmla="*/ 256 w 256"/>
                <a:gd name="T17" fmla="*/ 156 h 297"/>
                <a:gd name="T18" fmla="*/ 256 w 256"/>
                <a:gd name="T19" fmla="*/ 297 h 297"/>
                <a:gd name="T20" fmla="*/ 172 w 256"/>
                <a:gd name="T21" fmla="*/ 297 h 297"/>
                <a:gd name="T22" fmla="*/ 173 w 256"/>
                <a:gd name="T23" fmla="*/ 140 h 297"/>
                <a:gd name="T24" fmla="*/ 172 w 256"/>
                <a:gd name="T25" fmla="*/ 119 h 297"/>
                <a:gd name="T26" fmla="*/ 170 w 256"/>
                <a:gd name="T27" fmla="*/ 100 h 297"/>
                <a:gd name="T28" fmla="*/ 165 w 256"/>
                <a:gd name="T29" fmla="*/ 84 h 297"/>
                <a:gd name="T30" fmla="*/ 156 w 256"/>
                <a:gd name="T31" fmla="*/ 73 h 297"/>
                <a:gd name="T32" fmla="*/ 142 w 256"/>
                <a:gd name="T33" fmla="*/ 66 h 297"/>
                <a:gd name="T34" fmla="*/ 123 w 256"/>
                <a:gd name="T35" fmla="*/ 63 h 297"/>
                <a:gd name="T36" fmla="*/ 103 w 256"/>
                <a:gd name="T37" fmla="*/ 65 h 297"/>
                <a:gd name="T38" fmla="*/ 82 w 256"/>
                <a:gd name="T39" fmla="*/ 72 h 297"/>
                <a:gd name="T40" fmla="*/ 82 w 256"/>
                <a:gd name="T41" fmla="*/ 297 h 297"/>
                <a:gd name="T42" fmla="*/ 0 w 256"/>
                <a:gd name="T43" fmla="*/ 297 h 297"/>
                <a:gd name="T44" fmla="*/ 0 w 256"/>
                <a:gd name="T45" fmla="*/ 26 h 297"/>
                <a:gd name="T46" fmla="*/ 40 w 256"/>
                <a:gd name="T47" fmla="*/ 14 h 297"/>
                <a:gd name="T48" fmla="*/ 84 w 256"/>
                <a:gd name="T49" fmla="*/ 3 h 297"/>
                <a:gd name="T50" fmla="*/ 130 w 256"/>
                <a:gd name="T5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6" h="297">
                  <a:moveTo>
                    <a:pt x="130" y="0"/>
                  </a:moveTo>
                  <a:lnTo>
                    <a:pt x="163" y="3"/>
                  </a:lnTo>
                  <a:lnTo>
                    <a:pt x="189" y="14"/>
                  </a:lnTo>
                  <a:lnTo>
                    <a:pt x="212" y="28"/>
                  </a:lnTo>
                  <a:lnTo>
                    <a:pt x="229" y="47"/>
                  </a:lnTo>
                  <a:lnTo>
                    <a:pt x="243" y="70"/>
                  </a:lnTo>
                  <a:lnTo>
                    <a:pt x="250" y="98"/>
                  </a:lnTo>
                  <a:lnTo>
                    <a:pt x="254" y="122"/>
                  </a:lnTo>
                  <a:lnTo>
                    <a:pt x="256" y="156"/>
                  </a:lnTo>
                  <a:lnTo>
                    <a:pt x="256" y="297"/>
                  </a:lnTo>
                  <a:lnTo>
                    <a:pt x="172" y="297"/>
                  </a:lnTo>
                  <a:lnTo>
                    <a:pt x="173" y="140"/>
                  </a:lnTo>
                  <a:lnTo>
                    <a:pt x="172" y="119"/>
                  </a:lnTo>
                  <a:lnTo>
                    <a:pt x="170" y="100"/>
                  </a:lnTo>
                  <a:lnTo>
                    <a:pt x="165" y="84"/>
                  </a:lnTo>
                  <a:lnTo>
                    <a:pt x="156" y="73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2" y="72"/>
                  </a:lnTo>
                  <a:lnTo>
                    <a:pt x="82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40" y="14"/>
                  </a:lnTo>
                  <a:lnTo>
                    <a:pt x="84" y="3"/>
                  </a:lnTo>
                  <a:lnTo>
                    <a:pt x="13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/>
            <p:cNvSpPr>
              <a:spLocks noEditPoints="1"/>
            </p:cNvSpPr>
            <p:nvPr userDrawn="1"/>
          </p:nvSpPr>
          <p:spPr bwMode="auto">
            <a:xfrm>
              <a:off x="5153026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2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1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8 w 253"/>
                <a:gd name="T51" fmla="*/ 295 h 299"/>
                <a:gd name="T52" fmla="*/ 188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6 w 253"/>
                <a:gd name="T61" fmla="*/ 280 h 299"/>
                <a:gd name="T62" fmla="*/ 167 w 253"/>
                <a:gd name="T63" fmla="*/ 287 h 299"/>
                <a:gd name="T64" fmla="*/ 155 w 253"/>
                <a:gd name="T65" fmla="*/ 292 h 299"/>
                <a:gd name="T66" fmla="*/ 139 w 253"/>
                <a:gd name="T67" fmla="*/ 297 h 299"/>
                <a:gd name="T68" fmla="*/ 118 w 253"/>
                <a:gd name="T69" fmla="*/ 299 h 299"/>
                <a:gd name="T70" fmla="*/ 87 w 253"/>
                <a:gd name="T71" fmla="*/ 294 h 299"/>
                <a:gd name="T72" fmla="*/ 59 w 253"/>
                <a:gd name="T73" fmla="*/ 278 h 299"/>
                <a:gd name="T74" fmla="*/ 34 w 253"/>
                <a:gd name="T75" fmla="*/ 253 h 299"/>
                <a:gd name="T76" fmla="*/ 15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7 w 253"/>
                <a:gd name="T87" fmla="*/ 57 h 299"/>
                <a:gd name="T88" fmla="*/ 48 w 253"/>
                <a:gd name="T89" fmla="*/ 36 h 299"/>
                <a:gd name="T90" fmla="*/ 71 w 253"/>
                <a:gd name="T91" fmla="*/ 21 h 299"/>
                <a:gd name="T92" fmla="*/ 97 w 253"/>
                <a:gd name="T93" fmla="*/ 8 h 299"/>
                <a:gd name="T94" fmla="*/ 125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2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1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8" y="295"/>
                  </a:lnTo>
                  <a:lnTo>
                    <a:pt x="188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6" y="280"/>
                  </a:lnTo>
                  <a:lnTo>
                    <a:pt x="167" y="287"/>
                  </a:lnTo>
                  <a:lnTo>
                    <a:pt x="155" y="292"/>
                  </a:lnTo>
                  <a:lnTo>
                    <a:pt x="139" y="297"/>
                  </a:lnTo>
                  <a:lnTo>
                    <a:pt x="118" y="299"/>
                  </a:lnTo>
                  <a:lnTo>
                    <a:pt x="87" y="294"/>
                  </a:lnTo>
                  <a:lnTo>
                    <a:pt x="59" y="278"/>
                  </a:lnTo>
                  <a:lnTo>
                    <a:pt x="34" y="253"/>
                  </a:lnTo>
                  <a:lnTo>
                    <a:pt x="15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7" y="57"/>
                  </a:lnTo>
                  <a:lnTo>
                    <a:pt x="48" y="36"/>
                  </a:lnTo>
                  <a:lnTo>
                    <a:pt x="71" y="21"/>
                  </a:lnTo>
                  <a:lnTo>
                    <a:pt x="97" y="8"/>
                  </a:lnTo>
                  <a:lnTo>
                    <a:pt x="125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/>
            <p:cNvSpPr>
              <a:spLocks noEditPoints="1"/>
            </p:cNvSpPr>
            <p:nvPr userDrawn="1"/>
          </p:nvSpPr>
          <p:spPr bwMode="auto">
            <a:xfrm>
              <a:off x="69850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5 w 253"/>
                <a:gd name="T21" fmla="*/ 234 h 299"/>
                <a:gd name="T22" fmla="*/ 136 w 253"/>
                <a:gd name="T23" fmla="*/ 236 h 299"/>
                <a:gd name="T24" fmla="*/ 153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1 w 253"/>
                <a:gd name="T39" fmla="*/ 1 h 299"/>
                <a:gd name="T40" fmla="*/ 209 w 253"/>
                <a:gd name="T41" fmla="*/ 5 h 299"/>
                <a:gd name="T42" fmla="*/ 234 w 253"/>
                <a:gd name="T43" fmla="*/ 10 h 299"/>
                <a:gd name="T44" fmla="*/ 253 w 253"/>
                <a:gd name="T45" fmla="*/ 15 h 299"/>
                <a:gd name="T46" fmla="*/ 253 w 253"/>
                <a:gd name="T47" fmla="*/ 295 h 299"/>
                <a:gd name="T48" fmla="*/ 190 w 253"/>
                <a:gd name="T49" fmla="*/ 295 h 299"/>
                <a:gd name="T50" fmla="*/ 190 w 253"/>
                <a:gd name="T51" fmla="*/ 295 h 299"/>
                <a:gd name="T52" fmla="*/ 188 w 253"/>
                <a:gd name="T53" fmla="*/ 292 h 299"/>
                <a:gd name="T54" fmla="*/ 187 w 253"/>
                <a:gd name="T55" fmla="*/ 288 h 299"/>
                <a:gd name="T56" fmla="*/ 183 w 253"/>
                <a:gd name="T57" fmla="*/ 281 h 299"/>
                <a:gd name="T58" fmla="*/ 181 w 253"/>
                <a:gd name="T59" fmla="*/ 276 h 299"/>
                <a:gd name="T60" fmla="*/ 174 w 253"/>
                <a:gd name="T61" fmla="*/ 281 h 299"/>
                <a:gd name="T62" fmla="*/ 162 w 253"/>
                <a:gd name="T63" fmla="*/ 290 h 299"/>
                <a:gd name="T64" fmla="*/ 145 w 253"/>
                <a:gd name="T65" fmla="*/ 297 h 299"/>
                <a:gd name="T66" fmla="*/ 118 w 253"/>
                <a:gd name="T67" fmla="*/ 299 h 299"/>
                <a:gd name="T68" fmla="*/ 89 w 253"/>
                <a:gd name="T69" fmla="*/ 294 h 299"/>
                <a:gd name="T70" fmla="*/ 61 w 253"/>
                <a:gd name="T71" fmla="*/ 278 h 299"/>
                <a:gd name="T72" fmla="*/ 36 w 253"/>
                <a:gd name="T73" fmla="*/ 253 h 299"/>
                <a:gd name="T74" fmla="*/ 17 w 253"/>
                <a:gd name="T75" fmla="*/ 222 h 299"/>
                <a:gd name="T76" fmla="*/ 5 w 253"/>
                <a:gd name="T77" fmla="*/ 185 h 299"/>
                <a:gd name="T78" fmla="*/ 0 w 253"/>
                <a:gd name="T79" fmla="*/ 147 h 299"/>
                <a:gd name="T80" fmla="*/ 3 w 253"/>
                <a:gd name="T81" fmla="*/ 112 h 299"/>
                <a:gd name="T82" fmla="*/ 14 w 253"/>
                <a:gd name="T83" fmla="*/ 82 h 299"/>
                <a:gd name="T84" fmla="*/ 29 w 253"/>
                <a:gd name="T85" fmla="*/ 57 h 299"/>
                <a:gd name="T86" fmla="*/ 48 w 253"/>
                <a:gd name="T87" fmla="*/ 36 h 299"/>
                <a:gd name="T88" fmla="*/ 73 w 253"/>
                <a:gd name="T89" fmla="*/ 21 h 299"/>
                <a:gd name="T90" fmla="*/ 99 w 253"/>
                <a:gd name="T91" fmla="*/ 8 h 299"/>
                <a:gd name="T92" fmla="*/ 127 w 253"/>
                <a:gd name="T93" fmla="*/ 1 h 299"/>
                <a:gd name="T94" fmla="*/ 155 w 253"/>
                <a:gd name="T95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5" y="234"/>
                  </a:lnTo>
                  <a:lnTo>
                    <a:pt x="136" y="236"/>
                  </a:lnTo>
                  <a:lnTo>
                    <a:pt x="153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1" y="1"/>
                  </a:lnTo>
                  <a:lnTo>
                    <a:pt x="209" y="5"/>
                  </a:lnTo>
                  <a:lnTo>
                    <a:pt x="234" y="10"/>
                  </a:lnTo>
                  <a:lnTo>
                    <a:pt x="253" y="15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90" y="295"/>
                  </a:lnTo>
                  <a:lnTo>
                    <a:pt x="188" y="292"/>
                  </a:lnTo>
                  <a:lnTo>
                    <a:pt x="187" y="288"/>
                  </a:lnTo>
                  <a:lnTo>
                    <a:pt x="183" y="281"/>
                  </a:lnTo>
                  <a:lnTo>
                    <a:pt x="181" y="276"/>
                  </a:lnTo>
                  <a:lnTo>
                    <a:pt x="174" y="281"/>
                  </a:lnTo>
                  <a:lnTo>
                    <a:pt x="162" y="290"/>
                  </a:lnTo>
                  <a:lnTo>
                    <a:pt x="145" y="297"/>
                  </a:lnTo>
                  <a:lnTo>
                    <a:pt x="118" y="299"/>
                  </a:lnTo>
                  <a:lnTo>
                    <a:pt x="89" y="294"/>
                  </a:lnTo>
                  <a:lnTo>
                    <a:pt x="61" y="278"/>
                  </a:lnTo>
                  <a:lnTo>
                    <a:pt x="36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9" y="57"/>
                  </a:lnTo>
                  <a:lnTo>
                    <a:pt x="48" y="36"/>
                  </a:lnTo>
                  <a:lnTo>
                    <a:pt x="73" y="21"/>
                  </a:lnTo>
                  <a:lnTo>
                    <a:pt x="99" y="8"/>
                  </a:lnTo>
                  <a:lnTo>
                    <a:pt x="127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/>
            <p:cNvSpPr>
              <a:spLocks noEditPoints="1"/>
            </p:cNvSpPr>
            <p:nvPr userDrawn="1"/>
          </p:nvSpPr>
          <p:spPr bwMode="auto">
            <a:xfrm>
              <a:off x="9321801" y="4191000"/>
              <a:ext cx="401638" cy="474663"/>
            </a:xfrm>
            <a:custGeom>
              <a:avLst/>
              <a:gdLst>
                <a:gd name="T0" fmla="*/ 148 w 253"/>
                <a:gd name="T1" fmla="*/ 61 h 299"/>
                <a:gd name="T2" fmla="*/ 131 w 253"/>
                <a:gd name="T3" fmla="*/ 64 h 299"/>
                <a:gd name="T4" fmla="*/ 113 w 253"/>
                <a:gd name="T5" fmla="*/ 75 h 299"/>
                <a:gd name="T6" fmla="*/ 99 w 253"/>
                <a:gd name="T7" fmla="*/ 92 h 299"/>
                <a:gd name="T8" fmla="*/ 89 w 253"/>
                <a:gd name="T9" fmla="*/ 115 h 299"/>
                <a:gd name="T10" fmla="*/ 85 w 253"/>
                <a:gd name="T11" fmla="*/ 143 h 299"/>
                <a:gd name="T12" fmla="*/ 87 w 253"/>
                <a:gd name="T13" fmla="*/ 178 h 299"/>
                <a:gd name="T14" fmla="*/ 94 w 253"/>
                <a:gd name="T15" fmla="*/ 201 h 299"/>
                <a:gd name="T16" fmla="*/ 103 w 253"/>
                <a:gd name="T17" fmla="*/ 217 h 299"/>
                <a:gd name="T18" fmla="*/ 113 w 253"/>
                <a:gd name="T19" fmla="*/ 229 h 299"/>
                <a:gd name="T20" fmla="*/ 126 w 253"/>
                <a:gd name="T21" fmla="*/ 234 h 299"/>
                <a:gd name="T22" fmla="*/ 136 w 253"/>
                <a:gd name="T23" fmla="*/ 236 h 299"/>
                <a:gd name="T24" fmla="*/ 154 w 253"/>
                <a:gd name="T25" fmla="*/ 232 h 299"/>
                <a:gd name="T26" fmla="*/ 169 w 253"/>
                <a:gd name="T27" fmla="*/ 224 h 299"/>
                <a:gd name="T28" fmla="*/ 169 w 253"/>
                <a:gd name="T29" fmla="*/ 61 h 299"/>
                <a:gd name="T30" fmla="*/ 162 w 253"/>
                <a:gd name="T31" fmla="*/ 61 h 299"/>
                <a:gd name="T32" fmla="*/ 155 w 253"/>
                <a:gd name="T33" fmla="*/ 61 h 299"/>
                <a:gd name="T34" fmla="*/ 148 w 253"/>
                <a:gd name="T35" fmla="*/ 61 h 299"/>
                <a:gd name="T36" fmla="*/ 155 w 253"/>
                <a:gd name="T37" fmla="*/ 0 h 299"/>
                <a:gd name="T38" fmla="*/ 182 w 253"/>
                <a:gd name="T39" fmla="*/ 1 h 299"/>
                <a:gd name="T40" fmla="*/ 208 w 253"/>
                <a:gd name="T41" fmla="*/ 5 h 299"/>
                <a:gd name="T42" fmla="*/ 232 w 253"/>
                <a:gd name="T43" fmla="*/ 8 h 299"/>
                <a:gd name="T44" fmla="*/ 253 w 253"/>
                <a:gd name="T45" fmla="*/ 14 h 299"/>
                <a:gd name="T46" fmla="*/ 253 w 253"/>
                <a:gd name="T47" fmla="*/ 295 h 299"/>
                <a:gd name="T48" fmla="*/ 190 w 253"/>
                <a:gd name="T49" fmla="*/ 295 h 299"/>
                <a:gd name="T50" fmla="*/ 189 w 253"/>
                <a:gd name="T51" fmla="*/ 295 h 299"/>
                <a:gd name="T52" fmla="*/ 189 w 253"/>
                <a:gd name="T53" fmla="*/ 292 h 299"/>
                <a:gd name="T54" fmla="*/ 185 w 253"/>
                <a:gd name="T55" fmla="*/ 288 h 299"/>
                <a:gd name="T56" fmla="*/ 183 w 253"/>
                <a:gd name="T57" fmla="*/ 281 h 299"/>
                <a:gd name="T58" fmla="*/ 182 w 253"/>
                <a:gd name="T59" fmla="*/ 276 h 299"/>
                <a:gd name="T60" fmla="*/ 176 w 253"/>
                <a:gd name="T61" fmla="*/ 280 h 299"/>
                <a:gd name="T62" fmla="*/ 168 w 253"/>
                <a:gd name="T63" fmla="*/ 287 h 299"/>
                <a:gd name="T64" fmla="*/ 155 w 253"/>
                <a:gd name="T65" fmla="*/ 292 h 299"/>
                <a:gd name="T66" fmla="*/ 140 w 253"/>
                <a:gd name="T67" fmla="*/ 297 h 299"/>
                <a:gd name="T68" fmla="*/ 119 w 253"/>
                <a:gd name="T69" fmla="*/ 299 h 299"/>
                <a:gd name="T70" fmla="*/ 89 w 253"/>
                <a:gd name="T71" fmla="*/ 294 h 299"/>
                <a:gd name="T72" fmla="*/ 59 w 253"/>
                <a:gd name="T73" fmla="*/ 278 h 299"/>
                <a:gd name="T74" fmla="*/ 35 w 253"/>
                <a:gd name="T75" fmla="*/ 253 h 299"/>
                <a:gd name="T76" fmla="*/ 17 w 253"/>
                <a:gd name="T77" fmla="*/ 222 h 299"/>
                <a:gd name="T78" fmla="*/ 5 w 253"/>
                <a:gd name="T79" fmla="*/ 185 h 299"/>
                <a:gd name="T80" fmla="*/ 0 w 253"/>
                <a:gd name="T81" fmla="*/ 147 h 299"/>
                <a:gd name="T82" fmla="*/ 3 w 253"/>
                <a:gd name="T83" fmla="*/ 112 h 299"/>
                <a:gd name="T84" fmla="*/ 14 w 253"/>
                <a:gd name="T85" fmla="*/ 82 h 299"/>
                <a:gd name="T86" fmla="*/ 28 w 253"/>
                <a:gd name="T87" fmla="*/ 57 h 299"/>
                <a:gd name="T88" fmla="*/ 49 w 253"/>
                <a:gd name="T89" fmla="*/ 36 h 299"/>
                <a:gd name="T90" fmla="*/ 71 w 253"/>
                <a:gd name="T91" fmla="*/ 21 h 299"/>
                <a:gd name="T92" fmla="*/ 98 w 253"/>
                <a:gd name="T93" fmla="*/ 8 h 299"/>
                <a:gd name="T94" fmla="*/ 126 w 253"/>
                <a:gd name="T95" fmla="*/ 1 h 299"/>
                <a:gd name="T96" fmla="*/ 155 w 253"/>
                <a:gd name="T97" fmla="*/ 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299">
                  <a:moveTo>
                    <a:pt x="148" y="61"/>
                  </a:moveTo>
                  <a:lnTo>
                    <a:pt x="131" y="64"/>
                  </a:lnTo>
                  <a:lnTo>
                    <a:pt x="113" y="75"/>
                  </a:lnTo>
                  <a:lnTo>
                    <a:pt x="99" y="92"/>
                  </a:lnTo>
                  <a:lnTo>
                    <a:pt x="89" y="115"/>
                  </a:lnTo>
                  <a:lnTo>
                    <a:pt x="85" y="143"/>
                  </a:lnTo>
                  <a:lnTo>
                    <a:pt x="87" y="178"/>
                  </a:lnTo>
                  <a:lnTo>
                    <a:pt x="94" y="201"/>
                  </a:lnTo>
                  <a:lnTo>
                    <a:pt x="103" y="217"/>
                  </a:lnTo>
                  <a:lnTo>
                    <a:pt x="113" y="229"/>
                  </a:lnTo>
                  <a:lnTo>
                    <a:pt x="126" y="234"/>
                  </a:lnTo>
                  <a:lnTo>
                    <a:pt x="136" y="236"/>
                  </a:lnTo>
                  <a:lnTo>
                    <a:pt x="154" y="232"/>
                  </a:lnTo>
                  <a:lnTo>
                    <a:pt x="169" y="224"/>
                  </a:lnTo>
                  <a:lnTo>
                    <a:pt x="169" y="61"/>
                  </a:lnTo>
                  <a:lnTo>
                    <a:pt x="162" y="61"/>
                  </a:lnTo>
                  <a:lnTo>
                    <a:pt x="155" y="61"/>
                  </a:lnTo>
                  <a:lnTo>
                    <a:pt x="148" y="61"/>
                  </a:lnTo>
                  <a:close/>
                  <a:moveTo>
                    <a:pt x="155" y="0"/>
                  </a:moveTo>
                  <a:lnTo>
                    <a:pt x="182" y="1"/>
                  </a:lnTo>
                  <a:lnTo>
                    <a:pt x="208" y="5"/>
                  </a:lnTo>
                  <a:lnTo>
                    <a:pt x="232" y="8"/>
                  </a:lnTo>
                  <a:lnTo>
                    <a:pt x="253" y="14"/>
                  </a:lnTo>
                  <a:lnTo>
                    <a:pt x="253" y="295"/>
                  </a:lnTo>
                  <a:lnTo>
                    <a:pt x="190" y="295"/>
                  </a:lnTo>
                  <a:lnTo>
                    <a:pt x="189" y="295"/>
                  </a:lnTo>
                  <a:lnTo>
                    <a:pt x="189" y="292"/>
                  </a:lnTo>
                  <a:lnTo>
                    <a:pt x="185" y="288"/>
                  </a:lnTo>
                  <a:lnTo>
                    <a:pt x="183" y="281"/>
                  </a:lnTo>
                  <a:lnTo>
                    <a:pt x="182" y="276"/>
                  </a:lnTo>
                  <a:lnTo>
                    <a:pt x="176" y="280"/>
                  </a:lnTo>
                  <a:lnTo>
                    <a:pt x="168" y="287"/>
                  </a:lnTo>
                  <a:lnTo>
                    <a:pt x="155" y="292"/>
                  </a:lnTo>
                  <a:lnTo>
                    <a:pt x="140" y="297"/>
                  </a:lnTo>
                  <a:lnTo>
                    <a:pt x="119" y="299"/>
                  </a:lnTo>
                  <a:lnTo>
                    <a:pt x="89" y="294"/>
                  </a:lnTo>
                  <a:lnTo>
                    <a:pt x="59" y="278"/>
                  </a:lnTo>
                  <a:lnTo>
                    <a:pt x="35" y="253"/>
                  </a:lnTo>
                  <a:lnTo>
                    <a:pt x="17" y="222"/>
                  </a:lnTo>
                  <a:lnTo>
                    <a:pt x="5" y="185"/>
                  </a:lnTo>
                  <a:lnTo>
                    <a:pt x="0" y="147"/>
                  </a:lnTo>
                  <a:lnTo>
                    <a:pt x="3" y="112"/>
                  </a:lnTo>
                  <a:lnTo>
                    <a:pt x="14" y="82"/>
                  </a:lnTo>
                  <a:lnTo>
                    <a:pt x="28" y="57"/>
                  </a:lnTo>
                  <a:lnTo>
                    <a:pt x="49" y="36"/>
                  </a:lnTo>
                  <a:lnTo>
                    <a:pt x="71" y="21"/>
                  </a:lnTo>
                  <a:lnTo>
                    <a:pt x="98" y="8"/>
                  </a:lnTo>
                  <a:lnTo>
                    <a:pt x="126" y="1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/>
            <p:cNvSpPr>
              <a:spLocks/>
            </p:cNvSpPr>
            <p:nvPr userDrawn="1"/>
          </p:nvSpPr>
          <p:spPr bwMode="auto">
            <a:xfrm>
              <a:off x="7461251" y="4187825"/>
              <a:ext cx="681038" cy="471488"/>
            </a:xfrm>
            <a:custGeom>
              <a:avLst/>
              <a:gdLst>
                <a:gd name="T0" fmla="*/ 131 w 429"/>
                <a:gd name="T1" fmla="*/ 0 h 297"/>
                <a:gd name="T2" fmla="*/ 161 w 429"/>
                <a:gd name="T3" fmla="*/ 3 h 297"/>
                <a:gd name="T4" fmla="*/ 186 w 429"/>
                <a:gd name="T5" fmla="*/ 10 h 297"/>
                <a:gd name="T6" fmla="*/ 207 w 429"/>
                <a:gd name="T7" fmla="*/ 23 h 297"/>
                <a:gd name="T8" fmla="*/ 235 w 429"/>
                <a:gd name="T9" fmla="*/ 12 h 297"/>
                <a:gd name="T10" fmla="*/ 268 w 429"/>
                <a:gd name="T11" fmla="*/ 3 h 297"/>
                <a:gd name="T12" fmla="*/ 304 w 429"/>
                <a:gd name="T13" fmla="*/ 0 h 297"/>
                <a:gd name="T14" fmla="*/ 336 w 429"/>
                <a:gd name="T15" fmla="*/ 3 h 297"/>
                <a:gd name="T16" fmla="*/ 364 w 429"/>
                <a:gd name="T17" fmla="*/ 14 h 297"/>
                <a:gd name="T18" fmla="*/ 385 w 429"/>
                <a:gd name="T19" fmla="*/ 28 h 297"/>
                <a:gd name="T20" fmla="*/ 404 w 429"/>
                <a:gd name="T21" fmla="*/ 47 h 297"/>
                <a:gd name="T22" fmla="*/ 416 w 429"/>
                <a:gd name="T23" fmla="*/ 70 h 297"/>
                <a:gd name="T24" fmla="*/ 425 w 429"/>
                <a:gd name="T25" fmla="*/ 98 h 297"/>
                <a:gd name="T26" fmla="*/ 427 w 429"/>
                <a:gd name="T27" fmla="*/ 122 h 297"/>
                <a:gd name="T28" fmla="*/ 429 w 429"/>
                <a:gd name="T29" fmla="*/ 156 h 297"/>
                <a:gd name="T30" fmla="*/ 429 w 429"/>
                <a:gd name="T31" fmla="*/ 297 h 297"/>
                <a:gd name="T32" fmla="*/ 346 w 429"/>
                <a:gd name="T33" fmla="*/ 297 h 297"/>
                <a:gd name="T34" fmla="*/ 346 w 429"/>
                <a:gd name="T35" fmla="*/ 140 h 297"/>
                <a:gd name="T36" fmla="*/ 346 w 429"/>
                <a:gd name="T37" fmla="*/ 119 h 297"/>
                <a:gd name="T38" fmla="*/ 345 w 429"/>
                <a:gd name="T39" fmla="*/ 100 h 297"/>
                <a:gd name="T40" fmla="*/ 339 w 429"/>
                <a:gd name="T41" fmla="*/ 84 h 297"/>
                <a:gd name="T42" fmla="*/ 329 w 429"/>
                <a:gd name="T43" fmla="*/ 73 h 297"/>
                <a:gd name="T44" fmla="*/ 315 w 429"/>
                <a:gd name="T45" fmla="*/ 66 h 297"/>
                <a:gd name="T46" fmla="*/ 296 w 429"/>
                <a:gd name="T47" fmla="*/ 63 h 297"/>
                <a:gd name="T48" fmla="*/ 280 w 429"/>
                <a:gd name="T49" fmla="*/ 65 h 297"/>
                <a:gd name="T50" fmla="*/ 263 w 429"/>
                <a:gd name="T51" fmla="*/ 68 h 297"/>
                <a:gd name="T52" fmla="*/ 247 w 429"/>
                <a:gd name="T53" fmla="*/ 75 h 297"/>
                <a:gd name="T54" fmla="*/ 249 w 429"/>
                <a:gd name="T55" fmla="*/ 80 h 297"/>
                <a:gd name="T56" fmla="*/ 252 w 429"/>
                <a:gd name="T57" fmla="*/ 94 h 297"/>
                <a:gd name="T58" fmla="*/ 256 w 429"/>
                <a:gd name="T59" fmla="*/ 114 h 297"/>
                <a:gd name="T60" fmla="*/ 257 w 429"/>
                <a:gd name="T61" fmla="*/ 138 h 297"/>
                <a:gd name="T62" fmla="*/ 257 w 429"/>
                <a:gd name="T63" fmla="*/ 297 h 297"/>
                <a:gd name="T64" fmla="*/ 173 w 429"/>
                <a:gd name="T65" fmla="*/ 297 h 297"/>
                <a:gd name="T66" fmla="*/ 173 w 429"/>
                <a:gd name="T67" fmla="*/ 140 h 297"/>
                <a:gd name="T68" fmla="*/ 173 w 429"/>
                <a:gd name="T69" fmla="*/ 117 h 297"/>
                <a:gd name="T70" fmla="*/ 170 w 429"/>
                <a:gd name="T71" fmla="*/ 98 h 297"/>
                <a:gd name="T72" fmla="*/ 165 w 429"/>
                <a:gd name="T73" fmla="*/ 84 h 297"/>
                <a:gd name="T74" fmla="*/ 156 w 429"/>
                <a:gd name="T75" fmla="*/ 72 h 297"/>
                <a:gd name="T76" fmla="*/ 142 w 429"/>
                <a:gd name="T77" fmla="*/ 66 h 297"/>
                <a:gd name="T78" fmla="*/ 123 w 429"/>
                <a:gd name="T79" fmla="*/ 63 h 297"/>
                <a:gd name="T80" fmla="*/ 103 w 429"/>
                <a:gd name="T81" fmla="*/ 65 h 297"/>
                <a:gd name="T82" fmla="*/ 84 w 429"/>
                <a:gd name="T83" fmla="*/ 70 h 297"/>
                <a:gd name="T84" fmla="*/ 84 w 429"/>
                <a:gd name="T85" fmla="*/ 297 h 297"/>
                <a:gd name="T86" fmla="*/ 0 w 429"/>
                <a:gd name="T87" fmla="*/ 297 h 297"/>
                <a:gd name="T88" fmla="*/ 0 w 429"/>
                <a:gd name="T89" fmla="*/ 26 h 297"/>
                <a:gd name="T90" fmla="*/ 39 w 429"/>
                <a:gd name="T91" fmla="*/ 14 h 297"/>
                <a:gd name="T92" fmla="*/ 84 w 429"/>
                <a:gd name="T93" fmla="*/ 5 h 297"/>
                <a:gd name="T94" fmla="*/ 131 w 429"/>
                <a:gd name="T95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9" h="297">
                  <a:moveTo>
                    <a:pt x="131" y="0"/>
                  </a:moveTo>
                  <a:lnTo>
                    <a:pt x="161" y="3"/>
                  </a:lnTo>
                  <a:lnTo>
                    <a:pt x="186" y="10"/>
                  </a:lnTo>
                  <a:lnTo>
                    <a:pt x="207" y="23"/>
                  </a:lnTo>
                  <a:lnTo>
                    <a:pt x="235" y="12"/>
                  </a:lnTo>
                  <a:lnTo>
                    <a:pt x="268" y="3"/>
                  </a:lnTo>
                  <a:lnTo>
                    <a:pt x="304" y="0"/>
                  </a:lnTo>
                  <a:lnTo>
                    <a:pt x="336" y="3"/>
                  </a:lnTo>
                  <a:lnTo>
                    <a:pt x="364" y="14"/>
                  </a:lnTo>
                  <a:lnTo>
                    <a:pt x="385" y="28"/>
                  </a:lnTo>
                  <a:lnTo>
                    <a:pt x="404" y="47"/>
                  </a:lnTo>
                  <a:lnTo>
                    <a:pt x="416" y="70"/>
                  </a:lnTo>
                  <a:lnTo>
                    <a:pt x="425" y="98"/>
                  </a:lnTo>
                  <a:lnTo>
                    <a:pt x="427" y="122"/>
                  </a:lnTo>
                  <a:lnTo>
                    <a:pt x="429" y="156"/>
                  </a:lnTo>
                  <a:lnTo>
                    <a:pt x="429" y="297"/>
                  </a:lnTo>
                  <a:lnTo>
                    <a:pt x="346" y="297"/>
                  </a:lnTo>
                  <a:lnTo>
                    <a:pt x="346" y="140"/>
                  </a:lnTo>
                  <a:lnTo>
                    <a:pt x="346" y="119"/>
                  </a:lnTo>
                  <a:lnTo>
                    <a:pt x="345" y="100"/>
                  </a:lnTo>
                  <a:lnTo>
                    <a:pt x="339" y="84"/>
                  </a:lnTo>
                  <a:lnTo>
                    <a:pt x="329" y="73"/>
                  </a:lnTo>
                  <a:lnTo>
                    <a:pt x="315" y="66"/>
                  </a:lnTo>
                  <a:lnTo>
                    <a:pt x="296" y="63"/>
                  </a:lnTo>
                  <a:lnTo>
                    <a:pt x="280" y="65"/>
                  </a:lnTo>
                  <a:lnTo>
                    <a:pt x="263" y="68"/>
                  </a:lnTo>
                  <a:lnTo>
                    <a:pt x="247" y="75"/>
                  </a:lnTo>
                  <a:lnTo>
                    <a:pt x="249" y="80"/>
                  </a:lnTo>
                  <a:lnTo>
                    <a:pt x="252" y="94"/>
                  </a:lnTo>
                  <a:lnTo>
                    <a:pt x="256" y="114"/>
                  </a:lnTo>
                  <a:lnTo>
                    <a:pt x="257" y="138"/>
                  </a:lnTo>
                  <a:lnTo>
                    <a:pt x="257" y="297"/>
                  </a:lnTo>
                  <a:lnTo>
                    <a:pt x="173" y="297"/>
                  </a:lnTo>
                  <a:lnTo>
                    <a:pt x="173" y="140"/>
                  </a:lnTo>
                  <a:lnTo>
                    <a:pt x="173" y="117"/>
                  </a:lnTo>
                  <a:lnTo>
                    <a:pt x="170" y="98"/>
                  </a:lnTo>
                  <a:lnTo>
                    <a:pt x="165" y="84"/>
                  </a:lnTo>
                  <a:lnTo>
                    <a:pt x="156" y="72"/>
                  </a:lnTo>
                  <a:lnTo>
                    <a:pt x="142" y="66"/>
                  </a:lnTo>
                  <a:lnTo>
                    <a:pt x="123" y="63"/>
                  </a:lnTo>
                  <a:lnTo>
                    <a:pt x="103" y="65"/>
                  </a:lnTo>
                  <a:lnTo>
                    <a:pt x="84" y="70"/>
                  </a:lnTo>
                  <a:lnTo>
                    <a:pt x="84" y="297"/>
                  </a:lnTo>
                  <a:lnTo>
                    <a:pt x="0" y="297"/>
                  </a:lnTo>
                  <a:lnTo>
                    <a:pt x="0" y="26"/>
                  </a:lnTo>
                  <a:lnTo>
                    <a:pt x="39" y="14"/>
                  </a:lnTo>
                  <a:lnTo>
                    <a:pt x="84" y="5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"/>
            <p:cNvSpPr>
              <a:spLocks noEditPoints="1"/>
            </p:cNvSpPr>
            <p:nvPr userDrawn="1"/>
          </p:nvSpPr>
          <p:spPr bwMode="auto">
            <a:xfrm>
              <a:off x="8205788" y="4191000"/>
              <a:ext cx="396875" cy="685800"/>
            </a:xfrm>
            <a:custGeom>
              <a:avLst/>
              <a:gdLst>
                <a:gd name="T0" fmla="*/ 105 w 250"/>
                <a:gd name="T1" fmla="*/ 61 h 432"/>
                <a:gd name="T2" fmla="*/ 96 w 250"/>
                <a:gd name="T3" fmla="*/ 61 h 432"/>
                <a:gd name="T4" fmla="*/ 89 w 250"/>
                <a:gd name="T5" fmla="*/ 61 h 432"/>
                <a:gd name="T6" fmla="*/ 82 w 250"/>
                <a:gd name="T7" fmla="*/ 61 h 432"/>
                <a:gd name="T8" fmla="*/ 82 w 250"/>
                <a:gd name="T9" fmla="*/ 234 h 432"/>
                <a:gd name="T10" fmla="*/ 87 w 250"/>
                <a:gd name="T11" fmla="*/ 238 h 432"/>
                <a:gd name="T12" fmla="*/ 96 w 250"/>
                <a:gd name="T13" fmla="*/ 239 h 432"/>
                <a:gd name="T14" fmla="*/ 108 w 250"/>
                <a:gd name="T15" fmla="*/ 239 h 432"/>
                <a:gd name="T16" fmla="*/ 122 w 250"/>
                <a:gd name="T17" fmla="*/ 238 h 432"/>
                <a:gd name="T18" fmla="*/ 136 w 250"/>
                <a:gd name="T19" fmla="*/ 232 h 432"/>
                <a:gd name="T20" fmla="*/ 148 w 250"/>
                <a:gd name="T21" fmla="*/ 222 h 432"/>
                <a:gd name="T22" fmla="*/ 159 w 250"/>
                <a:gd name="T23" fmla="*/ 203 h 432"/>
                <a:gd name="T24" fmla="*/ 166 w 250"/>
                <a:gd name="T25" fmla="*/ 178 h 432"/>
                <a:gd name="T26" fmla="*/ 168 w 250"/>
                <a:gd name="T27" fmla="*/ 143 h 432"/>
                <a:gd name="T28" fmla="*/ 162 w 250"/>
                <a:gd name="T29" fmla="*/ 115 h 432"/>
                <a:gd name="T30" fmla="*/ 152 w 250"/>
                <a:gd name="T31" fmla="*/ 92 h 432"/>
                <a:gd name="T32" fmla="*/ 138 w 250"/>
                <a:gd name="T33" fmla="*/ 75 h 432"/>
                <a:gd name="T34" fmla="*/ 122 w 250"/>
                <a:gd name="T35" fmla="*/ 64 h 432"/>
                <a:gd name="T36" fmla="*/ 105 w 250"/>
                <a:gd name="T37" fmla="*/ 61 h 432"/>
                <a:gd name="T38" fmla="*/ 98 w 250"/>
                <a:gd name="T39" fmla="*/ 0 h 432"/>
                <a:gd name="T40" fmla="*/ 122 w 250"/>
                <a:gd name="T41" fmla="*/ 1 h 432"/>
                <a:gd name="T42" fmla="*/ 147 w 250"/>
                <a:gd name="T43" fmla="*/ 7 h 432"/>
                <a:gd name="T44" fmla="*/ 171 w 250"/>
                <a:gd name="T45" fmla="*/ 15 h 432"/>
                <a:gd name="T46" fmla="*/ 194 w 250"/>
                <a:gd name="T47" fmla="*/ 28 h 432"/>
                <a:gd name="T48" fmla="*/ 213 w 250"/>
                <a:gd name="T49" fmla="*/ 45 h 432"/>
                <a:gd name="T50" fmla="*/ 229 w 250"/>
                <a:gd name="T51" fmla="*/ 66 h 432"/>
                <a:gd name="T52" fmla="*/ 241 w 250"/>
                <a:gd name="T53" fmla="*/ 91 h 432"/>
                <a:gd name="T54" fmla="*/ 248 w 250"/>
                <a:gd name="T55" fmla="*/ 120 h 432"/>
                <a:gd name="T56" fmla="*/ 250 w 250"/>
                <a:gd name="T57" fmla="*/ 155 h 432"/>
                <a:gd name="T58" fmla="*/ 246 w 250"/>
                <a:gd name="T59" fmla="*/ 194 h 432"/>
                <a:gd name="T60" fmla="*/ 238 w 250"/>
                <a:gd name="T61" fmla="*/ 222 h 432"/>
                <a:gd name="T62" fmla="*/ 224 w 250"/>
                <a:gd name="T63" fmla="*/ 248 h 432"/>
                <a:gd name="T64" fmla="*/ 206 w 250"/>
                <a:gd name="T65" fmla="*/ 269 h 432"/>
                <a:gd name="T66" fmla="*/ 185 w 250"/>
                <a:gd name="T67" fmla="*/ 285 h 432"/>
                <a:gd name="T68" fmla="*/ 159 w 250"/>
                <a:gd name="T69" fmla="*/ 295 h 432"/>
                <a:gd name="T70" fmla="*/ 129 w 250"/>
                <a:gd name="T71" fmla="*/ 299 h 432"/>
                <a:gd name="T72" fmla="*/ 112 w 250"/>
                <a:gd name="T73" fmla="*/ 297 h 432"/>
                <a:gd name="T74" fmla="*/ 94 w 250"/>
                <a:gd name="T75" fmla="*/ 294 h 432"/>
                <a:gd name="T76" fmla="*/ 82 w 250"/>
                <a:gd name="T77" fmla="*/ 290 h 432"/>
                <a:gd name="T78" fmla="*/ 82 w 250"/>
                <a:gd name="T79" fmla="*/ 432 h 432"/>
                <a:gd name="T80" fmla="*/ 0 w 250"/>
                <a:gd name="T81" fmla="*/ 432 h 432"/>
                <a:gd name="T82" fmla="*/ 0 w 250"/>
                <a:gd name="T83" fmla="*/ 12 h 432"/>
                <a:gd name="T84" fmla="*/ 28 w 250"/>
                <a:gd name="T85" fmla="*/ 5 h 432"/>
                <a:gd name="T86" fmla="*/ 61 w 250"/>
                <a:gd name="T87" fmla="*/ 1 h 432"/>
                <a:gd name="T88" fmla="*/ 98 w 250"/>
                <a:gd name="T89" fmla="*/ 0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0" h="432">
                  <a:moveTo>
                    <a:pt x="105" y="61"/>
                  </a:moveTo>
                  <a:lnTo>
                    <a:pt x="96" y="61"/>
                  </a:lnTo>
                  <a:lnTo>
                    <a:pt x="89" y="61"/>
                  </a:lnTo>
                  <a:lnTo>
                    <a:pt x="82" y="61"/>
                  </a:lnTo>
                  <a:lnTo>
                    <a:pt x="82" y="234"/>
                  </a:lnTo>
                  <a:lnTo>
                    <a:pt x="87" y="238"/>
                  </a:lnTo>
                  <a:lnTo>
                    <a:pt x="96" y="239"/>
                  </a:lnTo>
                  <a:lnTo>
                    <a:pt x="108" y="239"/>
                  </a:lnTo>
                  <a:lnTo>
                    <a:pt x="122" y="238"/>
                  </a:lnTo>
                  <a:lnTo>
                    <a:pt x="136" y="232"/>
                  </a:lnTo>
                  <a:lnTo>
                    <a:pt x="148" y="222"/>
                  </a:lnTo>
                  <a:lnTo>
                    <a:pt x="159" y="203"/>
                  </a:lnTo>
                  <a:lnTo>
                    <a:pt x="166" y="178"/>
                  </a:lnTo>
                  <a:lnTo>
                    <a:pt x="168" y="143"/>
                  </a:lnTo>
                  <a:lnTo>
                    <a:pt x="162" y="115"/>
                  </a:lnTo>
                  <a:lnTo>
                    <a:pt x="152" y="92"/>
                  </a:lnTo>
                  <a:lnTo>
                    <a:pt x="138" y="75"/>
                  </a:lnTo>
                  <a:lnTo>
                    <a:pt x="122" y="64"/>
                  </a:lnTo>
                  <a:lnTo>
                    <a:pt x="105" y="61"/>
                  </a:lnTo>
                  <a:close/>
                  <a:moveTo>
                    <a:pt x="98" y="0"/>
                  </a:moveTo>
                  <a:lnTo>
                    <a:pt x="122" y="1"/>
                  </a:lnTo>
                  <a:lnTo>
                    <a:pt x="147" y="7"/>
                  </a:lnTo>
                  <a:lnTo>
                    <a:pt x="171" y="15"/>
                  </a:lnTo>
                  <a:lnTo>
                    <a:pt x="194" y="28"/>
                  </a:lnTo>
                  <a:lnTo>
                    <a:pt x="213" y="45"/>
                  </a:lnTo>
                  <a:lnTo>
                    <a:pt x="229" y="66"/>
                  </a:lnTo>
                  <a:lnTo>
                    <a:pt x="241" y="91"/>
                  </a:lnTo>
                  <a:lnTo>
                    <a:pt x="248" y="120"/>
                  </a:lnTo>
                  <a:lnTo>
                    <a:pt x="250" y="155"/>
                  </a:lnTo>
                  <a:lnTo>
                    <a:pt x="246" y="194"/>
                  </a:lnTo>
                  <a:lnTo>
                    <a:pt x="238" y="222"/>
                  </a:lnTo>
                  <a:lnTo>
                    <a:pt x="224" y="248"/>
                  </a:lnTo>
                  <a:lnTo>
                    <a:pt x="206" y="269"/>
                  </a:lnTo>
                  <a:lnTo>
                    <a:pt x="185" y="285"/>
                  </a:lnTo>
                  <a:lnTo>
                    <a:pt x="159" y="295"/>
                  </a:lnTo>
                  <a:lnTo>
                    <a:pt x="129" y="299"/>
                  </a:lnTo>
                  <a:lnTo>
                    <a:pt x="112" y="297"/>
                  </a:lnTo>
                  <a:lnTo>
                    <a:pt x="94" y="294"/>
                  </a:lnTo>
                  <a:lnTo>
                    <a:pt x="82" y="290"/>
                  </a:lnTo>
                  <a:lnTo>
                    <a:pt x="82" y="432"/>
                  </a:lnTo>
                  <a:lnTo>
                    <a:pt x="0" y="432"/>
                  </a:lnTo>
                  <a:lnTo>
                    <a:pt x="0" y="12"/>
                  </a:lnTo>
                  <a:lnTo>
                    <a:pt x="28" y="5"/>
                  </a:lnTo>
                  <a:lnTo>
                    <a:pt x="61" y="1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"/>
            <p:cNvSpPr>
              <a:spLocks/>
            </p:cNvSpPr>
            <p:nvPr userDrawn="1"/>
          </p:nvSpPr>
          <p:spPr bwMode="auto">
            <a:xfrm>
              <a:off x="4591051" y="4187825"/>
              <a:ext cx="311150" cy="485775"/>
            </a:xfrm>
            <a:custGeom>
              <a:avLst/>
              <a:gdLst>
                <a:gd name="T0" fmla="*/ 91 w 196"/>
                <a:gd name="T1" fmla="*/ 0 h 306"/>
                <a:gd name="T2" fmla="*/ 110 w 196"/>
                <a:gd name="T3" fmla="*/ 2 h 306"/>
                <a:gd name="T4" fmla="*/ 128 w 196"/>
                <a:gd name="T5" fmla="*/ 3 h 306"/>
                <a:gd name="T6" fmla="*/ 145 w 196"/>
                <a:gd name="T7" fmla="*/ 9 h 306"/>
                <a:gd name="T8" fmla="*/ 168 w 196"/>
                <a:gd name="T9" fmla="*/ 17 h 306"/>
                <a:gd name="T10" fmla="*/ 168 w 196"/>
                <a:gd name="T11" fmla="*/ 79 h 306"/>
                <a:gd name="T12" fmla="*/ 149 w 196"/>
                <a:gd name="T13" fmla="*/ 68 h 306"/>
                <a:gd name="T14" fmla="*/ 131 w 196"/>
                <a:gd name="T15" fmla="*/ 61 h 306"/>
                <a:gd name="T16" fmla="*/ 117 w 196"/>
                <a:gd name="T17" fmla="*/ 58 h 306"/>
                <a:gd name="T18" fmla="*/ 102 w 196"/>
                <a:gd name="T19" fmla="*/ 56 h 306"/>
                <a:gd name="T20" fmla="*/ 89 w 196"/>
                <a:gd name="T21" fmla="*/ 59 h 306"/>
                <a:gd name="T22" fmla="*/ 81 w 196"/>
                <a:gd name="T23" fmla="*/ 65 h 306"/>
                <a:gd name="T24" fmla="*/ 76 w 196"/>
                <a:gd name="T25" fmla="*/ 72 h 306"/>
                <a:gd name="T26" fmla="*/ 74 w 196"/>
                <a:gd name="T27" fmla="*/ 80 h 306"/>
                <a:gd name="T28" fmla="*/ 74 w 196"/>
                <a:gd name="T29" fmla="*/ 87 h 306"/>
                <a:gd name="T30" fmla="*/ 83 w 196"/>
                <a:gd name="T31" fmla="*/ 100 h 306"/>
                <a:gd name="T32" fmla="*/ 100 w 196"/>
                <a:gd name="T33" fmla="*/ 112 h 306"/>
                <a:gd name="T34" fmla="*/ 128 w 196"/>
                <a:gd name="T35" fmla="*/ 128 h 306"/>
                <a:gd name="T36" fmla="*/ 151 w 196"/>
                <a:gd name="T37" fmla="*/ 142 h 306"/>
                <a:gd name="T38" fmla="*/ 170 w 196"/>
                <a:gd name="T39" fmla="*/ 157 h 306"/>
                <a:gd name="T40" fmla="*/ 184 w 196"/>
                <a:gd name="T41" fmla="*/ 178 h 306"/>
                <a:gd name="T42" fmla="*/ 194 w 196"/>
                <a:gd name="T43" fmla="*/ 205 h 306"/>
                <a:gd name="T44" fmla="*/ 196 w 196"/>
                <a:gd name="T45" fmla="*/ 233 h 306"/>
                <a:gd name="T46" fmla="*/ 191 w 196"/>
                <a:gd name="T47" fmla="*/ 255 h 306"/>
                <a:gd name="T48" fmla="*/ 179 w 196"/>
                <a:gd name="T49" fmla="*/ 275 h 306"/>
                <a:gd name="T50" fmla="*/ 161 w 196"/>
                <a:gd name="T51" fmla="*/ 289 h 306"/>
                <a:gd name="T52" fmla="*/ 138 w 196"/>
                <a:gd name="T53" fmla="*/ 299 h 306"/>
                <a:gd name="T54" fmla="*/ 112 w 196"/>
                <a:gd name="T55" fmla="*/ 304 h 306"/>
                <a:gd name="T56" fmla="*/ 83 w 196"/>
                <a:gd name="T57" fmla="*/ 306 h 306"/>
                <a:gd name="T58" fmla="*/ 55 w 196"/>
                <a:gd name="T59" fmla="*/ 304 h 306"/>
                <a:gd name="T60" fmla="*/ 30 w 196"/>
                <a:gd name="T61" fmla="*/ 299 h 306"/>
                <a:gd name="T62" fmla="*/ 7 w 196"/>
                <a:gd name="T63" fmla="*/ 292 h 306"/>
                <a:gd name="T64" fmla="*/ 7 w 196"/>
                <a:gd name="T65" fmla="*/ 229 h 306"/>
                <a:gd name="T66" fmla="*/ 30 w 196"/>
                <a:gd name="T67" fmla="*/ 240 h 306"/>
                <a:gd name="T68" fmla="*/ 51 w 196"/>
                <a:gd name="T69" fmla="*/ 248 h 306"/>
                <a:gd name="T70" fmla="*/ 74 w 196"/>
                <a:gd name="T71" fmla="*/ 254 h 306"/>
                <a:gd name="T72" fmla="*/ 93 w 196"/>
                <a:gd name="T73" fmla="*/ 250 h 306"/>
                <a:gd name="T74" fmla="*/ 107 w 196"/>
                <a:gd name="T75" fmla="*/ 245 h 306"/>
                <a:gd name="T76" fmla="*/ 114 w 196"/>
                <a:gd name="T77" fmla="*/ 236 h 306"/>
                <a:gd name="T78" fmla="*/ 117 w 196"/>
                <a:gd name="T79" fmla="*/ 226 h 306"/>
                <a:gd name="T80" fmla="*/ 117 w 196"/>
                <a:gd name="T81" fmla="*/ 215 h 306"/>
                <a:gd name="T82" fmla="*/ 109 w 196"/>
                <a:gd name="T83" fmla="*/ 201 h 306"/>
                <a:gd name="T84" fmla="*/ 95 w 196"/>
                <a:gd name="T85" fmla="*/ 187 h 306"/>
                <a:gd name="T86" fmla="*/ 76 w 196"/>
                <a:gd name="T87" fmla="*/ 175 h 306"/>
                <a:gd name="T88" fmla="*/ 55 w 196"/>
                <a:gd name="T89" fmla="*/ 161 h 306"/>
                <a:gd name="T90" fmla="*/ 37 w 196"/>
                <a:gd name="T91" fmla="*/ 149 h 306"/>
                <a:gd name="T92" fmla="*/ 21 w 196"/>
                <a:gd name="T93" fmla="*/ 133 h 306"/>
                <a:gd name="T94" fmla="*/ 9 w 196"/>
                <a:gd name="T95" fmla="*/ 115 h 306"/>
                <a:gd name="T96" fmla="*/ 2 w 196"/>
                <a:gd name="T97" fmla="*/ 93 h 306"/>
                <a:gd name="T98" fmla="*/ 0 w 196"/>
                <a:gd name="T99" fmla="*/ 68 h 306"/>
                <a:gd name="T100" fmla="*/ 6 w 196"/>
                <a:gd name="T101" fmla="*/ 47 h 306"/>
                <a:gd name="T102" fmla="*/ 14 w 196"/>
                <a:gd name="T103" fmla="*/ 30 h 306"/>
                <a:gd name="T104" fmla="*/ 30 w 196"/>
                <a:gd name="T105" fmla="*/ 17 h 306"/>
                <a:gd name="T106" fmla="*/ 48 w 196"/>
                <a:gd name="T107" fmla="*/ 9 h 306"/>
                <a:gd name="T108" fmla="*/ 69 w 196"/>
                <a:gd name="T109" fmla="*/ 2 h 306"/>
                <a:gd name="T110" fmla="*/ 91 w 196"/>
                <a:gd name="T111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6" h="306">
                  <a:moveTo>
                    <a:pt x="91" y="0"/>
                  </a:moveTo>
                  <a:lnTo>
                    <a:pt x="110" y="2"/>
                  </a:lnTo>
                  <a:lnTo>
                    <a:pt x="128" y="3"/>
                  </a:lnTo>
                  <a:lnTo>
                    <a:pt x="145" y="9"/>
                  </a:lnTo>
                  <a:lnTo>
                    <a:pt x="168" y="17"/>
                  </a:lnTo>
                  <a:lnTo>
                    <a:pt x="168" y="79"/>
                  </a:lnTo>
                  <a:lnTo>
                    <a:pt x="149" y="68"/>
                  </a:lnTo>
                  <a:lnTo>
                    <a:pt x="131" y="61"/>
                  </a:lnTo>
                  <a:lnTo>
                    <a:pt x="117" y="58"/>
                  </a:lnTo>
                  <a:lnTo>
                    <a:pt x="102" y="56"/>
                  </a:lnTo>
                  <a:lnTo>
                    <a:pt x="89" y="59"/>
                  </a:lnTo>
                  <a:lnTo>
                    <a:pt x="81" y="65"/>
                  </a:lnTo>
                  <a:lnTo>
                    <a:pt x="76" y="72"/>
                  </a:lnTo>
                  <a:lnTo>
                    <a:pt x="74" y="80"/>
                  </a:lnTo>
                  <a:lnTo>
                    <a:pt x="74" y="87"/>
                  </a:lnTo>
                  <a:lnTo>
                    <a:pt x="83" y="100"/>
                  </a:lnTo>
                  <a:lnTo>
                    <a:pt x="100" y="112"/>
                  </a:lnTo>
                  <a:lnTo>
                    <a:pt x="128" y="128"/>
                  </a:lnTo>
                  <a:lnTo>
                    <a:pt x="151" y="142"/>
                  </a:lnTo>
                  <a:lnTo>
                    <a:pt x="170" y="157"/>
                  </a:lnTo>
                  <a:lnTo>
                    <a:pt x="184" y="178"/>
                  </a:lnTo>
                  <a:lnTo>
                    <a:pt x="194" y="205"/>
                  </a:lnTo>
                  <a:lnTo>
                    <a:pt x="196" y="233"/>
                  </a:lnTo>
                  <a:lnTo>
                    <a:pt x="191" y="255"/>
                  </a:lnTo>
                  <a:lnTo>
                    <a:pt x="179" y="275"/>
                  </a:lnTo>
                  <a:lnTo>
                    <a:pt x="161" y="289"/>
                  </a:lnTo>
                  <a:lnTo>
                    <a:pt x="138" y="299"/>
                  </a:lnTo>
                  <a:lnTo>
                    <a:pt x="112" y="304"/>
                  </a:lnTo>
                  <a:lnTo>
                    <a:pt x="83" y="306"/>
                  </a:lnTo>
                  <a:lnTo>
                    <a:pt x="55" y="304"/>
                  </a:lnTo>
                  <a:lnTo>
                    <a:pt x="30" y="299"/>
                  </a:lnTo>
                  <a:lnTo>
                    <a:pt x="7" y="292"/>
                  </a:lnTo>
                  <a:lnTo>
                    <a:pt x="7" y="229"/>
                  </a:lnTo>
                  <a:lnTo>
                    <a:pt x="30" y="240"/>
                  </a:lnTo>
                  <a:lnTo>
                    <a:pt x="51" y="248"/>
                  </a:lnTo>
                  <a:lnTo>
                    <a:pt x="74" y="254"/>
                  </a:lnTo>
                  <a:lnTo>
                    <a:pt x="93" y="250"/>
                  </a:lnTo>
                  <a:lnTo>
                    <a:pt x="107" y="245"/>
                  </a:lnTo>
                  <a:lnTo>
                    <a:pt x="114" y="236"/>
                  </a:lnTo>
                  <a:lnTo>
                    <a:pt x="117" y="226"/>
                  </a:lnTo>
                  <a:lnTo>
                    <a:pt x="117" y="215"/>
                  </a:lnTo>
                  <a:lnTo>
                    <a:pt x="109" y="201"/>
                  </a:lnTo>
                  <a:lnTo>
                    <a:pt x="95" y="187"/>
                  </a:lnTo>
                  <a:lnTo>
                    <a:pt x="76" y="175"/>
                  </a:lnTo>
                  <a:lnTo>
                    <a:pt x="55" y="161"/>
                  </a:lnTo>
                  <a:lnTo>
                    <a:pt x="37" y="149"/>
                  </a:lnTo>
                  <a:lnTo>
                    <a:pt x="21" y="133"/>
                  </a:lnTo>
                  <a:lnTo>
                    <a:pt x="9" y="115"/>
                  </a:lnTo>
                  <a:lnTo>
                    <a:pt x="2" y="93"/>
                  </a:lnTo>
                  <a:lnTo>
                    <a:pt x="0" y="68"/>
                  </a:lnTo>
                  <a:lnTo>
                    <a:pt x="6" y="47"/>
                  </a:lnTo>
                  <a:lnTo>
                    <a:pt x="14" y="30"/>
                  </a:lnTo>
                  <a:lnTo>
                    <a:pt x="30" y="17"/>
                  </a:lnTo>
                  <a:lnTo>
                    <a:pt x="48" y="9"/>
                  </a:lnTo>
                  <a:lnTo>
                    <a:pt x="69" y="2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4"/>
            <p:cNvSpPr>
              <a:spLocks/>
            </p:cNvSpPr>
            <p:nvPr userDrawn="1"/>
          </p:nvSpPr>
          <p:spPr bwMode="auto">
            <a:xfrm>
              <a:off x="3719513" y="4195763"/>
              <a:ext cx="230188" cy="463550"/>
            </a:xfrm>
            <a:custGeom>
              <a:avLst/>
              <a:gdLst>
                <a:gd name="T0" fmla="*/ 140 w 145"/>
                <a:gd name="T1" fmla="*/ 0 h 292"/>
                <a:gd name="T2" fmla="*/ 145 w 145"/>
                <a:gd name="T3" fmla="*/ 0 h 292"/>
                <a:gd name="T4" fmla="*/ 145 w 145"/>
                <a:gd name="T5" fmla="*/ 61 h 292"/>
                <a:gd name="T6" fmla="*/ 138 w 145"/>
                <a:gd name="T7" fmla="*/ 61 h 292"/>
                <a:gd name="T8" fmla="*/ 133 w 145"/>
                <a:gd name="T9" fmla="*/ 61 h 292"/>
                <a:gd name="T10" fmla="*/ 117 w 145"/>
                <a:gd name="T11" fmla="*/ 61 h 292"/>
                <a:gd name="T12" fmla="*/ 98 w 145"/>
                <a:gd name="T13" fmla="*/ 63 h 292"/>
                <a:gd name="T14" fmla="*/ 82 w 145"/>
                <a:gd name="T15" fmla="*/ 68 h 292"/>
                <a:gd name="T16" fmla="*/ 84 w 145"/>
                <a:gd name="T17" fmla="*/ 292 h 292"/>
                <a:gd name="T18" fmla="*/ 0 w 145"/>
                <a:gd name="T19" fmla="*/ 292 h 292"/>
                <a:gd name="T20" fmla="*/ 0 w 145"/>
                <a:gd name="T21" fmla="*/ 25 h 292"/>
                <a:gd name="T22" fmla="*/ 21 w 145"/>
                <a:gd name="T23" fmla="*/ 18 h 292"/>
                <a:gd name="T24" fmla="*/ 44 w 145"/>
                <a:gd name="T25" fmla="*/ 11 h 292"/>
                <a:gd name="T26" fmla="*/ 72 w 145"/>
                <a:gd name="T27" fmla="*/ 5 h 292"/>
                <a:gd name="T28" fmla="*/ 103 w 145"/>
                <a:gd name="T29" fmla="*/ 2 h 292"/>
                <a:gd name="T30" fmla="*/ 140 w 145"/>
                <a:gd name="T31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292">
                  <a:moveTo>
                    <a:pt x="140" y="0"/>
                  </a:moveTo>
                  <a:lnTo>
                    <a:pt x="145" y="0"/>
                  </a:lnTo>
                  <a:lnTo>
                    <a:pt x="145" y="61"/>
                  </a:lnTo>
                  <a:lnTo>
                    <a:pt x="138" y="61"/>
                  </a:lnTo>
                  <a:lnTo>
                    <a:pt x="133" y="61"/>
                  </a:lnTo>
                  <a:lnTo>
                    <a:pt x="117" y="61"/>
                  </a:lnTo>
                  <a:lnTo>
                    <a:pt x="98" y="63"/>
                  </a:lnTo>
                  <a:lnTo>
                    <a:pt x="82" y="68"/>
                  </a:lnTo>
                  <a:lnTo>
                    <a:pt x="84" y="292"/>
                  </a:lnTo>
                  <a:lnTo>
                    <a:pt x="0" y="292"/>
                  </a:lnTo>
                  <a:lnTo>
                    <a:pt x="0" y="25"/>
                  </a:lnTo>
                  <a:lnTo>
                    <a:pt x="21" y="18"/>
                  </a:lnTo>
                  <a:lnTo>
                    <a:pt x="44" y="11"/>
                  </a:lnTo>
                  <a:lnTo>
                    <a:pt x="72" y="5"/>
                  </a:lnTo>
                  <a:lnTo>
                    <a:pt x="103" y="2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 userDrawn="1"/>
          </p:nvSpPr>
          <p:spPr bwMode="auto">
            <a:xfrm>
              <a:off x="4003676" y="4191000"/>
              <a:ext cx="127000" cy="468313"/>
            </a:xfrm>
            <a:custGeom>
              <a:avLst/>
              <a:gdLst>
                <a:gd name="T0" fmla="*/ 40 w 80"/>
                <a:gd name="T1" fmla="*/ 0 h 295"/>
                <a:gd name="T2" fmla="*/ 61 w 80"/>
                <a:gd name="T3" fmla="*/ 1 h 295"/>
                <a:gd name="T4" fmla="*/ 73 w 80"/>
                <a:gd name="T5" fmla="*/ 1 h 295"/>
                <a:gd name="T6" fmla="*/ 78 w 80"/>
                <a:gd name="T7" fmla="*/ 3 h 295"/>
                <a:gd name="T8" fmla="*/ 80 w 80"/>
                <a:gd name="T9" fmla="*/ 3 h 295"/>
                <a:gd name="T10" fmla="*/ 80 w 80"/>
                <a:gd name="T11" fmla="*/ 295 h 295"/>
                <a:gd name="T12" fmla="*/ 0 w 80"/>
                <a:gd name="T13" fmla="*/ 295 h 295"/>
                <a:gd name="T14" fmla="*/ 0 w 80"/>
                <a:gd name="T15" fmla="*/ 3 h 295"/>
                <a:gd name="T16" fmla="*/ 1 w 80"/>
                <a:gd name="T17" fmla="*/ 3 h 295"/>
                <a:gd name="T18" fmla="*/ 8 w 80"/>
                <a:gd name="T19" fmla="*/ 1 h 295"/>
                <a:gd name="T20" fmla="*/ 21 w 80"/>
                <a:gd name="T21" fmla="*/ 1 h 295"/>
                <a:gd name="T22" fmla="*/ 40 w 80"/>
                <a:gd name="T23" fmla="*/ 0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295">
                  <a:moveTo>
                    <a:pt x="40" y="0"/>
                  </a:moveTo>
                  <a:lnTo>
                    <a:pt x="61" y="1"/>
                  </a:lnTo>
                  <a:lnTo>
                    <a:pt x="73" y="1"/>
                  </a:lnTo>
                  <a:lnTo>
                    <a:pt x="78" y="3"/>
                  </a:lnTo>
                  <a:lnTo>
                    <a:pt x="80" y="3"/>
                  </a:lnTo>
                  <a:lnTo>
                    <a:pt x="80" y="295"/>
                  </a:lnTo>
                  <a:lnTo>
                    <a:pt x="0" y="295"/>
                  </a:lnTo>
                  <a:lnTo>
                    <a:pt x="0" y="3"/>
                  </a:lnTo>
                  <a:lnTo>
                    <a:pt x="1" y="3"/>
                  </a:lnTo>
                  <a:lnTo>
                    <a:pt x="8" y="1"/>
                  </a:lnTo>
                  <a:lnTo>
                    <a:pt x="21" y="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6"/>
            <p:cNvSpPr>
              <a:spLocks/>
            </p:cNvSpPr>
            <p:nvPr userDrawn="1"/>
          </p:nvSpPr>
          <p:spPr bwMode="auto">
            <a:xfrm>
              <a:off x="4943476" y="4043363"/>
              <a:ext cx="217488" cy="630238"/>
            </a:xfrm>
            <a:custGeom>
              <a:avLst/>
              <a:gdLst>
                <a:gd name="T0" fmla="*/ 42 w 137"/>
                <a:gd name="T1" fmla="*/ 0 h 397"/>
                <a:gd name="T2" fmla="*/ 63 w 137"/>
                <a:gd name="T3" fmla="*/ 0 h 397"/>
                <a:gd name="T4" fmla="*/ 76 w 137"/>
                <a:gd name="T5" fmla="*/ 2 h 397"/>
                <a:gd name="T6" fmla="*/ 83 w 137"/>
                <a:gd name="T7" fmla="*/ 3 h 397"/>
                <a:gd name="T8" fmla="*/ 84 w 137"/>
                <a:gd name="T9" fmla="*/ 3 h 397"/>
                <a:gd name="T10" fmla="*/ 84 w 137"/>
                <a:gd name="T11" fmla="*/ 289 h 397"/>
                <a:gd name="T12" fmla="*/ 86 w 137"/>
                <a:gd name="T13" fmla="*/ 306 h 397"/>
                <a:gd name="T14" fmla="*/ 90 w 137"/>
                <a:gd name="T15" fmla="*/ 317 h 397"/>
                <a:gd name="T16" fmla="*/ 98 w 137"/>
                <a:gd name="T17" fmla="*/ 324 h 397"/>
                <a:gd name="T18" fmla="*/ 109 w 137"/>
                <a:gd name="T19" fmla="*/ 325 h 397"/>
                <a:gd name="T20" fmla="*/ 114 w 137"/>
                <a:gd name="T21" fmla="*/ 325 h 397"/>
                <a:gd name="T22" fmla="*/ 119 w 137"/>
                <a:gd name="T23" fmla="*/ 324 h 397"/>
                <a:gd name="T24" fmla="*/ 137 w 137"/>
                <a:gd name="T25" fmla="*/ 390 h 397"/>
                <a:gd name="T26" fmla="*/ 116 w 137"/>
                <a:gd name="T27" fmla="*/ 395 h 397"/>
                <a:gd name="T28" fmla="*/ 88 w 137"/>
                <a:gd name="T29" fmla="*/ 397 h 397"/>
                <a:gd name="T30" fmla="*/ 74 w 137"/>
                <a:gd name="T31" fmla="*/ 397 h 397"/>
                <a:gd name="T32" fmla="*/ 60 w 137"/>
                <a:gd name="T33" fmla="*/ 394 h 397"/>
                <a:gd name="T34" fmla="*/ 46 w 137"/>
                <a:gd name="T35" fmla="*/ 388 h 397"/>
                <a:gd name="T36" fmla="*/ 32 w 137"/>
                <a:gd name="T37" fmla="*/ 380 h 397"/>
                <a:gd name="T38" fmla="*/ 20 w 137"/>
                <a:gd name="T39" fmla="*/ 366 h 397"/>
                <a:gd name="T40" fmla="*/ 9 w 137"/>
                <a:gd name="T41" fmla="*/ 348 h 397"/>
                <a:gd name="T42" fmla="*/ 4 w 137"/>
                <a:gd name="T43" fmla="*/ 324 h 397"/>
                <a:gd name="T44" fmla="*/ 0 w 137"/>
                <a:gd name="T45" fmla="*/ 292 h 397"/>
                <a:gd name="T46" fmla="*/ 0 w 137"/>
                <a:gd name="T47" fmla="*/ 3 h 397"/>
                <a:gd name="T48" fmla="*/ 2 w 137"/>
                <a:gd name="T49" fmla="*/ 3 h 397"/>
                <a:gd name="T50" fmla="*/ 4 w 137"/>
                <a:gd name="T51" fmla="*/ 3 h 397"/>
                <a:gd name="T52" fmla="*/ 11 w 137"/>
                <a:gd name="T53" fmla="*/ 2 h 397"/>
                <a:gd name="T54" fmla="*/ 23 w 137"/>
                <a:gd name="T55" fmla="*/ 0 h 397"/>
                <a:gd name="T56" fmla="*/ 42 w 137"/>
                <a:gd name="T5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397">
                  <a:moveTo>
                    <a:pt x="42" y="0"/>
                  </a:moveTo>
                  <a:lnTo>
                    <a:pt x="63" y="0"/>
                  </a:lnTo>
                  <a:lnTo>
                    <a:pt x="76" y="2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289"/>
                  </a:lnTo>
                  <a:lnTo>
                    <a:pt x="86" y="306"/>
                  </a:lnTo>
                  <a:lnTo>
                    <a:pt x="90" y="317"/>
                  </a:lnTo>
                  <a:lnTo>
                    <a:pt x="98" y="324"/>
                  </a:lnTo>
                  <a:lnTo>
                    <a:pt x="109" y="325"/>
                  </a:lnTo>
                  <a:lnTo>
                    <a:pt x="114" y="325"/>
                  </a:lnTo>
                  <a:lnTo>
                    <a:pt x="119" y="324"/>
                  </a:lnTo>
                  <a:lnTo>
                    <a:pt x="137" y="390"/>
                  </a:lnTo>
                  <a:lnTo>
                    <a:pt x="116" y="395"/>
                  </a:lnTo>
                  <a:lnTo>
                    <a:pt x="88" y="397"/>
                  </a:lnTo>
                  <a:lnTo>
                    <a:pt x="74" y="397"/>
                  </a:lnTo>
                  <a:lnTo>
                    <a:pt x="60" y="394"/>
                  </a:lnTo>
                  <a:lnTo>
                    <a:pt x="46" y="388"/>
                  </a:lnTo>
                  <a:lnTo>
                    <a:pt x="32" y="380"/>
                  </a:lnTo>
                  <a:lnTo>
                    <a:pt x="20" y="366"/>
                  </a:lnTo>
                  <a:lnTo>
                    <a:pt x="9" y="348"/>
                  </a:lnTo>
                  <a:lnTo>
                    <a:pt x="4" y="324"/>
                  </a:lnTo>
                  <a:lnTo>
                    <a:pt x="0" y="292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7"/>
            <p:cNvSpPr>
              <a:spLocks/>
            </p:cNvSpPr>
            <p:nvPr userDrawn="1"/>
          </p:nvSpPr>
          <p:spPr bwMode="auto">
            <a:xfrm>
              <a:off x="8655051" y="4195763"/>
              <a:ext cx="130175" cy="463550"/>
            </a:xfrm>
            <a:custGeom>
              <a:avLst/>
              <a:gdLst>
                <a:gd name="T0" fmla="*/ 42 w 82"/>
                <a:gd name="T1" fmla="*/ 0 h 292"/>
                <a:gd name="T2" fmla="*/ 63 w 82"/>
                <a:gd name="T3" fmla="*/ 0 h 292"/>
                <a:gd name="T4" fmla="*/ 75 w 82"/>
                <a:gd name="T5" fmla="*/ 2 h 292"/>
                <a:gd name="T6" fmla="*/ 81 w 82"/>
                <a:gd name="T7" fmla="*/ 5 h 292"/>
                <a:gd name="T8" fmla="*/ 82 w 82"/>
                <a:gd name="T9" fmla="*/ 5 h 292"/>
                <a:gd name="T10" fmla="*/ 82 w 82"/>
                <a:gd name="T11" fmla="*/ 292 h 292"/>
                <a:gd name="T12" fmla="*/ 0 w 82"/>
                <a:gd name="T13" fmla="*/ 292 h 292"/>
                <a:gd name="T14" fmla="*/ 2 w 82"/>
                <a:gd name="T15" fmla="*/ 5 h 292"/>
                <a:gd name="T16" fmla="*/ 4 w 82"/>
                <a:gd name="T17" fmla="*/ 5 h 292"/>
                <a:gd name="T18" fmla="*/ 11 w 82"/>
                <a:gd name="T19" fmla="*/ 2 h 292"/>
                <a:gd name="T20" fmla="*/ 23 w 82"/>
                <a:gd name="T21" fmla="*/ 0 h 292"/>
                <a:gd name="T22" fmla="*/ 42 w 82"/>
                <a:gd name="T23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292">
                  <a:moveTo>
                    <a:pt x="42" y="0"/>
                  </a:moveTo>
                  <a:lnTo>
                    <a:pt x="63" y="0"/>
                  </a:lnTo>
                  <a:lnTo>
                    <a:pt x="75" y="2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292"/>
                  </a:lnTo>
                  <a:lnTo>
                    <a:pt x="0" y="292"/>
                  </a:lnTo>
                  <a:lnTo>
                    <a:pt x="2" y="5"/>
                  </a:lnTo>
                  <a:lnTo>
                    <a:pt x="4" y="5"/>
                  </a:lnTo>
                  <a:lnTo>
                    <a:pt x="11" y="2"/>
                  </a:lnTo>
                  <a:lnTo>
                    <a:pt x="23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8"/>
            <p:cNvSpPr>
              <a:spLocks/>
            </p:cNvSpPr>
            <p:nvPr userDrawn="1"/>
          </p:nvSpPr>
          <p:spPr bwMode="auto">
            <a:xfrm>
              <a:off x="6584951" y="4043363"/>
              <a:ext cx="422275" cy="636588"/>
            </a:xfrm>
            <a:custGeom>
              <a:avLst/>
              <a:gdLst>
                <a:gd name="T0" fmla="*/ 166 w 266"/>
                <a:gd name="T1" fmla="*/ 0 h 401"/>
                <a:gd name="T2" fmla="*/ 199 w 266"/>
                <a:gd name="T3" fmla="*/ 3 h 401"/>
                <a:gd name="T4" fmla="*/ 225 w 266"/>
                <a:gd name="T5" fmla="*/ 10 h 401"/>
                <a:gd name="T6" fmla="*/ 248 w 266"/>
                <a:gd name="T7" fmla="*/ 21 h 401"/>
                <a:gd name="T8" fmla="*/ 266 w 266"/>
                <a:gd name="T9" fmla="*/ 35 h 401"/>
                <a:gd name="T10" fmla="*/ 224 w 266"/>
                <a:gd name="T11" fmla="*/ 91 h 401"/>
                <a:gd name="T12" fmla="*/ 204 w 266"/>
                <a:gd name="T13" fmla="*/ 77 h 401"/>
                <a:gd name="T14" fmla="*/ 183 w 266"/>
                <a:gd name="T15" fmla="*/ 72 h 401"/>
                <a:gd name="T16" fmla="*/ 166 w 266"/>
                <a:gd name="T17" fmla="*/ 70 h 401"/>
                <a:gd name="T18" fmla="*/ 143 w 266"/>
                <a:gd name="T19" fmla="*/ 73 h 401"/>
                <a:gd name="T20" fmla="*/ 124 w 266"/>
                <a:gd name="T21" fmla="*/ 84 h 401"/>
                <a:gd name="T22" fmla="*/ 110 w 266"/>
                <a:gd name="T23" fmla="*/ 100 h 401"/>
                <a:gd name="T24" fmla="*/ 101 w 266"/>
                <a:gd name="T25" fmla="*/ 121 h 401"/>
                <a:gd name="T26" fmla="*/ 94 w 266"/>
                <a:gd name="T27" fmla="*/ 145 h 401"/>
                <a:gd name="T28" fmla="*/ 91 w 266"/>
                <a:gd name="T29" fmla="*/ 171 h 401"/>
                <a:gd name="T30" fmla="*/ 89 w 266"/>
                <a:gd name="T31" fmla="*/ 199 h 401"/>
                <a:gd name="T32" fmla="*/ 91 w 266"/>
                <a:gd name="T33" fmla="*/ 229 h 401"/>
                <a:gd name="T34" fmla="*/ 94 w 266"/>
                <a:gd name="T35" fmla="*/ 257 h 401"/>
                <a:gd name="T36" fmla="*/ 103 w 266"/>
                <a:gd name="T37" fmla="*/ 282 h 401"/>
                <a:gd name="T38" fmla="*/ 113 w 266"/>
                <a:gd name="T39" fmla="*/ 301 h 401"/>
                <a:gd name="T40" fmla="*/ 127 w 266"/>
                <a:gd name="T41" fmla="*/ 317 h 401"/>
                <a:gd name="T42" fmla="*/ 147 w 266"/>
                <a:gd name="T43" fmla="*/ 327 h 401"/>
                <a:gd name="T44" fmla="*/ 168 w 266"/>
                <a:gd name="T45" fmla="*/ 329 h 401"/>
                <a:gd name="T46" fmla="*/ 199 w 266"/>
                <a:gd name="T47" fmla="*/ 325 h 401"/>
                <a:gd name="T48" fmla="*/ 227 w 266"/>
                <a:gd name="T49" fmla="*/ 318 h 401"/>
                <a:gd name="T50" fmla="*/ 260 w 266"/>
                <a:gd name="T51" fmla="*/ 383 h 401"/>
                <a:gd name="T52" fmla="*/ 239 w 266"/>
                <a:gd name="T53" fmla="*/ 388 h 401"/>
                <a:gd name="T54" fmla="*/ 215 w 266"/>
                <a:gd name="T55" fmla="*/ 394 h 401"/>
                <a:gd name="T56" fmla="*/ 190 w 266"/>
                <a:gd name="T57" fmla="*/ 399 h 401"/>
                <a:gd name="T58" fmla="*/ 166 w 266"/>
                <a:gd name="T59" fmla="*/ 401 h 401"/>
                <a:gd name="T60" fmla="*/ 134 w 266"/>
                <a:gd name="T61" fmla="*/ 397 h 401"/>
                <a:gd name="T62" fmla="*/ 105 w 266"/>
                <a:gd name="T63" fmla="*/ 392 h 401"/>
                <a:gd name="T64" fmla="*/ 78 w 266"/>
                <a:gd name="T65" fmla="*/ 380 h 401"/>
                <a:gd name="T66" fmla="*/ 56 w 266"/>
                <a:gd name="T67" fmla="*/ 364 h 401"/>
                <a:gd name="T68" fmla="*/ 36 w 266"/>
                <a:gd name="T69" fmla="*/ 343 h 401"/>
                <a:gd name="T70" fmla="*/ 21 w 266"/>
                <a:gd name="T71" fmla="*/ 315 h 401"/>
                <a:gd name="T72" fmla="*/ 8 w 266"/>
                <a:gd name="T73" fmla="*/ 283 h 401"/>
                <a:gd name="T74" fmla="*/ 1 w 266"/>
                <a:gd name="T75" fmla="*/ 245 h 401"/>
                <a:gd name="T76" fmla="*/ 0 w 266"/>
                <a:gd name="T77" fmla="*/ 199 h 401"/>
                <a:gd name="T78" fmla="*/ 1 w 266"/>
                <a:gd name="T79" fmla="*/ 156 h 401"/>
                <a:gd name="T80" fmla="*/ 10 w 266"/>
                <a:gd name="T81" fmla="*/ 119 h 401"/>
                <a:gd name="T82" fmla="*/ 22 w 266"/>
                <a:gd name="T83" fmla="*/ 86 h 401"/>
                <a:gd name="T84" fmla="*/ 38 w 266"/>
                <a:gd name="T85" fmla="*/ 59 h 401"/>
                <a:gd name="T86" fmla="*/ 59 w 266"/>
                <a:gd name="T87" fmla="*/ 38 h 401"/>
                <a:gd name="T88" fmla="*/ 82 w 266"/>
                <a:gd name="T89" fmla="*/ 21 h 401"/>
                <a:gd name="T90" fmla="*/ 108 w 266"/>
                <a:gd name="T91" fmla="*/ 9 h 401"/>
                <a:gd name="T92" fmla="*/ 136 w 266"/>
                <a:gd name="T93" fmla="*/ 3 h 401"/>
                <a:gd name="T94" fmla="*/ 166 w 266"/>
                <a:gd name="T95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66" h="401">
                  <a:moveTo>
                    <a:pt x="166" y="0"/>
                  </a:moveTo>
                  <a:lnTo>
                    <a:pt x="199" y="3"/>
                  </a:lnTo>
                  <a:lnTo>
                    <a:pt x="225" y="10"/>
                  </a:lnTo>
                  <a:lnTo>
                    <a:pt x="248" y="21"/>
                  </a:lnTo>
                  <a:lnTo>
                    <a:pt x="266" y="35"/>
                  </a:lnTo>
                  <a:lnTo>
                    <a:pt x="224" y="91"/>
                  </a:lnTo>
                  <a:lnTo>
                    <a:pt x="204" y="77"/>
                  </a:lnTo>
                  <a:lnTo>
                    <a:pt x="183" y="72"/>
                  </a:lnTo>
                  <a:lnTo>
                    <a:pt x="166" y="70"/>
                  </a:lnTo>
                  <a:lnTo>
                    <a:pt x="143" y="73"/>
                  </a:lnTo>
                  <a:lnTo>
                    <a:pt x="124" y="84"/>
                  </a:lnTo>
                  <a:lnTo>
                    <a:pt x="110" y="100"/>
                  </a:lnTo>
                  <a:lnTo>
                    <a:pt x="101" y="121"/>
                  </a:lnTo>
                  <a:lnTo>
                    <a:pt x="94" y="145"/>
                  </a:lnTo>
                  <a:lnTo>
                    <a:pt x="91" y="171"/>
                  </a:lnTo>
                  <a:lnTo>
                    <a:pt x="89" y="199"/>
                  </a:lnTo>
                  <a:lnTo>
                    <a:pt x="91" y="229"/>
                  </a:lnTo>
                  <a:lnTo>
                    <a:pt x="94" y="257"/>
                  </a:lnTo>
                  <a:lnTo>
                    <a:pt x="103" y="282"/>
                  </a:lnTo>
                  <a:lnTo>
                    <a:pt x="113" y="301"/>
                  </a:lnTo>
                  <a:lnTo>
                    <a:pt x="127" y="317"/>
                  </a:lnTo>
                  <a:lnTo>
                    <a:pt x="147" y="327"/>
                  </a:lnTo>
                  <a:lnTo>
                    <a:pt x="168" y="329"/>
                  </a:lnTo>
                  <a:lnTo>
                    <a:pt x="199" y="325"/>
                  </a:lnTo>
                  <a:lnTo>
                    <a:pt x="227" y="318"/>
                  </a:lnTo>
                  <a:lnTo>
                    <a:pt x="260" y="383"/>
                  </a:lnTo>
                  <a:lnTo>
                    <a:pt x="239" y="388"/>
                  </a:lnTo>
                  <a:lnTo>
                    <a:pt x="215" y="394"/>
                  </a:lnTo>
                  <a:lnTo>
                    <a:pt x="190" y="399"/>
                  </a:lnTo>
                  <a:lnTo>
                    <a:pt x="166" y="401"/>
                  </a:lnTo>
                  <a:lnTo>
                    <a:pt x="134" y="397"/>
                  </a:lnTo>
                  <a:lnTo>
                    <a:pt x="105" y="392"/>
                  </a:lnTo>
                  <a:lnTo>
                    <a:pt x="78" y="380"/>
                  </a:lnTo>
                  <a:lnTo>
                    <a:pt x="56" y="364"/>
                  </a:lnTo>
                  <a:lnTo>
                    <a:pt x="36" y="343"/>
                  </a:lnTo>
                  <a:lnTo>
                    <a:pt x="21" y="315"/>
                  </a:lnTo>
                  <a:lnTo>
                    <a:pt x="8" y="283"/>
                  </a:lnTo>
                  <a:lnTo>
                    <a:pt x="1" y="245"/>
                  </a:lnTo>
                  <a:lnTo>
                    <a:pt x="0" y="199"/>
                  </a:lnTo>
                  <a:lnTo>
                    <a:pt x="1" y="156"/>
                  </a:lnTo>
                  <a:lnTo>
                    <a:pt x="10" y="119"/>
                  </a:lnTo>
                  <a:lnTo>
                    <a:pt x="22" y="86"/>
                  </a:lnTo>
                  <a:lnTo>
                    <a:pt x="38" y="59"/>
                  </a:lnTo>
                  <a:lnTo>
                    <a:pt x="59" y="38"/>
                  </a:lnTo>
                  <a:lnTo>
                    <a:pt x="82" y="21"/>
                  </a:lnTo>
                  <a:lnTo>
                    <a:pt x="108" y="9"/>
                  </a:lnTo>
                  <a:lnTo>
                    <a:pt x="136" y="3"/>
                  </a:lnTo>
                  <a:lnTo>
                    <a:pt x="16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9"/>
            <p:cNvSpPr>
              <a:spLocks noEditPoints="1"/>
            </p:cNvSpPr>
            <p:nvPr userDrawn="1"/>
          </p:nvSpPr>
          <p:spPr bwMode="auto">
            <a:xfrm>
              <a:off x="6092826" y="4043363"/>
              <a:ext cx="406400" cy="630238"/>
            </a:xfrm>
            <a:custGeom>
              <a:avLst/>
              <a:gdLst>
                <a:gd name="T0" fmla="*/ 156 w 256"/>
                <a:gd name="T1" fmla="*/ 152 h 397"/>
                <a:gd name="T2" fmla="*/ 137 w 256"/>
                <a:gd name="T3" fmla="*/ 152 h 397"/>
                <a:gd name="T4" fmla="*/ 117 w 256"/>
                <a:gd name="T5" fmla="*/ 159 h 397"/>
                <a:gd name="T6" fmla="*/ 103 w 256"/>
                <a:gd name="T7" fmla="*/ 175 h 397"/>
                <a:gd name="T8" fmla="*/ 93 w 256"/>
                <a:gd name="T9" fmla="*/ 196 h 397"/>
                <a:gd name="T10" fmla="*/ 86 w 256"/>
                <a:gd name="T11" fmla="*/ 220 h 397"/>
                <a:gd name="T12" fmla="*/ 84 w 256"/>
                <a:gd name="T13" fmla="*/ 247 h 397"/>
                <a:gd name="T14" fmla="*/ 86 w 256"/>
                <a:gd name="T15" fmla="*/ 273 h 397"/>
                <a:gd name="T16" fmla="*/ 93 w 256"/>
                <a:gd name="T17" fmla="*/ 297 h 397"/>
                <a:gd name="T18" fmla="*/ 102 w 256"/>
                <a:gd name="T19" fmla="*/ 313 h 397"/>
                <a:gd name="T20" fmla="*/ 112 w 256"/>
                <a:gd name="T21" fmla="*/ 324 h 397"/>
                <a:gd name="T22" fmla="*/ 124 w 256"/>
                <a:gd name="T23" fmla="*/ 331 h 397"/>
                <a:gd name="T24" fmla="*/ 135 w 256"/>
                <a:gd name="T25" fmla="*/ 332 h 397"/>
                <a:gd name="T26" fmla="*/ 154 w 256"/>
                <a:gd name="T27" fmla="*/ 329 h 397"/>
                <a:gd name="T28" fmla="*/ 172 w 256"/>
                <a:gd name="T29" fmla="*/ 317 h 397"/>
                <a:gd name="T30" fmla="*/ 172 w 256"/>
                <a:gd name="T31" fmla="*/ 156 h 397"/>
                <a:gd name="T32" fmla="*/ 156 w 256"/>
                <a:gd name="T33" fmla="*/ 152 h 397"/>
                <a:gd name="T34" fmla="*/ 214 w 256"/>
                <a:gd name="T35" fmla="*/ 0 h 397"/>
                <a:gd name="T36" fmla="*/ 235 w 256"/>
                <a:gd name="T37" fmla="*/ 0 h 397"/>
                <a:gd name="T38" fmla="*/ 247 w 256"/>
                <a:gd name="T39" fmla="*/ 2 h 397"/>
                <a:gd name="T40" fmla="*/ 254 w 256"/>
                <a:gd name="T41" fmla="*/ 3 h 397"/>
                <a:gd name="T42" fmla="*/ 256 w 256"/>
                <a:gd name="T43" fmla="*/ 3 h 397"/>
                <a:gd name="T44" fmla="*/ 256 w 256"/>
                <a:gd name="T45" fmla="*/ 388 h 397"/>
                <a:gd name="T46" fmla="*/ 193 w 256"/>
                <a:gd name="T47" fmla="*/ 388 h 397"/>
                <a:gd name="T48" fmla="*/ 184 w 256"/>
                <a:gd name="T49" fmla="*/ 373 h 397"/>
                <a:gd name="T50" fmla="*/ 165 w 256"/>
                <a:gd name="T51" fmla="*/ 385 h 397"/>
                <a:gd name="T52" fmla="*/ 145 w 256"/>
                <a:gd name="T53" fmla="*/ 394 h 397"/>
                <a:gd name="T54" fmla="*/ 124 w 256"/>
                <a:gd name="T55" fmla="*/ 397 h 397"/>
                <a:gd name="T56" fmla="*/ 91 w 256"/>
                <a:gd name="T57" fmla="*/ 390 h 397"/>
                <a:gd name="T58" fmla="*/ 61 w 256"/>
                <a:gd name="T59" fmla="*/ 374 h 397"/>
                <a:gd name="T60" fmla="*/ 35 w 256"/>
                <a:gd name="T61" fmla="*/ 352 h 397"/>
                <a:gd name="T62" fmla="*/ 16 w 256"/>
                <a:gd name="T63" fmla="*/ 318 h 397"/>
                <a:gd name="T64" fmla="*/ 4 w 256"/>
                <a:gd name="T65" fmla="*/ 282 h 397"/>
                <a:gd name="T66" fmla="*/ 0 w 256"/>
                <a:gd name="T67" fmla="*/ 243 h 397"/>
                <a:gd name="T68" fmla="*/ 0 w 256"/>
                <a:gd name="T69" fmla="*/ 210 h 397"/>
                <a:gd name="T70" fmla="*/ 7 w 256"/>
                <a:gd name="T71" fmla="*/ 180 h 397"/>
                <a:gd name="T72" fmla="*/ 19 w 256"/>
                <a:gd name="T73" fmla="*/ 156 h 397"/>
                <a:gd name="T74" fmla="*/ 35 w 256"/>
                <a:gd name="T75" fmla="*/ 136 h 397"/>
                <a:gd name="T76" fmla="*/ 54 w 256"/>
                <a:gd name="T77" fmla="*/ 119 h 397"/>
                <a:gd name="T78" fmla="*/ 75 w 256"/>
                <a:gd name="T79" fmla="*/ 107 h 397"/>
                <a:gd name="T80" fmla="*/ 100 w 256"/>
                <a:gd name="T81" fmla="*/ 98 h 397"/>
                <a:gd name="T82" fmla="*/ 124 w 256"/>
                <a:gd name="T83" fmla="*/ 93 h 397"/>
                <a:gd name="T84" fmla="*/ 149 w 256"/>
                <a:gd name="T85" fmla="*/ 91 h 397"/>
                <a:gd name="T86" fmla="*/ 158 w 256"/>
                <a:gd name="T87" fmla="*/ 93 h 397"/>
                <a:gd name="T88" fmla="*/ 165 w 256"/>
                <a:gd name="T89" fmla="*/ 93 h 397"/>
                <a:gd name="T90" fmla="*/ 172 w 256"/>
                <a:gd name="T91" fmla="*/ 94 h 397"/>
                <a:gd name="T92" fmla="*/ 172 w 256"/>
                <a:gd name="T93" fmla="*/ 3 h 397"/>
                <a:gd name="T94" fmla="*/ 173 w 256"/>
                <a:gd name="T95" fmla="*/ 3 h 397"/>
                <a:gd name="T96" fmla="*/ 180 w 256"/>
                <a:gd name="T97" fmla="*/ 2 h 397"/>
                <a:gd name="T98" fmla="*/ 194 w 256"/>
                <a:gd name="T99" fmla="*/ 0 h 397"/>
                <a:gd name="T100" fmla="*/ 214 w 256"/>
                <a:gd name="T10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6" h="397">
                  <a:moveTo>
                    <a:pt x="156" y="152"/>
                  </a:moveTo>
                  <a:lnTo>
                    <a:pt x="137" y="152"/>
                  </a:lnTo>
                  <a:lnTo>
                    <a:pt x="117" y="159"/>
                  </a:lnTo>
                  <a:lnTo>
                    <a:pt x="103" y="175"/>
                  </a:lnTo>
                  <a:lnTo>
                    <a:pt x="93" y="196"/>
                  </a:lnTo>
                  <a:lnTo>
                    <a:pt x="86" y="220"/>
                  </a:lnTo>
                  <a:lnTo>
                    <a:pt x="84" y="247"/>
                  </a:lnTo>
                  <a:lnTo>
                    <a:pt x="86" y="273"/>
                  </a:lnTo>
                  <a:lnTo>
                    <a:pt x="93" y="297"/>
                  </a:lnTo>
                  <a:lnTo>
                    <a:pt x="102" y="313"/>
                  </a:lnTo>
                  <a:lnTo>
                    <a:pt x="112" y="324"/>
                  </a:lnTo>
                  <a:lnTo>
                    <a:pt x="124" y="331"/>
                  </a:lnTo>
                  <a:lnTo>
                    <a:pt x="135" y="332"/>
                  </a:lnTo>
                  <a:lnTo>
                    <a:pt x="154" y="329"/>
                  </a:lnTo>
                  <a:lnTo>
                    <a:pt x="172" y="317"/>
                  </a:lnTo>
                  <a:lnTo>
                    <a:pt x="172" y="156"/>
                  </a:lnTo>
                  <a:lnTo>
                    <a:pt x="156" y="152"/>
                  </a:lnTo>
                  <a:close/>
                  <a:moveTo>
                    <a:pt x="214" y="0"/>
                  </a:moveTo>
                  <a:lnTo>
                    <a:pt x="235" y="0"/>
                  </a:lnTo>
                  <a:lnTo>
                    <a:pt x="247" y="2"/>
                  </a:lnTo>
                  <a:lnTo>
                    <a:pt x="254" y="3"/>
                  </a:lnTo>
                  <a:lnTo>
                    <a:pt x="256" y="3"/>
                  </a:lnTo>
                  <a:lnTo>
                    <a:pt x="256" y="388"/>
                  </a:lnTo>
                  <a:lnTo>
                    <a:pt x="193" y="388"/>
                  </a:lnTo>
                  <a:lnTo>
                    <a:pt x="184" y="373"/>
                  </a:lnTo>
                  <a:lnTo>
                    <a:pt x="165" y="385"/>
                  </a:lnTo>
                  <a:lnTo>
                    <a:pt x="145" y="394"/>
                  </a:lnTo>
                  <a:lnTo>
                    <a:pt x="124" y="397"/>
                  </a:lnTo>
                  <a:lnTo>
                    <a:pt x="91" y="390"/>
                  </a:lnTo>
                  <a:lnTo>
                    <a:pt x="61" y="374"/>
                  </a:lnTo>
                  <a:lnTo>
                    <a:pt x="35" y="352"/>
                  </a:lnTo>
                  <a:lnTo>
                    <a:pt x="16" y="318"/>
                  </a:lnTo>
                  <a:lnTo>
                    <a:pt x="4" y="282"/>
                  </a:lnTo>
                  <a:lnTo>
                    <a:pt x="0" y="243"/>
                  </a:lnTo>
                  <a:lnTo>
                    <a:pt x="0" y="210"/>
                  </a:lnTo>
                  <a:lnTo>
                    <a:pt x="7" y="180"/>
                  </a:lnTo>
                  <a:lnTo>
                    <a:pt x="19" y="156"/>
                  </a:lnTo>
                  <a:lnTo>
                    <a:pt x="35" y="136"/>
                  </a:lnTo>
                  <a:lnTo>
                    <a:pt x="54" y="119"/>
                  </a:lnTo>
                  <a:lnTo>
                    <a:pt x="75" y="107"/>
                  </a:lnTo>
                  <a:lnTo>
                    <a:pt x="100" y="98"/>
                  </a:lnTo>
                  <a:lnTo>
                    <a:pt x="124" y="93"/>
                  </a:lnTo>
                  <a:lnTo>
                    <a:pt x="149" y="91"/>
                  </a:lnTo>
                  <a:lnTo>
                    <a:pt x="158" y="93"/>
                  </a:lnTo>
                  <a:lnTo>
                    <a:pt x="165" y="93"/>
                  </a:lnTo>
                  <a:lnTo>
                    <a:pt x="172" y="94"/>
                  </a:lnTo>
                  <a:lnTo>
                    <a:pt x="172" y="3"/>
                  </a:lnTo>
                  <a:lnTo>
                    <a:pt x="173" y="3"/>
                  </a:lnTo>
                  <a:lnTo>
                    <a:pt x="180" y="2"/>
                  </a:lnTo>
                  <a:lnTo>
                    <a:pt x="194" y="0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0"/>
            <p:cNvSpPr>
              <a:spLocks noEditPoints="1"/>
            </p:cNvSpPr>
            <p:nvPr userDrawn="1"/>
          </p:nvSpPr>
          <p:spPr bwMode="auto">
            <a:xfrm>
              <a:off x="4181476" y="4187825"/>
              <a:ext cx="371475" cy="488950"/>
            </a:xfrm>
            <a:custGeom>
              <a:avLst/>
              <a:gdLst>
                <a:gd name="T0" fmla="*/ 111 w 234"/>
                <a:gd name="T1" fmla="*/ 61 h 308"/>
                <a:gd name="T2" fmla="*/ 90 w 234"/>
                <a:gd name="T3" fmla="*/ 84 h 308"/>
                <a:gd name="T4" fmla="*/ 82 w 234"/>
                <a:gd name="T5" fmla="*/ 112 h 308"/>
                <a:gd name="T6" fmla="*/ 80 w 234"/>
                <a:gd name="T7" fmla="*/ 131 h 308"/>
                <a:gd name="T8" fmla="*/ 171 w 234"/>
                <a:gd name="T9" fmla="*/ 135 h 308"/>
                <a:gd name="T10" fmla="*/ 167 w 234"/>
                <a:gd name="T11" fmla="*/ 93 h 308"/>
                <a:gd name="T12" fmla="*/ 146 w 234"/>
                <a:gd name="T13" fmla="*/ 61 h 308"/>
                <a:gd name="T14" fmla="*/ 131 w 234"/>
                <a:gd name="T15" fmla="*/ 58 h 308"/>
                <a:gd name="T16" fmla="*/ 127 w 234"/>
                <a:gd name="T17" fmla="*/ 0 h 308"/>
                <a:gd name="T18" fmla="*/ 167 w 234"/>
                <a:gd name="T19" fmla="*/ 7 h 308"/>
                <a:gd name="T20" fmla="*/ 202 w 234"/>
                <a:gd name="T21" fmla="*/ 28 h 308"/>
                <a:gd name="T22" fmla="*/ 225 w 234"/>
                <a:gd name="T23" fmla="*/ 66 h 308"/>
                <a:gd name="T24" fmla="*/ 234 w 234"/>
                <a:gd name="T25" fmla="*/ 128 h 308"/>
                <a:gd name="T26" fmla="*/ 232 w 234"/>
                <a:gd name="T27" fmla="*/ 166 h 308"/>
                <a:gd name="T28" fmla="*/ 229 w 234"/>
                <a:gd name="T29" fmla="*/ 182 h 308"/>
                <a:gd name="T30" fmla="*/ 185 w 234"/>
                <a:gd name="T31" fmla="*/ 184 h 308"/>
                <a:gd name="T32" fmla="*/ 80 w 234"/>
                <a:gd name="T33" fmla="*/ 184 h 308"/>
                <a:gd name="T34" fmla="*/ 80 w 234"/>
                <a:gd name="T35" fmla="*/ 194 h 308"/>
                <a:gd name="T36" fmla="*/ 83 w 234"/>
                <a:gd name="T37" fmla="*/ 213 h 308"/>
                <a:gd name="T38" fmla="*/ 101 w 234"/>
                <a:gd name="T39" fmla="*/ 234 h 308"/>
                <a:gd name="T40" fmla="*/ 138 w 234"/>
                <a:gd name="T41" fmla="*/ 247 h 308"/>
                <a:gd name="T42" fmla="*/ 180 w 234"/>
                <a:gd name="T43" fmla="*/ 241 h 308"/>
                <a:gd name="T44" fmla="*/ 222 w 234"/>
                <a:gd name="T45" fmla="*/ 226 h 308"/>
                <a:gd name="T46" fmla="*/ 187 w 234"/>
                <a:gd name="T47" fmla="*/ 299 h 308"/>
                <a:gd name="T48" fmla="*/ 131 w 234"/>
                <a:gd name="T49" fmla="*/ 308 h 308"/>
                <a:gd name="T50" fmla="*/ 131 w 234"/>
                <a:gd name="T51" fmla="*/ 308 h 308"/>
                <a:gd name="T52" fmla="*/ 76 w 234"/>
                <a:gd name="T53" fmla="*/ 297 h 308"/>
                <a:gd name="T54" fmla="*/ 36 w 234"/>
                <a:gd name="T55" fmla="*/ 271 h 308"/>
                <a:gd name="T56" fmla="*/ 10 w 234"/>
                <a:gd name="T57" fmla="*/ 224 h 308"/>
                <a:gd name="T58" fmla="*/ 0 w 234"/>
                <a:gd name="T59" fmla="*/ 154 h 308"/>
                <a:gd name="T60" fmla="*/ 3 w 234"/>
                <a:gd name="T61" fmla="*/ 115 h 308"/>
                <a:gd name="T62" fmla="*/ 21 w 234"/>
                <a:gd name="T63" fmla="*/ 58 h 308"/>
                <a:gd name="T64" fmla="*/ 54 w 234"/>
                <a:gd name="T65" fmla="*/ 21 h 308"/>
                <a:gd name="T66" fmla="*/ 99 w 234"/>
                <a:gd name="T67" fmla="*/ 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4" h="308">
                  <a:moveTo>
                    <a:pt x="131" y="58"/>
                  </a:moveTo>
                  <a:lnTo>
                    <a:pt x="111" y="61"/>
                  </a:lnTo>
                  <a:lnTo>
                    <a:pt x="99" y="70"/>
                  </a:lnTo>
                  <a:lnTo>
                    <a:pt x="90" y="84"/>
                  </a:lnTo>
                  <a:lnTo>
                    <a:pt x="85" y="98"/>
                  </a:lnTo>
                  <a:lnTo>
                    <a:pt x="82" y="112"/>
                  </a:lnTo>
                  <a:lnTo>
                    <a:pt x="80" y="122"/>
                  </a:lnTo>
                  <a:lnTo>
                    <a:pt x="80" y="131"/>
                  </a:lnTo>
                  <a:lnTo>
                    <a:pt x="82" y="135"/>
                  </a:lnTo>
                  <a:lnTo>
                    <a:pt x="171" y="135"/>
                  </a:lnTo>
                  <a:lnTo>
                    <a:pt x="171" y="117"/>
                  </a:lnTo>
                  <a:lnTo>
                    <a:pt x="167" y="93"/>
                  </a:lnTo>
                  <a:lnTo>
                    <a:pt x="159" y="73"/>
                  </a:lnTo>
                  <a:lnTo>
                    <a:pt x="146" y="61"/>
                  </a:lnTo>
                  <a:lnTo>
                    <a:pt x="131" y="58"/>
                  </a:lnTo>
                  <a:lnTo>
                    <a:pt x="131" y="58"/>
                  </a:lnTo>
                  <a:close/>
                  <a:moveTo>
                    <a:pt x="125" y="0"/>
                  </a:moveTo>
                  <a:lnTo>
                    <a:pt x="127" y="0"/>
                  </a:lnTo>
                  <a:lnTo>
                    <a:pt x="148" y="2"/>
                  </a:lnTo>
                  <a:lnTo>
                    <a:pt x="167" y="7"/>
                  </a:lnTo>
                  <a:lnTo>
                    <a:pt x="187" y="16"/>
                  </a:lnTo>
                  <a:lnTo>
                    <a:pt x="202" y="28"/>
                  </a:lnTo>
                  <a:lnTo>
                    <a:pt x="215" y="45"/>
                  </a:lnTo>
                  <a:lnTo>
                    <a:pt x="225" y="66"/>
                  </a:lnTo>
                  <a:lnTo>
                    <a:pt x="232" y="94"/>
                  </a:lnTo>
                  <a:lnTo>
                    <a:pt x="234" y="128"/>
                  </a:lnTo>
                  <a:lnTo>
                    <a:pt x="234" y="149"/>
                  </a:lnTo>
                  <a:lnTo>
                    <a:pt x="232" y="166"/>
                  </a:lnTo>
                  <a:lnTo>
                    <a:pt x="230" y="177"/>
                  </a:lnTo>
                  <a:lnTo>
                    <a:pt x="229" y="182"/>
                  </a:lnTo>
                  <a:lnTo>
                    <a:pt x="211" y="184"/>
                  </a:lnTo>
                  <a:lnTo>
                    <a:pt x="185" y="184"/>
                  </a:lnTo>
                  <a:lnTo>
                    <a:pt x="157" y="184"/>
                  </a:lnTo>
                  <a:lnTo>
                    <a:pt x="80" y="184"/>
                  </a:lnTo>
                  <a:lnTo>
                    <a:pt x="80" y="187"/>
                  </a:lnTo>
                  <a:lnTo>
                    <a:pt x="80" y="194"/>
                  </a:lnTo>
                  <a:lnTo>
                    <a:pt x="80" y="203"/>
                  </a:lnTo>
                  <a:lnTo>
                    <a:pt x="83" y="213"/>
                  </a:lnTo>
                  <a:lnTo>
                    <a:pt x="90" y="226"/>
                  </a:lnTo>
                  <a:lnTo>
                    <a:pt x="101" y="234"/>
                  </a:lnTo>
                  <a:lnTo>
                    <a:pt x="117" y="243"/>
                  </a:lnTo>
                  <a:lnTo>
                    <a:pt x="138" y="247"/>
                  </a:lnTo>
                  <a:lnTo>
                    <a:pt x="160" y="247"/>
                  </a:lnTo>
                  <a:lnTo>
                    <a:pt x="180" y="241"/>
                  </a:lnTo>
                  <a:lnTo>
                    <a:pt x="199" y="234"/>
                  </a:lnTo>
                  <a:lnTo>
                    <a:pt x="222" y="226"/>
                  </a:lnTo>
                  <a:lnTo>
                    <a:pt x="222" y="287"/>
                  </a:lnTo>
                  <a:lnTo>
                    <a:pt x="187" y="299"/>
                  </a:lnTo>
                  <a:lnTo>
                    <a:pt x="155" y="306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03" y="304"/>
                  </a:lnTo>
                  <a:lnTo>
                    <a:pt x="76" y="297"/>
                  </a:lnTo>
                  <a:lnTo>
                    <a:pt x="55" y="287"/>
                  </a:lnTo>
                  <a:lnTo>
                    <a:pt x="36" y="271"/>
                  </a:lnTo>
                  <a:lnTo>
                    <a:pt x="22" y="250"/>
                  </a:lnTo>
                  <a:lnTo>
                    <a:pt x="10" y="224"/>
                  </a:lnTo>
                  <a:lnTo>
                    <a:pt x="3" y="192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3" y="115"/>
                  </a:lnTo>
                  <a:lnTo>
                    <a:pt x="10" y="84"/>
                  </a:lnTo>
                  <a:lnTo>
                    <a:pt x="21" y="58"/>
                  </a:lnTo>
                  <a:lnTo>
                    <a:pt x="35" y="37"/>
                  </a:lnTo>
                  <a:lnTo>
                    <a:pt x="54" y="21"/>
                  </a:lnTo>
                  <a:lnTo>
                    <a:pt x="75" y="10"/>
                  </a:lnTo>
                  <a:lnTo>
                    <a:pt x="99" y="3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1"/>
            <p:cNvSpPr>
              <a:spLocks/>
            </p:cNvSpPr>
            <p:nvPr userDrawn="1"/>
          </p:nvSpPr>
          <p:spPr bwMode="auto">
            <a:xfrm>
              <a:off x="3332163" y="4029075"/>
              <a:ext cx="415925" cy="633413"/>
            </a:xfrm>
            <a:custGeom>
              <a:avLst/>
              <a:gdLst>
                <a:gd name="T0" fmla="*/ 162 w 262"/>
                <a:gd name="T1" fmla="*/ 0 h 399"/>
                <a:gd name="T2" fmla="*/ 197 w 262"/>
                <a:gd name="T3" fmla="*/ 2 h 399"/>
                <a:gd name="T4" fmla="*/ 225 w 262"/>
                <a:gd name="T5" fmla="*/ 5 h 399"/>
                <a:gd name="T6" fmla="*/ 244 w 262"/>
                <a:gd name="T7" fmla="*/ 11 h 399"/>
                <a:gd name="T8" fmla="*/ 257 w 262"/>
                <a:gd name="T9" fmla="*/ 16 h 399"/>
                <a:gd name="T10" fmla="*/ 262 w 262"/>
                <a:gd name="T11" fmla="*/ 18 h 399"/>
                <a:gd name="T12" fmla="*/ 243 w 262"/>
                <a:gd name="T13" fmla="*/ 79 h 399"/>
                <a:gd name="T14" fmla="*/ 239 w 262"/>
                <a:gd name="T15" fmla="*/ 79 h 399"/>
                <a:gd name="T16" fmla="*/ 230 w 262"/>
                <a:gd name="T17" fmla="*/ 75 h 399"/>
                <a:gd name="T18" fmla="*/ 213 w 262"/>
                <a:gd name="T19" fmla="*/ 70 h 399"/>
                <a:gd name="T20" fmla="*/ 188 w 262"/>
                <a:gd name="T21" fmla="*/ 67 h 399"/>
                <a:gd name="T22" fmla="*/ 157 w 262"/>
                <a:gd name="T23" fmla="*/ 67 h 399"/>
                <a:gd name="T24" fmla="*/ 136 w 262"/>
                <a:gd name="T25" fmla="*/ 67 h 399"/>
                <a:gd name="T26" fmla="*/ 117 w 262"/>
                <a:gd name="T27" fmla="*/ 68 h 399"/>
                <a:gd name="T28" fmla="*/ 99 w 262"/>
                <a:gd name="T29" fmla="*/ 74 h 399"/>
                <a:gd name="T30" fmla="*/ 89 w 262"/>
                <a:gd name="T31" fmla="*/ 81 h 399"/>
                <a:gd name="T32" fmla="*/ 89 w 262"/>
                <a:gd name="T33" fmla="*/ 168 h 399"/>
                <a:gd name="T34" fmla="*/ 215 w 262"/>
                <a:gd name="T35" fmla="*/ 168 h 399"/>
                <a:gd name="T36" fmla="*/ 215 w 262"/>
                <a:gd name="T37" fmla="*/ 236 h 399"/>
                <a:gd name="T38" fmla="*/ 89 w 262"/>
                <a:gd name="T39" fmla="*/ 236 h 399"/>
                <a:gd name="T40" fmla="*/ 87 w 262"/>
                <a:gd name="T41" fmla="*/ 399 h 399"/>
                <a:gd name="T42" fmla="*/ 0 w 262"/>
                <a:gd name="T43" fmla="*/ 399 h 399"/>
                <a:gd name="T44" fmla="*/ 0 w 262"/>
                <a:gd name="T45" fmla="*/ 33 h 399"/>
                <a:gd name="T46" fmla="*/ 3 w 262"/>
                <a:gd name="T47" fmla="*/ 32 h 399"/>
                <a:gd name="T48" fmla="*/ 10 w 262"/>
                <a:gd name="T49" fmla="*/ 26 h 399"/>
                <a:gd name="T50" fmla="*/ 26 w 262"/>
                <a:gd name="T51" fmla="*/ 19 h 399"/>
                <a:gd name="T52" fmla="*/ 47 w 262"/>
                <a:gd name="T53" fmla="*/ 12 h 399"/>
                <a:gd name="T54" fmla="*/ 78 w 262"/>
                <a:gd name="T55" fmla="*/ 5 h 399"/>
                <a:gd name="T56" fmla="*/ 118 w 262"/>
                <a:gd name="T57" fmla="*/ 2 h 399"/>
                <a:gd name="T58" fmla="*/ 162 w 262"/>
                <a:gd name="T59" fmla="*/ 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2" h="399">
                  <a:moveTo>
                    <a:pt x="162" y="0"/>
                  </a:moveTo>
                  <a:lnTo>
                    <a:pt x="197" y="2"/>
                  </a:lnTo>
                  <a:lnTo>
                    <a:pt x="225" y="5"/>
                  </a:lnTo>
                  <a:lnTo>
                    <a:pt x="244" y="11"/>
                  </a:lnTo>
                  <a:lnTo>
                    <a:pt x="257" y="16"/>
                  </a:lnTo>
                  <a:lnTo>
                    <a:pt x="262" y="18"/>
                  </a:lnTo>
                  <a:lnTo>
                    <a:pt x="243" y="79"/>
                  </a:lnTo>
                  <a:lnTo>
                    <a:pt x="239" y="79"/>
                  </a:lnTo>
                  <a:lnTo>
                    <a:pt x="230" y="75"/>
                  </a:lnTo>
                  <a:lnTo>
                    <a:pt x="213" y="70"/>
                  </a:lnTo>
                  <a:lnTo>
                    <a:pt x="188" y="67"/>
                  </a:lnTo>
                  <a:lnTo>
                    <a:pt x="157" y="67"/>
                  </a:lnTo>
                  <a:lnTo>
                    <a:pt x="136" y="67"/>
                  </a:lnTo>
                  <a:lnTo>
                    <a:pt x="117" y="68"/>
                  </a:lnTo>
                  <a:lnTo>
                    <a:pt x="99" y="74"/>
                  </a:lnTo>
                  <a:lnTo>
                    <a:pt x="89" y="81"/>
                  </a:lnTo>
                  <a:lnTo>
                    <a:pt x="89" y="168"/>
                  </a:lnTo>
                  <a:lnTo>
                    <a:pt x="215" y="168"/>
                  </a:lnTo>
                  <a:lnTo>
                    <a:pt x="215" y="236"/>
                  </a:lnTo>
                  <a:lnTo>
                    <a:pt x="89" y="236"/>
                  </a:lnTo>
                  <a:lnTo>
                    <a:pt x="87" y="399"/>
                  </a:lnTo>
                  <a:lnTo>
                    <a:pt x="0" y="399"/>
                  </a:lnTo>
                  <a:lnTo>
                    <a:pt x="0" y="33"/>
                  </a:lnTo>
                  <a:lnTo>
                    <a:pt x="3" y="32"/>
                  </a:lnTo>
                  <a:lnTo>
                    <a:pt x="10" y="26"/>
                  </a:lnTo>
                  <a:lnTo>
                    <a:pt x="26" y="19"/>
                  </a:lnTo>
                  <a:lnTo>
                    <a:pt x="47" y="12"/>
                  </a:lnTo>
                  <a:lnTo>
                    <a:pt x="78" y="5"/>
                  </a:lnTo>
                  <a:lnTo>
                    <a:pt x="118" y="2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2"/>
            <p:cNvSpPr>
              <a:spLocks/>
            </p:cNvSpPr>
            <p:nvPr userDrawn="1"/>
          </p:nvSpPr>
          <p:spPr bwMode="auto">
            <a:xfrm>
              <a:off x="10212388" y="4037013"/>
              <a:ext cx="136525" cy="136525"/>
            </a:xfrm>
            <a:custGeom>
              <a:avLst/>
              <a:gdLst>
                <a:gd name="T0" fmla="*/ 42 w 86"/>
                <a:gd name="T1" fmla="*/ 0 h 86"/>
                <a:gd name="T2" fmla="*/ 59 w 86"/>
                <a:gd name="T3" fmla="*/ 4 h 86"/>
                <a:gd name="T4" fmla="*/ 73 w 86"/>
                <a:gd name="T5" fmla="*/ 13 h 86"/>
                <a:gd name="T6" fmla="*/ 82 w 86"/>
                <a:gd name="T7" fmla="*/ 27 h 86"/>
                <a:gd name="T8" fmla="*/ 86 w 86"/>
                <a:gd name="T9" fmla="*/ 44 h 86"/>
                <a:gd name="T10" fmla="*/ 82 w 86"/>
                <a:gd name="T11" fmla="*/ 60 h 86"/>
                <a:gd name="T12" fmla="*/ 73 w 86"/>
                <a:gd name="T13" fmla="*/ 74 h 86"/>
                <a:gd name="T14" fmla="*/ 59 w 86"/>
                <a:gd name="T15" fmla="*/ 83 h 86"/>
                <a:gd name="T16" fmla="*/ 42 w 86"/>
                <a:gd name="T17" fmla="*/ 86 h 86"/>
                <a:gd name="T18" fmla="*/ 26 w 86"/>
                <a:gd name="T19" fmla="*/ 83 h 86"/>
                <a:gd name="T20" fmla="*/ 12 w 86"/>
                <a:gd name="T21" fmla="*/ 74 h 86"/>
                <a:gd name="T22" fmla="*/ 4 w 86"/>
                <a:gd name="T23" fmla="*/ 60 h 86"/>
                <a:gd name="T24" fmla="*/ 0 w 86"/>
                <a:gd name="T25" fmla="*/ 44 h 86"/>
                <a:gd name="T26" fmla="*/ 4 w 86"/>
                <a:gd name="T27" fmla="*/ 27 h 86"/>
                <a:gd name="T28" fmla="*/ 12 w 86"/>
                <a:gd name="T29" fmla="*/ 13 h 86"/>
                <a:gd name="T30" fmla="*/ 26 w 86"/>
                <a:gd name="T31" fmla="*/ 4 h 86"/>
                <a:gd name="T32" fmla="*/ 42 w 86"/>
                <a:gd name="T3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59" y="4"/>
                  </a:lnTo>
                  <a:lnTo>
                    <a:pt x="73" y="13"/>
                  </a:lnTo>
                  <a:lnTo>
                    <a:pt x="82" y="27"/>
                  </a:lnTo>
                  <a:lnTo>
                    <a:pt x="86" y="44"/>
                  </a:lnTo>
                  <a:lnTo>
                    <a:pt x="82" y="60"/>
                  </a:lnTo>
                  <a:lnTo>
                    <a:pt x="73" y="74"/>
                  </a:lnTo>
                  <a:lnTo>
                    <a:pt x="59" y="83"/>
                  </a:lnTo>
                  <a:lnTo>
                    <a:pt x="42" y="86"/>
                  </a:lnTo>
                  <a:lnTo>
                    <a:pt x="26" y="83"/>
                  </a:lnTo>
                  <a:lnTo>
                    <a:pt x="12" y="74"/>
                  </a:lnTo>
                  <a:lnTo>
                    <a:pt x="4" y="60"/>
                  </a:lnTo>
                  <a:lnTo>
                    <a:pt x="0" y="44"/>
                  </a:lnTo>
                  <a:lnTo>
                    <a:pt x="4" y="27"/>
                  </a:lnTo>
                  <a:lnTo>
                    <a:pt x="12" y="13"/>
                  </a:lnTo>
                  <a:lnTo>
                    <a:pt x="26" y="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"/>
            <p:cNvSpPr>
              <a:spLocks/>
            </p:cNvSpPr>
            <p:nvPr userDrawn="1"/>
          </p:nvSpPr>
          <p:spPr bwMode="auto">
            <a:xfrm>
              <a:off x="10387013" y="4191000"/>
              <a:ext cx="284163" cy="338138"/>
            </a:xfrm>
            <a:custGeom>
              <a:avLst/>
              <a:gdLst>
                <a:gd name="T0" fmla="*/ 100 w 179"/>
                <a:gd name="T1" fmla="*/ 0 h 213"/>
                <a:gd name="T2" fmla="*/ 119 w 179"/>
                <a:gd name="T3" fmla="*/ 1 h 213"/>
                <a:gd name="T4" fmla="*/ 137 w 179"/>
                <a:gd name="T5" fmla="*/ 5 h 213"/>
                <a:gd name="T6" fmla="*/ 152 w 179"/>
                <a:gd name="T7" fmla="*/ 12 h 213"/>
                <a:gd name="T8" fmla="*/ 166 w 179"/>
                <a:gd name="T9" fmla="*/ 26 h 213"/>
                <a:gd name="T10" fmla="*/ 175 w 179"/>
                <a:gd name="T11" fmla="*/ 43 h 213"/>
                <a:gd name="T12" fmla="*/ 179 w 179"/>
                <a:gd name="T13" fmla="*/ 68 h 213"/>
                <a:gd name="T14" fmla="*/ 177 w 179"/>
                <a:gd name="T15" fmla="*/ 85 h 213"/>
                <a:gd name="T16" fmla="*/ 173 w 179"/>
                <a:gd name="T17" fmla="*/ 105 h 213"/>
                <a:gd name="T18" fmla="*/ 170 w 179"/>
                <a:gd name="T19" fmla="*/ 119 h 213"/>
                <a:gd name="T20" fmla="*/ 165 w 179"/>
                <a:gd name="T21" fmla="*/ 136 h 213"/>
                <a:gd name="T22" fmla="*/ 158 w 179"/>
                <a:gd name="T23" fmla="*/ 157 h 213"/>
                <a:gd name="T24" fmla="*/ 149 w 179"/>
                <a:gd name="T25" fmla="*/ 178 h 213"/>
                <a:gd name="T26" fmla="*/ 144 w 179"/>
                <a:gd name="T27" fmla="*/ 196 h 213"/>
                <a:gd name="T28" fmla="*/ 138 w 179"/>
                <a:gd name="T29" fmla="*/ 208 h 213"/>
                <a:gd name="T30" fmla="*/ 137 w 179"/>
                <a:gd name="T31" fmla="*/ 213 h 213"/>
                <a:gd name="T32" fmla="*/ 93 w 179"/>
                <a:gd name="T33" fmla="*/ 213 h 213"/>
                <a:gd name="T34" fmla="*/ 93 w 179"/>
                <a:gd name="T35" fmla="*/ 150 h 213"/>
                <a:gd name="T36" fmla="*/ 100 w 179"/>
                <a:gd name="T37" fmla="*/ 127 h 213"/>
                <a:gd name="T38" fmla="*/ 109 w 179"/>
                <a:gd name="T39" fmla="*/ 103 h 213"/>
                <a:gd name="T40" fmla="*/ 110 w 179"/>
                <a:gd name="T41" fmla="*/ 92 h 213"/>
                <a:gd name="T42" fmla="*/ 112 w 179"/>
                <a:gd name="T43" fmla="*/ 84 h 213"/>
                <a:gd name="T44" fmla="*/ 114 w 179"/>
                <a:gd name="T45" fmla="*/ 78 h 213"/>
                <a:gd name="T46" fmla="*/ 112 w 179"/>
                <a:gd name="T47" fmla="*/ 73 h 213"/>
                <a:gd name="T48" fmla="*/ 112 w 179"/>
                <a:gd name="T49" fmla="*/ 70 h 213"/>
                <a:gd name="T50" fmla="*/ 110 w 179"/>
                <a:gd name="T51" fmla="*/ 68 h 213"/>
                <a:gd name="T52" fmla="*/ 109 w 179"/>
                <a:gd name="T53" fmla="*/ 66 h 213"/>
                <a:gd name="T54" fmla="*/ 107 w 179"/>
                <a:gd name="T55" fmla="*/ 64 h 213"/>
                <a:gd name="T56" fmla="*/ 100 w 179"/>
                <a:gd name="T57" fmla="*/ 63 h 213"/>
                <a:gd name="T58" fmla="*/ 93 w 179"/>
                <a:gd name="T59" fmla="*/ 63 h 213"/>
                <a:gd name="T60" fmla="*/ 81 w 179"/>
                <a:gd name="T61" fmla="*/ 63 h 213"/>
                <a:gd name="T62" fmla="*/ 63 w 179"/>
                <a:gd name="T63" fmla="*/ 66 h 213"/>
                <a:gd name="T64" fmla="*/ 63 w 179"/>
                <a:gd name="T65" fmla="*/ 213 h 213"/>
                <a:gd name="T66" fmla="*/ 0 w 179"/>
                <a:gd name="T67" fmla="*/ 213 h 213"/>
                <a:gd name="T68" fmla="*/ 0 w 179"/>
                <a:gd name="T69" fmla="*/ 17 h 213"/>
                <a:gd name="T70" fmla="*/ 19 w 179"/>
                <a:gd name="T71" fmla="*/ 12 h 213"/>
                <a:gd name="T72" fmla="*/ 47 w 179"/>
                <a:gd name="T73" fmla="*/ 5 h 213"/>
                <a:gd name="T74" fmla="*/ 81 w 179"/>
                <a:gd name="T75" fmla="*/ 1 h 213"/>
                <a:gd name="T76" fmla="*/ 89 w 179"/>
                <a:gd name="T77" fmla="*/ 0 h 213"/>
                <a:gd name="T78" fmla="*/ 100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100" y="0"/>
                  </a:moveTo>
                  <a:lnTo>
                    <a:pt x="119" y="1"/>
                  </a:lnTo>
                  <a:lnTo>
                    <a:pt x="137" y="5"/>
                  </a:lnTo>
                  <a:lnTo>
                    <a:pt x="152" y="12"/>
                  </a:lnTo>
                  <a:lnTo>
                    <a:pt x="166" y="26"/>
                  </a:lnTo>
                  <a:lnTo>
                    <a:pt x="175" y="43"/>
                  </a:lnTo>
                  <a:lnTo>
                    <a:pt x="179" y="68"/>
                  </a:lnTo>
                  <a:lnTo>
                    <a:pt x="177" y="85"/>
                  </a:lnTo>
                  <a:lnTo>
                    <a:pt x="173" y="105"/>
                  </a:lnTo>
                  <a:lnTo>
                    <a:pt x="170" y="119"/>
                  </a:lnTo>
                  <a:lnTo>
                    <a:pt x="165" y="136"/>
                  </a:lnTo>
                  <a:lnTo>
                    <a:pt x="158" y="157"/>
                  </a:lnTo>
                  <a:lnTo>
                    <a:pt x="149" y="178"/>
                  </a:lnTo>
                  <a:lnTo>
                    <a:pt x="144" y="196"/>
                  </a:lnTo>
                  <a:lnTo>
                    <a:pt x="138" y="208"/>
                  </a:lnTo>
                  <a:lnTo>
                    <a:pt x="137" y="213"/>
                  </a:lnTo>
                  <a:lnTo>
                    <a:pt x="93" y="213"/>
                  </a:lnTo>
                  <a:lnTo>
                    <a:pt x="93" y="150"/>
                  </a:lnTo>
                  <a:lnTo>
                    <a:pt x="100" y="127"/>
                  </a:lnTo>
                  <a:lnTo>
                    <a:pt x="109" y="103"/>
                  </a:lnTo>
                  <a:lnTo>
                    <a:pt x="110" y="92"/>
                  </a:lnTo>
                  <a:lnTo>
                    <a:pt x="112" y="84"/>
                  </a:lnTo>
                  <a:lnTo>
                    <a:pt x="114" y="78"/>
                  </a:lnTo>
                  <a:lnTo>
                    <a:pt x="112" y="73"/>
                  </a:lnTo>
                  <a:lnTo>
                    <a:pt x="112" y="70"/>
                  </a:lnTo>
                  <a:lnTo>
                    <a:pt x="110" y="68"/>
                  </a:lnTo>
                  <a:lnTo>
                    <a:pt x="109" y="66"/>
                  </a:lnTo>
                  <a:lnTo>
                    <a:pt x="107" y="64"/>
                  </a:lnTo>
                  <a:lnTo>
                    <a:pt x="100" y="63"/>
                  </a:lnTo>
                  <a:lnTo>
                    <a:pt x="93" y="63"/>
                  </a:lnTo>
                  <a:lnTo>
                    <a:pt x="81" y="63"/>
                  </a:lnTo>
                  <a:lnTo>
                    <a:pt x="63" y="66"/>
                  </a:lnTo>
                  <a:lnTo>
                    <a:pt x="63" y="213"/>
                  </a:lnTo>
                  <a:lnTo>
                    <a:pt x="0" y="213"/>
                  </a:lnTo>
                  <a:lnTo>
                    <a:pt x="0" y="17"/>
                  </a:lnTo>
                  <a:lnTo>
                    <a:pt x="19" y="12"/>
                  </a:lnTo>
                  <a:lnTo>
                    <a:pt x="47" y="5"/>
                  </a:lnTo>
                  <a:lnTo>
                    <a:pt x="81" y="1"/>
                  </a:lnTo>
                  <a:lnTo>
                    <a:pt x="89" y="0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24"/>
            <p:cNvSpPr>
              <a:spLocks noChangeArrowheads="1"/>
            </p:cNvSpPr>
            <p:nvPr userDrawn="1"/>
          </p:nvSpPr>
          <p:spPr bwMode="auto">
            <a:xfrm>
              <a:off x="9975851" y="4570413"/>
              <a:ext cx="608013" cy="88900"/>
            </a:xfrm>
            <a:prstGeom prst="rect">
              <a:avLst/>
            </a:prstGeom>
            <a:solidFill>
              <a:schemeClr val="accent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5"/>
            <p:cNvSpPr>
              <a:spLocks/>
            </p:cNvSpPr>
            <p:nvPr userDrawn="1"/>
          </p:nvSpPr>
          <p:spPr bwMode="auto">
            <a:xfrm>
              <a:off x="10223501" y="4217988"/>
              <a:ext cx="111125" cy="311150"/>
            </a:xfrm>
            <a:custGeom>
              <a:avLst/>
              <a:gdLst>
                <a:gd name="T0" fmla="*/ 35 w 70"/>
                <a:gd name="T1" fmla="*/ 0 h 196"/>
                <a:gd name="T2" fmla="*/ 56 w 70"/>
                <a:gd name="T3" fmla="*/ 0 h 196"/>
                <a:gd name="T4" fmla="*/ 66 w 70"/>
                <a:gd name="T5" fmla="*/ 2 h 196"/>
                <a:gd name="T6" fmla="*/ 70 w 70"/>
                <a:gd name="T7" fmla="*/ 2 h 196"/>
                <a:gd name="T8" fmla="*/ 70 w 70"/>
                <a:gd name="T9" fmla="*/ 196 h 196"/>
                <a:gd name="T10" fmla="*/ 0 w 70"/>
                <a:gd name="T11" fmla="*/ 196 h 196"/>
                <a:gd name="T12" fmla="*/ 0 w 70"/>
                <a:gd name="T13" fmla="*/ 2 h 196"/>
                <a:gd name="T14" fmla="*/ 5 w 70"/>
                <a:gd name="T15" fmla="*/ 2 h 196"/>
                <a:gd name="T16" fmla="*/ 17 w 70"/>
                <a:gd name="T17" fmla="*/ 0 h 196"/>
                <a:gd name="T18" fmla="*/ 35 w 70"/>
                <a:gd name="T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196">
                  <a:moveTo>
                    <a:pt x="35" y="0"/>
                  </a:moveTo>
                  <a:lnTo>
                    <a:pt x="56" y="0"/>
                  </a:lnTo>
                  <a:lnTo>
                    <a:pt x="66" y="2"/>
                  </a:lnTo>
                  <a:lnTo>
                    <a:pt x="70" y="2"/>
                  </a:lnTo>
                  <a:lnTo>
                    <a:pt x="70" y="196"/>
                  </a:lnTo>
                  <a:lnTo>
                    <a:pt x="0" y="196"/>
                  </a:lnTo>
                  <a:lnTo>
                    <a:pt x="0" y="2"/>
                  </a:lnTo>
                  <a:lnTo>
                    <a:pt x="5" y="2"/>
                  </a:lnTo>
                  <a:lnTo>
                    <a:pt x="17" y="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6"/>
            <p:cNvSpPr>
              <a:spLocks/>
            </p:cNvSpPr>
            <p:nvPr userDrawn="1"/>
          </p:nvSpPr>
          <p:spPr bwMode="auto">
            <a:xfrm>
              <a:off x="9890126" y="4191000"/>
              <a:ext cx="284163" cy="338138"/>
            </a:xfrm>
            <a:custGeom>
              <a:avLst/>
              <a:gdLst>
                <a:gd name="T0" fmla="*/ 77 w 179"/>
                <a:gd name="T1" fmla="*/ 0 h 213"/>
                <a:gd name="T2" fmla="*/ 88 w 179"/>
                <a:gd name="T3" fmla="*/ 0 h 213"/>
                <a:gd name="T4" fmla="*/ 98 w 179"/>
                <a:gd name="T5" fmla="*/ 1 h 213"/>
                <a:gd name="T6" fmla="*/ 131 w 179"/>
                <a:gd name="T7" fmla="*/ 5 h 213"/>
                <a:gd name="T8" fmla="*/ 159 w 179"/>
                <a:gd name="T9" fmla="*/ 12 h 213"/>
                <a:gd name="T10" fmla="*/ 179 w 179"/>
                <a:gd name="T11" fmla="*/ 17 h 213"/>
                <a:gd name="T12" fmla="*/ 179 w 179"/>
                <a:gd name="T13" fmla="*/ 213 h 213"/>
                <a:gd name="T14" fmla="*/ 114 w 179"/>
                <a:gd name="T15" fmla="*/ 213 h 213"/>
                <a:gd name="T16" fmla="*/ 114 w 179"/>
                <a:gd name="T17" fmla="*/ 66 h 213"/>
                <a:gd name="T18" fmla="*/ 98 w 179"/>
                <a:gd name="T19" fmla="*/ 63 h 213"/>
                <a:gd name="T20" fmla="*/ 86 w 179"/>
                <a:gd name="T21" fmla="*/ 63 h 213"/>
                <a:gd name="T22" fmla="*/ 77 w 179"/>
                <a:gd name="T23" fmla="*/ 63 h 213"/>
                <a:gd name="T24" fmla="*/ 72 w 179"/>
                <a:gd name="T25" fmla="*/ 64 h 213"/>
                <a:gd name="T26" fmla="*/ 68 w 179"/>
                <a:gd name="T27" fmla="*/ 66 h 213"/>
                <a:gd name="T28" fmla="*/ 67 w 179"/>
                <a:gd name="T29" fmla="*/ 68 h 213"/>
                <a:gd name="T30" fmla="*/ 67 w 179"/>
                <a:gd name="T31" fmla="*/ 70 h 213"/>
                <a:gd name="T32" fmla="*/ 65 w 179"/>
                <a:gd name="T33" fmla="*/ 73 h 213"/>
                <a:gd name="T34" fmla="*/ 65 w 179"/>
                <a:gd name="T35" fmla="*/ 78 h 213"/>
                <a:gd name="T36" fmla="*/ 65 w 179"/>
                <a:gd name="T37" fmla="*/ 84 h 213"/>
                <a:gd name="T38" fmla="*/ 67 w 179"/>
                <a:gd name="T39" fmla="*/ 92 h 213"/>
                <a:gd name="T40" fmla="*/ 70 w 179"/>
                <a:gd name="T41" fmla="*/ 103 h 213"/>
                <a:gd name="T42" fmla="*/ 77 w 179"/>
                <a:gd name="T43" fmla="*/ 127 h 213"/>
                <a:gd name="T44" fmla="*/ 86 w 179"/>
                <a:gd name="T45" fmla="*/ 150 h 213"/>
                <a:gd name="T46" fmla="*/ 86 w 179"/>
                <a:gd name="T47" fmla="*/ 213 h 213"/>
                <a:gd name="T48" fmla="*/ 42 w 179"/>
                <a:gd name="T49" fmla="*/ 213 h 213"/>
                <a:gd name="T50" fmla="*/ 40 w 179"/>
                <a:gd name="T51" fmla="*/ 208 h 213"/>
                <a:gd name="T52" fmla="*/ 35 w 179"/>
                <a:gd name="T53" fmla="*/ 196 h 213"/>
                <a:gd name="T54" fmla="*/ 28 w 179"/>
                <a:gd name="T55" fmla="*/ 178 h 213"/>
                <a:gd name="T56" fmla="*/ 21 w 179"/>
                <a:gd name="T57" fmla="*/ 157 h 213"/>
                <a:gd name="T58" fmla="*/ 14 w 179"/>
                <a:gd name="T59" fmla="*/ 136 h 213"/>
                <a:gd name="T60" fmla="*/ 7 w 179"/>
                <a:gd name="T61" fmla="*/ 119 h 213"/>
                <a:gd name="T62" fmla="*/ 4 w 179"/>
                <a:gd name="T63" fmla="*/ 105 h 213"/>
                <a:gd name="T64" fmla="*/ 0 w 179"/>
                <a:gd name="T65" fmla="*/ 85 h 213"/>
                <a:gd name="T66" fmla="*/ 0 w 179"/>
                <a:gd name="T67" fmla="*/ 68 h 213"/>
                <a:gd name="T68" fmla="*/ 2 w 179"/>
                <a:gd name="T69" fmla="*/ 43 h 213"/>
                <a:gd name="T70" fmla="*/ 12 w 179"/>
                <a:gd name="T71" fmla="*/ 26 h 213"/>
                <a:gd name="T72" fmla="*/ 25 w 179"/>
                <a:gd name="T73" fmla="*/ 12 h 213"/>
                <a:gd name="T74" fmla="*/ 42 w 179"/>
                <a:gd name="T75" fmla="*/ 5 h 213"/>
                <a:gd name="T76" fmla="*/ 60 w 179"/>
                <a:gd name="T77" fmla="*/ 1 h 213"/>
                <a:gd name="T78" fmla="*/ 77 w 179"/>
                <a:gd name="T79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9" h="213">
                  <a:moveTo>
                    <a:pt x="77" y="0"/>
                  </a:moveTo>
                  <a:lnTo>
                    <a:pt x="88" y="0"/>
                  </a:lnTo>
                  <a:lnTo>
                    <a:pt x="98" y="1"/>
                  </a:lnTo>
                  <a:lnTo>
                    <a:pt x="131" y="5"/>
                  </a:lnTo>
                  <a:lnTo>
                    <a:pt x="159" y="12"/>
                  </a:lnTo>
                  <a:lnTo>
                    <a:pt x="179" y="17"/>
                  </a:lnTo>
                  <a:lnTo>
                    <a:pt x="179" y="213"/>
                  </a:lnTo>
                  <a:lnTo>
                    <a:pt x="114" y="213"/>
                  </a:lnTo>
                  <a:lnTo>
                    <a:pt x="114" y="66"/>
                  </a:lnTo>
                  <a:lnTo>
                    <a:pt x="98" y="63"/>
                  </a:lnTo>
                  <a:lnTo>
                    <a:pt x="86" y="63"/>
                  </a:lnTo>
                  <a:lnTo>
                    <a:pt x="77" y="63"/>
                  </a:lnTo>
                  <a:lnTo>
                    <a:pt x="72" y="64"/>
                  </a:lnTo>
                  <a:lnTo>
                    <a:pt x="68" y="66"/>
                  </a:lnTo>
                  <a:lnTo>
                    <a:pt x="67" y="68"/>
                  </a:lnTo>
                  <a:lnTo>
                    <a:pt x="67" y="70"/>
                  </a:lnTo>
                  <a:lnTo>
                    <a:pt x="65" y="73"/>
                  </a:lnTo>
                  <a:lnTo>
                    <a:pt x="65" y="78"/>
                  </a:lnTo>
                  <a:lnTo>
                    <a:pt x="65" y="84"/>
                  </a:lnTo>
                  <a:lnTo>
                    <a:pt x="67" y="92"/>
                  </a:lnTo>
                  <a:lnTo>
                    <a:pt x="70" y="103"/>
                  </a:lnTo>
                  <a:lnTo>
                    <a:pt x="77" y="127"/>
                  </a:lnTo>
                  <a:lnTo>
                    <a:pt x="86" y="150"/>
                  </a:lnTo>
                  <a:lnTo>
                    <a:pt x="86" y="213"/>
                  </a:lnTo>
                  <a:lnTo>
                    <a:pt x="42" y="213"/>
                  </a:lnTo>
                  <a:lnTo>
                    <a:pt x="40" y="208"/>
                  </a:lnTo>
                  <a:lnTo>
                    <a:pt x="35" y="196"/>
                  </a:lnTo>
                  <a:lnTo>
                    <a:pt x="28" y="178"/>
                  </a:lnTo>
                  <a:lnTo>
                    <a:pt x="21" y="157"/>
                  </a:lnTo>
                  <a:lnTo>
                    <a:pt x="14" y="136"/>
                  </a:lnTo>
                  <a:lnTo>
                    <a:pt x="7" y="119"/>
                  </a:lnTo>
                  <a:lnTo>
                    <a:pt x="4" y="105"/>
                  </a:lnTo>
                  <a:lnTo>
                    <a:pt x="0" y="85"/>
                  </a:lnTo>
                  <a:lnTo>
                    <a:pt x="0" y="68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5"/>
                  </a:lnTo>
                  <a:lnTo>
                    <a:pt x="60" y="1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7"/>
            <p:cNvSpPr>
              <a:spLocks/>
            </p:cNvSpPr>
            <p:nvPr userDrawn="1"/>
          </p:nvSpPr>
          <p:spPr bwMode="auto">
            <a:xfrm>
              <a:off x="3489326" y="1066800"/>
              <a:ext cx="1693863" cy="1184275"/>
            </a:xfrm>
            <a:custGeom>
              <a:avLst/>
              <a:gdLst>
                <a:gd name="T0" fmla="*/ 152 w 1067"/>
                <a:gd name="T1" fmla="*/ 0 h 746"/>
                <a:gd name="T2" fmla="*/ 152 w 1067"/>
                <a:gd name="T3" fmla="*/ 2 h 746"/>
                <a:gd name="T4" fmla="*/ 151 w 1067"/>
                <a:gd name="T5" fmla="*/ 6 h 746"/>
                <a:gd name="T6" fmla="*/ 151 w 1067"/>
                <a:gd name="T7" fmla="*/ 9 h 746"/>
                <a:gd name="T8" fmla="*/ 149 w 1067"/>
                <a:gd name="T9" fmla="*/ 13 h 746"/>
                <a:gd name="T10" fmla="*/ 149 w 1067"/>
                <a:gd name="T11" fmla="*/ 13 h 746"/>
                <a:gd name="T12" fmla="*/ 131 w 1067"/>
                <a:gd name="T13" fmla="*/ 62 h 746"/>
                <a:gd name="T14" fmla="*/ 117 w 1067"/>
                <a:gd name="T15" fmla="*/ 109 h 746"/>
                <a:gd name="T16" fmla="*/ 98 w 1067"/>
                <a:gd name="T17" fmla="*/ 179 h 746"/>
                <a:gd name="T18" fmla="*/ 82 w 1067"/>
                <a:gd name="T19" fmla="*/ 252 h 746"/>
                <a:gd name="T20" fmla="*/ 72 w 1067"/>
                <a:gd name="T21" fmla="*/ 326 h 746"/>
                <a:gd name="T22" fmla="*/ 68 w 1067"/>
                <a:gd name="T23" fmla="*/ 401 h 746"/>
                <a:gd name="T24" fmla="*/ 72 w 1067"/>
                <a:gd name="T25" fmla="*/ 459 h 746"/>
                <a:gd name="T26" fmla="*/ 84 w 1067"/>
                <a:gd name="T27" fmla="*/ 517 h 746"/>
                <a:gd name="T28" fmla="*/ 100 w 1067"/>
                <a:gd name="T29" fmla="*/ 553 h 746"/>
                <a:gd name="T30" fmla="*/ 121 w 1067"/>
                <a:gd name="T31" fmla="*/ 587 h 746"/>
                <a:gd name="T32" fmla="*/ 149 w 1067"/>
                <a:gd name="T33" fmla="*/ 620 h 746"/>
                <a:gd name="T34" fmla="*/ 184 w 1067"/>
                <a:gd name="T35" fmla="*/ 646 h 746"/>
                <a:gd name="T36" fmla="*/ 224 w 1067"/>
                <a:gd name="T37" fmla="*/ 664 h 746"/>
                <a:gd name="T38" fmla="*/ 264 w 1067"/>
                <a:gd name="T39" fmla="*/ 678 h 746"/>
                <a:gd name="T40" fmla="*/ 310 w 1067"/>
                <a:gd name="T41" fmla="*/ 686 h 746"/>
                <a:gd name="T42" fmla="*/ 373 w 1067"/>
                <a:gd name="T43" fmla="*/ 695 h 746"/>
                <a:gd name="T44" fmla="*/ 441 w 1067"/>
                <a:gd name="T45" fmla="*/ 699 h 746"/>
                <a:gd name="T46" fmla="*/ 512 w 1067"/>
                <a:gd name="T47" fmla="*/ 699 h 746"/>
                <a:gd name="T48" fmla="*/ 619 w 1067"/>
                <a:gd name="T49" fmla="*/ 695 h 746"/>
                <a:gd name="T50" fmla="*/ 731 w 1067"/>
                <a:gd name="T51" fmla="*/ 686 h 746"/>
                <a:gd name="T52" fmla="*/ 845 w 1067"/>
                <a:gd name="T53" fmla="*/ 676 h 746"/>
                <a:gd name="T54" fmla="*/ 957 w 1067"/>
                <a:gd name="T55" fmla="*/ 662 h 746"/>
                <a:gd name="T56" fmla="*/ 1067 w 1067"/>
                <a:gd name="T57" fmla="*/ 648 h 746"/>
                <a:gd name="T58" fmla="*/ 1016 w 1067"/>
                <a:gd name="T59" fmla="*/ 657 h 746"/>
                <a:gd name="T60" fmla="*/ 958 w 1067"/>
                <a:gd name="T61" fmla="*/ 665 h 746"/>
                <a:gd name="T62" fmla="*/ 892 w 1067"/>
                <a:gd name="T63" fmla="*/ 676 h 746"/>
                <a:gd name="T64" fmla="*/ 824 w 1067"/>
                <a:gd name="T65" fmla="*/ 686 h 746"/>
                <a:gd name="T66" fmla="*/ 756 w 1067"/>
                <a:gd name="T67" fmla="*/ 697 h 746"/>
                <a:gd name="T68" fmla="*/ 689 w 1067"/>
                <a:gd name="T69" fmla="*/ 706 h 746"/>
                <a:gd name="T70" fmla="*/ 628 w 1067"/>
                <a:gd name="T71" fmla="*/ 714 h 746"/>
                <a:gd name="T72" fmla="*/ 577 w 1067"/>
                <a:gd name="T73" fmla="*/ 721 h 746"/>
                <a:gd name="T74" fmla="*/ 490 w 1067"/>
                <a:gd name="T75" fmla="*/ 732 h 746"/>
                <a:gd name="T76" fmla="*/ 406 w 1067"/>
                <a:gd name="T77" fmla="*/ 739 h 746"/>
                <a:gd name="T78" fmla="*/ 325 w 1067"/>
                <a:gd name="T79" fmla="*/ 744 h 746"/>
                <a:gd name="T80" fmla="*/ 252 w 1067"/>
                <a:gd name="T81" fmla="*/ 746 h 746"/>
                <a:gd name="T82" fmla="*/ 186 w 1067"/>
                <a:gd name="T83" fmla="*/ 744 h 746"/>
                <a:gd name="T84" fmla="*/ 126 w 1067"/>
                <a:gd name="T85" fmla="*/ 735 h 746"/>
                <a:gd name="T86" fmla="*/ 105 w 1067"/>
                <a:gd name="T87" fmla="*/ 730 h 746"/>
                <a:gd name="T88" fmla="*/ 82 w 1067"/>
                <a:gd name="T89" fmla="*/ 721 h 746"/>
                <a:gd name="T90" fmla="*/ 61 w 1067"/>
                <a:gd name="T91" fmla="*/ 711 h 746"/>
                <a:gd name="T92" fmla="*/ 42 w 1067"/>
                <a:gd name="T93" fmla="*/ 695 h 746"/>
                <a:gd name="T94" fmla="*/ 26 w 1067"/>
                <a:gd name="T95" fmla="*/ 676 h 746"/>
                <a:gd name="T96" fmla="*/ 12 w 1067"/>
                <a:gd name="T97" fmla="*/ 650 h 746"/>
                <a:gd name="T98" fmla="*/ 4 w 1067"/>
                <a:gd name="T99" fmla="*/ 618 h 746"/>
                <a:gd name="T100" fmla="*/ 0 w 1067"/>
                <a:gd name="T101" fmla="*/ 581 h 746"/>
                <a:gd name="T102" fmla="*/ 0 w 1067"/>
                <a:gd name="T103" fmla="*/ 550 h 746"/>
                <a:gd name="T104" fmla="*/ 2 w 1067"/>
                <a:gd name="T105" fmla="*/ 517 h 746"/>
                <a:gd name="T106" fmla="*/ 7 w 1067"/>
                <a:gd name="T107" fmla="*/ 478 h 746"/>
                <a:gd name="T108" fmla="*/ 16 w 1067"/>
                <a:gd name="T109" fmla="*/ 436 h 746"/>
                <a:gd name="T110" fmla="*/ 26 w 1067"/>
                <a:gd name="T111" fmla="*/ 392 h 746"/>
                <a:gd name="T112" fmla="*/ 39 w 1067"/>
                <a:gd name="T113" fmla="*/ 347 h 746"/>
                <a:gd name="T114" fmla="*/ 54 w 1067"/>
                <a:gd name="T115" fmla="*/ 294 h 746"/>
                <a:gd name="T116" fmla="*/ 72 w 1067"/>
                <a:gd name="T117" fmla="*/ 235 h 746"/>
                <a:gd name="T118" fmla="*/ 93 w 1067"/>
                <a:gd name="T119" fmla="*/ 170 h 746"/>
                <a:gd name="T120" fmla="*/ 119 w 1067"/>
                <a:gd name="T121" fmla="*/ 95 h 746"/>
                <a:gd name="T122" fmla="*/ 149 w 1067"/>
                <a:gd name="T123" fmla="*/ 13 h 746"/>
                <a:gd name="T124" fmla="*/ 152 w 1067"/>
                <a:gd name="T125" fmla="*/ 0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746">
                  <a:moveTo>
                    <a:pt x="152" y="0"/>
                  </a:moveTo>
                  <a:lnTo>
                    <a:pt x="152" y="2"/>
                  </a:lnTo>
                  <a:lnTo>
                    <a:pt x="151" y="6"/>
                  </a:lnTo>
                  <a:lnTo>
                    <a:pt x="151" y="9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31" y="62"/>
                  </a:lnTo>
                  <a:lnTo>
                    <a:pt x="117" y="109"/>
                  </a:lnTo>
                  <a:lnTo>
                    <a:pt x="98" y="179"/>
                  </a:lnTo>
                  <a:lnTo>
                    <a:pt x="82" y="252"/>
                  </a:lnTo>
                  <a:lnTo>
                    <a:pt x="72" y="326"/>
                  </a:lnTo>
                  <a:lnTo>
                    <a:pt x="68" y="401"/>
                  </a:lnTo>
                  <a:lnTo>
                    <a:pt x="72" y="459"/>
                  </a:lnTo>
                  <a:lnTo>
                    <a:pt x="84" y="517"/>
                  </a:lnTo>
                  <a:lnTo>
                    <a:pt x="100" y="553"/>
                  </a:lnTo>
                  <a:lnTo>
                    <a:pt x="121" y="587"/>
                  </a:lnTo>
                  <a:lnTo>
                    <a:pt x="149" y="620"/>
                  </a:lnTo>
                  <a:lnTo>
                    <a:pt x="184" y="646"/>
                  </a:lnTo>
                  <a:lnTo>
                    <a:pt x="224" y="664"/>
                  </a:lnTo>
                  <a:lnTo>
                    <a:pt x="264" y="678"/>
                  </a:lnTo>
                  <a:lnTo>
                    <a:pt x="310" y="686"/>
                  </a:lnTo>
                  <a:lnTo>
                    <a:pt x="373" y="695"/>
                  </a:lnTo>
                  <a:lnTo>
                    <a:pt x="441" y="699"/>
                  </a:lnTo>
                  <a:lnTo>
                    <a:pt x="512" y="699"/>
                  </a:lnTo>
                  <a:lnTo>
                    <a:pt x="619" y="695"/>
                  </a:lnTo>
                  <a:lnTo>
                    <a:pt x="731" y="686"/>
                  </a:lnTo>
                  <a:lnTo>
                    <a:pt x="845" y="676"/>
                  </a:lnTo>
                  <a:lnTo>
                    <a:pt x="957" y="662"/>
                  </a:lnTo>
                  <a:lnTo>
                    <a:pt x="1067" y="648"/>
                  </a:lnTo>
                  <a:lnTo>
                    <a:pt x="1016" y="657"/>
                  </a:lnTo>
                  <a:lnTo>
                    <a:pt x="958" y="665"/>
                  </a:lnTo>
                  <a:lnTo>
                    <a:pt x="892" y="676"/>
                  </a:lnTo>
                  <a:lnTo>
                    <a:pt x="824" y="686"/>
                  </a:lnTo>
                  <a:lnTo>
                    <a:pt x="756" y="697"/>
                  </a:lnTo>
                  <a:lnTo>
                    <a:pt x="689" y="706"/>
                  </a:lnTo>
                  <a:lnTo>
                    <a:pt x="628" y="714"/>
                  </a:lnTo>
                  <a:lnTo>
                    <a:pt x="577" y="721"/>
                  </a:lnTo>
                  <a:lnTo>
                    <a:pt x="490" y="732"/>
                  </a:lnTo>
                  <a:lnTo>
                    <a:pt x="406" y="739"/>
                  </a:lnTo>
                  <a:lnTo>
                    <a:pt x="325" y="744"/>
                  </a:lnTo>
                  <a:lnTo>
                    <a:pt x="252" y="746"/>
                  </a:lnTo>
                  <a:lnTo>
                    <a:pt x="186" y="744"/>
                  </a:lnTo>
                  <a:lnTo>
                    <a:pt x="126" y="735"/>
                  </a:lnTo>
                  <a:lnTo>
                    <a:pt x="105" y="730"/>
                  </a:lnTo>
                  <a:lnTo>
                    <a:pt x="82" y="721"/>
                  </a:lnTo>
                  <a:lnTo>
                    <a:pt x="61" y="711"/>
                  </a:lnTo>
                  <a:lnTo>
                    <a:pt x="42" y="695"/>
                  </a:lnTo>
                  <a:lnTo>
                    <a:pt x="26" y="676"/>
                  </a:lnTo>
                  <a:lnTo>
                    <a:pt x="12" y="650"/>
                  </a:lnTo>
                  <a:lnTo>
                    <a:pt x="4" y="618"/>
                  </a:lnTo>
                  <a:lnTo>
                    <a:pt x="0" y="581"/>
                  </a:lnTo>
                  <a:lnTo>
                    <a:pt x="0" y="550"/>
                  </a:lnTo>
                  <a:lnTo>
                    <a:pt x="2" y="517"/>
                  </a:lnTo>
                  <a:lnTo>
                    <a:pt x="7" y="478"/>
                  </a:lnTo>
                  <a:lnTo>
                    <a:pt x="16" y="436"/>
                  </a:lnTo>
                  <a:lnTo>
                    <a:pt x="26" y="392"/>
                  </a:lnTo>
                  <a:lnTo>
                    <a:pt x="39" y="347"/>
                  </a:lnTo>
                  <a:lnTo>
                    <a:pt x="54" y="294"/>
                  </a:lnTo>
                  <a:lnTo>
                    <a:pt x="72" y="235"/>
                  </a:lnTo>
                  <a:lnTo>
                    <a:pt x="93" y="170"/>
                  </a:lnTo>
                  <a:lnTo>
                    <a:pt x="119" y="95"/>
                  </a:lnTo>
                  <a:lnTo>
                    <a:pt x="149" y="1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AED4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8"/>
            <p:cNvSpPr>
              <a:spLocks/>
            </p:cNvSpPr>
            <p:nvPr userDrawn="1"/>
          </p:nvSpPr>
          <p:spPr bwMode="auto">
            <a:xfrm>
              <a:off x="3597276" y="1039813"/>
              <a:ext cx="1643063" cy="1136650"/>
            </a:xfrm>
            <a:custGeom>
              <a:avLst/>
              <a:gdLst>
                <a:gd name="T0" fmla="*/ 91 w 1035"/>
                <a:gd name="T1" fmla="*/ 0 h 716"/>
                <a:gd name="T2" fmla="*/ 133 w 1035"/>
                <a:gd name="T3" fmla="*/ 17 h 716"/>
                <a:gd name="T4" fmla="*/ 172 w 1035"/>
                <a:gd name="T5" fmla="*/ 38 h 716"/>
                <a:gd name="T6" fmla="*/ 205 w 1035"/>
                <a:gd name="T7" fmla="*/ 61 h 716"/>
                <a:gd name="T8" fmla="*/ 193 w 1035"/>
                <a:gd name="T9" fmla="*/ 105 h 716"/>
                <a:gd name="T10" fmla="*/ 180 w 1035"/>
                <a:gd name="T11" fmla="*/ 152 h 716"/>
                <a:gd name="T12" fmla="*/ 170 w 1035"/>
                <a:gd name="T13" fmla="*/ 199 h 716"/>
                <a:gd name="T14" fmla="*/ 159 w 1035"/>
                <a:gd name="T15" fmla="*/ 247 h 716"/>
                <a:gd name="T16" fmla="*/ 152 w 1035"/>
                <a:gd name="T17" fmla="*/ 292 h 716"/>
                <a:gd name="T18" fmla="*/ 149 w 1035"/>
                <a:gd name="T19" fmla="*/ 338 h 716"/>
                <a:gd name="T20" fmla="*/ 145 w 1035"/>
                <a:gd name="T21" fmla="*/ 378 h 716"/>
                <a:gd name="T22" fmla="*/ 147 w 1035"/>
                <a:gd name="T23" fmla="*/ 416 h 716"/>
                <a:gd name="T24" fmla="*/ 154 w 1035"/>
                <a:gd name="T25" fmla="*/ 450 h 716"/>
                <a:gd name="T26" fmla="*/ 163 w 1035"/>
                <a:gd name="T27" fmla="*/ 478 h 716"/>
                <a:gd name="T28" fmla="*/ 179 w 1035"/>
                <a:gd name="T29" fmla="*/ 499 h 716"/>
                <a:gd name="T30" fmla="*/ 203 w 1035"/>
                <a:gd name="T31" fmla="*/ 518 h 716"/>
                <a:gd name="T32" fmla="*/ 235 w 1035"/>
                <a:gd name="T33" fmla="*/ 532 h 716"/>
                <a:gd name="T34" fmla="*/ 271 w 1035"/>
                <a:gd name="T35" fmla="*/ 542 h 716"/>
                <a:gd name="T36" fmla="*/ 317 w 1035"/>
                <a:gd name="T37" fmla="*/ 549 h 716"/>
                <a:gd name="T38" fmla="*/ 366 w 1035"/>
                <a:gd name="T39" fmla="*/ 553 h 716"/>
                <a:gd name="T40" fmla="*/ 420 w 1035"/>
                <a:gd name="T41" fmla="*/ 555 h 716"/>
                <a:gd name="T42" fmla="*/ 478 w 1035"/>
                <a:gd name="T43" fmla="*/ 553 h 716"/>
                <a:gd name="T44" fmla="*/ 539 w 1035"/>
                <a:gd name="T45" fmla="*/ 548 h 716"/>
                <a:gd name="T46" fmla="*/ 602 w 1035"/>
                <a:gd name="T47" fmla="*/ 542 h 716"/>
                <a:gd name="T48" fmla="*/ 668 w 1035"/>
                <a:gd name="T49" fmla="*/ 534 h 716"/>
                <a:gd name="T50" fmla="*/ 820 w 1035"/>
                <a:gd name="T51" fmla="*/ 514 h 716"/>
                <a:gd name="T52" fmla="*/ 969 w 1035"/>
                <a:gd name="T53" fmla="*/ 495 h 716"/>
                <a:gd name="T54" fmla="*/ 990 w 1035"/>
                <a:gd name="T55" fmla="*/ 534 h 716"/>
                <a:gd name="T56" fmla="*/ 1009 w 1035"/>
                <a:gd name="T57" fmla="*/ 576 h 716"/>
                <a:gd name="T58" fmla="*/ 1025 w 1035"/>
                <a:gd name="T59" fmla="*/ 621 h 716"/>
                <a:gd name="T60" fmla="*/ 1035 w 1035"/>
                <a:gd name="T61" fmla="*/ 660 h 716"/>
                <a:gd name="T62" fmla="*/ 999 w 1035"/>
                <a:gd name="T63" fmla="*/ 665 h 716"/>
                <a:gd name="T64" fmla="*/ 889 w 1035"/>
                <a:gd name="T65" fmla="*/ 679 h 716"/>
                <a:gd name="T66" fmla="*/ 777 w 1035"/>
                <a:gd name="T67" fmla="*/ 693 h 716"/>
                <a:gd name="T68" fmla="*/ 663 w 1035"/>
                <a:gd name="T69" fmla="*/ 703 h 716"/>
                <a:gd name="T70" fmla="*/ 551 w 1035"/>
                <a:gd name="T71" fmla="*/ 712 h 716"/>
                <a:gd name="T72" fmla="*/ 444 w 1035"/>
                <a:gd name="T73" fmla="*/ 716 h 716"/>
                <a:gd name="T74" fmla="*/ 373 w 1035"/>
                <a:gd name="T75" fmla="*/ 716 h 716"/>
                <a:gd name="T76" fmla="*/ 305 w 1035"/>
                <a:gd name="T77" fmla="*/ 712 h 716"/>
                <a:gd name="T78" fmla="*/ 242 w 1035"/>
                <a:gd name="T79" fmla="*/ 703 h 716"/>
                <a:gd name="T80" fmla="*/ 196 w 1035"/>
                <a:gd name="T81" fmla="*/ 695 h 716"/>
                <a:gd name="T82" fmla="*/ 156 w 1035"/>
                <a:gd name="T83" fmla="*/ 681 h 716"/>
                <a:gd name="T84" fmla="*/ 116 w 1035"/>
                <a:gd name="T85" fmla="*/ 663 h 716"/>
                <a:gd name="T86" fmla="*/ 81 w 1035"/>
                <a:gd name="T87" fmla="*/ 637 h 716"/>
                <a:gd name="T88" fmla="*/ 53 w 1035"/>
                <a:gd name="T89" fmla="*/ 605 h 716"/>
                <a:gd name="T90" fmla="*/ 32 w 1035"/>
                <a:gd name="T91" fmla="*/ 570 h 716"/>
                <a:gd name="T92" fmla="*/ 16 w 1035"/>
                <a:gd name="T93" fmla="*/ 534 h 716"/>
                <a:gd name="T94" fmla="*/ 4 w 1035"/>
                <a:gd name="T95" fmla="*/ 476 h 716"/>
                <a:gd name="T96" fmla="*/ 0 w 1035"/>
                <a:gd name="T97" fmla="*/ 418 h 716"/>
                <a:gd name="T98" fmla="*/ 4 w 1035"/>
                <a:gd name="T99" fmla="*/ 343 h 716"/>
                <a:gd name="T100" fmla="*/ 14 w 1035"/>
                <a:gd name="T101" fmla="*/ 269 h 716"/>
                <a:gd name="T102" fmla="*/ 30 w 1035"/>
                <a:gd name="T103" fmla="*/ 196 h 716"/>
                <a:gd name="T104" fmla="*/ 49 w 1035"/>
                <a:gd name="T105" fmla="*/ 126 h 716"/>
                <a:gd name="T106" fmla="*/ 69 w 1035"/>
                <a:gd name="T107" fmla="*/ 65 h 716"/>
                <a:gd name="T108" fmla="*/ 88 w 1035"/>
                <a:gd name="T109" fmla="*/ 10 h 716"/>
                <a:gd name="T110" fmla="*/ 91 w 1035"/>
                <a:gd name="T111" fmla="*/ 0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35" h="716">
                  <a:moveTo>
                    <a:pt x="91" y="0"/>
                  </a:moveTo>
                  <a:lnTo>
                    <a:pt x="133" y="17"/>
                  </a:lnTo>
                  <a:lnTo>
                    <a:pt x="172" y="38"/>
                  </a:lnTo>
                  <a:lnTo>
                    <a:pt x="205" y="61"/>
                  </a:lnTo>
                  <a:lnTo>
                    <a:pt x="193" y="105"/>
                  </a:lnTo>
                  <a:lnTo>
                    <a:pt x="180" y="152"/>
                  </a:lnTo>
                  <a:lnTo>
                    <a:pt x="170" y="199"/>
                  </a:lnTo>
                  <a:lnTo>
                    <a:pt x="159" y="247"/>
                  </a:lnTo>
                  <a:lnTo>
                    <a:pt x="152" y="292"/>
                  </a:lnTo>
                  <a:lnTo>
                    <a:pt x="149" y="338"/>
                  </a:lnTo>
                  <a:lnTo>
                    <a:pt x="145" y="378"/>
                  </a:lnTo>
                  <a:lnTo>
                    <a:pt x="147" y="416"/>
                  </a:lnTo>
                  <a:lnTo>
                    <a:pt x="154" y="450"/>
                  </a:lnTo>
                  <a:lnTo>
                    <a:pt x="163" y="478"/>
                  </a:lnTo>
                  <a:lnTo>
                    <a:pt x="179" y="499"/>
                  </a:lnTo>
                  <a:lnTo>
                    <a:pt x="203" y="518"/>
                  </a:lnTo>
                  <a:lnTo>
                    <a:pt x="235" y="532"/>
                  </a:lnTo>
                  <a:lnTo>
                    <a:pt x="271" y="542"/>
                  </a:lnTo>
                  <a:lnTo>
                    <a:pt x="317" y="549"/>
                  </a:lnTo>
                  <a:lnTo>
                    <a:pt x="366" y="553"/>
                  </a:lnTo>
                  <a:lnTo>
                    <a:pt x="420" y="555"/>
                  </a:lnTo>
                  <a:lnTo>
                    <a:pt x="478" y="553"/>
                  </a:lnTo>
                  <a:lnTo>
                    <a:pt x="539" y="548"/>
                  </a:lnTo>
                  <a:lnTo>
                    <a:pt x="602" y="542"/>
                  </a:lnTo>
                  <a:lnTo>
                    <a:pt x="668" y="534"/>
                  </a:lnTo>
                  <a:lnTo>
                    <a:pt x="820" y="514"/>
                  </a:lnTo>
                  <a:lnTo>
                    <a:pt x="969" y="495"/>
                  </a:lnTo>
                  <a:lnTo>
                    <a:pt x="990" y="534"/>
                  </a:lnTo>
                  <a:lnTo>
                    <a:pt x="1009" y="576"/>
                  </a:lnTo>
                  <a:lnTo>
                    <a:pt x="1025" y="621"/>
                  </a:lnTo>
                  <a:lnTo>
                    <a:pt x="1035" y="660"/>
                  </a:lnTo>
                  <a:lnTo>
                    <a:pt x="999" y="665"/>
                  </a:lnTo>
                  <a:lnTo>
                    <a:pt x="889" y="679"/>
                  </a:lnTo>
                  <a:lnTo>
                    <a:pt x="777" y="693"/>
                  </a:lnTo>
                  <a:lnTo>
                    <a:pt x="663" y="703"/>
                  </a:lnTo>
                  <a:lnTo>
                    <a:pt x="551" y="712"/>
                  </a:lnTo>
                  <a:lnTo>
                    <a:pt x="444" y="716"/>
                  </a:lnTo>
                  <a:lnTo>
                    <a:pt x="373" y="716"/>
                  </a:lnTo>
                  <a:lnTo>
                    <a:pt x="305" y="712"/>
                  </a:lnTo>
                  <a:lnTo>
                    <a:pt x="242" y="703"/>
                  </a:lnTo>
                  <a:lnTo>
                    <a:pt x="196" y="695"/>
                  </a:lnTo>
                  <a:lnTo>
                    <a:pt x="156" y="681"/>
                  </a:lnTo>
                  <a:lnTo>
                    <a:pt x="116" y="663"/>
                  </a:lnTo>
                  <a:lnTo>
                    <a:pt x="81" y="637"/>
                  </a:lnTo>
                  <a:lnTo>
                    <a:pt x="53" y="605"/>
                  </a:lnTo>
                  <a:lnTo>
                    <a:pt x="32" y="570"/>
                  </a:lnTo>
                  <a:lnTo>
                    <a:pt x="16" y="534"/>
                  </a:lnTo>
                  <a:lnTo>
                    <a:pt x="4" y="476"/>
                  </a:lnTo>
                  <a:lnTo>
                    <a:pt x="0" y="418"/>
                  </a:lnTo>
                  <a:lnTo>
                    <a:pt x="4" y="343"/>
                  </a:lnTo>
                  <a:lnTo>
                    <a:pt x="14" y="269"/>
                  </a:lnTo>
                  <a:lnTo>
                    <a:pt x="30" y="196"/>
                  </a:lnTo>
                  <a:lnTo>
                    <a:pt x="49" y="126"/>
                  </a:lnTo>
                  <a:lnTo>
                    <a:pt x="69" y="65"/>
                  </a:lnTo>
                  <a:lnTo>
                    <a:pt x="88" y="1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9"/>
            <p:cNvSpPr>
              <a:spLocks noEditPoints="1"/>
            </p:cNvSpPr>
            <p:nvPr userDrawn="1"/>
          </p:nvSpPr>
          <p:spPr bwMode="auto">
            <a:xfrm>
              <a:off x="2420938" y="2798763"/>
              <a:ext cx="1690688" cy="1414463"/>
            </a:xfrm>
            <a:custGeom>
              <a:avLst/>
              <a:gdLst>
                <a:gd name="T0" fmla="*/ 0 w 1065"/>
                <a:gd name="T1" fmla="*/ 891 h 891"/>
                <a:gd name="T2" fmla="*/ 0 w 1065"/>
                <a:gd name="T3" fmla="*/ 891 h 891"/>
                <a:gd name="T4" fmla="*/ 546 w 1065"/>
                <a:gd name="T5" fmla="*/ 1 h 891"/>
                <a:gd name="T6" fmla="*/ 603 w 1065"/>
                <a:gd name="T7" fmla="*/ 21 h 891"/>
                <a:gd name="T8" fmla="*/ 678 w 1065"/>
                <a:gd name="T9" fmla="*/ 70 h 891"/>
                <a:gd name="T10" fmla="*/ 775 w 1065"/>
                <a:gd name="T11" fmla="*/ 159 h 891"/>
                <a:gd name="T12" fmla="*/ 843 w 1065"/>
                <a:gd name="T13" fmla="*/ 234 h 891"/>
                <a:gd name="T14" fmla="*/ 892 w 1065"/>
                <a:gd name="T15" fmla="*/ 292 h 891"/>
                <a:gd name="T16" fmla="*/ 942 w 1065"/>
                <a:gd name="T17" fmla="*/ 355 h 891"/>
                <a:gd name="T18" fmla="*/ 990 w 1065"/>
                <a:gd name="T19" fmla="*/ 415 h 891"/>
                <a:gd name="T20" fmla="*/ 1028 w 1065"/>
                <a:gd name="T21" fmla="*/ 467 h 891"/>
                <a:gd name="T22" fmla="*/ 1056 w 1065"/>
                <a:gd name="T23" fmla="*/ 504 h 891"/>
                <a:gd name="T24" fmla="*/ 1065 w 1065"/>
                <a:gd name="T25" fmla="*/ 518 h 891"/>
                <a:gd name="T26" fmla="*/ 1063 w 1065"/>
                <a:gd name="T27" fmla="*/ 514 h 891"/>
                <a:gd name="T28" fmla="*/ 1044 w 1065"/>
                <a:gd name="T29" fmla="*/ 490 h 891"/>
                <a:gd name="T30" fmla="*/ 1011 w 1065"/>
                <a:gd name="T31" fmla="*/ 448 h 891"/>
                <a:gd name="T32" fmla="*/ 967 w 1065"/>
                <a:gd name="T33" fmla="*/ 395 h 891"/>
                <a:gd name="T34" fmla="*/ 920 w 1065"/>
                <a:gd name="T35" fmla="*/ 339 h 891"/>
                <a:gd name="T36" fmla="*/ 873 w 1065"/>
                <a:gd name="T37" fmla="*/ 287 h 891"/>
                <a:gd name="T38" fmla="*/ 832 w 1065"/>
                <a:gd name="T39" fmla="*/ 246 h 891"/>
                <a:gd name="T40" fmla="*/ 747 w 1065"/>
                <a:gd name="T41" fmla="*/ 180 h 891"/>
                <a:gd name="T42" fmla="*/ 668 w 1065"/>
                <a:gd name="T43" fmla="*/ 134 h 891"/>
                <a:gd name="T44" fmla="*/ 596 w 1065"/>
                <a:gd name="T45" fmla="*/ 112 h 891"/>
                <a:gd name="T46" fmla="*/ 526 w 1065"/>
                <a:gd name="T47" fmla="*/ 112 h 891"/>
                <a:gd name="T48" fmla="*/ 463 w 1065"/>
                <a:gd name="T49" fmla="*/ 131 h 891"/>
                <a:gd name="T50" fmla="*/ 409 w 1065"/>
                <a:gd name="T51" fmla="*/ 166 h 891"/>
                <a:gd name="T52" fmla="*/ 323 w 1065"/>
                <a:gd name="T53" fmla="*/ 257 h 891"/>
                <a:gd name="T54" fmla="*/ 241 w 1065"/>
                <a:gd name="T55" fmla="*/ 379 h 891"/>
                <a:gd name="T56" fmla="*/ 159 w 1065"/>
                <a:gd name="T57" fmla="*/ 528 h 891"/>
                <a:gd name="T58" fmla="*/ 87 w 1065"/>
                <a:gd name="T59" fmla="*/ 682 h 891"/>
                <a:gd name="T60" fmla="*/ 24 w 1065"/>
                <a:gd name="T61" fmla="*/ 828 h 891"/>
                <a:gd name="T62" fmla="*/ 21 w 1065"/>
                <a:gd name="T63" fmla="*/ 833 h 891"/>
                <a:gd name="T64" fmla="*/ 75 w 1065"/>
                <a:gd name="T65" fmla="*/ 696 h 891"/>
                <a:gd name="T66" fmla="*/ 138 w 1065"/>
                <a:gd name="T67" fmla="*/ 542 h 891"/>
                <a:gd name="T68" fmla="*/ 208 w 1065"/>
                <a:gd name="T69" fmla="*/ 388 h 891"/>
                <a:gd name="T70" fmla="*/ 278 w 1065"/>
                <a:gd name="T71" fmla="*/ 245 h 891"/>
                <a:gd name="T72" fmla="*/ 332 w 1065"/>
                <a:gd name="T73" fmla="*/ 145 h 891"/>
                <a:gd name="T74" fmla="*/ 388 w 1065"/>
                <a:gd name="T75" fmla="*/ 64 h 891"/>
                <a:gd name="T76" fmla="*/ 423 w 1065"/>
                <a:gd name="T77" fmla="*/ 29 h 891"/>
                <a:gd name="T78" fmla="*/ 476 w 1065"/>
                <a:gd name="T79" fmla="*/ 3 h 891"/>
                <a:gd name="T80" fmla="*/ 512 w 1065"/>
                <a:gd name="T81" fmla="*/ 0 h 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65" h="891">
                  <a:moveTo>
                    <a:pt x="0" y="891"/>
                  </a:moveTo>
                  <a:lnTo>
                    <a:pt x="0" y="891"/>
                  </a:lnTo>
                  <a:lnTo>
                    <a:pt x="0" y="891"/>
                  </a:lnTo>
                  <a:lnTo>
                    <a:pt x="0" y="891"/>
                  </a:lnTo>
                  <a:close/>
                  <a:moveTo>
                    <a:pt x="512" y="0"/>
                  </a:moveTo>
                  <a:lnTo>
                    <a:pt x="546" y="1"/>
                  </a:lnTo>
                  <a:lnTo>
                    <a:pt x="575" y="10"/>
                  </a:lnTo>
                  <a:lnTo>
                    <a:pt x="603" y="21"/>
                  </a:lnTo>
                  <a:lnTo>
                    <a:pt x="642" y="43"/>
                  </a:lnTo>
                  <a:lnTo>
                    <a:pt x="678" y="70"/>
                  </a:lnTo>
                  <a:lnTo>
                    <a:pt x="727" y="112"/>
                  </a:lnTo>
                  <a:lnTo>
                    <a:pt x="775" y="159"/>
                  </a:lnTo>
                  <a:lnTo>
                    <a:pt x="822" y="210"/>
                  </a:lnTo>
                  <a:lnTo>
                    <a:pt x="843" y="234"/>
                  </a:lnTo>
                  <a:lnTo>
                    <a:pt x="867" y="262"/>
                  </a:lnTo>
                  <a:lnTo>
                    <a:pt x="892" y="292"/>
                  </a:lnTo>
                  <a:lnTo>
                    <a:pt x="916" y="323"/>
                  </a:lnTo>
                  <a:lnTo>
                    <a:pt x="942" y="355"/>
                  </a:lnTo>
                  <a:lnTo>
                    <a:pt x="967" y="385"/>
                  </a:lnTo>
                  <a:lnTo>
                    <a:pt x="990" y="415"/>
                  </a:lnTo>
                  <a:lnTo>
                    <a:pt x="1011" y="443"/>
                  </a:lnTo>
                  <a:lnTo>
                    <a:pt x="1028" y="467"/>
                  </a:lnTo>
                  <a:lnTo>
                    <a:pt x="1044" y="488"/>
                  </a:lnTo>
                  <a:lnTo>
                    <a:pt x="1056" y="504"/>
                  </a:lnTo>
                  <a:lnTo>
                    <a:pt x="1063" y="514"/>
                  </a:lnTo>
                  <a:lnTo>
                    <a:pt x="1065" y="518"/>
                  </a:lnTo>
                  <a:lnTo>
                    <a:pt x="1065" y="518"/>
                  </a:lnTo>
                  <a:lnTo>
                    <a:pt x="1063" y="514"/>
                  </a:lnTo>
                  <a:lnTo>
                    <a:pt x="1054" y="504"/>
                  </a:lnTo>
                  <a:lnTo>
                    <a:pt x="1044" y="490"/>
                  </a:lnTo>
                  <a:lnTo>
                    <a:pt x="1028" y="471"/>
                  </a:lnTo>
                  <a:lnTo>
                    <a:pt x="1011" y="448"/>
                  </a:lnTo>
                  <a:lnTo>
                    <a:pt x="990" y="422"/>
                  </a:lnTo>
                  <a:lnTo>
                    <a:pt x="967" y="395"/>
                  </a:lnTo>
                  <a:lnTo>
                    <a:pt x="944" y="367"/>
                  </a:lnTo>
                  <a:lnTo>
                    <a:pt x="920" y="339"/>
                  </a:lnTo>
                  <a:lnTo>
                    <a:pt x="897" y="313"/>
                  </a:lnTo>
                  <a:lnTo>
                    <a:pt x="873" y="287"/>
                  </a:lnTo>
                  <a:lnTo>
                    <a:pt x="852" y="266"/>
                  </a:lnTo>
                  <a:lnTo>
                    <a:pt x="832" y="246"/>
                  </a:lnTo>
                  <a:lnTo>
                    <a:pt x="790" y="211"/>
                  </a:lnTo>
                  <a:lnTo>
                    <a:pt x="747" y="180"/>
                  </a:lnTo>
                  <a:lnTo>
                    <a:pt x="701" y="152"/>
                  </a:lnTo>
                  <a:lnTo>
                    <a:pt x="668" y="134"/>
                  </a:lnTo>
                  <a:lnTo>
                    <a:pt x="633" y="120"/>
                  </a:lnTo>
                  <a:lnTo>
                    <a:pt x="596" y="112"/>
                  </a:lnTo>
                  <a:lnTo>
                    <a:pt x="556" y="110"/>
                  </a:lnTo>
                  <a:lnTo>
                    <a:pt x="526" y="112"/>
                  </a:lnTo>
                  <a:lnTo>
                    <a:pt x="497" y="117"/>
                  </a:lnTo>
                  <a:lnTo>
                    <a:pt x="463" y="131"/>
                  </a:lnTo>
                  <a:lnTo>
                    <a:pt x="435" y="147"/>
                  </a:lnTo>
                  <a:lnTo>
                    <a:pt x="409" y="166"/>
                  </a:lnTo>
                  <a:lnTo>
                    <a:pt x="365" y="208"/>
                  </a:lnTo>
                  <a:lnTo>
                    <a:pt x="323" y="257"/>
                  </a:lnTo>
                  <a:lnTo>
                    <a:pt x="283" y="315"/>
                  </a:lnTo>
                  <a:lnTo>
                    <a:pt x="241" y="379"/>
                  </a:lnTo>
                  <a:lnTo>
                    <a:pt x="199" y="451"/>
                  </a:lnTo>
                  <a:lnTo>
                    <a:pt x="159" y="528"/>
                  </a:lnTo>
                  <a:lnTo>
                    <a:pt x="122" y="605"/>
                  </a:lnTo>
                  <a:lnTo>
                    <a:pt x="87" y="682"/>
                  </a:lnTo>
                  <a:lnTo>
                    <a:pt x="54" y="758"/>
                  </a:lnTo>
                  <a:lnTo>
                    <a:pt x="24" y="828"/>
                  </a:lnTo>
                  <a:lnTo>
                    <a:pt x="0" y="891"/>
                  </a:lnTo>
                  <a:lnTo>
                    <a:pt x="21" y="833"/>
                  </a:lnTo>
                  <a:lnTo>
                    <a:pt x="47" y="766"/>
                  </a:lnTo>
                  <a:lnTo>
                    <a:pt x="75" y="696"/>
                  </a:lnTo>
                  <a:lnTo>
                    <a:pt x="107" y="621"/>
                  </a:lnTo>
                  <a:lnTo>
                    <a:pt x="138" y="542"/>
                  </a:lnTo>
                  <a:lnTo>
                    <a:pt x="173" y="465"/>
                  </a:lnTo>
                  <a:lnTo>
                    <a:pt x="208" y="388"/>
                  </a:lnTo>
                  <a:lnTo>
                    <a:pt x="243" y="315"/>
                  </a:lnTo>
                  <a:lnTo>
                    <a:pt x="278" y="245"/>
                  </a:lnTo>
                  <a:lnTo>
                    <a:pt x="304" y="194"/>
                  </a:lnTo>
                  <a:lnTo>
                    <a:pt x="332" y="145"/>
                  </a:lnTo>
                  <a:lnTo>
                    <a:pt x="360" y="101"/>
                  </a:lnTo>
                  <a:lnTo>
                    <a:pt x="388" y="64"/>
                  </a:lnTo>
                  <a:lnTo>
                    <a:pt x="406" y="47"/>
                  </a:lnTo>
                  <a:lnTo>
                    <a:pt x="423" y="29"/>
                  </a:lnTo>
                  <a:lnTo>
                    <a:pt x="448" y="15"/>
                  </a:lnTo>
                  <a:lnTo>
                    <a:pt x="476" y="3"/>
                  </a:lnTo>
                  <a:lnTo>
                    <a:pt x="495" y="0"/>
                  </a:lnTo>
                  <a:lnTo>
                    <a:pt x="512" y="0"/>
                  </a:lnTo>
                  <a:close/>
                </a:path>
              </a:pathLst>
            </a:custGeom>
            <a:solidFill>
              <a:srgbClr val="F29FC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0"/>
            <p:cNvSpPr>
              <a:spLocks/>
            </p:cNvSpPr>
            <p:nvPr userDrawn="1"/>
          </p:nvSpPr>
          <p:spPr bwMode="auto">
            <a:xfrm>
              <a:off x="2420938" y="2973388"/>
              <a:ext cx="1690688" cy="1273175"/>
            </a:xfrm>
            <a:custGeom>
              <a:avLst/>
              <a:gdLst>
                <a:gd name="T0" fmla="*/ 596 w 1065"/>
                <a:gd name="T1" fmla="*/ 2 h 802"/>
                <a:gd name="T2" fmla="*/ 668 w 1065"/>
                <a:gd name="T3" fmla="*/ 24 h 802"/>
                <a:gd name="T4" fmla="*/ 747 w 1065"/>
                <a:gd name="T5" fmla="*/ 70 h 802"/>
                <a:gd name="T6" fmla="*/ 832 w 1065"/>
                <a:gd name="T7" fmla="*/ 136 h 802"/>
                <a:gd name="T8" fmla="*/ 873 w 1065"/>
                <a:gd name="T9" fmla="*/ 177 h 802"/>
                <a:gd name="T10" fmla="*/ 920 w 1065"/>
                <a:gd name="T11" fmla="*/ 229 h 802"/>
                <a:gd name="T12" fmla="*/ 967 w 1065"/>
                <a:gd name="T13" fmla="*/ 285 h 802"/>
                <a:gd name="T14" fmla="*/ 1011 w 1065"/>
                <a:gd name="T15" fmla="*/ 338 h 802"/>
                <a:gd name="T16" fmla="*/ 1044 w 1065"/>
                <a:gd name="T17" fmla="*/ 380 h 802"/>
                <a:gd name="T18" fmla="*/ 1063 w 1065"/>
                <a:gd name="T19" fmla="*/ 404 h 802"/>
                <a:gd name="T20" fmla="*/ 1030 w 1065"/>
                <a:gd name="T21" fmla="*/ 420 h 802"/>
                <a:gd name="T22" fmla="*/ 956 w 1065"/>
                <a:gd name="T23" fmla="*/ 438 h 802"/>
                <a:gd name="T24" fmla="*/ 911 w 1065"/>
                <a:gd name="T25" fmla="*/ 425 h 802"/>
                <a:gd name="T26" fmla="*/ 876 w 1065"/>
                <a:gd name="T27" fmla="*/ 378 h 802"/>
                <a:gd name="T28" fmla="*/ 825 w 1065"/>
                <a:gd name="T29" fmla="*/ 319 h 802"/>
                <a:gd name="T30" fmla="*/ 764 w 1065"/>
                <a:gd name="T31" fmla="*/ 255 h 802"/>
                <a:gd name="T32" fmla="*/ 699 w 1065"/>
                <a:gd name="T33" fmla="*/ 199 h 802"/>
                <a:gd name="T34" fmla="*/ 635 w 1065"/>
                <a:gd name="T35" fmla="*/ 163 h 802"/>
                <a:gd name="T36" fmla="*/ 574 w 1065"/>
                <a:gd name="T37" fmla="*/ 154 h 802"/>
                <a:gd name="T38" fmla="*/ 521 w 1065"/>
                <a:gd name="T39" fmla="*/ 180 h 802"/>
                <a:gd name="T40" fmla="*/ 467 w 1065"/>
                <a:gd name="T41" fmla="*/ 236 h 802"/>
                <a:gd name="T42" fmla="*/ 409 w 1065"/>
                <a:gd name="T43" fmla="*/ 315 h 802"/>
                <a:gd name="T44" fmla="*/ 355 w 1065"/>
                <a:gd name="T45" fmla="*/ 408 h 802"/>
                <a:gd name="T46" fmla="*/ 304 w 1065"/>
                <a:gd name="T47" fmla="*/ 508 h 802"/>
                <a:gd name="T48" fmla="*/ 257 w 1065"/>
                <a:gd name="T49" fmla="*/ 604 h 802"/>
                <a:gd name="T50" fmla="*/ 220 w 1065"/>
                <a:gd name="T51" fmla="*/ 690 h 802"/>
                <a:gd name="T52" fmla="*/ 192 w 1065"/>
                <a:gd name="T53" fmla="*/ 756 h 802"/>
                <a:gd name="T54" fmla="*/ 177 w 1065"/>
                <a:gd name="T55" fmla="*/ 795 h 802"/>
                <a:gd name="T56" fmla="*/ 119 w 1065"/>
                <a:gd name="T57" fmla="*/ 802 h 802"/>
                <a:gd name="T58" fmla="*/ 30 w 1065"/>
                <a:gd name="T59" fmla="*/ 789 h 802"/>
                <a:gd name="T60" fmla="*/ 24 w 1065"/>
                <a:gd name="T61" fmla="*/ 718 h 802"/>
                <a:gd name="T62" fmla="*/ 87 w 1065"/>
                <a:gd name="T63" fmla="*/ 572 h 802"/>
                <a:gd name="T64" fmla="*/ 159 w 1065"/>
                <a:gd name="T65" fmla="*/ 418 h 802"/>
                <a:gd name="T66" fmla="*/ 241 w 1065"/>
                <a:gd name="T67" fmla="*/ 269 h 802"/>
                <a:gd name="T68" fmla="*/ 323 w 1065"/>
                <a:gd name="T69" fmla="*/ 147 h 802"/>
                <a:gd name="T70" fmla="*/ 409 w 1065"/>
                <a:gd name="T71" fmla="*/ 56 h 802"/>
                <a:gd name="T72" fmla="*/ 463 w 1065"/>
                <a:gd name="T73" fmla="*/ 21 h 802"/>
                <a:gd name="T74" fmla="*/ 526 w 1065"/>
                <a:gd name="T75" fmla="*/ 2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65" h="802">
                  <a:moveTo>
                    <a:pt x="556" y="0"/>
                  </a:moveTo>
                  <a:lnTo>
                    <a:pt x="596" y="2"/>
                  </a:lnTo>
                  <a:lnTo>
                    <a:pt x="633" y="10"/>
                  </a:lnTo>
                  <a:lnTo>
                    <a:pt x="668" y="24"/>
                  </a:lnTo>
                  <a:lnTo>
                    <a:pt x="701" y="42"/>
                  </a:lnTo>
                  <a:lnTo>
                    <a:pt x="747" y="70"/>
                  </a:lnTo>
                  <a:lnTo>
                    <a:pt x="790" y="101"/>
                  </a:lnTo>
                  <a:lnTo>
                    <a:pt x="832" y="136"/>
                  </a:lnTo>
                  <a:lnTo>
                    <a:pt x="852" y="156"/>
                  </a:lnTo>
                  <a:lnTo>
                    <a:pt x="873" y="177"/>
                  </a:lnTo>
                  <a:lnTo>
                    <a:pt x="897" y="203"/>
                  </a:lnTo>
                  <a:lnTo>
                    <a:pt x="920" y="229"/>
                  </a:lnTo>
                  <a:lnTo>
                    <a:pt x="944" y="257"/>
                  </a:lnTo>
                  <a:lnTo>
                    <a:pt x="967" y="285"/>
                  </a:lnTo>
                  <a:lnTo>
                    <a:pt x="990" y="312"/>
                  </a:lnTo>
                  <a:lnTo>
                    <a:pt x="1011" y="338"/>
                  </a:lnTo>
                  <a:lnTo>
                    <a:pt x="1028" y="361"/>
                  </a:lnTo>
                  <a:lnTo>
                    <a:pt x="1044" y="380"/>
                  </a:lnTo>
                  <a:lnTo>
                    <a:pt x="1054" y="394"/>
                  </a:lnTo>
                  <a:lnTo>
                    <a:pt x="1063" y="404"/>
                  </a:lnTo>
                  <a:lnTo>
                    <a:pt x="1065" y="408"/>
                  </a:lnTo>
                  <a:lnTo>
                    <a:pt x="1030" y="420"/>
                  </a:lnTo>
                  <a:lnTo>
                    <a:pt x="991" y="431"/>
                  </a:lnTo>
                  <a:lnTo>
                    <a:pt x="956" y="438"/>
                  </a:lnTo>
                  <a:lnTo>
                    <a:pt x="923" y="439"/>
                  </a:lnTo>
                  <a:lnTo>
                    <a:pt x="911" y="425"/>
                  </a:lnTo>
                  <a:lnTo>
                    <a:pt x="895" y="404"/>
                  </a:lnTo>
                  <a:lnTo>
                    <a:pt x="876" y="378"/>
                  </a:lnTo>
                  <a:lnTo>
                    <a:pt x="852" y="350"/>
                  </a:lnTo>
                  <a:lnTo>
                    <a:pt x="825" y="319"/>
                  </a:lnTo>
                  <a:lnTo>
                    <a:pt x="796" y="285"/>
                  </a:lnTo>
                  <a:lnTo>
                    <a:pt x="764" y="255"/>
                  </a:lnTo>
                  <a:lnTo>
                    <a:pt x="733" y="226"/>
                  </a:lnTo>
                  <a:lnTo>
                    <a:pt x="699" y="199"/>
                  </a:lnTo>
                  <a:lnTo>
                    <a:pt x="666" y="178"/>
                  </a:lnTo>
                  <a:lnTo>
                    <a:pt x="635" y="163"/>
                  </a:lnTo>
                  <a:lnTo>
                    <a:pt x="603" y="154"/>
                  </a:lnTo>
                  <a:lnTo>
                    <a:pt x="574" y="154"/>
                  </a:lnTo>
                  <a:lnTo>
                    <a:pt x="547" y="163"/>
                  </a:lnTo>
                  <a:lnTo>
                    <a:pt x="521" y="180"/>
                  </a:lnTo>
                  <a:lnTo>
                    <a:pt x="493" y="205"/>
                  </a:lnTo>
                  <a:lnTo>
                    <a:pt x="467" y="236"/>
                  </a:lnTo>
                  <a:lnTo>
                    <a:pt x="437" y="273"/>
                  </a:lnTo>
                  <a:lnTo>
                    <a:pt x="409" y="315"/>
                  </a:lnTo>
                  <a:lnTo>
                    <a:pt x="383" y="361"/>
                  </a:lnTo>
                  <a:lnTo>
                    <a:pt x="355" y="408"/>
                  </a:lnTo>
                  <a:lnTo>
                    <a:pt x="329" y="457"/>
                  </a:lnTo>
                  <a:lnTo>
                    <a:pt x="304" y="508"/>
                  </a:lnTo>
                  <a:lnTo>
                    <a:pt x="280" y="557"/>
                  </a:lnTo>
                  <a:lnTo>
                    <a:pt x="257" y="604"/>
                  </a:lnTo>
                  <a:lnTo>
                    <a:pt x="238" y="648"/>
                  </a:lnTo>
                  <a:lnTo>
                    <a:pt x="220" y="690"/>
                  </a:lnTo>
                  <a:lnTo>
                    <a:pt x="205" y="725"/>
                  </a:lnTo>
                  <a:lnTo>
                    <a:pt x="192" y="756"/>
                  </a:lnTo>
                  <a:lnTo>
                    <a:pt x="182" y="779"/>
                  </a:lnTo>
                  <a:lnTo>
                    <a:pt x="177" y="795"/>
                  </a:lnTo>
                  <a:lnTo>
                    <a:pt x="173" y="802"/>
                  </a:lnTo>
                  <a:lnTo>
                    <a:pt x="119" y="802"/>
                  </a:lnTo>
                  <a:lnTo>
                    <a:pt x="72" y="796"/>
                  </a:lnTo>
                  <a:lnTo>
                    <a:pt x="30" y="789"/>
                  </a:lnTo>
                  <a:lnTo>
                    <a:pt x="0" y="781"/>
                  </a:lnTo>
                  <a:lnTo>
                    <a:pt x="24" y="718"/>
                  </a:lnTo>
                  <a:lnTo>
                    <a:pt x="54" y="648"/>
                  </a:lnTo>
                  <a:lnTo>
                    <a:pt x="87" y="572"/>
                  </a:lnTo>
                  <a:lnTo>
                    <a:pt x="122" y="495"/>
                  </a:lnTo>
                  <a:lnTo>
                    <a:pt x="159" y="418"/>
                  </a:lnTo>
                  <a:lnTo>
                    <a:pt x="199" y="341"/>
                  </a:lnTo>
                  <a:lnTo>
                    <a:pt x="241" y="269"/>
                  </a:lnTo>
                  <a:lnTo>
                    <a:pt x="283" y="205"/>
                  </a:lnTo>
                  <a:lnTo>
                    <a:pt x="323" y="147"/>
                  </a:lnTo>
                  <a:lnTo>
                    <a:pt x="365" y="98"/>
                  </a:lnTo>
                  <a:lnTo>
                    <a:pt x="409" y="56"/>
                  </a:lnTo>
                  <a:lnTo>
                    <a:pt x="435" y="37"/>
                  </a:lnTo>
                  <a:lnTo>
                    <a:pt x="463" y="21"/>
                  </a:lnTo>
                  <a:lnTo>
                    <a:pt x="497" y="7"/>
                  </a:lnTo>
                  <a:lnTo>
                    <a:pt x="526" y="2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chemeClr val="accent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1"/>
            <p:cNvSpPr>
              <a:spLocks/>
            </p:cNvSpPr>
            <p:nvPr userDrawn="1"/>
          </p:nvSpPr>
          <p:spPr bwMode="auto">
            <a:xfrm>
              <a:off x="3589338" y="2143125"/>
              <a:ext cx="1660525" cy="1444625"/>
            </a:xfrm>
            <a:custGeom>
              <a:avLst/>
              <a:gdLst>
                <a:gd name="T0" fmla="*/ 1019 w 1046"/>
                <a:gd name="T1" fmla="*/ 5 h 910"/>
                <a:gd name="T2" fmla="*/ 941 w 1046"/>
                <a:gd name="T3" fmla="*/ 17 h 910"/>
                <a:gd name="T4" fmla="*/ 827 w 1046"/>
                <a:gd name="T5" fmla="*/ 36 h 910"/>
                <a:gd name="T6" fmla="*/ 687 w 1046"/>
                <a:gd name="T7" fmla="*/ 64 h 910"/>
                <a:gd name="T8" fmla="*/ 523 w 1046"/>
                <a:gd name="T9" fmla="*/ 103 h 910"/>
                <a:gd name="T10" fmla="*/ 425 w 1046"/>
                <a:gd name="T11" fmla="*/ 131 h 910"/>
                <a:gd name="T12" fmla="*/ 336 w 1046"/>
                <a:gd name="T13" fmla="*/ 166 h 910"/>
                <a:gd name="T14" fmla="*/ 255 w 1046"/>
                <a:gd name="T15" fmla="*/ 210 h 910"/>
                <a:gd name="T16" fmla="*/ 192 w 1046"/>
                <a:gd name="T17" fmla="*/ 264 h 910"/>
                <a:gd name="T18" fmla="*/ 147 w 1046"/>
                <a:gd name="T19" fmla="*/ 330 h 910"/>
                <a:gd name="T20" fmla="*/ 126 w 1046"/>
                <a:gd name="T21" fmla="*/ 409 h 910"/>
                <a:gd name="T22" fmla="*/ 131 w 1046"/>
                <a:gd name="T23" fmla="*/ 502 h 910"/>
                <a:gd name="T24" fmla="*/ 170 w 1046"/>
                <a:gd name="T25" fmla="*/ 612 h 910"/>
                <a:gd name="T26" fmla="*/ 201 w 1046"/>
                <a:gd name="T27" fmla="*/ 672 h 910"/>
                <a:gd name="T28" fmla="*/ 240 w 1046"/>
                <a:gd name="T29" fmla="*/ 738 h 910"/>
                <a:gd name="T30" fmla="*/ 283 w 1046"/>
                <a:gd name="T31" fmla="*/ 803 h 910"/>
                <a:gd name="T32" fmla="*/ 322 w 1046"/>
                <a:gd name="T33" fmla="*/ 859 h 910"/>
                <a:gd name="T34" fmla="*/ 352 w 1046"/>
                <a:gd name="T35" fmla="*/ 898 h 910"/>
                <a:gd name="T36" fmla="*/ 350 w 1046"/>
                <a:gd name="T37" fmla="*/ 898 h 910"/>
                <a:gd name="T38" fmla="*/ 317 w 1046"/>
                <a:gd name="T39" fmla="*/ 859 h 910"/>
                <a:gd name="T40" fmla="*/ 269 w 1046"/>
                <a:gd name="T41" fmla="*/ 799 h 910"/>
                <a:gd name="T42" fmla="*/ 212 w 1046"/>
                <a:gd name="T43" fmla="*/ 726 h 910"/>
                <a:gd name="T44" fmla="*/ 154 w 1046"/>
                <a:gd name="T45" fmla="*/ 645 h 910"/>
                <a:gd name="T46" fmla="*/ 96 w 1046"/>
                <a:gd name="T47" fmla="*/ 561 h 910"/>
                <a:gd name="T48" fmla="*/ 49 w 1046"/>
                <a:gd name="T49" fmla="*/ 479 h 910"/>
                <a:gd name="T50" fmla="*/ 16 w 1046"/>
                <a:gd name="T51" fmla="*/ 407 h 910"/>
                <a:gd name="T52" fmla="*/ 0 w 1046"/>
                <a:gd name="T53" fmla="*/ 327 h 910"/>
                <a:gd name="T54" fmla="*/ 18 w 1046"/>
                <a:gd name="T55" fmla="*/ 264 h 910"/>
                <a:gd name="T56" fmla="*/ 63 w 1046"/>
                <a:gd name="T57" fmla="*/ 213 h 910"/>
                <a:gd name="T58" fmla="*/ 140 w 1046"/>
                <a:gd name="T59" fmla="*/ 175 h 910"/>
                <a:gd name="T60" fmla="*/ 243 w 1046"/>
                <a:gd name="T61" fmla="*/ 141 h 910"/>
                <a:gd name="T62" fmla="*/ 371 w 1046"/>
                <a:gd name="T63" fmla="*/ 113 h 910"/>
                <a:gd name="T64" fmla="*/ 525 w 1046"/>
                <a:gd name="T65" fmla="*/ 84 h 910"/>
                <a:gd name="T66" fmla="*/ 677 w 1046"/>
                <a:gd name="T67" fmla="*/ 57 h 910"/>
                <a:gd name="T68" fmla="*/ 815 w 1046"/>
                <a:gd name="T69" fmla="*/ 35 h 910"/>
                <a:gd name="T70" fmla="*/ 932 w 1046"/>
                <a:gd name="T71" fmla="*/ 17 h 910"/>
                <a:gd name="T72" fmla="*/ 1018 w 1046"/>
                <a:gd name="T73" fmla="*/ 5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46" h="910">
                  <a:moveTo>
                    <a:pt x="1046" y="0"/>
                  </a:moveTo>
                  <a:lnTo>
                    <a:pt x="1019" y="5"/>
                  </a:lnTo>
                  <a:lnTo>
                    <a:pt x="985" y="10"/>
                  </a:lnTo>
                  <a:lnTo>
                    <a:pt x="941" y="17"/>
                  </a:lnTo>
                  <a:lnTo>
                    <a:pt x="888" y="26"/>
                  </a:lnTo>
                  <a:lnTo>
                    <a:pt x="827" y="36"/>
                  </a:lnTo>
                  <a:lnTo>
                    <a:pt x="761" y="49"/>
                  </a:lnTo>
                  <a:lnTo>
                    <a:pt x="687" y="64"/>
                  </a:lnTo>
                  <a:lnTo>
                    <a:pt x="607" y="82"/>
                  </a:lnTo>
                  <a:lnTo>
                    <a:pt x="523" y="103"/>
                  </a:lnTo>
                  <a:lnTo>
                    <a:pt x="474" y="115"/>
                  </a:lnTo>
                  <a:lnTo>
                    <a:pt x="425" y="131"/>
                  </a:lnTo>
                  <a:lnTo>
                    <a:pt x="380" y="147"/>
                  </a:lnTo>
                  <a:lnTo>
                    <a:pt x="336" y="166"/>
                  </a:lnTo>
                  <a:lnTo>
                    <a:pt x="294" y="187"/>
                  </a:lnTo>
                  <a:lnTo>
                    <a:pt x="255" y="210"/>
                  </a:lnTo>
                  <a:lnTo>
                    <a:pt x="222" y="236"/>
                  </a:lnTo>
                  <a:lnTo>
                    <a:pt x="192" y="264"/>
                  </a:lnTo>
                  <a:lnTo>
                    <a:pt x="166" y="295"/>
                  </a:lnTo>
                  <a:lnTo>
                    <a:pt x="147" y="330"/>
                  </a:lnTo>
                  <a:lnTo>
                    <a:pt x="133" y="367"/>
                  </a:lnTo>
                  <a:lnTo>
                    <a:pt x="126" y="409"/>
                  </a:lnTo>
                  <a:lnTo>
                    <a:pt x="124" y="453"/>
                  </a:lnTo>
                  <a:lnTo>
                    <a:pt x="131" y="502"/>
                  </a:lnTo>
                  <a:lnTo>
                    <a:pt x="147" y="554"/>
                  </a:lnTo>
                  <a:lnTo>
                    <a:pt x="170" y="612"/>
                  </a:lnTo>
                  <a:lnTo>
                    <a:pt x="184" y="640"/>
                  </a:lnTo>
                  <a:lnTo>
                    <a:pt x="201" y="672"/>
                  </a:lnTo>
                  <a:lnTo>
                    <a:pt x="219" y="705"/>
                  </a:lnTo>
                  <a:lnTo>
                    <a:pt x="240" y="738"/>
                  </a:lnTo>
                  <a:lnTo>
                    <a:pt x="262" y="771"/>
                  </a:lnTo>
                  <a:lnTo>
                    <a:pt x="283" y="803"/>
                  </a:lnTo>
                  <a:lnTo>
                    <a:pt x="303" y="833"/>
                  </a:lnTo>
                  <a:lnTo>
                    <a:pt x="322" y="859"/>
                  </a:lnTo>
                  <a:lnTo>
                    <a:pt x="338" y="880"/>
                  </a:lnTo>
                  <a:lnTo>
                    <a:pt x="352" y="898"/>
                  </a:lnTo>
                  <a:lnTo>
                    <a:pt x="360" y="910"/>
                  </a:lnTo>
                  <a:lnTo>
                    <a:pt x="350" y="898"/>
                  </a:lnTo>
                  <a:lnTo>
                    <a:pt x="336" y="882"/>
                  </a:lnTo>
                  <a:lnTo>
                    <a:pt x="317" y="859"/>
                  </a:lnTo>
                  <a:lnTo>
                    <a:pt x="294" y="831"/>
                  </a:lnTo>
                  <a:lnTo>
                    <a:pt x="269" y="799"/>
                  </a:lnTo>
                  <a:lnTo>
                    <a:pt x="241" y="764"/>
                  </a:lnTo>
                  <a:lnTo>
                    <a:pt x="212" y="726"/>
                  </a:lnTo>
                  <a:lnTo>
                    <a:pt x="184" y="686"/>
                  </a:lnTo>
                  <a:lnTo>
                    <a:pt x="154" y="645"/>
                  </a:lnTo>
                  <a:lnTo>
                    <a:pt x="124" y="603"/>
                  </a:lnTo>
                  <a:lnTo>
                    <a:pt x="96" y="561"/>
                  </a:lnTo>
                  <a:lnTo>
                    <a:pt x="72" y="519"/>
                  </a:lnTo>
                  <a:lnTo>
                    <a:pt x="49" y="479"/>
                  </a:lnTo>
                  <a:lnTo>
                    <a:pt x="30" y="442"/>
                  </a:lnTo>
                  <a:lnTo>
                    <a:pt x="16" y="407"/>
                  </a:lnTo>
                  <a:lnTo>
                    <a:pt x="4" y="364"/>
                  </a:lnTo>
                  <a:lnTo>
                    <a:pt x="0" y="327"/>
                  </a:lnTo>
                  <a:lnTo>
                    <a:pt x="5" y="294"/>
                  </a:lnTo>
                  <a:lnTo>
                    <a:pt x="18" y="264"/>
                  </a:lnTo>
                  <a:lnTo>
                    <a:pt x="37" y="238"/>
                  </a:lnTo>
                  <a:lnTo>
                    <a:pt x="63" y="213"/>
                  </a:lnTo>
                  <a:lnTo>
                    <a:pt x="98" y="192"/>
                  </a:lnTo>
                  <a:lnTo>
                    <a:pt x="140" y="175"/>
                  </a:lnTo>
                  <a:lnTo>
                    <a:pt x="187" y="157"/>
                  </a:lnTo>
                  <a:lnTo>
                    <a:pt x="243" y="141"/>
                  </a:lnTo>
                  <a:lnTo>
                    <a:pt x="304" y="127"/>
                  </a:lnTo>
                  <a:lnTo>
                    <a:pt x="371" y="113"/>
                  </a:lnTo>
                  <a:lnTo>
                    <a:pt x="448" y="98"/>
                  </a:lnTo>
                  <a:lnTo>
                    <a:pt x="525" y="84"/>
                  </a:lnTo>
                  <a:lnTo>
                    <a:pt x="602" y="70"/>
                  </a:lnTo>
                  <a:lnTo>
                    <a:pt x="677" y="57"/>
                  </a:lnTo>
                  <a:lnTo>
                    <a:pt x="748" y="45"/>
                  </a:lnTo>
                  <a:lnTo>
                    <a:pt x="815" y="35"/>
                  </a:lnTo>
                  <a:lnTo>
                    <a:pt x="878" y="24"/>
                  </a:lnTo>
                  <a:lnTo>
                    <a:pt x="932" y="17"/>
                  </a:lnTo>
                  <a:lnTo>
                    <a:pt x="979" y="10"/>
                  </a:lnTo>
                  <a:lnTo>
                    <a:pt x="1018" y="5"/>
                  </a:lnTo>
                  <a:lnTo>
                    <a:pt x="1046" y="0"/>
                  </a:lnTo>
                  <a:close/>
                </a:path>
              </a:pathLst>
            </a:custGeom>
            <a:solidFill>
              <a:srgbClr val="86C2E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2"/>
            <p:cNvSpPr>
              <a:spLocks/>
            </p:cNvSpPr>
            <p:nvPr userDrawn="1"/>
          </p:nvSpPr>
          <p:spPr bwMode="auto">
            <a:xfrm>
              <a:off x="3786188" y="2143125"/>
              <a:ext cx="1474788" cy="1449388"/>
            </a:xfrm>
            <a:custGeom>
              <a:avLst/>
              <a:gdLst>
                <a:gd name="T0" fmla="*/ 927 w 929"/>
                <a:gd name="T1" fmla="*/ 29 h 913"/>
                <a:gd name="T2" fmla="*/ 929 w 929"/>
                <a:gd name="T3" fmla="*/ 84 h 913"/>
                <a:gd name="T4" fmla="*/ 923 w 929"/>
                <a:gd name="T5" fmla="*/ 124 h 913"/>
                <a:gd name="T6" fmla="*/ 922 w 929"/>
                <a:gd name="T7" fmla="*/ 138 h 913"/>
                <a:gd name="T8" fmla="*/ 840 w 929"/>
                <a:gd name="T9" fmla="*/ 152 h 913"/>
                <a:gd name="T10" fmla="*/ 735 w 929"/>
                <a:gd name="T11" fmla="*/ 173 h 913"/>
                <a:gd name="T12" fmla="*/ 616 w 929"/>
                <a:gd name="T13" fmla="*/ 199 h 913"/>
                <a:gd name="T14" fmla="*/ 493 w 929"/>
                <a:gd name="T15" fmla="*/ 231 h 913"/>
                <a:gd name="T16" fmla="*/ 380 w 929"/>
                <a:gd name="T17" fmla="*/ 267 h 913"/>
                <a:gd name="T18" fmla="*/ 282 w 929"/>
                <a:gd name="T19" fmla="*/ 309 h 913"/>
                <a:gd name="T20" fmla="*/ 214 w 929"/>
                <a:gd name="T21" fmla="*/ 353 h 913"/>
                <a:gd name="T22" fmla="*/ 182 w 929"/>
                <a:gd name="T23" fmla="*/ 402 h 913"/>
                <a:gd name="T24" fmla="*/ 186 w 929"/>
                <a:gd name="T25" fmla="*/ 456 h 913"/>
                <a:gd name="T26" fmla="*/ 207 w 929"/>
                <a:gd name="T27" fmla="*/ 523 h 913"/>
                <a:gd name="T28" fmla="*/ 238 w 929"/>
                <a:gd name="T29" fmla="*/ 593 h 913"/>
                <a:gd name="T30" fmla="*/ 277 w 929"/>
                <a:gd name="T31" fmla="*/ 659 h 913"/>
                <a:gd name="T32" fmla="*/ 313 w 929"/>
                <a:gd name="T33" fmla="*/ 719 h 913"/>
                <a:gd name="T34" fmla="*/ 345 w 929"/>
                <a:gd name="T35" fmla="*/ 763 h 913"/>
                <a:gd name="T36" fmla="*/ 360 w 929"/>
                <a:gd name="T37" fmla="*/ 787 h 913"/>
                <a:gd name="T38" fmla="*/ 360 w 929"/>
                <a:gd name="T39" fmla="*/ 794 h 913"/>
                <a:gd name="T40" fmla="*/ 322 w 929"/>
                <a:gd name="T41" fmla="*/ 843 h 913"/>
                <a:gd name="T42" fmla="*/ 284 w 929"/>
                <a:gd name="T43" fmla="*/ 882 h 913"/>
                <a:gd name="T44" fmla="*/ 252 w 929"/>
                <a:gd name="T45" fmla="*/ 906 h 913"/>
                <a:gd name="T46" fmla="*/ 240 w 929"/>
                <a:gd name="T47" fmla="*/ 913 h 913"/>
                <a:gd name="T48" fmla="*/ 238 w 929"/>
                <a:gd name="T49" fmla="*/ 912 h 913"/>
                <a:gd name="T50" fmla="*/ 228 w 929"/>
                <a:gd name="T51" fmla="*/ 898 h 913"/>
                <a:gd name="T52" fmla="*/ 198 w 929"/>
                <a:gd name="T53" fmla="*/ 859 h 913"/>
                <a:gd name="T54" fmla="*/ 159 w 929"/>
                <a:gd name="T55" fmla="*/ 803 h 913"/>
                <a:gd name="T56" fmla="*/ 116 w 929"/>
                <a:gd name="T57" fmla="*/ 738 h 913"/>
                <a:gd name="T58" fmla="*/ 77 w 929"/>
                <a:gd name="T59" fmla="*/ 672 h 913"/>
                <a:gd name="T60" fmla="*/ 46 w 929"/>
                <a:gd name="T61" fmla="*/ 612 h 913"/>
                <a:gd name="T62" fmla="*/ 7 w 929"/>
                <a:gd name="T63" fmla="*/ 502 h 913"/>
                <a:gd name="T64" fmla="*/ 2 w 929"/>
                <a:gd name="T65" fmla="*/ 409 h 913"/>
                <a:gd name="T66" fmla="*/ 23 w 929"/>
                <a:gd name="T67" fmla="*/ 330 h 913"/>
                <a:gd name="T68" fmla="*/ 68 w 929"/>
                <a:gd name="T69" fmla="*/ 264 h 913"/>
                <a:gd name="T70" fmla="*/ 131 w 929"/>
                <a:gd name="T71" fmla="*/ 210 h 913"/>
                <a:gd name="T72" fmla="*/ 212 w 929"/>
                <a:gd name="T73" fmla="*/ 166 h 913"/>
                <a:gd name="T74" fmla="*/ 301 w 929"/>
                <a:gd name="T75" fmla="*/ 131 h 913"/>
                <a:gd name="T76" fmla="*/ 399 w 929"/>
                <a:gd name="T77" fmla="*/ 103 h 913"/>
                <a:gd name="T78" fmla="*/ 563 w 929"/>
                <a:gd name="T79" fmla="*/ 64 h 913"/>
                <a:gd name="T80" fmla="*/ 703 w 929"/>
                <a:gd name="T81" fmla="*/ 36 h 913"/>
                <a:gd name="T82" fmla="*/ 817 w 929"/>
                <a:gd name="T83" fmla="*/ 17 h 913"/>
                <a:gd name="T84" fmla="*/ 895 w 929"/>
                <a:gd name="T85" fmla="*/ 5 h 913"/>
                <a:gd name="T86" fmla="*/ 922 w 929"/>
                <a:gd name="T87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29" h="913">
                  <a:moveTo>
                    <a:pt x="922" y="0"/>
                  </a:moveTo>
                  <a:lnTo>
                    <a:pt x="927" y="29"/>
                  </a:lnTo>
                  <a:lnTo>
                    <a:pt x="929" y="57"/>
                  </a:lnTo>
                  <a:lnTo>
                    <a:pt x="929" y="84"/>
                  </a:lnTo>
                  <a:lnTo>
                    <a:pt x="927" y="106"/>
                  </a:lnTo>
                  <a:lnTo>
                    <a:pt x="923" y="124"/>
                  </a:lnTo>
                  <a:lnTo>
                    <a:pt x="922" y="134"/>
                  </a:lnTo>
                  <a:lnTo>
                    <a:pt x="922" y="138"/>
                  </a:lnTo>
                  <a:lnTo>
                    <a:pt x="885" y="145"/>
                  </a:lnTo>
                  <a:lnTo>
                    <a:pt x="840" y="152"/>
                  </a:lnTo>
                  <a:lnTo>
                    <a:pt x="789" y="162"/>
                  </a:lnTo>
                  <a:lnTo>
                    <a:pt x="735" y="173"/>
                  </a:lnTo>
                  <a:lnTo>
                    <a:pt x="677" y="185"/>
                  </a:lnTo>
                  <a:lnTo>
                    <a:pt x="616" y="199"/>
                  </a:lnTo>
                  <a:lnTo>
                    <a:pt x="555" y="215"/>
                  </a:lnTo>
                  <a:lnTo>
                    <a:pt x="493" y="231"/>
                  </a:lnTo>
                  <a:lnTo>
                    <a:pt x="436" y="248"/>
                  </a:lnTo>
                  <a:lnTo>
                    <a:pt x="380" y="267"/>
                  </a:lnTo>
                  <a:lnTo>
                    <a:pt x="327" y="288"/>
                  </a:lnTo>
                  <a:lnTo>
                    <a:pt x="282" y="309"/>
                  </a:lnTo>
                  <a:lnTo>
                    <a:pt x="243" y="330"/>
                  </a:lnTo>
                  <a:lnTo>
                    <a:pt x="214" y="353"/>
                  </a:lnTo>
                  <a:lnTo>
                    <a:pt x="193" y="378"/>
                  </a:lnTo>
                  <a:lnTo>
                    <a:pt x="182" y="402"/>
                  </a:lnTo>
                  <a:lnTo>
                    <a:pt x="180" y="428"/>
                  </a:lnTo>
                  <a:lnTo>
                    <a:pt x="186" y="456"/>
                  </a:lnTo>
                  <a:lnTo>
                    <a:pt x="193" y="490"/>
                  </a:lnTo>
                  <a:lnTo>
                    <a:pt x="207" y="523"/>
                  </a:lnTo>
                  <a:lnTo>
                    <a:pt x="221" y="558"/>
                  </a:lnTo>
                  <a:lnTo>
                    <a:pt x="238" y="593"/>
                  </a:lnTo>
                  <a:lnTo>
                    <a:pt x="257" y="626"/>
                  </a:lnTo>
                  <a:lnTo>
                    <a:pt x="277" y="659"/>
                  </a:lnTo>
                  <a:lnTo>
                    <a:pt x="296" y="691"/>
                  </a:lnTo>
                  <a:lnTo>
                    <a:pt x="313" y="719"/>
                  </a:lnTo>
                  <a:lnTo>
                    <a:pt x="331" y="743"/>
                  </a:lnTo>
                  <a:lnTo>
                    <a:pt x="345" y="763"/>
                  </a:lnTo>
                  <a:lnTo>
                    <a:pt x="355" y="778"/>
                  </a:lnTo>
                  <a:lnTo>
                    <a:pt x="360" y="787"/>
                  </a:lnTo>
                  <a:lnTo>
                    <a:pt x="362" y="789"/>
                  </a:lnTo>
                  <a:lnTo>
                    <a:pt x="360" y="794"/>
                  </a:lnTo>
                  <a:lnTo>
                    <a:pt x="341" y="821"/>
                  </a:lnTo>
                  <a:lnTo>
                    <a:pt x="322" y="843"/>
                  </a:lnTo>
                  <a:lnTo>
                    <a:pt x="303" y="864"/>
                  </a:lnTo>
                  <a:lnTo>
                    <a:pt x="284" y="882"/>
                  </a:lnTo>
                  <a:lnTo>
                    <a:pt x="266" y="896"/>
                  </a:lnTo>
                  <a:lnTo>
                    <a:pt x="252" y="906"/>
                  </a:lnTo>
                  <a:lnTo>
                    <a:pt x="243" y="912"/>
                  </a:lnTo>
                  <a:lnTo>
                    <a:pt x="240" y="913"/>
                  </a:lnTo>
                  <a:lnTo>
                    <a:pt x="238" y="913"/>
                  </a:lnTo>
                  <a:lnTo>
                    <a:pt x="238" y="912"/>
                  </a:lnTo>
                  <a:lnTo>
                    <a:pt x="236" y="910"/>
                  </a:lnTo>
                  <a:lnTo>
                    <a:pt x="228" y="898"/>
                  </a:lnTo>
                  <a:lnTo>
                    <a:pt x="214" y="880"/>
                  </a:lnTo>
                  <a:lnTo>
                    <a:pt x="198" y="859"/>
                  </a:lnTo>
                  <a:lnTo>
                    <a:pt x="179" y="833"/>
                  </a:lnTo>
                  <a:lnTo>
                    <a:pt x="159" y="803"/>
                  </a:lnTo>
                  <a:lnTo>
                    <a:pt x="138" y="771"/>
                  </a:lnTo>
                  <a:lnTo>
                    <a:pt x="116" y="738"/>
                  </a:lnTo>
                  <a:lnTo>
                    <a:pt x="95" y="705"/>
                  </a:lnTo>
                  <a:lnTo>
                    <a:pt x="77" y="672"/>
                  </a:lnTo>
                  <a:lnTo>
                    <a:pt x="60" y="640"/>
                  </a:lnTo>
                  <a:lnTo>
                    <a:pt x="46" y="612"/>
                  </a:lnTo>
                  <a:lnTo>
                    <a:pt x="23" y="554"/>
                  </a:lnTo>
                  <a:lnTo>
                    <a:pt x="7" y="502"/>
                  </a:lnTo>
                  <a:lnTo>
                    <a:pt x="0" y="453"/>
                  </a:lnTo>
                  <a:lnTo>
                    <a:pt x="2" y="409"/>
                  </a:lnTo>
                  <a:lnTo>
                    <a:pt x="9" y="367"/>
                  </a:lnTo>
                  <a:lnTo>
                    <a:pt x="23" y="330"/>
                  </a:lnTo>
                  <a:lnTo>
                    <a:pt x="42" y="295"/>
                  </a:lnTo>
                  <a:lnTo>
                    <a:pt x="68" y="264"/>
                  </a:lnTo>
                  <a:lnTo>
                    <a:pt x="98" y="236"/>
                  </a:lnTo>
                  <a:lnTo>
                    <a:pt x="131" y="210"/>
                  </a:lnTo>
                  <a:lnTo>
                    <a:pt x="170" y="187"/>
                  </a:lnTo>
                  <a:lnTo>
                    <a:pt x="212" y="166"/>
                  </a:lnTo>
                  <a:lnTo>
                    <a:pt x="256" y="147"/>
                  </a:lnTo>
                  <a:lnTo>
                    <a:pt x="301" y="131"/>
                  </a:lnTo>
                  <a:lnTo>
                    <a:pt x="350" y="115"/>
                  </a:lnTo>
                  <a:lnTo>
                    <a:pt x="399" y="103"/>
                  </a:lnTo>
                  <a:lnTo>
                    <a:pt x="483" y="82"/>
                  </a:lnTo>
                  <a:lnTo>
                    <a:pt x="563" y="64"/>
                  </a:lnTo>
                  <a:lnTo>
                    <a:pt x="637" y="49"/>
                  </a:lnTo>
                  <a:lnTo>
                    <a:pt x="703" y="36"/>
                  </a:lnTo>
                  <a:lnTo>
                    <a:pt x="764" y="26"/>
                  </a:lnTo>
                  <a:lnTo>
                    <a:pt x="817" y="17"/>
                  </a:lnTo>
                  <a:lnTo>
                    <a:pt x="861" y="10"/>
                  </a:lnTo>
                  <a:lnTo>
                    <a:pt x="895" y="5"/>
                  </a:lnTo>
                  <a:lnTo>
                    <a:pt x="922" y="0"/>
                  </a:lnTo>
                  <a:lnTo>
                    <a:pt x="922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3"/>
            <p:cNvSpPr>
              <a:spLocks/>
            </p:cNvSpPr>
            <p:nvPr userDrawn="1"/>
          </p:nvSpPr>
          <p:spPr bwMode="auto">
            <a:xfrm>
              <a:off x="2128838" y="1058863"/>
              <a:ext cx="1546225" cy="974725"/>
            </a:xfrm>
            <a:custGeom>
              <a:avLst/>
              <a:gdLst>
                <a:gd name="T0" fmla="*/ 974 w 974"/>
                <a:gd name="T1" fmla="*/ 0 h 614"/>
                <a:gd name="T2" fmla="*/ 948 w 974"/>
                <a:gd name="T3" fmla="*/ 79 h 614"/>
                <a:gd name="T4" fmla="*/ 920 w 974"/>
                <a:gd name="T5" fmla="*/ 159 h 614"/>
                <a:gd name="T6" fmla="*/ 894 w 974"/>
                <a:gd name="T7" fmla="*/ 231 h 614"/>
                <a:gd name="T8" fmla="*/ 866 w 974"/>
                <a:gd name="T9" fmla="*/ 301 h 614"/>
                <a:gd name="T10" fmla="*/ 838 w 974"/>
                <a:gd name="T11" fmla="*/ 368 h 614"/>
                <a:gd name="T12" fmla="*/ 806 w 974"/>
                <a:gd name="T13" fmla="*/ 431 h 614"/>
                <a:gd name="T14" fmla="*/ 785 w 974"/>
                <a:gd name="T15" fmla="*/ 469 h 614"/>
                <a:gd name="T16" fmla="*/ 761 w 974"/>
                <a:gd name="T17" fmla="*/ 506 h 614"/>
                <a:gd name="T18" fmla="*/ 733 w 974"/>
                <a:gd name="T19" fmla="*/ 539 h 614"/>
                <a:gd name="T20" fmla="*/ 703 w 974"/>
                <a:gd name="T21" fmla="*/ 569 h 614"/>
                <a:gd name="T22" fmla="*/ 668 w 974"/>
                <a:gd name="T23" fmla="*/ 593 h 614"/>
                <a:gd name="T24" fmla="*/ 633 w 974"/>
                <a:gd name="T25" fmla="*/ 607 h 614"/>
                <a:gd name="T26" fmla="*/ 598 w 974"/>
                <a:gd name="T27" fmla="*/ 614 h 614"/>
                <a:gd name="T28" fmla="*/ 562 w 974"/>
                <a:gd name="T29" fmla="*/ 613 h 614"/>
                <a:gd name="T30" fmla="*/ 527 w 974"/>
                <a:gd name="T31" fmla="*/ 604 h 614"/>
                <a:gd name="T32" fmla="*/ 490 w 974"/>
                <a:gd name="T33" fmla="*/ 588 h 614"/>
                <a:gd name="T34" fmla="*/ 445 w 974"/>
                <a:gd name="T35" fmla="*/ 560 h 614"/>
                <a:gd name="T36" fmla="*/ 403 w 974"/>
                <a:gd name="T37" fmla="*/ 529 h 614"/>
                <a:gd name="T38" fmla="*/ 345 w 974"/>
                <a:gd name="T39" fmla="*/ 478 h 614"/>
                <a:gd name="T40" fmla="*/ 285 w 974"/>
                <a:gd name="T41" fmla="*/ 418 h 614"/>
                <a:gd name="T42" fmla="*/ 226 w 974"/>
                <a:gd name="T43" fmla="*/ 354 h 614"/>
                <a:gd name="T44" fmla="*/ 177 w 974"/>
                <a:gd name="T45" fmla="*/ 299 h 614"/>
                <a:gd name="T46" fmla="*/ 133 w 974"/>
                <a:gd name="T47" fmla="*/ 249 h 614"/>
                <a:gd name="T48" fmla="*/ 95 w 974"/>
                <a:gd name="T49" fmla="*/ 201 h 614"/>
                <a:gd name="T50" fmla="*/ 60 w 974"/>
                <a:gd name="T51" fmla="*/ 159 h 614"/>
                <a:gd name="T52" fmla="*/ 28 w 974"/>
                <a:gd name="T53" fmla="*/ 123 h 614"/>
                <a:gd name="T54" fmla="*/ 4 w 974"/>
                <a:gd name="T55" fmla="*/ 91 h 614"/>
                <a:gd name="T56" fmla="*/ 2 w 974"/>
                <a:gd name="T57" fmla="*/ 89 h 614"/>
                <a:gd name="T58" fmla="*/ 0 w 974"/>
                <a:gd name="T59" fmla="*/ 88 h 614"/>
                <a:gd name="T60" fmla="*/ 0 w 974"/>
                <a:gd name="T61" fmla="*/ 86 h 614"/>
                <a:gd name="T62" fmla="*/ 2 w 974"/>
                <a:gd name="T63" fmla="*/ 88 h 614"/>
                <a:gd name="T64" fmla="*/ 4 w 974"/>
                <a:gd name="T65" fmla="*/ 91 h 614"/>
                <a:gd name="T66" fmla="*/ 63 w 974"/>
                <a:gd name="T67" fmla="*/ 161 h 614"/>
                <a:gd name="T68" fmla="*/ 126 w 974"/>
                <a:gd name="T69" fmla="*/ 231 h 614"/>
                <a:gd name="T70" fmla="*/ 188 w 974"/>
                <a:gd name="T71" fmla="*/ 296 h 614"/>
                <a:gd name="T72" fmla="*/ 242 w 974"/>
                <a:gd name="T73" fmla="*/ 347 h 614"/>
                <a:gd name="T74" fmla="*/ 296 w 974"/>
                <a:gd name="T75" fmla="*/ 394 h 614"/>
                <a:gd name="T76" fmla="*/ 350 w 974"/>
                <a:gd name="T77" fmla="*/ 434 h 614"/>
                <a:gd name="T78" fmla="*/ 394 w 974"/>
                <a:gd name="T79" fmla="*/ 459 h 614"/>
                <a:gd name="T80" fmla="*/ 436 w 974"/>
                <a:gd name="T81" fmla="*/ 480 h 614"/>
                <a:gd name="T82" fmla="*/ 481 w 974"/>
                <a:gd name="T83" fmla="*/ 494 h 614"/>
                <a:gd name="T84" fmla="*/ 530 w 974"/>
                <a:gd name="T85" fmla="*/ 499 h 614"/>
                <a:gd name="T86" fmla="*/ 549 w 974"/>
                <a:gd name="T87" fmla="*/ 497 h 614"/>
                <a:gd name="T88" fmla="*/ 602 w 974"/>
                <a:gd name="T89" fmla="*/ 488 h 614"/>
                <a:gd name="T90" fmla="*/ 651 w 974"/>
                <a:gd name="T91" fmla="*/ 469 h 614"/>
                <a:gd name="T92" fmla="*/ 695 w 974"/>
                <a:gd name="T93" fmla="*/ 445 h 614"/>
                <a:gd name="T94" fmla="*/ 733 w 974"/>
                <a:gd name="T95" fmla="*/ 415 h 614"/>
                <a:gd name="T96" fmla="*/ 775 w 974"/>
                <a:gd name="T97" fmla="*/ 375 h 614"/>
                <a:gd name="T98" fmla="*/ 812 w 974"/>
                <a:gd name="T99" fmla="*/ 329 h 614"/>
                <a:gd name="T100" fmla="*/ 843 w 974"/>
                <a:gd name="T101" fmla="*/ 280 h 614"/>
                <a:gd name="T102" fmla="*/ 873 w 974"/>
                <a:gd name="T103" fmla="*/ 229 h 614"/>
                <a:gd name="T104" fmla="*/ 899 w 974"/>
                <a:gd name="T105" fmla="*/ 177 h 614"/>
                <a:gd name="T106" fmla="*/ 939 w 974"/>
                <a:gd name="T107" fmla="*/ 88 h 614"/>
                <a:gd name="T108" fmla="*/ 974 w 974"/>
                <a:gd name="T109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4" h="614">
                  <a:moveTo>
                    <a:pt x="974" y="0"/>
                  </a:moveTo>
                  <a:lnTo>
                    <a:pt x="948" y="79"/>
                  </a:lnTo>
                  <a:lnTo>
                    <a:pt x="920" y="159"/>
                  </a:lnTo>
                  <a:lnTo>
                    <a:pt x="894" y="231"/>
                  </a:lnTo>
                  <a:lnTo>
                    <a:pt x="866" y="301"/>
                  </a:lnTo>
                  <a:lnTo>
                    <a:pt x="838" y="368"/>
                  </a:lnTo>
                  <a:lnTo>
                    <a:pt x="806" y="431"/>
                  </a:lnTo>
                  <a:lnTo>
                    <a:pt x="785" y="469"/>
                  </a:lnTo>
                  <a:lnTo>
                    <a:pt x="761" y="506"/>
                  </a:lnTo>
                  <a:lnTo>
                    <a:pt x="733" y="539"/>
                  </a:lnTo>
                  <a:lnTo>
                    <a:pt x="703" y="569"/>
                  </a:lnTo>
                  <a:lnTo>
                    <a:pt x="668" y="593"/>
                  </a:lnTo>
                  <a:lnTo>
                    <a:pt x="633" y="607"/>
                  </a:lnTo>
                  <a:lnTo>
                    <a:pt x="598" y="614"/>
                  </a:lnTo>
                  <a:lnTo>
                    <a:pt x="562" y="613"/>
                  </a:lnTo>
                  <a:lnTo>
                    <a:pt x="527" y="604"/>
                  </a:lnTo>
                  <a:lnTo>
                    <a:pt x="490" y="588"/>
                  </a:lnTo>
                  <a:lnTo>
                    <a:pt x="445" y="560"/>
                  </a:lnTo>
                  <a:lnTo>
                    <a:pt x="403" y="529"/>
                  </a:lnTo>
                  <a:lnTo>
                    <a:pt x="345" y="478"/>
                  </a:lnTo>
                  <a:lnTo>
                    <a:pt x="285" y="418"/>
                  </a:lnTo>
                  <a:lnTo>
                    <a:pt x="226" y="354"/>
                  </a:lnTo>
                  <a:lnTo>
                    <a:pt x="177" y="299"/>
                  </a:lnTo>
                  <a:lnTo>
                    <a:pt x="133" y="249"/>
                  </a:lnTo>
                  <a:lnTo>
                    <a:pt x="95" y="201"/>
                  </a:lnTo>
                  <a:lnTo>
                    <a:pt x="60" y="159"/>
                  </a:lnTo>
                  <a:lnTo>
                    <a:pt x="28" y="123"/>
                  </a:lnTo>
                  <a:lnTo>
                    <a:pt x="4" y="91"/>
                  </a:lnTo>
                  <a:lnTo>
                    <a:pt x="2" y="89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4" y="91"/>
                  </a:lnTo>
                  <a:lnTo>
                    <a:pt x="63" y="161"/>
                  </a:lnTo>
                  <a:lnTo>
                    <a:pt x="126" y="231"/>
                  </a:lnTo>
                  <a:lnTo>
                    <a:pt x="188" y="296"/>
                  </a:lnTo>
                  <a:lnTo>
                    <a:pt x="242" y="347"/>
                  </a:lnTo>
                  <a:lnTo>
                    <a:pt x="296" y="394"/>
                  </a:lnTo>
                  <a:lnTo>
                    <a:pt x="350" y="434"/>
                  </a:lnTo>
                  <a:lnTo>
                    <a:pt x="394" y="459"/>
                  </a:lnTo>
                  <a:lnTo>
                    <a:pt x="436" y="480"/>
                  </a:lnTo>
                  <a:lnTo>
                    <a:pt x="481" y="494"/>
                  </a:lnTo>
                  <a:lnTo>
                    <a:pt x="530" y="499"/>
                  </a:lnTo>
                  <a:lnTo>
                    <a:pt x="549" y="497"/>
                  </a:lnTo>
                  <a:lnTo>
                    <a:pt x="602" y="488"/>
                  </a:lnTo>
                  <a:lnTo>
                    <a:pt x="651" y="469"/>
                  </a:lnTo>
                  <a:lnTo>
                    <a:pt x="695" y="445"/>
                  </a:lnTo>
                  <a:lnTo>
                    <a:pt x="733" y="415"/>
                  </a:lnTo>
                  <a:lnTo>
                    <a:pt x="775" y="375"/>
                  </a:lnTo>
                  <a:lnTo>
                    <a:pt x="812" y="329"/>
                  </a:lnTo>
                  <a:lnTo>
                    <a:pt x="843" y="280"/>
                  </a:lnTo>
                  <a:lnTo>
                    <a:pt x="873" y="229"/>
                  </a:lnTo>
                  <a:lnTo>
                    <a:pt x="899" y="177"/>
                  </a:lnTo>
                  <a:lnTo>
                    <a:pt x="939" y="88"/>
                  </a:lnTo>
                  <a:lnTo>
                    <a:pt x="974" y="0"/>
                  </a:lnTo>
                  <a:close/>
                </a:path>
              </a:pathLst>
            </a:custGeom>
            <a:solidFill>
              <a:srgbClr val="EEED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4"/>
            <p:cNvSpPr>
              <a:spLocks/>
            </p:cNvSpPr>
            <p:nvPr userDrawn="1"/>
          </p:nvSpPr>
          <p:spPr bwMode="auto">
            <a:xfrm>
              <a:off x="2079626" y="1006475"/>
              <a:ext cx="1609725" cy="844550"/>
            </a:xfrm>
            <a:custGeom>
              <a:avLst/>
              <a:gdLst>
                <a:gd name="T0" fmla="*/ 885 w 1014"/>
                <a:gd name="T1" fmla="*/ 0 h 532"/>
                <a:gd name="T2" fmla="*/ 941 w 1014"/>
                <a:gd name="T3" fmla="*/ 0 h 532"/>
                <a:gd name="T4" fmla="*/ 1002 w 1014"/>
                <a:gd name="T5" fmla="*/ 9 h 532"/>
                <a:gd name="T6" fmla="*/ 1014 w 1014"/>
                <a:gd name="T7" fmla="*/ 10 h 532"/>
                <a:gd name="T8" fmla="*/ 1012 w 1014"/>
                <a:gd name="T9" fmla="*/ 16 h 532"/>
                <a:gd name="T10" fmla="*/ 1011 w 1014"/>
                <a:gd name="T11" fmla="*/ 21 h 532"/>
                <a:gd name="T12" fmla="*/ 1009 w 1014"/>
                <a:gd name="T13" fmla="*/ 24 h 532"/>
                <a:gd name="T14" fmla="*/ 1007 w 1014"/>
                <a:gd name="T15" fmla="*/ 28 h 532"/>
                <a:gd name="T16" fmla="*/ 1005 w 1014"/>
                <a:gd name="T17" fmla="*/ 33 h 532"/>
                <a:gd name="T18" fmla="*/ 970 w 1014"/>
                <a:gd name="T19" fmla="*/ 121 h 532"/>
                <a:gd name="T20" fmla="*/ 930 w 1014"/>
                <a:gd name="T21" fmla="*/ 210 h 532"/>
                <a:gd name="T22" fmla="*/ 904 w 1014"/>
                <a:gd name="T23" fmla="*/ 262 h 532"/>
                <a:gd name="T24" fmla="*/ 874 w 1014"/>
                <a:gd name="T25" fmla="*/ 313 h 532"/>
                <a:gd name="T26" fmla="*/ 843 w 1014"/>
                <a:gd name="T27" fmla="*/ 362 h 532"/>
                <a:gd name="T28" fmla="*/ 806 w 1014"/>
                <a:gd name="T29" fmla="*/ 408 h 532"/>
                <a:gd name="T30" fmla="*/ 764 w 1014"/>
                <a:gd name="T31" fmla="*/ 448 h 532"/>
                <a:gd name="T32" fmla="*/ 726 w 1014"/>
                <a:gd name="T33" fmla="*/ 478 h 532"/>
                <a:gd name="T34" fmla="*/ 682 w 1014"/>
                <a:gd name="T35" fmla="*/ 502 h 532"/>
                <a:gd name="T36" fmla="*/ 633 w 1014"/>
                <a:gd name="T37" fmla="*/ 521 h 532"/>
                <a:gd name="T38" fmla="*/ 580 w 1014"/>
                <a:gd name="T39" fmla="*/ 530 h 532"/>
                <a:gd name="T40" fmla="*/ 561 w 1014"/>
                <a:gd name="T41" fmla="*/ 532 h 532"/>
                <a:gd name="T42" fmla="*/ 512 w 1014"/>
                <a:gd name="T43" fmla="*/ 527 h 532"/>
                <a:gd name="T44" fmla="*/ 467 w 1014"/>
                <a:gd name="T45" fmla="*/ 513 h 532"/>
                <a:gd name="T46" fmla="*/ 425 w 1014"/>
                <a:gd name="T47" fmla="*/ 492 h 532"/>
                <a:gd name="T48" fmla="*/ 381 w 1014"/>
                <a:gd name="T49" fmla="*/ 467 h 532"/>
                <a:gd name="T50" fmla="*/ 327 w 1014"/>
                <a:gd name="T51" fmla="*/ 427 h 532"/>
                <a:gd name="T52" fmla="*/ 273 w 1014"/>
                <a:gd name="T53" fmla="*/ 380 h 532"/>
                <a:gd name="T54" fmla="*/ 219 w 1014"/>
                <a:gd name="T55" fmla="*/ 329 h 532"/>
                <a:gd name="T56" fmla="*/ 145 w 1014"/>
                <a:gd name="T57" fmla="*/ 252 h 532"/>
                <a:gd name="T58" fmla="*/ 73 w 1014"/>
                <a:gd name="T59" fmla="*/ 170 h 532"/>
                <a:gd name="T60" fmla="*/ 3 w 1014"/>
                <a:gd name="T61" fmla="*/ 86 h 532"/>
                <a:gd name="T62" fmla="*/ 2 w 1014"/>
                <a:gd name="T63" fmla="*/ 84 h 532"/>
                <a:gd name="T64" fmla="*/ 2 w 1014"/>
                <a:gd name="T65" fmla="*/ 82 h 532"/>
                <a:gd name="T66" fmla="*/ 0 w 1014"/>
                <a:gd name="T67" fmla="*/ 82 h 532"/>
                <a:gd name="T68" fmla="*/ 0 w 1014"/>
                <a:gd name="T69" fmla="*/ 80 h 532"/>
                <a:gd name="T70" fmla="*/ 28 w 1014"/>
                <a:gd name="T71" fmla="*/ 63 h 532"/>
                <a:gd name="T72" fmla="*/ 59 w 1014"/>
                <a:gd name="T73" fmla="*/ 47 h 532"/>
                <a:gd name="T74" fmla="*/ 94 w 1014"/>
                <a:gd name="T75" fmla="*/ 33 h 532"/>
                <a:gd name="T76" fmla="*/ 126 w 1014"/>
                <a:gd name="T77" fmla="*/ 23 h 532"/>
                <a:gd name="T78" fmla="*/ 170 w 1014"/>
                <a:gd name="T79" fmla="*/ 75 h 532"/>
                <a:gd name="T80" fmla="*/ 212 w 1014"/>
                <a:gd name="T81" fmla="*/ 124 h 532"/>
                <a:gd name="T82" fmla="*/ 253 w 1014"/>
                <a:gd name="T83" fmla="*/ 171 h 532"/>
                <a:gd name="T84" fmla="*/ 295 w 1014"/>
                <a:gd name="T85" fmla="*/ 217 h 532"/>
                <a:gd name="T86" fmla="*/ 337 w 1014"/>
                <a:gd name="T87" fmla="*/ 259 h 532"/>
                <a:gd name="T88" fmla="*/ 378 w 1014"/>
                <a:gd name="T89" fmla="*/ 296 h 532"/>
                <a:gd name="T90" fmla="*/ 418 w 1014"/>
                <a:gd name="T91" fmla="*/ 327 h 532"/>
                <a:gd name="T92" fmla="*/ 455 w 1014"/>
                <a:gd name="T93" fmla="*/ 352 h 532"/>
                <a:gd name="T94" fmla="*/ 493 w 1014"/>
                <a:gd name="T95" fmla="*/ 369 h 532"/>
                <a:gd name="T96" fmla="*/ 528 w 1014"/>
                <a:gd name="T97" fmla="*/ 378 h 532"/>
                <a:gd name="T98" fmla="*/ 561 w 1014"/>
                <a:gd name="T99" fmla="*/ 378 h 532"/>
                <a:gd name="T100" fmla="*/ 594 w 1014"/>
                <a:gd name="T101" fmla="*/ 367 h 532"/>
                <a:gd name="T102" fmla="*/ 628 w 1014"/>
                <a:gd name="T103" fmla="*/ 348 h 532"/>
                <a:gd name="T104" fmla="*/ 657 w 1014"/>
                <a:gd name="T105" fmla="*/ 322 h 532"/>
                <a:gd name="T106" fmla="*/ 687 w 1014"/>
                <a:gd name="T107" fmla="*/ 290 h 532"/>
                <a:gd name="T108" fmla="*/ 713 w 1014"/>
                <a:gd name="T109" fmla="*/ 254 h 532"/>
                <a:gd name="T110" fmla="*/ 738 w 1014"/>
                <a:gd name="T111" fmla="*/ 213 h 532"/>
                <a:gd name="T112" fmla="*/ 761 w 1014"/>
                <a:gd name="T113" fmla="*/ 173 h 532"/>
                <a:gd name="T114" fmla="*/ 780 w 1014"/>
                <a:gd name="T115" fmla="*/ 133 h 532"/>
                <a:gd name="T116" fmla="*/ 797 w 1014"/>
                <a:gd name="T117" fmla="*/ 94 h 532"/>
                <a:gd name="T118" fmla="*/ 811 w 1014"/>
                <a:gd name="T119" fmla="*/ 59 h 532"/>
                <a:gd name="T120" fmla="*/ 823 w 1014"/>
                <a:gd name="T121" fmla="*/ 30 h 532"/>
                <a:gd name="T122" fmla="*/ 832 w 1014"/>
                <a:gd name="T123" fmla="*/ 7 h 532"/>
                <a:gd name="T124" fmla="*/ 885 w 1014"/>
                <a:gd name="T125" fmla="*/ 0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14" h="532">
                  <a:moveTo>
                    <a:pt x="885" y="0"/>
                  </a:moveTo>
                  <a:lnTo>
                    <a:pt x="941" y="0"/>
                  </a:lnTo>
                  <a:lnTo>
                    <a:pt x="1002" y="9"/>
                  </a:lnTo>
                  <a:lnTo>
                    <a:pt x="1014" y="10"/>
                  </a:lnTo>
                  <a:lnTo>
                    <a:pt x="1012" y="16"/>
                  </a:lnTo>
                  <a:lnTo>
                    <a:pt x="1011" y="21"/>
                  </a:lnTo>
                  <a:lnTo>
                    <a:pt x="1009" y="24"/>
                  </a:lnTo>
                  <a:lnTo>
                    <a:pt x="1007" y="28"/>
                  </a:lnTo>
                  <a:lnTo>
                    <a:pt x="1005" y="33"/>
                  </a:lnTo>
                  <a:lnTo>
                    <a:pt x="970" y="121"/>
                  </a:lnTo>
                  <a:lnTo>
                    <a:pt x="930" y="210"/>
                  </a:lnTo>
                  <a:lnTo>
                    <a:pt x="904" y="262"/>
                  </a:lnTo>
                  <a:lnTo>
                    <a:pt x="874" y="313"/>
                  </a:lnTo>
                  <a:lnTo>
                    <a:pt x="843" y="362"/>
                  </a:lnTo>
                  <a:lnTo>
                    <a:pt x="806" y="408"/>
                  </a:lnTo>
                  <a:lnTo>
                    <a:pt x="764" y="448"/>
                  </a:lnTo>
                  <a:lnTo>
                    <a:pt x="726" y="478"/>
                  </a:lnTo>
                  <a:lnTo>
                    <a:pt x="682" y="502"/>
                  </a:lnTo>
                  <a:lnTo>
                    <a:pt x="633" y="521"/>
                  </a:lnTo>
                  <a:lnTo>
                    <a:pt x="580" y="530"/>
                  </a:lnTo>
                  <a:lnTo>
                    <a:pt x="561" y="532"/>
                  </a:lnTo>
                  <a:lnTo>
                    <a:pt x="512" y="527"/>
                  </a:lnTo>
                  <a:lnTo>
                    <a:pt x="467" y="513"/>
                  </a:lnTo>
                  <a:lnTo>
                    <a:pt x="425" y="492"/>
                  </a:lnTo>
                  <a:lnTo>
                    <a:pt x="381" y="467"/>
                  </a:lnTo>
                  <a:lnTo>
                    <a:pt x="327" y="427"/>
                  </a:lnTo>
                  <a:lnTo>
                    <a:pt x="273" y="380"/>
                  </a:lnTo>
                  <a:lnTo>
                    <a:pt x="219" y="329"/>
                  </a:lnTo>
                  <a:lnTo>
                    <a:pt x="145" y="252"/>
                  </a:lnTo>
                  <a:lnTo>
                    <a:pt x="73" y="170"/>
                  </a:lnTo>
                  <a:lnTo>
                    <a:pt x="3" y="86"/>
                  </a:lnTo>
                  <a:lnTo>
                    <a:pt x="2" y="84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0" y="80"/>
                  </a:lnTo>
                  <a:lnTo>
                    <a:pt x="28" y="63"/>
                  </a:lnTo>
                  <a:lnTo>
                    <a:pt x="59" y="47"/>
                  </a:lnTo>
                  <a:lnTo>
                    <a:pt x="94" y="33"/>
                  </a:lnTo>
                  <a:lnTo>
                    <a:pt x="126" y="23"/>
                  </a:lnTo>
                  <a:lnTo>
                    <a:pt x="170" y="75"/>
                  </a:lnTo>
                  <a:lnTo>
                    <a:pt x="212" y="124"/>
                  </a:lnTo>
                  <a:lnTo>
                    <a:pt x="253" y="171"/>
                  </a:lnTo>
                  <a:lnTo>
                    <a:pt x="295" y="217"/>
                  </a:lnTo>
                  <a:lnTo>
                    <a:pt x="337" y="259"/>
                  </a:lnTo>
                  <a:lnTo>
                    <a:pt x="378" y="296"/>
                  </a:lnTo>
                  <a:lnTo>
                    <a:pt x="418" y="327"/>
                  </a:lnTo>
                  <a:lnTo>
                    <a:pt x="455" y="352"/>
                  </a:lnTo>
                  <a:lnTo>
                    <a:pt x="493" y="369"/>
                  </a:lnTo>
                  <a:lnTo>
                    <a:pt x="528" y="378"/>
                  </a:lnTo>
                  <a:lnTo>
                    <a:pt x="561" y="378"/>
                  </a:lnTo>
                  <a:lnTo>
                    <a:pt x="594" y="367"/>
                  </a:lnTo>
                  <a:lnTo>
                    <a:pt x="628" y="348"/>
                  </a:lnTo>
                  <a:lnTo>
                    <a:pt x="657" y="322"/>
                  </a:lnTo>
                  <a:lnTo>
                    <a:pt x="687" y="290"/>
                  </a:lnTo>
                  <a:lnTo>
                    <a:pt x="713" y="254"/>
                  </a:lnTo>
                  <a:lnTo>
                    <a:pt x="738" y="213"/>
                  </a:lnTo>
                  <a:lnTo>
                    <a:pt x="761" y="173"/>
                  </a:lnTo>
                  <a:lnTo>
                    <a:pt x="780" y="133"/>
                  </a:lnTo>
                  <a:lnTo>
                    <a:pt x="797" y="94"/>
                  </a:lnTo>
                  <a:lnTo>
                    <a:pt x="811" y="59"/>
                  </a:lnTo>
                  <a:lnTo>
                    <a:pt x="823" y="30"/>
                  </a:lnTo>
                  <a:lnTo>
                    <a:pt x="832" y="7"/>
                  </a:lnTo>
                  <a:lnTo>
                    <a:pt x="885" y="0"/>
                  </a:lnTo>
                  <a:close/>
                </a:path>
              </a:pathLst>
            </a:custGeom>
            <a:solidFill>
              <a:schemeClr val="accent6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5"/>
            <p:cNvSpPr>
              <a:spLocks/>
            </p:cNvSpPr>
            <p:nvPr userDrawn="1"/>
          </p:nvSpPr>
          <p:spPr bwMode="auto">
            <a:xfrm>
              <a:off x="1520826" y="1173163"/>
              <a:ext cx="1233488" cy="1449388"/>
            </a:xfrm>
            <a:custGeom>
              <a:avLst/>
              <a:gdLst>
                <a:gd name="T0" fmla="*/ 320 w 777"/>
                <a:gd name="T1" fmla="*/ 0 h 913"/>
                <a:gd name="T2" fmla="*/ 320 w 777"/>
                <a:gd name="T3" fmla="*/ 0 h 913"/>
                <a:gd name="T4" fmla="*/ 373 w 777"/>
                <a:gd name="T5" fmla="*/ 58 h 913"/>
                <a:gd name="T6" fmla="*/ 481 w 777"/>
                <a:gd name="T7" fmla="*/ 182 h 913"/>
                <a:gd name="T8" fmla="*/ 584 w 777"/>
                <a:gd name="T9" fmla="*/ 311 h 913"/>
                <a:gd name="T10" fmla="*/ 632 w 777"/>
                <a:gd name="T11" fmla="*/ 373 h 913"/>
                <a:gd name="T12" fmla="*/ 675 w 777"/>
                <a:gd name="T13" fmla="*/ 436 h 913"/>
                <a:gd name="T14" fmla="*/ 705 w 777"/>
                <a:gd name="T15" fmla="*/ 483 h 913"/>
                <a:gd name="T16" fmla="*/ 733 w 777"/>
                <a:gd name="T17" fmla="*/ 530 h 913"/>
                <a:gd name="T18" fmla="*/ 758 w 777"/>
                <a:gd name="T19" fmla="*/ 579 h 913"/>
                <a:gd name="T20" fmla="*/ 768 w 777"/>
                <a:gd name="T21" fmla="*/ 609 h 913"/>
                <a:gd name="T22" fmla="*/ 775 w 777"/>
                <a:gd name="T23" fmla="*/ 640 h 913"/>
                <a:gd name="T24" fmla="*/ 777 w 777"/>
                <a:gd name="T25" fmla="*/ 674 h 913"/>
                <a:gd name="T26" fmla="*/ 768 w 777"/>
                <a:gd name="T27" fmla="*/ 707 h 913"/>
                <a:gd name="T28" fmla="*/ 751 w 777"/>
                <a:gd name="T29" fmla="*/ 735 h 913"/>
                <a:gd name="T30" fmla="*/ 726 w 777"/>
                <a:gd name="T31" fmla="*/ 759 h 913"/>
                <a:gd name="T32" fmla="*/ 695 w 777"/>
                <a:gd name="T33" fmla="*/ 782 h 913"/>
                <a:gd name="T34" fmla="*/ 660 w 777"/>
                <a:gd name="T35" fmla="*/ 800 h 913"/>
                <a:gd name="T36" fmla="*/ 621 w 777"/>
                <a:gd name="T37" fmla="*/ 812 h 913"/>
                <a:gd name="T38" fmla="*/ 583 w 777"/>
                <a:gd name="T39" fmla="*/ 822 h 913"/>
                <a:gd name="T40" fmla="*/ 544 w 777"/>
                <a:gd name="T41" fmla="*/ 833 h 913"/>
                <a:gd name="T42" fmla="*/ 432 w 777"/>
                <a:gd name="T43" fmla="*/ 856 h 913"/>
                <a:gd name="T44" fmla="*/ 319 w 777"/>
                <a:gd name="T45" fmla="*/ 873 h 913"/>
                <a:gd name="T46" fmla="*/ 160 w 777"/>
                <a:gd name="T47" fmla="*/ 894 h 913"/>
                <a:gd name="T48" fmla="*/ 0 w 777"/>
                <a:gd name="T49" fmla="*/ 913 h 913"/>
                <a:gd name="T50" fmla="*/ 69 w 777"/>
                <a:gd name="T51" fmla="*/ 903 h 913"/>
                <a:gd name="T52" fmla="*/ 137 w 777"/>
                <a:gd name="T53" fmla="*/ 892 h 913"/>
                <a:gd name="T54" fmla="*/ 203 w 777"/>
                <a:gd name="T55" fmla="*/ 880 h 913"/>
                <a:gd name="T56" fmla="*/ 270 w 777"/>
                <a:gd name="T57" fmla="*/ 868 h 913"/>
                <a:gd name="T58" fmla="*/ 333 w 777"/>
                <a:gd name="T59" fmla="*/ 854 h 913"/>
                <a:gd name="T60" fmla="*/ 394 w 777"/>
                <a:gd name="T61" fmla="*/ 836 h 913"/>
                <a:gd name="T62" fmla="*/ 450 w 777"/>
                <a:gd name="T63" fmla="*/ 817 h 913"/>
                <a:gd name="T64" fmla="*/ 501 w 777"/>
                <a:gd name="T65" fmla="*/ 794 h 913"/>
                <a:gd name="T66" fmla="*/ 548 w 777"/>
                <a:gd name="T67" fmla="*/ 768 h 913"/>
                <a:gd name="T68" fmla="*/ 586 w 777"/>
                <a:gd name="T69" fmla="*/ 738 h 913"/>
                <a:gd name="T70" fmla="*/ 614 w 777"/>
                <a:gd name="T71" fmla="*/ 709 h 913"/>
                <a:gd name="T72" fmla="*/ 633 w 777"/>
                <a:gd name="T73" fmla="*/ 677 h 913"/>
                <a:gd name="T74" fmla="*/ 646 w 777"/>
                <a:gd name="T75" fmla="*/ 646 h 913"/>
                <a:gd name="T76" fmla="*/ 653 w 777"/>
                <a:gd name="T77" fmla="*/ 612 h 913"/>
                <a:gd name="T78" fmla="*/ 654 w 777"/>
                <a:gd name="T79" fmla="*/ 579 h 913"/>
                <a:gd name="T80" fmla="*/ 651 w 777"/>
                <a:gd name="T81" fmla="*/ 546 h 913"/>
                <a:gd name="T82" fmla="*/ 646 w 777"/>
                <a:gd name="T83" fmla="*/ 516 h 913"/>
                <a:gd name="T84" fmla="*/ 637 w 777"/>
                <a:gd name="T85" fmla="*/ 486 h 913"/>
                <a:gd name="T86" fmla="*/ 628 w 777"/>
                <a:gd name="T87" fmla="*/ 462 h 913"/>
                <a:gd name="T88" fmla="*/ 619 w 777"/>
                <a:gd name="T89" fmla="*/ 439 h 913"/>
                <a:gd name="T90" fmla="*/ 612 w 777"/>
                <a:gd name="T91" fmla="*/ 422 h 913"/>
                <a:gd name="T92" fmla="*/ 571 w 777"/>
                <a:gd name="T93" fmla="*/ 341 h 913"/>
                <a:gd name="T94" fmla="*/ 529 w 777"/>
                <a:gd name="T95" fmla="*/ 268 h 913"/>
                <a:gd name="T96" fmla="*/ 483 w 777"/>
                <a:gd name="T97" fmla="*/ 201 h 913"/>
                <a:gd name="T98" fmla="*/ 438 w 777"/>
                <a:gd name="T99" fmla="*/ 140 h 913"/>
                <a:gd name="T100" fmla="*/ 396 w 777"/>
                <a:gd name="T101" fmla="*/ 86 h 913"/>
                <a:gd name="T102" fmla="*/ 355 w 777"/>
                <a:gd name="T103" fmla="*/ 38 h 913"/>
                <a:gd name="T104" fmla="*/ 320 w 777"/>
                <a:gd name="T105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77" h="913">
                  <a:moveTo>
                    <a:pt x="320" y="0"/>
                  </a:moveTo>
                  <a:lnTo>
                    <a:pt x="320" y="0"/>
                  </a:lnTo>
                  <a:lnTo>
                    <a:pt x="373" y="58"/>
                  </a:lnTo>
                  <a:lnTo>
                    <a:pt x="481" y="182"/>
                  </a:lnTo>
                  <a:lnTo>
                    <a:pt x="584" y="311"/>
                  </a:lnTo>
                  <a:lnTo>
                    <a:pt x="632" y="373"/>
                  </a:lnTo>
                  <a:lnTo>
                    <a:pt x="675" y="436"/>
                  </a:lnTo>
                  <a:lnTo>
                    <a:pt x="705" y="483"/>
                  </a:lnTo>
                  <a:lnTo>
                    <a:pt x="733" y="530"/>
                  </a:lnTo>
                  <a:lnTo>
                    <a:pt x="758" y="579"/>
                  </a:lnTo>
                  <a:lnTo>
                    <a:pt x="768" y="609"/>
                  </a:lnTo>
                  <a:lnTo>
                    <a:pt x="775" y="640"/>
                  </a:lnTo>
                  <a:lnTo>
                    <a:pt x="777" y="674"/>
                  </a:lnTo>
                  <a:lnTo>
                    <a:pt x="768" y="707"/>
                  </a:lnTo>
                  <a:lnTo>
                    <a:pt x="751" y="735"/>
                  </a:lnTo>
                  <a:lnTo>
                    <a:pt x="726" y="759"/>
                  </a:lnTo>
                  <a:lnTo>
                    <a:pt x="695" y="782"/>
                  </a:lnTo>
                  <a:lnTo>
                    <a:pt x="660" y="800"/>
                  </a:lnTo>
                  <a:lnTo>
                    <a:pt x="621" y="812"/>
                  </a:lnTo>
                  <a:lnTo>
                    <a:pt x="583" y="822"/>
                  </a:lnTo>
                  <a:lnTo>
                    <a:pt x="544" y="833"/>
                  </a:lnTo>
                  <a:lnTo>
                    <a:pt x="432" y="856"/>
                  </a:lnTo>
                  <a:lnTo>
                    <a:pt x="319" y="873"/>
                  </a:lnTo>
                  <a:lnTo>
                    <a:pt x="160" y="894"/>
                  </a:lnTo>
                  <a:lnTo>
                    <a:pt x="0" y="913"/>
                  </a:lnTo>
                  <a:lnTo>
                    <a:pt x="69" y="903"/>
                  </a:lnTo>
                  <a:lnTo>
                    <a:pt x="137" y="892"/>
                  </a:lnTo>
                  <a:lnTo>
                    <a:pt x="203" y="880"/>
                  </a:lnTo>
                  <a:lnTo>
                    <a:pt x="270" y="868"/>
                  </a:lnTo>
                  <a:lnTo>
                    <a:pt x="333" y="854"/>
                  </a:lnTo>
                  <a:lnTo>
                    <a:pt x="394" y="836"/>
                  </a:lnTo>
                  <a:lnTo>
                    <a:pt x="450" y="817"/>
                  </a:lnTo>
                  <a:lnTo>
                    <a:pt x="501" y="794"/>
                  </a:lnTo>
                  <a:lnTo>
                    <a:pt x="548" y="768"/>
                  </a:lnTo>
                  <a:lnTo>
                    <a:pt x="586" y="738"/>
                  </a:lnTo>
                  <a:lnTo>
                    <a:pt x="614" y="709"/>
                  </a:lnTo>
                  <a:lnTo>
                    <a:pt x="633" y="677"/>
                  </a:lnTo>
                  <a:lnTo>
                    <a:pt x="646" y="646"/>
                  </a:lnTo>
                  <a:lnTo>
                    <a:pt x="653" y="612"/>
                  </a:lnTo>
                  <a:lnTo>
                    <a:pt x="654" y="579"/>
                  </a:lnTo>
                  <a:lnTo>
                    <a:pt x="651" y="546"/>
                  </a:lnTo>
                  <a:lnTo>
                    <a:pt x="646" y="516"/>
                  </a:lnTo>
                  <a:lnTo>
                    <a:pt x="637" y="486"/>
                  </a:lnTo>
                  <a:lnTo>
                    <a:pt x="628" y="462"/>
                  </a:lnTo>
                  <a:lnTo>
                    <a:pt x="619" y="439"/>
                  </a:lnTo>
                  <a:lnTo>
                    <a:pt x="612" y="422"/>
                  </a:lnTo>
                  <a:lnTo>
                    <a:pt x="571" y="341"/>
                  </a:lnTo>
                  <a:lnTo>
                    <a:pt x="529" y="268"/>
                  </a:lnTo>
                  <a:lnTo>
                    <a:pt x="483" y="201"/>
                  </a:lnTo>
                  <a:lnTo>
                    <a:pt x="438" y="140"/>
                  </a:lnTo>
                  <a:lnTo>
                    <a:pt x="396" y="86"/>
                  </a:lnTo>
                  <a:lnTo>
                    <a:pt x="355" y="38"/>
                  </a:lnTo>
                  <a:lnTo>
                    <a:pt x="320" y="0"/>
                  </a:lnTo>
                  <a:close/>
                </a:path>
              </a:pathLst>
            </a:custGeom>
            <a:solidFill>
              <a:srgbClr val="FCCC8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6"/>
            <p:cNvSpPr>
              <a:spLocks/>
            </p:cNvSpPr>
            <p:nvPr userDrawn="1"/>
          </p:nvSpPr>
          <p:spPr bwMode="auto">
            <a:xfrm>
              <a:off x="1516063" y="1169988"/>
              <a:ext cx="1042988" cy="1452563"/>
            </a:xfrm>
            <a:custGeom>
              <a:avLst/>
              <a:gdLst>
                <a:gd name="T0" fmla="*/ 322 w 657"/>
                <a:gd name="T1" fmla="*/ 0 h 915"/>
                <a:gd name="T2" fmla="*/ 358 w 657"/>
                <a:gd name="T3" fmla="*/ 40 h 915"/>
                <a:gd name="T4" fmla="*/ 441 w 657"/>
                <a:gd name="T5" fmla="*/ 142 h 915"/>
                <a:gd name="T6" fmla="*/ 532 w 657"/>
                <a:gd name="T7" fmla="*/ 270 h 915"/>
                <a:gd name="T8" fmla="*/ 615 w 657"/>
                <a:gd name="T9" fmla="*/ 424 h 915"/>
                <a:gd name="T10" fmla="*/ 631 w 657"/>
                <a:gd name="T11" fmla="*/ 464 h 915"/>
                <a:gd name="T12" fmla="*/ 649 w 657"/>
                <a:gd name="T13" fmla="*/ 518 h 915"/>
                <a:gd name="T14" fmla="*/ 657 w 657"/>
                <a:gd name="T15" fmla="*/ 581 h 915"/>
                <a:gd name="T16" fmla="*/ 649 w 657"/>
                <a:gd name="T17" fmla="*/ 648 h 915"/>
                <a:gd name="T18" fmla="*/ 617 w 657"/>
                <a:gd name="T19" fmla="*/ 711 h 915"/>
                <a:gd name="T20" fmla="*/ 551 w 657"/>
                <a:gd name="T21" fmla="*/ 770 h 915"/>
                <a:gd name="T22" fmla="*/ 453 w 657"/>
                <a:gd name="T23" fmla="*/ 819 h 915"/>
                <a:gd name="T24" fmla="*/ 336 w 657"/>
                <a:gd name="T25" fmla="*/ 856 h 915"/>
                <a:gd name="T26" fmla="*/ 206 w 657"/>
                <a:gd name="T27" fmla="*/ 882 h 915"/>
                <a:gd name="T28" fmla="*/ 72 w 657"/>
                <a:gd name="T29" fmla="*/ 905 h 915"/>
                <a:gd name="T30" fmla="*/ 3 w 657"/>
                <a:gd name="T31" fmla="*/ 915 h 915"/>
                <a:gd name="T32" fmla="*/ 3 w 657"/>
                <a:gd name="T33" fmla="*/ 816 h 915"/>
                <a:gd name="T34" fmla="*/ 16 w 657"/>
                <a:gd name="T35" fmla="*/ 774 h 915"/>
                <a:gd name="T36" fmla="*/ 37 w 657"/>
                <a:gd name="T37" fmla="*/ 770 h 915"/>
                <a:gd name="T38" fmla="*/ 89 w 657"/>
                <a:gd name="T39" fmla="*/ 760 h 915"/>
                <a:gd name="T40" fmla="*/ 164 w 657"/>
                <a:gd name="T41" fmla="*/ 746 h 915"/>
                <a:gd name="T42" fmla="*/ 243 w 657"/>
                <a:gd name="T43" fmla="*/ 730 h 915"/>
                <a:gd name="T44" fmla="*/ 316 w 657"/>
                <a:gd name="T45" fmla="*/ 712 h 915"/>
                <a:gd name="T46" fmla="*/ 371 w 657"/>
                <a:gd name="T47" fmla="*/ 697 h 915"/>
                <a:gd name="T48" fmla="*/ 418 w 657"/>
                <a:gd name="T49" fmla="*/ 676 h 915"/>
                <a:gd name="T50" fmla="*/ 456 w 657"/>
                <a:gd name="T51" fmla="*/ 651 h 915"/>
                <a:gd name="T52" fmla="*/ 483 w 657"/>
                <a:gd name="T53" fmla="*/ 620 h 915"/>
                <a:gd name="T54" fmla="*/ 493 w 657"/>
                <a:gd name="T55" fmla="*/ 578 h 915"/>
                <a:gd name="T56" fmla="*/ 483 w 657"/>
                <a:gd name="T57" fmla="*/ 522 h 915"/>
                <a:gd name="T58" fmla="*/ 441 w 657"/>
                <a:gd name="T59" fmla="*/ 434 h 915"/>
                <a:gd name="T60" fmla="*/ 390 w 657"/>
                <a:gd name="T61" fmla="*/ 350 h 915"/>
                <a:gd name="T62" fmla="*/ 341 w 657"/>
                <a:gd name="T63" fmla="*/ 282 h 915"/>
                <a:gd name="T64" fmla="*/ 285 w 657"/>
                <a:gd name="T65" fmla="*/ 215 h 915"/>
                <a:gd name="T66" fmla="*/ 217 w 657"/>
                <a:gd name="T67" fmla="*/ 137 h 915"/>
                <a:gd name="T68" fmla="*/ 220 w 657"/>
                <a:gd name="T69" fmla="*/ 126 h 915"/>
                <a:gd name="T70" fmla="*/ 241 w 657"/>
                <a:gd name="T71" fmla="*/ 91 h 915"/>
                <a:gd name="T72" fmla="*/ 282 w 657"/>
                <a:gd name="T73" fmla="*/ 40 h 915"/>
                <a:gd name="T74" fmla="*/ 322 w 657"/>
                <a:gd name="T75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7" h="915">
                  <a:moveTo>
                    <a:pt x="322" y="0"/>
                  </a:moveTo>
                  <a:lnTo>
                    <a:pt x="322" y="0"/>
                  </a:lnTo>
                  <a:lnTo>
                    <a:pt x="323" y="2"/>
                  </a:lnTo>
                  <a:lnTo>
                    <a:pt x="358" y="40"/>
                  </a:lnTo>
                  <a:lnTo>
                    <a:pt x="399" y="88"/>
                  </a:lnTo>
                  <a:lnTo>
                    <a:pt x="441" y="142"/>
                  </a:lnTo>
                  <a:lnTo>
                    <a:pt x="486" y="203"/>
                  </a:lnTo>
                  <a:lnTo>
                    <a:pt x="532" y="270"/>
                  </a:lnTo>
                  <a:lnTo>
                    <a:pt x="574" y="343"/>
                  </a:lnTo>
                  <a:lnTo>
                    <a:pt x="615" y="424"/>
                  </a:lnTo>
                  <a:lnTo>
                    <a:pt x="622" y="441"/>
                  </a:lnTo>
                  <a:lnTo>
                    <a:pt x="631" y="464"/>
                  </a:lnTo>
                  <a:lnTo>
                    <a:pt x="640" y="488"/>
                  </a:lnTo>
                  <a:lnTo>
                    <a:pt x="649" y="518"/>
                  </a:lnTo>
                  <a:lnTo>
                    <a:pt x="654" y="548"/>
                  </a:lnTo>
                  <a:lnTo>
                    <a:pt x="657" y="581"/>
                  </a:lnTo>
                  <a:lnTo>
                    <a:pt x="656" y="614"/>
                  </a:lnTo>
                  <a:lnTo>
                    <a:pt x="649" y="648"/>
                  </a:lnTo>
                  <a:lnTo>
                    <a:pt x="636" y="679"/>
                  </a:lnTo>
                  <a:lnTo>
                    <a:pt x="617" y="711"/>
                  </a:lnTo>
                  <a:lnTo>
                    <a:pt x="589" y="740"/>
                  </a:lnTo>
                  <a:lnTo>
                    <a:pt x="551" y="770"/>
                  </a:lnTo>
                  <a:lnTo>
                    <a:pt x="504" y="796"/>
                  </a:lnTo>
                  <a:lnTo>
                    <a:pt x="453" y="819"/>
                  </a:lnTo>
                  <a:lnTo>
                    <a:pt x="397" y="838"/>
                  </a:lnTo>
                  <a:lnTo>
                    <a:pt x="336" y="856"/>
                  </a:lnTo>
                  <a:lnTo>
                    <a:pt x="273" y="870"/>
                  </a:lnTo>
                  <a:lnTo>
                    <a:pt x="206" y="882"/>
                  </a:lnTo>
                  <a:lnTo>
                    <a:pt x="140" y="894"/>
                  </a:lnTo>
                  <a:lnTo>
                    <a:pt x="72" y="905"/>
                  </a:lnTo>
                  <a:lnTo>
                    <a:pt x="3" y="915"/>
                  </a:lnTo>
                  <a:lnTo>
                    <a:pt x="3" y="915"/>
                  </a:lnTo>
                  <a:lnTo>
                    <a:pt x="0" y="863"/>
                  </a:lnTo>
                  <a:lnTo>
                    <a:pt x="3" y="816"/>
                  </a:lnTo>
                  <a:lnTo>
                    <a:pt x="14" y="774"/>
                  </a:lnTo>
                  <a:lnTo>
                    <a:pt x="16" y="774"/>
                  </a:lnTo>
                  <a:lnTo>
                    <a:pt x="21" y="772"/>
                  </a:lnTo>
                  <a:lnTo>
                    <a:pt x="37" y="770"/>
                  </a:lnTo>
                  <a:lnTo>
                    <a:pt x="59" y="765"/>
                  </a:lnTo>
                  <a:lnTo>
                    <a:pt x="89" y="760"/>
                  </a:lnTo>
                  <a:lnTo>
                    <a:pt x="126" y="754"/>
                  </a:lnTo>
                  <a:lnTo>
                    <a:pt x="164" y="746"/>
                  </a:lnTo>
                  <a:lnTo>
                    <a:pt x="205" y="739"/>
                  </a:lnTo>
                  <a:lnTo>
                    <a:pt x="243" y="730"/>
                  </a:lnTo>
                  <a:lnTo>
                    <a:pt x="282" y="721"/>
                  </a:lnTo>
                  <a:lnTo>
                    <a:pt x="316" y="712"/>
                  </a:lnTo>
                  <a:lnTo>
                    <a:pt x="346" y="705"/>
                  </a:lnTo>
                  <a:lnTo>
                    <a:pt x="371" y="697"/>
                  </a:lnTo>
                  <a:lnTo>
                    <a:pt x="395" y="686"/>
                  </a:lnTo>
                  <a:lnTo>
                    <a:pt x="418" y="676"/>
                  </a:lnTo>
                  <a:lnTo>
                    <a:pt x="437" y="665"/>
                  </a:lnTo>
                  <a:lnTo>
                    <a:pt x="456" y="651"/>
                  </a:lnTo>
                  <a:lnTo>
                    <a:pt x="472" y="637"/>
                  </a:lnTo>
                  <a:lnTo>
                    <a:pt x="483" y="620"/>
                  </a:lnTo>
                  <a:lnTo>
                    <a:pt x="491" y="600"/>
                  </a:lnTo>
                  <a:lnTo>
                    <a:pt x="493" y="578"/>
                  </a:lnTo>
                  <a:lnTo>
                    <a:pt x="491" y="551"/>
                  </a:lnTo>
                  <a:lnTo>
                    <a:pt x="483" y="522"/>
                  </a:lnTo>
                  <a:lnTo>
                    <a:pt x="467" y="487"/>
                  </a:lnTo>
                  <a:lnTo>
                    <a:pt x="441" y="434"/>
                  </a:lnTo>
                  <a:lnTo>
                    <a:pt x="414" y="389"/>
                  </a:lnTo>
                  <a:lnTo>
                    <a:pt x="390" y="350"/>
                  </a:lnTo>
                  <a:lnTo>
                    <a:pt x="365" y="313"/>
                  </a:lnTo>
                  <a:lnTo>
                    <a:pt x="341" y="282"/>
                  </a:lnTo>
                  <a:lnTo>
                    <a:pt x="315" y="249"/>
                  </a:lnTo>
                  <a:lnTo>
                    <a:pt x="285" y="215"/>
                  </a:lnTo>
                  <a:lnTo>
                    <a:pt x="254" y="179"/>
                  </a:lnTo>
                  <a:lnTo>
                    <a:pt x="217" y="137"/>
                  </a:lnTo>
                  <a:lnTo>
                    <a:pt x="217" y="137"/>
                  </a:lnTo>
                  <a:lnTo>
                    <a:pt x="220" y="126"/>
                  </a:lnTo>
                  <a:lnTo>
                    <a:pt x="229" y="110"/>
                  </a:lnTo>
                  <a:lnTo>
                    <a:pt x="241" y="91"/>
                  </a:lnTo>
                  <a:lnTo>
                    <a:pt x="257" y="68"/>
                  </a:lnTo>
                  <a:lnTo>
                    <a:pt x="282" y="40"/>
                  </a:lnTo>
                  <a:lnTo>
                    <a:pt x="302" y="18"/>
                  </a:lnTo>
                  <a:lnTo>
                    <a:pt x="322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7"/>
            <p:cNvSpPr>
              <a:spLocks/>
            </p:cNvSpPr>
            <p:nvPr userDrawn="1"/>
          </p:nvSpPr>
          <p:spPr bwMode="auto">
            <a:xfrm>
              <a:off x="1530351" y="2603500"/>
              <a:ext cx="1246188" cy="1592263"/>
            </a:xfrm>
            <a:custGeom>
              <a:avLst/>
              <a:gdLst>
                <a:gd name="T0" fmla="*/ 482 w 785"/>
                <a:gd name="T1" fmla="*/ 0 h 1003"/>
                <a:gd name="T2" fmla="*/ 551 w 785"/>
                <a:gd name="T3" fmla="*/ 2 h 1003"/>
                <a:gd name="T4" fmla="*/ 619 w 785"/>
                <a:gd name="T5" fmla="*/ 7 h 1003"/>
                <a:gd name="T6" fmla="*/ 654 w 785"/>
                <a:gd name="T7" fmla="*/ 16 h 1003"/>
                <a:gd name="T8" fmla="*/ 687 w 785"/>
                <a:gd name="T9" fmla="*/ 26 h 1003"/>
                <a:gd name="T10" fmla="*/ 718 w 785"/>
                <a:gd name="T11" fmla="*/ 42 h 1003"/>
                <a:gd name="T12" fmla="*/ 746 w 785"/>
                <a:gd name="T13" fmla="*/ 65 h 1003"/>
                <a:gd name="T14" fmla="*/ 766 w 785"/>
                <a:gd name="T15" fmla="*/ 91 h 1003"/>
                <a:gd name="T16" fmla="*/ 776 w 785"/>
                <a:gd name="T17" fmla="*/ 119 h 1003"/>
                <a:gd name="T18" fmla="*/ 783 w 785"/>
                <a:gd name="T19" fmla="*/ 151 h 1003"/>
                <a:gd name="T20" fmla="*/ 785 w 785"/>
                <a:gd name="T21" fmla="*/ 182 h 1003"/>
                <a:gd name="T22" fmla="*/ 780 w 785"/>
                <a:gd name="T23" fmla="*/ 235 h 1003"/>
                <a:gd name="T24" fmla="*/ 773 w 785"/>
                <a:gd name="T25" fmla="*/ 287 h 1003"/>
                <a:gd name="T26" fmla="*/ 760 w 785"/>
                <a:gd name="T27" fmla="*/ 338 h 1003"/>
                <a:gd name="T28" fmla="*/ 729 w 785"/>
                <a:gd name="T29" fmla="*/ 455 h 1003"/>
                <a:gd name="T30" fmla="*/ 692 w 785"/>
                <a:gd name="T31" fmla="*/ 571 h 1003"/>
                <a:gd name="T32" fmla="*/ 652 w 785"/>
                <a:gd name="T33" fmla="*/ 685 h 1003"/>
                <a:gd name="T34" fmla="*/ 592 w 785"/>
                <a:gd name="T35" fmla="*/ 844 h 1003"/>
                <a:gd name="T36" fmla="*/ 530 w 785"/>
                <a:gd name="T37" fmla="*/ 1003 h 1003"/>
                <a:gd name="T38" fmla="*/ 561 w 785"/>
                <a:gd name="T39" fmla="*/ 912 h 1003"/>
                <a:gd name="T40" fmla="*/ 592 w 785"/>
                <a:gd name="T41" fmla="*/ 812 h 1003"/>
                <a:gd name="T42" fmla="*/ 622 w 785"/>
                <a:gd name="T43" fmla="*/ 709 h 1003"/>
                <a:gd name="T44" fmla="*/ 643 w 785"/>
                <a:gd name="T45" fmla="*/ 623 h 1003"/>
                <a:gd name="T46" fmla="*/ 662 w 785"/>
                <a:gd name="T47" fmla="*/ 539 h 1003"/>
                <a:gd name="T48" fmla="*/ 676 w 785"/>
                <a:gd name="T49" fmla="*/ 459 h 1003"/>
                <a:gd name="T50" fmla="*/ 687 w 785"/>
                <a:gd name="T51" fmla="*/ 382 h 1003"/>
                <a:gd name="T52" fmla="*/ 690 w 785"/>
                <a:gd name="T53" fmla="*/ 312 h 1003"/>
                <a:gd name="T54" fmla="*/ 689 w 785"/>
                <a:gd name="T55" fmla="*/ 268 h 1003"/>
                <a:gd name="T56" fmla="*/ 682 w 785"/>
                <a:gd name="T57" fmla="*/ 228 h 1003"/>
                <a:gd name="T58" fmla="*/ 673 w 785"/>
                <a:gd name="T59" fmla="*/ 191 h 1003"/>
                <a:gd name="T60" fmla="*/ 657 w 785"/>
                <a:gd name="T61" fmla="*/ 156 h 1003"/>
                <a:gd name="T62" fmla="*/ 638 w 785"/>
                <a:gd name="T63" fmla="*/ 124 h 1003"/>
                <a:gd name="T64" fmla="*/ 612 w 785"/>
                <a:gd name="T65" fmla="*/ 96 h 1003"/>
                <a:gd name="T66" fmla="*/ 578 w 785"/>
                <a:gd name="T67" fmla="*/ 72 h 1003"/>
                <a:gd name="T68" fmla="*/ 538 w 785"/>
                <a:gd name="T69" fmla="*/ 53 h 1003"/>
                <a:gd name="T70" fmla="*/ 535 w 785"/>
                <a:gd name="T71" fmla="*/ 53 h 1003"/>
                <a:gd name="T72" fmla="*/ 530 w 785"/>
                <a:gd name="T73" fmla="*/ 49 h 1003"/>
                <a:gd name="T74" fmla="*/ 519 w 785"/>
                <a:gd name="T75" fmla="*/ 46 h 1003"/>
                <a:gd name="T76" fmla="*/ 481 w 785"/>
                <a:gd name="T77" fmla="*/ 35 h 1003"/>
                <a:gd name="T78" fmla="*/ 435 w 785"/>
                <a:gd name="T79" fmla="*/ 28 h 1003"/>
                <a:gd name="T80" fmla="*/ 383 w 785"/>
                <a:gd name="T81" fmla="*/ 23 h 1003"/>
                <a:gd name="T82" fmla="*/ 323 w 785"/>
                <a:gd name="T83" fmla="*/ 21 h 1003"/>
                <a:gd name="T84" fmla="*/ 271 w 785"/>
                <a:gd name="T85" fmla="*/ 23 h 1003"/>
                <a:gd name="T86" fmla="*/ 213 w 785"/>
                <a:gd name="T87" fmla="*/ 25 h 1003"/>
                <a:gd name="T88" fmla="*/ 150 w 785"/>
                <a:gd name="T89" fmla="*/ 30 h 1003"/>
                <a:gd name="T90" fmla="*/ 78 w 785"/>
                <a:gd name="T91" fmla="*/ 37 h 1003"/>
                <a:gd name="T92" fmla="*/ 0 w 785"/>
                <a:gd name="T93" fmla="*/ 46 h 1003"/>
                <a:gd name="T94" fmla="*/ 0 w 785"/>
                <a:gd name="T95" fmla="*/ 46 h 1003"/>
                <a:gd name="T96" fmla="*/ 161 w 785"/>
                <a:gd name="T97" fmla="*/ 25 h 1003"/>
                <a:gd name="T98" fmla="*/ 321 w 785"/>
                <a:gd name="T99" fmla="*/ 9 h 1003"/>
                <a:gd name="T100" fmla="*/ 482 w 785"/>
                <a:gd name="T101" fmla="*/ 0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85" h="1003">
                  <a:moveTo>
                    <a:pt x="482" y="0"/>
                  </a:moveTo>
                  <a:lnTo>
                    <a:pt x="551" y="2"/>
                  </a:lnTo>
                  <a:lnTo>
                    <a:pt x="619" y="7"/>
                  </a:lnTo>
                  <a:lnTo>
                    <a:pt x="654" y="16"/>
                  </a:lnTo>
                  <a:lnTo>
                    <a:pt x="687" y="26"/>
                  </a:lnTo>
                  <a:lnTo>
                    <a:pt x="718" y="42"/>
                  </a:lnTo>
                  <a:lnTo>
                    <a:pt x="746" y="65"/>
                  </a:lnTo>
                  <a:lnTo>
                    <a:pt x="766" y="91"/>
                  </a:lnTo>
                  <a:lnTo>
                    <a:pt x="776" y="119"/>
                  </a:lnTo>
                  <a:lnTo>
                    <a:pt x="783" y="151"/>
                  </a:lnTo>
                  <a:lnTo>
                    <a:pt x="785" y="182"/>
                  </a:lnTo>
                  <a:lnTo>
                    <a:pt x="780" y="235"/>
                  </a:lnTo>
                  <a:lnTo>
                    <a:pt x="773" y="287"/>
                  </a:lnTo>
                  <a:lnTo>
                    <a:pt x="760" y="338"/>
                  </a:lnTo>
                  <a:lnTo>
                    <a:pt x="729" y="455"/>
                  </a:lnTo>
                  <a:lnTo>
                    <a:pt x="692" y="571"/>
                  </a:lnTo>
                  <a:lnTo>
                    <a:pt x="652" y="685"/>
                  </a:lnTo>
                  <a:lnTo>
                    <a:pt x="592" y="844"/>
                  </a:lnTo>
                  <a:lnTo>
                    <a:pt x="530" y="1003"/>
                  </a:lnTo>
                  <a:lnTo>
                    <a:pt x="561" y="912"/>
                  </a:lnTo>
                  <a:lnTo>
                    <a:pt x="592" y="812"/>
                  </a:lnTo>
                  <a:lnTo>
                    <a:pt x="622" y="709"/>
                  </a:lnTo>
                  <a:lnTo>
                    <a:pt x="643" y="623"/>
                  </a:lnTo>
                  <a:lnTo>
                    <a:pt x="662" y="539"/>
                  </a:lnTo>
                  <a:lnTo>
                    <a:pt x="676" y="459"/>
                  </a:lnTo>
                  <a:lnTo>
                    <a:pt x="687" y="382"/>
                  </a:lnTo>
                  <a:lnTo>
                    <a:pt x="690" y="312"/>
                  </a:lnTo>
                  <a:lnTo>
                    <a:pt x="689" y="268"/>
                  </a:lnTo>
                  <a:lnTo>
                    <a:pt x="682" y="228"/>
                  </a:lnTo>
                  <a:lnTo>
                    <a:pt x="673" y="191"/>
                  </a:lnTo>
                  <a:lnTo>
                    <a:pt x="657" y="156"/>
                  </a:lnTo>
                  <a:lnTo>
                    <a:pt x="638" y="124"/>
                  </a:lnTo>
                  <a:lnTo>
                    <a:pt x="612" y="96"/>
                  </a:lnTo>
                  <a:lnTo>
                    <a:pt x="578" y="72"/>
                  </a:lnTo>
                  <a:lnTo>
                    <a:pt x="538" y="53"/>
                  </a:lnTo>
                  <a:lnTo>
                    <a:pt x="535" y="53"/>
                  </a:lnTo>
                  <a:lnTo>
                    <a:pt x="530" y="49"/>
                  </a:lnTo>
                  <a:lnTo>
                    <a:pt x="519" y="46"/>
                  </a:lnTo>
                  <a:lnTo>
                    <a:pt x="481" y="35"/>
                  </a:lnTo>
                  <a:lnTo>
                    <a:pt x="435" y="28"/>
                  </a:lnTo>
                  <a:lnTo>
                    <a:pt x="383" y="23"/>
                  </a:lnTo>
                  <a:lnTo>
                    <a:pt x="323" y="21"/>
                  </a:lnTo>
                  <a:lnTo>
                    <a:pt x="271" y="23"/>
                  </a:lnTo>
                  <a:lnTo>
                    <a:pt x="213" y="25"/>
                  </a:lnTo>
                  <a:lnTo>
                    <a:pt x="150" y="30"/>
                  </a:lnTo>
                  <a:lnTo>
                    <a:pt x="78" y="3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61" y="25"/>
                  </a:lnTo>
                  <a:lnTo>
                    <a:pt x="321" y="9"/>
                  </a:lnTo>
                  <a:lnTo>
                    <a:pt x="482" y="0"/>
                  </a:lnTo>
                  <a:close/>
                </a:path>
              </a:pathLst>
            </a:custGeom>
            <a:solidFill>
              <a:srgbClr val="F3997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38"/>
            <p:cNvSpPr>
              <a:spLocks/>
            </p:cNvSpPr>
            <p:nvPr userDrawn="1"/>
          </p:nvSpPr>
          <p:spPr bwMode="auto">
            <a:xfrm>
              <a:off x="1530351" y="2636838"/>
              <a:ext cx="1095375" cy="1558925"/>
            </a:xfrm>
            <a:custGeom>
              <a:avLst/>
              <a:gdLst>
                <a:gd name="T0" fmla="*/ 383 w 690"/>
                <a:gd name="T1" fmla="*/ 2 h 982"/>
                <a:gd name="T2" fmla="*/ 481 w 690"/>
                <a:gd name="T3" fmla="*/ 14 h 982"/>
                <a:gd name="T4" fmla="*/ 530 w 690"/>
                <a:gd name="T5" fmla="*/ 28 h 982"/>
                <a:gd name="T6" fmla="*/ 538 w 690"/>
                <a:gd name="T7" fmla="*/ 32 h 982"/>
                <a:gd name="T8" fmla="*/ 612 w 690"/>
                <a:gd name="T9" fmla="*/ 75 h 982"/>
                <a:gd name="T10" fmla="*/ 657 w 690"/>
                <a:gd name="T11" fmla="*/ 135 h 982"/>
                <a:gd name="T12" fmla="*/ 682 w 690"/>
                <a:gd name="T13" fmla="*/ 207 h 982"/>
                <a:gd name="T14" fmla="*/ 690 w 690"/>
                <a:gd name="T15" fmla="*/ 291 h 982"/>
                <a:gd name="T16" fmla="*/ 676 w 690"/>
                <a:gd name="T17" fmla="*/ 438 h 982"/>
                <a:gd name="T18" fmla="*/ 643 w 690"/>
                <a:gd name="T19" fmla="*/ 602 h 982"/>
                <a:gd name="T20" fmla="*/ 592 w 690"/>
                <a:gd name="T21" fmla="*/ 791 h 982"/>
                <a:gd name="T22" fmla="*/ 530 w 690"/>
                <a:gd name="T23" fmla="*/ 982 h 982"/>
                <a:gd name="T24" fmla="*/ 524 w 690"/>
                <a:gd name="T25" fmla="*/ 980 h 982"/>
                <a:gd name="T26" fmla="*/ 496 w 690"/>
                <a:gd name="T27" fmla="*/ 968 h 982"/>
                <a:gd name="T28" fmla="*/ 458 w 690"/>
                <a:gd name="T29" fmla="*/ 947 h 982"/>
                <a:gd name="T30" fmla="*/ 432 w 690"/>
                <a:gd name="T31" fmla="*/ 928 h 982"/>
                <a:gd name="T32" fmla="*/ 414 w 690"/>
                <a:gd name="T33" fmla="*/ 914 h 982"/>
                <a:gd name="T34" fmla="*/ 421 w 690"/>
                <a:gd name="T35" fmla="*/ 893 h 982"/>
                <a:gd name="T36" fmla="*/ 444 w 690"/>
                <a:gd name="T37" fmla="*/ 833 h 982"/>
                <a:gd name="T38" fmla="*/ 475 w 690"/>
                <a:gd name="T39" fmla="*/ 751 h 982"/>
                <a:gd name="T40" fmla="*/ 505 w 690"/>
                <a:gd name="T41" fmla="*/ 657 h 982"/>
                <a:gd name="T42" fmla="*/ 533 w 690"/>
                <a:gd name="T43" fmla="*/ 559 h 982"/>
                <a:gd name="T44" fmla="*/ 551 w 690"/>
                <a:gd name="T45" fmla="*/ 467 h 982"/>
                <a:gd name="T46" fmla="*/ 558 w 690"/>
                <a:gd name="T47" fmla="*/ 382 h 982"/>
                <a:gd name="T48" fmla="*/ 558 w 690"/>
                <a:gd name="T49" fmla="*/ 306 h 982"/>
                <a:gd name="T50" fmla="*/ 545 w 690"/>
                <a:gd name="T51" fmla="*/ 249 h 982"/>
                <a:gd name="T52" fmla="*/ 516 w 690"/>
                <a:gd name="T53" fmla="*/ 208 h 982"/>
                <a:gd name="T54" fmla="*/ 461 w 690"/>
                <a:gd name="T55" fmla="*/ 182 h 982"/>
                <a:gd name="T56" fmla="*/ 377 w 690"/>
                <a:gd name="T57" fmla="*/ 172 h 982"/>
                <a:gd name="T58" fmla="*/ 271 w 690"/>
                <a:gd name="T59" fmla="*/ 172 h 982"/>
                <a:gd name="T60" fmla="*/ 143 w 690"/>
                <a:gd name="T61" fmla="*/ 179 h 982"/>
                <a:gd name="T62" fmla="*/ 52 w 690"/>
                <a:gd name="T63" fmla="*/ 172 h 982"/>
                <a:gd name="T64" fmla="*/ 24 w 690"/>
                <a:gd name="T65" fmla="*/ 114 h 982"/>
                <a:gd name="T66" fmla="*/ 0 w 690"/>
                <a:gd name="T67" fmla="*/ 25 h 982"/>
                <a:gd name="T68" fmla="*/ 150 w 690"/>
                <a:gd name="T69" fmla="*/ 9 h 982"/>
                <a:gd name="T70" fmla="*/ 271 w 690"/>
                <a:gd name="T71" fmla="*/ 2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90" h="982">
                  <a:moveTo>
                    <a:pt x="323" y="0"/>
                  </a:moveTo>
                  <a:lnTo>
                    <a:pt x="383" y="2"/>
                  </a:lnTo>
                  <a:lnTo>
                    <a:pt x="435" y="7"/>
                  </a:lnTo>
                  <a:lnTo>
                    <a:pt x="481" y="14"/>
                  </a:lnTo>
                  <a:lnTo>
                    <a:pt x="519" y="25"/>
                  </a:lnTo>
                  <a:lnTo>
                    <a:pt x="530" y="28"/>
                  </a:lnTo>
                  <a:lnTo>
                    <a:pt x="535" y="32"/>
                  </a:lnTo>
                  <a:lnTo>
                    <a:pt x="538" y="32"/>
                  </a:lnTo>
                  <a:lnTo>
                    <a:pt x="578" y="51"/>
                  </a:lnTo>
                  <a:lnTo>
                    <a:pt x="612" y="75"/>
                  </a:lnTo>
                  <a:lnTo>
                    <a:pt x="638" y="103"/>
                  </a:lnTo>
                  <a:lnTo>
                    <a:pt x="657" y="135"/>
                  </a:lnTo>
                  <a:lnTo>
                    <a:pt x="673" y="170"/>
                  </a:lnTo>
                  <a:lnTo>
                    <a:pt x="682" y="207"/>
                  </a:lnTo>
                  <a:lnTo>
                    <a:pt x="689" y="247"/>
                  </a:lnTo>
                  <a:lnTo>
                    <a:pt x="690" y="291"/>
                  </a:lnTo>
                  <a:lnTo>
                    <a:pt x="687" y="361"/>
                  </a:lnTo>
                  <a:lnTo>
                    <a:pt x="676" y="438"/>
                  </a:lnTo>
                  <a:lnTo>
                    <a:pt x="662" y="518"/>
                  </a:lnTo>
                  <a:lnTo>
                    <a:pt x="643" y="602"/>
                  </a:lnTo>
                  <a:lnTo>
                    <a:pt x="622" y="688"/>
                  </a:lnTo>
                  <a:lnTo>
                    <a:pt x="592" y="791"/>
                  </a:lnTo>
                  <a:lnTo>
                    <a:pt x="561" y="891"/>
                  </a:lnTo>
                  <a:lnTo>
                    <a:pt x="530" y="982"/>
                  </a:lnTo>
                  <a:lnTo>
                    <a:pt x="530" y="982"/>
                  </a:lnTo>
                  <a:lnTo>
                    <a:pt x="524" y="980"/>
                  </a:lnTo>
                  <a:lnTo>
                    <a:pt x="512" y="975"/>
                  </a:lnTo>
                  <a:lnTo>
                    <a:pt x="496" y="968"/>
                  </a:lnTo>
                  <a:lnTo>
                    <a:pt x="477" y="958"/>
                  </a:lnTo>
                  <a:lnTo>
                    <a:pt x="458" y="947"/>
                  </a:lnTo>
                  <a:lnTo>
                    <a:pt x="444" y="937"/>
                  </a:lnTo>
                  <a:lnTo>
                    <a:pt x="432" y="928"/>
                  </a:lnTo>
                  <a:lnTo>
                    <a:pt x="421" y="919"/>
                  </a:lnTo>
                  <a:lnTo>
                    <a:pt x="414" y="914"/>
                  </a:lnTo>
                  <a:lnTo>
                    <a:pt x="412" y="912"/>
                  </a:lnTo>
                  <a:lnTo>
                    <a:pt x="421" y="893"/>
                  </a:lnTo>
                  <a:lnTo>
                    <a:pt x="432" y="867"/>
                  </a:lnTo>
                  <a:lnTo>
                    <a:pt x="444" y="833"/>
                  </a:lnTo>
                  <a:lnTo>
                    <a:pt x="460" y="795"/>
                  </a:lnTo>
                  <a:lnTo>
                    <a:pt x="475" y="751"/>
                  </a:lnTo>
                  <a:lnTo>
                    <a:pt x="489" y="706"/>
                  </a:lnTo>
                  <a:lnTo>
                    <a:pt x="505" y="657"/>
                  </a:lnTo>
                  <a:lnTo>
                    <a:pt x="519" y="608"/>
                  </a:lnTo>
                  <a:lnTo>
                    <a:pt x="533" y="559"/>
                  </a:lnTo>
                  <a:lnTo>
                    <a:pt x="544" y="511"/>
                  </a:lnTo>
                  <a:lnTo>
                    <a:pt x="551" y="467"/>
                  </a:lnTo>
                  <a:lnTo>
                    <a:pt x="556" y="425"/>
                  </a:lnTo>
                  <a:lnTo>
                    <a:pt x="558" y="382"/>
                  </a:lnTo>
                  <a:lnTo>
                    <a:pt x="559" y="341"/>
                  </a:lnTo>
                  <a:lnTo>
                    <a:pt x="558" y="306"/>
                  </a:lnTo>
                  <a:lnTo>
                    <a:pt x="554" y="275"/>
                  </a:lnTo>
                  <a:lnTo>
                    <a:pt x="545" y="249"/>
                  </a:lnTo>
                  <a:lnTo>
                    <a:pt x="533" y="228"/>
                  </a:lnTo>
                  <a:lnTo>
                    <a:pt x="516" y="208"/>
                  </a:lnTo>
                  <a:lnTo>
                    <a:pt x="493" y="194"/>
                  </a:lnTo>
                  <a:lnTo>
                    <a:pt x="461" y="182"/>
                  </a:lnTo>
                  <a:lnTo>
                    <a:pt x="425" y="175"/>
                  </a:lnTo>
                  <a:lnTo>
                    <a:pt x="377" y="172"/>
                  </a:lnTo>
                  <a:lnTo>
                    <a:pt x="323" y="170"/>
                  </a:lnTo>
                  <a:lnTo>
                    <a:pt x="271" y="172"/>
                  </a:lnTo>
                  <a:lnTo>
                    <a:pt x="211" y="173"/>
                  </a:lnTo>
                  <a:lnTo>
                    <a:pt x="143" y="179"/>
                  </a:lnTo>
                  <a:lnTo>
                    <a:pt x="64" y="187"/>
                  </a:lnTo>
                  <a:lnTo>
                    <a:pt x="52" y="172"/>
                  </a:lnTo>
                  <a:lnTo>
                    <a:pt x="38" y="147"/>
                  </a:lnTo>
                  <a:lnTo>
                    <a:pt x="24" y="114"/>
                  </a:lnTo>
                  <a:lnTo>
                    <a:pt x="10" y="74"/>
                  </a:lnTo>
                  <a:lnTo>
                    <a:pt x="0" y="25"/>
                  </a:lnTo>
                  <a:lnTo>
                    <a:pt x="78" y="16"/>
                  </a:lnTo>
                  <a:lnTo>
                    <a:pt x="150" y="9"/>
                  </a:lnTo>
                  <a:lnTo>
                    <a:pt x="213" y="4"/>
                  </a:lnTo>
                  <a:lnTo>
                    <a:pt x="271" y="2"/>
                  </a:lnTo>
                  <a:lnTo>
                    <a:pt x="323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9"/>
            <p:cNvSpPr>
              <a:spLocks/>
            </p:cNvSpPr>
            <p:nvPr userDrawn="1"/>
          </p:nvSpPr>
          <p:spPr bwMode="auto">
            <a:xfrm>
              <a:off x="5127626" y="5248275"/>
              <a:ext cx="290513" cy="325438"/>
            </a:xfrm>
            <a:custGeom>
              <a:avLst/>
              <a:gdLst>
                <a:gd name="T0" fmla="*/ 148 w 183"/>
                <a:gd name="T1" fmla="*/ 6 h 205"/>
                <a:gd name="T2" fmla="*/ 162 w 183"/>
                <a:gd name="T3" fmla="*/ 35 h 205"/>
                <a:gd name="T4" fmla="*/ 164 w 183"/>
                <a:gd name="T5" fmla="*/ 70 h 205"/>
                <a:gd name="T6" fmla="*/ 168 w 183"/>
                <a:gd name="T7" fmla="*/ 121 h 205"/>
                <a:gd name="T8" fmla="*/ 169 w 183"/>
                <a:gd name="T9" fmla="*/ 158 h 205"/>
                <a:gd name="T10" fmla="*/ 173 w 183"/>
                <a:gd name="T11" fmla="*/ 174 h 205"/>
                <a:gd name="T12" fmla="*/ 180 w 183"/>
                <a:gd name="T13" fmla="*/ 186 h 205"/>
                <a:gd name="T14" fmla="*/ 183 w 183"/>
                <a:gd name="T15" fmla="*/ 191 h 205"/>
                <a:gd name="T16" fmla="*/ 182 w 183"/>
                <a:gd name="T17" fmla="*/ 200 h 205"/>
                <a:gd name="T18" fmla="*/ 173 w 183"/>
                <a:gd name="T19" fmla="*/ 205 h 205"/>
                <a:gd name="T20" fmla="*/ 164 w 183"/>
                <a:gd name="T21" fmla="*/ 203 h 205"/>
                <a:gd name="T22" fmla="*/ 155 w 183"/>
                <a:gd name="T23" fmla="*/ 198 h 205"/>
                <a:gd name="T24" fmla="*/ 147 w 183"/>
                <a:gd name="T25" fmla="*/ 179 h 205"/>
                <a:gd name="T26" fmla="*/ 143 w 183"/>
                <a:gd name="T27" fmla="*/ 139 h 205"/>
                <a:gd name="T28" fmla="*/ 138 w 183"/>
                <a:gd name="T29" fmla="*/ 81 h 205"/>
                <a:gd name="T30" fmla="*/ 131 w 183"/>
                <a:gd name="T31" fmla="*/ 49 h 205"/>
                <a:gd name="T32" fmla="*/ 126 w 183"/>
                <a:gd name="T33" fmla="*/ 42 h 205"/>
                <a:gd name="T34" fmla="*/ 120 w 183"/>
                <a:gd name="T35" fmla="*/ 42 h 205"/>
                <a:gd name="T36" fmla="*/ 115 w 183"/>
                <a:gd name="T37" fmla="*/ 49 h 205"/>
                <a:gd name="T38" fmla="*/ 103 w 183"/>
                <a:gd name="T39" fmla="*/ 70 h 205"/>
                <a:gd name="T40" fmla="*/ 82 w 183"/>
                <a:gd name="T41" fmla="*/ 109 h 205"/>
                <a:gd name="T42" fmla="*/ 68 w 183"/>
                <a:gd name="T43" fmla="*/ 140 h 205"/>
                <a:gd name="T44" fmla="*/ 63 w 183"/>
                <a:gd name="T45" fmla="*/ 151 h 205"/>
                <a:gd name="T46" fmla="*/ 57 w 183"/>
                <a:gd name="T47" fmla="*/ 160 h 205"/>
                <a:gd name="T48" fmla="*/ 49 w 183"/>
                <a:gd name="T49" fmla="*/ 165 h 205"/>
                <a:gd name="T50" fmla="*/ 30 w 183"/>
                <a:gd name="T51" fmla="*/ 163 h 205"/>
                <a:gd name="T52" fmla="*/ 14 w 183"/>
                <a:gd name="T53" fmla="*/ 137 h 205"/>
                <a:gd name="T54" fmla="*/ 0 w 183"/>
                <a:gd name="T55" fmla="*/ 62 h 205"/>
                <a:gd name="T56" fmla="*/ 5 w 183"/>
                <a:gd name="T57" fmla="*/ 13 h 205"/>
                <a:gd name="T58" fmla="*/ 10 w 183"/>
                <a:gd name="T59" fmla="*/ 7 h 205"/>
                <a:gd name="T60" fmla="*/ 19 w 183"/>
                <a:gd name="T61" fmla="*/ 4 h 205"/>
                <a:gd name="T62" fmla="*/ 28 w 183"/>
                <a:gd name="T63" fmla="*/ 6 h 205"/>
                <a:gd name="T64" fmla="*/ 35 w 183"/>
                <a:gd name="T65" fmla="*/ 13 h 205"/>
                <a:gd name="T66" fmla="*/ 35 w 183"/>
                <a:gd name="T67" fmla="*/ 25 h 205"/>
                <a:gd name="T68" fmla="*/ 33 w 183"/>
                <a:gd name="T69" fmla="*/ 56 h 205"/>
                <a:gd name="T70" fmla="*/ 38 w 183"/>
                <a:gd name="T71" fmla="*/ 104 h 205"/>
                <a:gd name="T72" fmla="*/ 59 w 183"/>
                <a:gd name="T73" fmla="*/ 95 h 205"/>
                <a:gd name="T74" fmla="*/ 85 w 183"/>
                <a:gd name="T75" fmla="*/ 42 h 205"/>
                <a:gd name="T76" fmla="*/ 103 w 183"/>
                <a:gd name="T77" fmla="*/ 16 h 205"/>
                <a:gd name="T78" fmla="*/ 124 w 183"/>
                <a:gd name="T79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3" h="205">
                  <a:moveTo>
                    <a:pt x="134" y="0"/>
                  </a:moveTo>
                  <a:lnTo>
                    <a:pt x="148" y="6"/>
                  </a:lnTo>
                  <a:lnTo>
                    <a:pt x="157" y="18"/>
                  </a:lnTo>
                  <a:lnTo>
                    <a:pt x="162" y="35"/>
                  </a:lnTo>
                  <a:lnTo>
                    <a:pt x="162" y="48"/>
                  </a:lnTo>
                  <a:lnTo>
                    <a:pt x="164" y="70"/>
                  </a:lnTo>
                  <a:lnTo>
                    <a:pt x="166" y="95"/>
                  </a:lnTo>
                  <a:lnTo>
                    <a:pt x="168" y="121"/>
                  </a:lnTo>
                  <a:lnTo>
                    <a:pt x="169" y="144"/>
                  </a:lnTo>
                  <a:lnTo>
                    <a:pt x="169" y="158"/>
                  </a:lnTo>
                  <a:lnTo>
                    <a:pt x="171" y="167"/>
                  </a:lnTo>
                  <a:lnTo>
                    <a:pt x="173" y="174"/>
                  </a:lnTo>
                  <a:lnTo>
                    <a:pt x="176" y="181"/>
                  </a:lnTo>
                  <a:lnTo>
                    <a:pt x="180" y="186"/>
                  </a:lnTo>
                  <a:lnTo>
                    <a:pt x="182" y="188"/>
                  </a:lnTo>
                  <a:lnTo>
                    <a:pt x="183" y="191"/>
                  </a:lnTo>
                  <a:lnTo>
                    <a:pt x="183" y="196"/>
                  </a:lnTo>
                  <a:lnTo>
                    <a:pt x="182" y="200"/>
                  </a:lnTo>
                  <a:lnTo>
                    <a:pt x="178" y="203"/>
                  </a:lnTo>
                  <a:lnTo>
                    <a:pt x="173" y="205"/>
                  </a:lnTo>
                  <a:lnTo>
                    <a:pt x="169" y="205"/>
                  </a:lnTo>
                  <a:lnTo>
                    <a:pt x="164" y="203"/>
                  </a:lnTo>
                  <a:lnTo>
                    <a:pt x="159" y="202"/>
                  </a:lnTo>
                  <a:lnTo>
                    <a:pt x="155" y="198"/>
                  </a:lnTo>
                  <a:lnTo>
                    <a:pt x="152" y="195"/>
                  </a:lnTo>
                  <a:lnTo>
                    <a:pt x="147" y="179"/>
                  </a:lnTo>
                  <a:lnTo>
                    <a:pt x="143" y="161"/>
                  </a:lnTo>
                  <a:lnTo>
                    <a:pt x="143" y="139"/>
                  </a:lnTo>
                  <a:lnTo>
                    <a:pt x="141" y="111"/>
                  </a:lnTo>
                  <a:lnTo>
                    <a:pt x="138" y="81"/>
                  </a:lnTo>
                  <a:lnTo>
                    <a:pt x="133" y="55"/>
                  </a:lnTo>
                  <a:lnTo>
                    <a:pt x="131" y="49"/>
                  </a:lnTo>
                  <a:lnTo>
                    <a:pt x="129" y="46"/>
                  </a:lnTo>
                  <a:lnTo>
                    <a:pt x="126" y="42"/>
                  </a:lnTo>
                  <a:lnTo>
                    <a:pt x="124" y="42"/>
                  </a:lnTo>
                  <a:lnTo>
                    <a:pt x="120" y="42"/>
                  </a:lnTo>
                  <a:lnTo>
                    <a:pt x="119" y="46"/>
                  </a:lnTo>
                  <a:lnTo>
                    <a:pt x="115" y="49"/>
                  </a:lnTo>
                  <a:lnTo>
                    <a:pt x="112" y="55"/>
                  </a:lnTo>
                  <a:lnTo>
                    <a:pt x="103" y="70"/>
                  </a:lnTo>
                  <a:lnTo>
                    <a:pt x="92" y="88"/>
                  </a:lnTo>
                  <a:lnTo>
                    <a:pt x="82" y="109"/>
                  </a:lnTo>
                  <a:lnTo>
                    <a:pt x="75" y="126"/>
                  </a:lnTo>
                  <a:lnTo>
                    <a:pt x="68" y="140"/>
                  </a:lnTo>
                  <a:lnTo>
                    <a:pt x="66" y="146"/>
                  </a:lnTo>
                  <a:lnTo>
                    <a:pt x="63" y="151"/>
                  </a:lnTo>
                  <a:lnTo>
                    <a:pt x="61" y="156"/>
                  </a:lnTo>
                  <a:lnTo>
                    <a:pt x="57" y="160"/>
                  </a:lnTo>
                  <a:lnTo>
                    <a:pt x="52" y="163"/>
                  </a:lnTo>
                  <a:lnTo>
                    <a:pt x="49" y="165"/>
                  </a:lnTo>
                  <a:lnTo>
                    <a:pt x="42" y="167"/>
                  </a:lnTo>
                  <a:lnTo>
                    <a:pt x="30" y="163"/>
                  </a:lnTo>
                  <a:lnTo>
                    <a:pt x="21" y="153"/>
                  </a:lnTo>
                  <a:lnTo>
                    <a:pt x="14" y="137"/>
                  </a:lnTo>
                  <a:lnTo>
                    <a:pt x="5" y="100"/>
                  </a:lnTo>
                  <a:lnTo>
                    <a:pt x="0" y="62"/>
                  </a:lnTo>
                  <a:lnTo>
                    <a:pt x="3" y="20"/>
                  </a:lnTo>
                  <a:lnTo>
                    <a:pt x="5" y="13"/>
                  </a:lnTo>
                  <a:lnTo>
                    <a:pt x="7" y="9"/>
                  </a:lnTo>
                  <a:lnTo>
                    <a:pt x="10" y="7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23" y="4"/>
                  </a:lnTo>
                  <a:lnTo>
                    <a:pt x="28" y="6"/>
                  </a:lnTo>
                  <a:lnTo>
                    <a:pt x="33" y="9"/>
                  </a:lnTo>
                  <a:lnTo>
                    <a:pt x="35" y="13"/>
                  </a:lnTo>
                  <a:lnTo>
                    <a:pt x="36" y="18"/>
                  </a:lnTo>
                  <a:lnTo>
                    <a:pt x="35" y="25"/>
                  </a:lnTo>
                  <a:lnTo>
                    <a:pt x="35" y="37"/>
                  </a:lnTo>
                  <a:lnTo>
                    <a:pt x="33" y="56"/>
                  </a:lnTo>
                  <a:lnTo>
                    <a:pt x="35" y="79"/>
                  </a:lnTo>
                  <a:lnTo>
                    <a:pt x="38" y="104"/>
                  </a:lnTo>
                  <a:lnTo>
                    <a:pt x="43" y="126"/>
                  </a:lnTo>
                  <a:lnTo>
                    <a:pt x="59" y="95"/>
                  </a:lnTo>
                  <a:lnTo>
                    <a:pt x="73" y="65"/>
                  </a:lnTo>
                  <a:lnTo>
                    <a:pt x="85" y="42"/>
                  </a:lnTo>
                  <a:lnTo>
                    <a:pt x="96" y="27"/>
                  </a:lnTo>
                  <a:lnTo>
                    <a:pt x="103" y="16"/>
                  </a:lnTo>
                  <a:lnTo>
                    <a:pt x="113" y="6"/>
                  </a:lnTo>
                  <a:lnTo>
                    <a:pt x="124" y="0"/>
                  </a:lnTo>
                  <a:lnTo>
                    <a:pt x="13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0"/>
            <p:cNvSpPr>
              <a:spLocks/>
            </p:cNvSpPr>
            <p:nvPr userDrawn="1"/>
          </p:nvSpPr>
          <p:spPr bwMode="auto">
            <a:xfrm>
              <a:off x="5440363" y="5235575"/>
              <a:ext cx="244475" cy="307975"/>
            </a:xfrm>
            <a:custGeom>
              <a:avLst/>
              <a:gdLst>
                <a:gd name="T0" fmla="*/ 77 w 154"/>
                <a:gd name="T1" fmla="*/ 0 h 194"/>
                <a:gd name="T2" fmla="*/ 90 w 154"/>
                <a:gd name="T3" fmla="*/ 0 h 194"/>
                <a:gd name="T4" fmla="*/ 95 w 154"/>
                <a:gd name="T5" fmla="*/ 1 h 194"/>
                <a:gd name="T6" fmla="*/ 97 w 154"/>
                <a:gd name="T7" fmla="*/ 3 h 194"/>
                <a:gd name="T8" fmla="*/ 98 w 154"/>
                <a:gd name="T9" fmla="*/ 7 h 194"/>
                <a:gd name="T10" fmla="*/ 98 w 154"/>
                <a:gd name="T11" fmla="*/ 10 h 194"/>
                <a:gd name="T12" fmla="*/ 97 w 154"/>
                <a:gd name="T13" fmla="*/ 15 h 194"/>
                <a:gd name="T14" fmla="*/ 93 w 154"/>
                <a:gd name="T15" fmla="*/ 19 h 194"/>
                <a:gd name="T16" fmla="*/ 90 w 154"/>
                <a:gd name="T17" fmla="*/ 22 h 194"/>
                <a:gd name="T18" fmla="*/ 84 w 154"/>
                <a:gd name="T19" fmla="*/ 24 h 194"/>
                <a:gd name="T20" fmla="*/ 72 w 154"/>
                <a:gd name="T21" fmla="*/ 31 h 194"/>
                <a:gd name="T22" fmla="*/ 60 w 154"/>
                <a:gd name="T23" fmla="*/ 43 h 194"/>
                <a:gd name="T24" fmla="*/ 49 w 154"/>
                <a:gd name="T25" fmla="*/ 63 h 194"/>
                <a:gd name="T26" fmla="*/ 39 w 154"/>
                <a:gd name="T27" fmla="*/ 91 h 194"/>
                <a:gd name="T28" fmla="*/ 34 w 154"/>
                <a:gd name="T29" fmla="*/ 112 h 194"/>
                <a:gd name="T30" fmla="*/ 34 w 154"/>
                <a:gd name="T31" fmla="*/ 131 h 194"/>
                <a:gd name="T32" fmla="*/ 37 w 154"/>
                <a:gd name="T33" fmla="*/ 147 h 194"/>
                <a:gd name="T34" fmla="*/ 42 w 154"/>
                <a:gd name="T35" fmla="*/ 161 h 194"/>
                <a:gd name="T36" fmla="*/ 53 w 154"/>
                <a:gd name="T37" fmla="*/ 168 h 194"/>
                <a:gd name="T38" fmla="*/ 67 w 154"/>
                <a:gd name="T39" fmla="*/ 169 h 194"/>
                <a:gd name="T40" fmla="*/ 81 w 154"/>
                <a:gd name="T41" fmla="*/ 166 h 194"/>
                <a:gd name="T42" fmla="*/ 97 w 154"/>
                <a:gd name="T43" fmla="*/ 157 h 194"/>
                <a:gd name="T44" fmla="*/ 109 w 154"/>
                <a:gd name="T45" fmla="*/ 140 h 194"/>
                <a:gd name="T46" fmla="*/ 119 w 154"/>
                <a:gd name="T47" fmla="*/ 117 h 194"/>
                <a:gd name="T48" fmla="*/ 126 w 154"/>
                <a:gd name="T49" fmla="*/ 94 h 194"/>
                <a:gd name="T50" fmla="*/ 125 w 154"/>
                <a:gd name="T51" fmla="*/ 75 h 194"/>
                <a:gd name="T52" fmla="*/ 121 w 154"/>
                <a:gd name="T53" fmla="*/ 59 h 194"/>
                <a:gd name="T54" fmla="*/ 112 w 154"/>
                <a:gd name="T55" fmla="*/ 49 h 194"/>
                <a:gd name="T56" fmla="*/ 104 w 154"/>
                <a:gd name="T57" fmla="*/ 43 h 194"/>
                <a:gd name="T58" fmla="*/ 98 w 154"/>
                <a:gd name="T59" fmla="*/ 42 h 194"/>
                <a:gd name="T60" fmla="*/ 95 w 154"/>
                <a:gd name="T61" fmla="*/ 38 h 194"/>
                <a:gd name="T62" fmla="*/ 93 w 154"/>
                <a:gd name="T63" fmla="*/ 35 h 194"/>
                <a:gd name="T64" fmla="*/ 93 w 154"/>
                <a:gd name="T65" fmla="*/ 31 h 194"/>
                <a:gd name="T66" fmla="*/ 93 w 154"/>
                <a:gd name="T67" fmla="*/ 29 h 194"/>
                <a:gd name="T68" fmla="*/ 95 w 154"/>
                <a:gd name="T69" fmla="*/ 26 h 194"/>
                <a:gd name="T70" fmla="*/ 97 w 154"/>
                <a:gd name="T71" fmla="*/ 24 h 194"/>
                <a:gd name="T72" fmla="*/ 100 w 154"/>
                <a:gd name="T73" fmla="*/ 22 h 194"/>
                <a:gd name="T74" fmla="*/ 104 w 154"/>
                <a:gd name="T75" fmla="*/ 21 h 194"/>
                <a:gd name="T76" fmla="*/ 109 w 154"/>
                <a:gd name="T77" fmla="*/ 22 h 194"/>
                <a:gd name="T78" fmla="*/ 128 w 154"/>
                <a:gd name="T79" fmla="*/ 31 h 194"/>
                <a:gd name="T80" fmla="*/ 144 w 154"/>
                <a:gd name="T81" fmla="*/ 47 h 194"/>
                <a:gd name="T82" fmla="*/ 152 w 154"/>
                <a:gd name="T83" fmla="*/ 70 h 194"/>
                <a:gd name="T84" fmla="*/ 154 w 154"/>
                <a:gd name="T85" fmla="*/ 98 h 194"/>
                <a:gd name="T86" fmla="*/ 147 w 154"/>
                <a:gd name="T87" fmla="*/ 129 h 194"/>
                <a:gd name="T88" fmla="*/ 133 w 154"/>
                <a:gd name="T89" fmla="*/ 154 h 194"/>
                <a:gd name="T90" fmla="*/ 116 w 154"/>
                <a:gd name="T91" fmla="*/ 175 h 194"/>
                <a:gd name="T92" fmla="*/ 95 w 154"/>
                <a:gd name="T93" fmla="*/ 189 h 194"/>
                <a:gd name="T94" fmla="*/ 69 w 154"/>
                <a:gd name="T95" fmla="*/ 194 h 194"/>
                <a:gd name="T96" fmla="*/ 41 w 154"/>
                <a:gd name="T97" fmla="*/ 190 h 194"/>
                <a:gd name="T98" fmla="*/ 23 w 154"/>
                <a:gd name="T99" fmla="*/ 180 h 194"/>
                <a:gd name="T100" fmla="*/ 11 w 154"/>
                <a:gd name="T101" fmla="*/ 164 h 194"/>
                <a:gd name="T102" fmla="*/ 2 w 154"/>
                <a:gd name="T103" fmla="*/ 145 h 194"/>
                <a:gd name="T104" fmla="*/ 0 w 154"/>
                <a:gd name="T105" fmla="*/ 124 h 194"/>
                <a:gd name="T106" fmla="*/ 2 w 154"/>
                <a:gd name="T107" fmla="*/ 101 h 194"/>
                <a:gd name="T108" fmla="*/ 7 w 154"/>
                <a:gd name="T109" fmla="*/ 77 h 194"/>
                <a:gd name="T110" fmla="*/ 20 w 154"/>
                <a:gd name="T111" fmla="*/ 50 h 194"/>
                <a:gd name="T112" fmla="*/ 32 w 154"/>
                <a:gd name="T113" fmla="*/ 31 h 194"/>
                <a:gd name="T114" fmla="*/ 46 w 154"/>
                <a:gd name="T115" fmla="*/ 15 h 194"/>
                <a:gd name="T116" fmla="*/ 62 w 154"/>
                <a:gd name="T117" fmla="*/ 5 h 194"/>
                <a:gd name="T118" fmla="*/ 77 w 154"/>
                <a:gd name="T119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4" h="194">
                  <a:moveTo>
                    <a:pt x="77" y="0"/>
                  </a:moveTo>
                  <a:lnTo>
                    <a:pt x="90" y="0"/>
                  </a:lnTo>
                  <a:lnTo>
                    <a:pt x="95" y="1"/>
                  </a:lnTo>
                  <a:lnTo>
                    <a:pt x="97" y="3"/>
                  </a:lnTo>
                  <a:lnTo>
                    <a:pt x="98" y="7"/>
                  </a:lnTo>
                  <a:lnTo>
                    <a:pt x="98" y="10"/>
                  </a:lnTo>
                  <a:lnTo>
                    <a:pt x="97" y="15"/>
                  </a:lnTo>
                  <a:lnTo>
                    <a:pt x="93" y="19"/>
                  </a:lnTo>
                  <a:lnTo>
                    <a:pt x="90" y="22"/>
                  </a:lnTo>
                  <a:lnTo>
                    <a:pt x="84" y="24"/>
                  </a:lnTo>
                  <a:lnTo>
                    <a:pt x="72" y="31"/>
                  </a:lnTo>
                  <a:lnTo>
                    <a:pt x="60" y="43"/>
                  </a:lnTo>
                  <a:lnTo>
                    <a:pt x="49" y="63"/>
                  </a:lnTo>
                  <a:lnTo>
                    <a:pt x="39" y="91"/>
                  </a:lnTo>
                  <a:lnTo>
                    <a:pt x="34" y="112"/>
                  </a:lnTo>
                  <a:lnTo>
                    <a:pt x="34" y="131"/>
                  </a:lnTo>
                  <a:lnTo>
                    <a:pt x="37" y="147"/>
                  </a:lnTo>
                  <a:lnTo>
                    <a:pt x="42" y="161"/>
                  </a:lnTo>
                  <a:lnTo>
                    <a:pt x="53" y="168"/>
                  </a:lnTo>
                  <a:lnTo>
                    <a:pt x="67" y="169"/>
                  </a:lnTo>
                  <a:lnTo>
                    <a:pt x="81" y="166"/>
                  </a:lnTo>
                  <a:lnTo>
                    <a:pt x="97" y="157"/>
                  </a:lnTo>
                  <a:lnTo>
                    <a:pt x="109" y="140"/>
                  </a:lnTo>
                  <a:lnTo>
                    <a:pt x="119" y="117"/>
                  </a:lnTo>
                  <a:lnTo>
                    <a:pt x="126" y="94"/>
                  </a:lnTo>
                  <a:lnTo>
                    <a:pt x="125" y="75"/>
                  </a:lnTo>
                  <a:lnTo>
                    <a:pt x="121" y="59"/>
                  </a:lnTo>
                  <a:lnTo>
                    <a:pt x="112" y="49"/>
                  </a:lnTo>
                  <a:lnTo>
                    <a:pt x="104" y="43"/>
                  </a:lnTo>
                  <a:lnTo>
                    <a:pt x="98" y="42"/>
                  </a:lnTo>
                  <a:lnTo>
                    <a:pt x="95" y="38"/>
                  </a:lnTo>
                  <a:lnTo>
                    <a:pt x="93" y="35"/>
                  </a:lnTo>
                  <a:lnTo>
                    <a:pt x="93" y="31"/>
                  </a:lnTo>
                  <a:lnTo>
                    <a:pt x="93" y="29"/>
                  </a:lnTo>
                  <a:lnTo>
                    <a:pt x="95" y="26"/>
                  </a:lnTo>
                  <a:lnTo>
                    <a:pt x="97" y="24"/>
                  </a:lnTo>
                  <a:lnTo>
                    <a:pt x="100" y="22"/>
                  </a:lnTo>
                  <a:lnTo>
                    <a:pt x="104" y="21"/>
                  </a:lnTo>
                  <a:lnTo>
                    <a:pt x="109" y="22"/>
                  </a:lnTo>
                  <a:lnTo>
                    <a:pt x="128" y="31"/>
                  </a:lnTo>
                  <a:lnTo>
                    <a:pt x="144" y="47"/>
                  </a:lnTo>
                  <a:lnTo>
                    <a:pt x="152" y="70"/>
                  </a:lnTo>
                  <a:lnTo>
                    <a:pt x="154" y="98"/>
                  </a:lnTo>
                  <a:lnTo>
                    <a:pt x="147" y="129"/>
                  </a:lnTo>
                  <a:lnTo>
                    <a:pt x="133" y="154"/>
                  </a:lnTo>
                  <a:lnTo>
                    <a:pt x="116" y="175"/>
                  </a:lnTo>
                  <a:lnTo>
                    <a:pt x="95" y="189"/>
                  </a:lnTo>
                  <a:lnTo>
                    <a:pt x="69" y="194"/>
                  </a:lnTo>
                  <a:lnTo>
                    <a:pt x="41" y="190"/>
                  </a:lnTo>
                  <a:lnTo>
                    <a:pt x="23" y="180"/>
                  </a:lnTo>
                  <a:lnTo>
                    <a:pt x="11" y="164"/>
                  </a:lnTo>
                  <a:lnTo>
                    <a:pt x="2" y="145"/>
                  </a:lnTo>
                  <a:lnTo>
                    <a:pt x="0" y="124"/>
                  </a:lnTo>
                  <a:lnTo>
                    <a:pt x="2" y="101"/>
                  </a:lnTo>
                  <a:lnTo>
                    <a:pt x="7" y="77"/>
                  </a:lnTo>
                  <a:lnTo>
                    <a:pt x="20" y="50"/>
                  </a:lnTo>
                  <a:lnTo>
                    <a:pt x="32" y="31"/>
                  </a:lnTo>
                  <a:lnTo>
                    <a:pt x="46" y="15"/>
                  </a:lnTo>
                  <a:lnTo>
                    <a:pt x="62" y="5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1"/>
            <p:cNvSpPr>
              <a:spLocks/>
            </p:cNvSpPr>
            <p:nvPr userDrawn="1"/>
          </p:nvSpPr>
          <p:spPr bwMode="auto">
            <a:xfrm>
              <a:off x="5703888" y="5240338"/>
              <a:ext cx="277813" cy="292100"/>
            </a:xfrm>
            <a:custGeom>
              <a:avLst/>
              <a:gdLst>
                <a:gd name="T0" fmla="*/ 21 w 175"/>
                <a:gd name="T1" fmla="*/ 0 h 184"/>
                <a:gd name="T2" fmla="*/ 30 w 175"/>
                <a:gd name="T3" fmla="*/ 5 h 184"/>
                <a:gd name="T4" fmla="*/ 35 w 175"/>
                <a:gd name="T5" fmla="*/ 16 h 184"/>
                <a:gd name="T6" fmla="*/ 39 w 175"/>
                <a:gd name="T7" fmla="*/ 44 h 184"/>
                <a:gd name="T8" fmla="*/ 51 w 175"/>
                <a:gd name="T9" fmla="*/ 86 h 184"/>
                <a:gd name="T10" fmla="*/ 63 w 175"/>
                <a:gd name="T11" fmla="*/ 116 h 184"/>
                <a:gd name="T12" fmla="*/ 69 w 175"/>
                <a:gd name="T13" fmla="*/ 126 h 184"/>
                <a:gd name="T14" fmla="*/ 74 w 175"/>
                <a:gd name="T15" fmla="*/ 130 h 184"/>
                <a:gd name="T16" fmla="*/ 79 w 175"/>
                <a:gd name="T17" fmla="*/ 128 h 184"/>
                <a:gd name="T18" fmla="*/ 88 w 175"/>
                <a:gd name="T19" fmla="*/ 117 h 184"/>
                <a:gd name="T20" fmla="*/ 105 w 175"/>
                <a:gd name="T21" fmla="*/ 91 h 184"/>
                <a:gd name="T22" fmla="*/ 126 w 175"/>
                <a:gd name="T23" fmla="*/ 49 h 184"/>
                <a:gd name="T24" fmla="*/ 137 w 175"/>
                <a:gd name="T25" fmla="*/ 21 h 184"/>
                <a:gd name="T26" fmla="*/ 140 w 175"/>
                <a:gd name="T27" fmla="*/ 11 h 184"/>
                <a:gd name="T28" fmla="*/ 147 w 175"/>
                <a:gd name="T29" fmla="*/ 4 h 184"/>
                <a:gd name="T30" fmla="*/ 156 w 175"/>
                <a:gd name="T31" fmla="*/ 2 h 184"/>
                <a:gd name="T32" fmla="*/ 165 w 175"/>
                <a:gd name="T33" fmla="*/ 5 h 184"/>
                <a:gd name="T34" fmla="*/ 168 w 175"/>
                <a:gd name="T35" fmla="*/ 16 h 184"/>
                <a:gd name="T36" fmla="*/ 168 w 175"/>
                <a:gd name="T37" fmla="*/ 28 h 184"/>
                <a:gd name="T38" fmla="*/ 167 w 175"/>
                <a:gd name="T39" fmla="*/ 72 h 184"/>
                <a:gd name="T40" fmla="*/ 168 w 175"/>
                <a:gd name="T41" fmla="*/ 116 h 184"/>
                <a:gd name="T42" fmla="*/ 175 w 175"/>
                <a:gd name="T43" fmla="*/ 168 h 184"/>
                <a:gd name="T44" fmla="*/ 175 w 175"/>
                <a:gd name="T45" fmla="*/ 179 h 184"/>
                <a:gd name="T46" fmla="*/ 170 w 175"/>
                <a:gd name="T47" fmla="*/ 184 h 184"/>
                <a:gd name="T48" fmla="*/ 163 w 175"/>
                <a:gd name="T49" fmla="*/ 184 h 184"/>
                <a:gd name="T50" fmla="*/ 158 w 175"/>
                <a:gd name="T51" fmla="*/ 182 h 184"/>
                <a:gd name="T52" fmla="*/ 151 w 175"/>
                <a:gd name="T53" fmla="*/ 177 h 184"/>
                <a:gd name="T54" fmla="*/ 147 w 175"/>
                <a:gd name="T55" fmla="*/ 166 h 184"/>
                <a:gd name="T56" fmla="*/ 140 w 175"/>
                <a:gd name="T57" fmla="*/ 110 h 184"/>
                <a:gd name="T58" fmla="*/ 130 w 175"/>
                <a:gd name="T59" fmla="*/ 96 h 184"/>
                <a:gd name="T60" fmla="*/ 112 w 175"/>
                <a:gd name="T61" fmla="*/ 135 h 184"/>
                <a:gd name="T62" fmla="*/ 90 w 175"/>
                <a:gd name="T63" fmla="*/ 159 h 184"/>
                <a:gd name="T64" fmla="*/ 60 w 175"/>
                <a:gd name="T65" fmla="*/ 154 h 184"/>
                <a:gd name="T66" fmla="*/ 34 w 175"/>
                <a:gd name="T67" fmla="*/ 123 h 184"/>
                <a:gd name="T68" fmla="*/ 14 w 175"/>
                <a:gd name="T69" fmla="*/ 75 h 184"/>
                <a:gd name="T70" fmla="*/ 2 w 175"/>
                <a:gd name="T71" fmla="*/ 30 h 184"/>
                <a:gd name="T72" fmla="*/ 0 w 175"/>
                <a:gd name="T73" fmla="*/ 11 h 184"/>
                <a:gd name="T74" fmla="*/ 14 w 175"/>
                <a:gd name="T7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5" h="184">
                  <a:moveTo>
                    <a:pt x="18" y="0"/>
                  </a:moveTo>
                  <a:lnTo>
                    <a:pt x="21" y="0"/>
                  </a:lnTo>
                  <a:lnTo>
                    <a:pt x="27" y="2"/>
                  </a:lnTo>
                  <a:lnTo>
                    <a:pt x="30" y="5"/>
                  </a:lnTo>
                  <a:lnTo>
                    <a:pt x="32" y="9"/>
                  </a:lnTo>
                  <a:lnTo>
                    <a:pt x="35" y="16"/>
                  </a:lnTo>
                  <a:lnTo>
                    <a:pt x="35" y="23"/>
                  </a:lnTo>
                  <a:lnTo>
                    <a:pt x="39" y="44"/>
                  </a:lnTo>
                  <a:lnTo>
                    <a:pt x="44" y="65"/>
                  </a:lnTo>
                  <a:lnTo>
                    <a:pt x="51" y="86"/>
                  </a:lnTo>
                  <a:lnTo>
                    <a:pt x="58" y="103"/>
                  </a:lnTo>
                  <a:lnTo>
                    <a:pt x="63" y="116"/>
                  </a:lnTo>
                  <a:lnTo>
                    <a:pt x="65" y="121"/>
                  </a:lnTo>
                  <a:lnTo>
                    <a:pt x="69" y="126"/>
                  </a:lnTo>
                  <a:lnTo>
                    <a:pt x="70" y="130"/>
                  </a:lnTo>
                  <a:lnTo>
                    <a:pt x="74" y="130"/>
                  </a:lnTo>
                  <a:lnTo>
                    <a:pt x="76" y="130"/>
                  </a:lnTo>
                  <a:lnTo>
                    <a:pt x="79" y="128"/>
                  </a:lnTo>
                  <a:lnTo>
                    <a:pt x="83" y="124"/>
                  </a:lnTo>
                  <a:lnTo>
                    <a:pt x="88" y="117"/>
                  </a:lnTo>
                  <a:lnTo>
                    <a:pt x="95" y="107"/>
                  </a:lnTo>
                  <a:lnTo>
                    <a:pt x="105" y="91"/>
                  </a:lnTo>
                  <a:lnTo>
                    <a:pt x="116" y="72"/>
                  </a:lnTo>
                  <a:lnTo>
                    <a:pt x="126" y="49"/>
                  </a:lnTo>
                  <a:lnTo>
                    <a:pt x="135" y="26"/>
                  </a:lnTo>
                  <a:lnTo>
                    <a:pt x="137" y="21"/>
                  </a:lnTo>
                  <a:lnTo>
                    <a:pt x="139" y="16"/>
                  </a:lnTo>
                  <a:lnTo>
                    <a:pt x="140" y="11"/>
                  </a:lnTo>
                  <a:lnTo>
                    <a:pt x="142" y="7"/>
                  </a:lnTo>
                  <a:lnTo>
                    <a:pt x="147" y="4"/>
                  </a:lnTo>
                  <a:lnTo>
                    <a:pt x="151" y="2"/>
                  </a:lnTo>
                  <a:lnTo>
                    <a:pt x="156" y="2"/>
                  </a:lnTo>
                  <a:lnTo>
                    <a:pt x="161" y="2"/>
                  </a:lnTo>
                  <a:lnTo>
                    <a:pt x="165" y="5"/>
                  </a:lnTo>
                  <a:lnTo>
                    <a:pt x="167" y="11"/>
                  </a:lnTo>
                  <a:lnTo>
                    <a:pt x="168" y="16"/>
                  </a:lnTo>
                  <a:lnTo>
                    <a:pt x="168" y="21"/>
                  </a:lnTo>
                  <a:lnTo>
                    <a:pt x="168" y="28"/>
                  </a:lnTo>
                  <a:lnTo>
                    <a:pt x="168" y="51"/>
                  </a:lnTo>
                  <a:lnTo>
                    <a:pt x="167" y="72"/>
                  </a:lnTo>
                  <a:lnTo>
                    <a:pt x="167" y="89"/>
                  </a:lnTo>
                  <a:lnTo>
                    <a:pt x="168" y="116"/>
                  </a:lnTo>
                  <a:lnTo>
                    <a:pt x="172" y="145"/>
                  </a:lnTo>
                  <a:lnTo>
                    <a:pt x="175" y="168"/>
                  </a:lnTo>
                  <a:lnTo>
                    <a:pt x="175" y="173"/>
                  </a:lnTo>
                  <a:lnTo>
                    <a:pt x="175" y="179"/>
                  </a:lnTo>
                  <a:lnTo>
                    <a:pt x="174" y="182"/>
                  </a:lnTo>
                  <a:lnTo>
                    <a:pt x="170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60" y="184"/>
                  </a:lnTo>
                  <a:lnTo>
                    <a:pt x="158" y="182"/>
                  </a:lnTo>
                  <a:lnTo>
                    <a:pt x="153" y="180"/>
                  </a:lnTo>
                  <a:lnTo>
                    <a:pt x="151" y="177"/>
                  </a:lnTo>
                  <a:lnTo>
                    <a:pt x="149" y="172"/>
                  </a:lnTo>
                  <a:lnTo>
                    <a:pt x="147" y="166"/>
                  </a:lnTo>
                  <a:lnTo>
                    <a:pt x="144" y="142"/>
                  </a:lnTo>
                  <a:lnTo>
                    <a:pt x="140" y="110"/>
                  </a:lnTo>
                  <a:lnTo>
                    <a:pt x="139" y="79"/>
                  </a:lnTo>
                  <a:lnTo>
                    <a:pt x="130" y="96"/>
                  </a:lnTo>
                  <a:lnTo>
                    <a:pt x="121" y="116"/>
                  </a:lnTo>
                  <a:lnTo>
                    <a:pt x="112" y="135"/>
                  </a:lnTo>
                  <a:lnTo>
                    <a:pt x="100" y="149"/>
                  </a:lnTo>
                  <a:lnTo>
                    <a:pt x="90" y="159"/>
                  </a:lnTo>
                  <a:lnTo>
                    <a:pt x="76" y="161"/>
                  </a:lnTo>
                  <a:lnTo>
                    <a:pt x="60" y="154"/>
                  </a:lnTo>
                  <a:lnTo>
                    <a:pt x="46" y="140"/>
                  </a:lnTo>
                  <a:lnTo>
                    <a:pt x="34" y="123"/>
                  </a:lnTo>
                  <a:lnTo>
                    <a:pt x="23" y="100"/>
                  </a:lnTo>
                  <a:lnTo>
                    <a:pt x="14" y="75"/>
                  </a:lnTo>
                  <a:lnTo>
                    <a:pt x="7" y="51"/>
                  </a:lnTo>
                  <a:lnTo>
                    <a:pt x="2" y="30"/>
                  </a:lnTo>
                  <a:lnTo>
                    <a:pt x="0" y="19"/>
                  </a:lnTo>
                  <a:lnTo>
                    <a:pt x="0" y="11"/>
                  </a:lnTo>
                  <a:lnTo>
                    <a:pt x="4" y="4"/>
                  </a:lnTo>
                  <a:lnTo>
                    <a:pt x="14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2"/>
            <p:cNvSpPr>
              <a:spLocks/>
            </p:cNvSpPr>
            <p:nvPr userDrawn="1"/>
          </p:nvSpPr>
          <p:spPr bwMode="auto">
            <a:xfrm>
              <a:off x="6043613" y="5221288"/>
              <a:ext cx="227013" cy="296863"/>
            </a:xfrm>
            <a:custGeom>
              <a:avLst/>
              <a:gdLst>
                <a:gd name="T0" fmla="*/ 136 w 143"/>
                <a:gd name="T1" fmla="*/ 5 h 187"/>
                <a:gd name="T2" fmla="*/ 143 w 143"/>
                <a:gd name="T3" fmla="*/ 28 h 187"/>
                <a:gd name="T4" fmla="*/ 134 w 143"/>
                <a:gd name="T5" fmla="*/ 51 h 187"/>
                <a:gd name="T6" fmla="*/ 127 w 143"/>
                <a:gd name="T7" fmla="*/ 61 h 187"/>
                <a:gd name="T8" fmla="*/ 119 w 143"/>
                <a:gd name="T9" fmla="*/ 63 h 187"/>
                <a:gd name="T10" fmla="*/ 112 w 143"/>
                <a:gd name="T11" fmla="*/ 61 h 187"/>
                <a:gd name="T12" fmla="*/ 110 w 143"/>
                <a:gd name="T13" fmla="*/ 58 h 187"/>
                <a:gd name="T14" fmla="*/ 112 w 143"/>
                <a:gd name="T15" fmla="*/ 51 h 187"/>
                <a:gd name="T16" fmla="*/ 112 w 143"/>
                <a:gd name="T17" fmla="*/ 44 h 187"/>
                <a:gd name="T18" fmla="*/ 108 w 143"/>
                <a:gd name="T19" fmla="*/ 40 h 187"/>
                <a:gd name="T20" fmla="*/ 94 w 143"/>
                <a:gd name="T21" fmla="*/ 44 h 187"/>
                <a:gd name="T22" fmla="*/ 71 w 143"/>
                <a:gd name="T23" fmla="*/ 87 h 187"/>
                <a:gd name="T24" fmla="*/ 56 w 143"/>
                <a:gd name="T25" fmla="*/ 149 h 187"/>
                <a:gd name="T26" fmla="*/ 52 w 143"/>
                <a:gd name="T27" fmla="*/ 178 h 187"/>
                <a:gd name="T28" fmla="*/ 49 w 143"/>
                <a:gd name="T29" fmla="*/ 185 h 187"/>
                <a:gd name="T30" fmla="*/ 42 w 143"/>
                <a:gd name="T31" fmla="*/ 187 h 187"/>
                <a:gd name="T32" fmla="*/ 31 w 143"/>
                <a:gd name="T33" fmla="*/ 187 h 187"/>
                <a:gd name="T34" fmla="*/ 24 w 143"/>
                <a:gd name="T35" fmla="*/ 182 h 187"/>
                <a:gd name="T36" fmla="*/ 19 w 143"/>
                <a:gd name="T37" fmla="*/ 171 h 187"/>
                <a:gd name="T38" fmla="*/ 14 w 143"/>
                <a:gd name="T39" fmla="*/ 138 h 187"/>
                <a:gd name="T40" fmla="*/ 9 w 143"/>
                <a:gd name="T41" fmla="*/ 100 h 187"/>
                <a:gd name="T42" fmla="*/ 3 w 143"/>
                <a:gd name="T43" fmla="*/ 52 h 187"/>
                <a:gd name="T44" fmla="*/ 0 w 143"/>
                <a:gd name="T45" fmla="*/ 23 h 187"/>
                <a:gd name="T46" fmla="*/ 0 w 143"/>
                <a:gd name="T47" fmla="*/ 12 h 187"/>
                <a:gd name="T48" fmla="*/ 3 w 143"/>
                <a:gd name="T49" fmla="*/ 7 h 187"/>
                <a:gd name="T50" fmla="*/ 12 w 143"/>
                <a:gd name="T51" fmla="*/ 3 h 187"/>
                <a:gd name="T52" fmla="*/ 23 w 143"/>
                <a:gd name="T53" fmla="*/ 7 h 187"/>
                <a:gd name="T54" fmla="*/ 28 w 143"/>
                <a:gd name="T55" fmla="*/ 14 h 187"/>
                <a:gd name="T56" fmla="*/ 33 w 143"/>
                <a:gd name="T57" fmla="*/ 38 h 187"/>
                <a:gd name="T58" fmla="*/ 38 w 143"/>
                <a:gd name="T59" fmla="*/ 91 h 187"/>
                <a:gd name="T60" fmla="*/ 49 w 143"/>
                <a:gd name="T61" fmla="*/ 82 h 187"/>
                <a:gd name="T62" fmla="*/ 75 w 143"/>
                <a:gd name="T63" fmla="*/ 26 h 187"/>
                <a:gd name="T64" fmla="*/ 106 w 143"/>
                <a:gd name="T6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3" h="187">
                  <a:moveTo>
                    <a:pt x="126" y="0"/>
                  </a:moveTo>
                  <a:lnTo>
                    <a:pt x="136" y="5"/>
                  </a:lnTo>
                  <a:lnTo>
                    <a:pt x="141" y="16"/>
                  </a:lnTo>
                  <a:lnTo>
                    <a:pt x="143" y="28"/>
                  </a:lnTo>
                  <a:lnTo>
                    <a:pt x="140" y="42"/>
                  </a:lnTo>
                  <a:lnTo>
                    <a:pt x="134" y="51"/>
                  </a:lnTo>
                  <a:lnTo>
                    <a:pt x="131" y="56"/>
                  </a:lnTo>
                  <a:lnTo>
                    <a:pt x="127" y="61"/>
                  </a:lnTo>
                  <a:lnTo>
                    <a:pt x="122" y="63"/>
                  </a:lnTo>
                  <a:lnTo>
                    <a:pt x="119" y="63"/>
                  </a:lnTo>
                  <a:lnTo>
                    <a:pt x="113" y="63"/>
                  </a:lnTo>
                  <a:lnTo>
                    <a:pt x="112" y="61"/>
                  </a:lnTo>
                  <a:lnTo>
                    <a:pt x="110" y="59"/>
                  </a:lnTo>
                  <a:lnTo>
                    <a:pt x="110" y="58"/>
                  </a:lnTo>
                  <a:lnTo>
                    <a:pt x="112" y="54"/>
                  </a:lnTo>
                  <a:lnTo>
                    <a:pt x="112" y="51"/>
                  </a:lnTo>
                  <a:lnTo>
                    <a:pt x="112" y="47"/>
                  </a:lnTo>
                  <a:lnTo>
                    <a:pt x="112" y="44"/>
                  </a:lnTo>
                  <a:lnTo>
                    <a:pt x="112" y="42"/>
                  </a:lnTo>
                  <a:lnTo>
                    <a:pt x="108" y="40"/>
                  </a:lnTo>
                  <a:lnTo>
                    <a:pt x="105" y="38"/>
                  </a:lnTo>
                  <a:lnTo>
                    <a:pt x="94" y="44"/>
                  </a:lnTo>
                  <a:lnTo>
                    <a:pt x="84" y="59"/>
                  </a:lnTo>
                  <a:lnTo>
                    <a:pt x="71" y="87"/>
                  </a:lnTo>
                  <a:lnTo>
                    <a:pt x="63" y="121"/>
                  </a:lnTo>
                  <a:lnTo>
                    <a:pt x="56" y="149"/>
                  </a:lnTo>
                  <a:lnTo>
                    <a:pt x="54" y="173"/>
                  </a:lnTo>
                  <a:lnTo>
                    <a:pt x="52" y="178"/>
                  </a:lnTo>
                  <a:lnTo>
                    <a:pt x="50" y="184"/>
                  </a:lnTo>
                  <a:lnTo>
                    <a:pt x="49" y="185"/>
                  </a:lnTo>
                  <a:lnTo>
                    <a:pt x="45" y="187"/>
                  </a:lnTo>
                  <a:lnTo>
                    <a:pt x="42" y="187"/>
                  </a:lnTo>
                  <a:lnTo>
                    <a:pt x="38" y="187"/>
                  </a:lnTo>
                  <a:lnTo>
                    <a:pt x="31" y="187"/>
                  </a:lnTo>
                  <a:lnTo>
                    <a:pt x="28" y="184"/>
                  </a:lnTo>
                  <a:lnTo>
                    <a:pt x="24" y="182"/>
                  </a:lnTo>
                  <a:lnTo>
                    <a:pt x="23" y="178"/>
                  </a:lnTo>
                  <a:lnTo>
                    <a:pt x="19" y="171"/>
                  </a:lnTo>
                  <a:lnTo>
                    <a:pt x="16" y="159"/>
                  </a:lnTo>
                  <a:lnTo>
                    <a:pt x="14" y="138"/>
                  </a:lnTo>
                  <a:lnTo>
                    <a:pt x="12" y="121"/>
                  </a:lnTo>
                  <a:lnTo>
                    <a:pt x="9" y="100"/>
                  </a:lnTo>
                  <a:lnTo>
                    <a:pt x="7" y="75"/>
                  </a:lnTo>
                  <a:lnTo>
                    <a:pt x="3" y="52"/>
                  </a:lnTo>
                  <a:lnTo>
                    <a:pt x="2" y="35"/>
                  </a:lnTo>
                  <a:lnTo>
                    <a:pt x="0" y="23"/>
                  </a:lnTo>
                  <a:lnTo>
                    <a:pt x="0" y="17"/>
                  </a:lnTo>
                  <a:lnTo>
                    <a:pt x="0" y="12"/>
                  </a:lnTo>
                  <a:lnTo>
                    <a:pt x="2" y="9"/>
                  </a:lnTo>
                  <a:lnTo>
                    <a:pt x="3" y="7"/>
                  </a:lnTo>
                  <a:lnTo>
                    <a:pt x="7" y="5"/>
                  </a:lnTo>
                  <a:lnTo>
                    <a:pt x="12" y="3"/>
                  </a:lnTo>
                  <a:lnTo>
                    <a:pt x="19" y="5"/>
                  </a:lnTo>
                  <a:lnTo>
                    <a:pt x="23" y="7"/>
                  </a:lnTo>
                  <a:lnTo>
                    <a:pt x="26" y="10"/>
                  </a:lnTo>
                  <a:lnTo>
                    <a:pt x="28" y="14"/>
                  </a:lnTo>
                  <a:lnTo>
                    <a:pt x="30" y="19"/>
                  </a:lnTo>
                  <a:lnTo>
                    <a:pt x="33" y="38"/>
                  </a:lnTo>
                  <a:lnTo>
                    <a:pt x="36" y="63"/>
                  </a:lnTo>
                  <a:lnTo>
                    <a:pt x="38" y="91"/>
                  </a:lnTo>
                  <a:lnTo>
                    <a:pt x="42" y="119"/>
                  </a:lnTo>
                  <a:lnTo>
                    <a:pt x="49" y="82"/>
                  </a:lnTo>
                  <a:lnTo>
                    <a:pt x="61" y="51"/>
                  </a:lnTo>
                  <a:lnTo>
                    <a:pt x="75" y="26"/>
                  </a:lnTo>
                  <a:lnTo>
                    <a:pt x="89" y="9"/>
                  </a:lnTo>
                  <a:lnTo>
                    <a:pt x="106" y="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3"/>
            <p:cNvSpPr>
              <a:spLocks/>
            </p:cNvSpPr>
            <p:nvPr userDrawn="1"/>
          </p:nvSpPr>
          <p:spPr bwMode="auto">
            <a:xfrm>
              <a:off x="6329363" y="5248275"/>
              <a:ext cx="85725" cy="261938"/>
            </a:xfrm>
            <a:custGeom>
              <a:avLst/>
              <a:gdLst>
                <a:gd name="T0" fmla="*/ 21 w 54"/>
                <a:gd name="T1" fmla="*/ 0 h 165"/>
                <a:gd name="T2" fmla="*/ 26 w 54"/>
                <a:gd name="T3" fmla="*/ 2 h 165"/>
                <a:gd name="T4" fmla="*/ 31 w 54"/>
                <a:gd name="T5" fmla="*/ 4 h 165"/>
                <a:gd name="T6" fmla="*/ 33 w 54"/>
                <a:gd name="T7" fmla="*/ 6 h 165"/>
                <a:gd name="T8" fmla="*/ 35 w 54"/>
                <a:gd name="T9" fmla="*/ 11 h 165"/>
                <a:gd name="T10" fmla="*/ 37 w 54"/>
                <a:gd name="T11" fmla="*/ 14 h 165"/>
                <a:gd name="T12" fmla="*/ 37 w 54"/>
                <a:gd name="T13" fmla="*/ 20 h 165"/>
                <a:gd name="T14" fmla="*/ 37 w 54"/>
                <a:gd name="T15" fmla="*/ 35 h 165"/>
                <a:gd name="T16" fmla="*/ 37 w 54"/>
                <a:gd name="T17" fmla="*/ 62 h 165"/>
                <a:gd name="T18" fmla="*/ 38 w 54"/>
                <a:gd name="T19" fmla="*/ 93 h 165"/>
                <a:gd name="T20" fmla="*/ 40 w 54"/>
                <a:gd name="T21" fmla="*/ 119 h 165"/>
                <a:gd name="T22" fmla="*/ 44 w 54"/>
                <a:gd name="T23" fmla="*/ 137 h 165"/>
                <a:gd name="T24" fmla="*/ 51 w 54"/>
                <a:gd name="T25" fmla="*/ 149 h 165"/>
                <a:gd name="T26" fmla="*/ 52 w 54"/>
                <a:gd name="T27" fmla="*/ 151 h 165"/>
                <a:gd name="T28" fmla="*/ 52 w 54"/>
                <a:gd name="T29" fmla="*/ 154 h 165"/>
                <a:gd name="T30" fmla="*/ 54 w 54"/>
                <a:gd name="T31" fmla="*/ 158 h 165"/>
                <a:gd name="T32" fmla="*/ 52 w 54"/>
                <a:gd name="T33" fmla="*/ 160 h 165"/>
                <a:gd name="T34" fmla="*/ 51 w 54"/>
                <a:gd name="T35" fmla="*/ 163 h 165"/>
                <a:gd name="T36" fmla="*/ 47 w 54"/>
                <a:gd name="T37" fmla="*/ 165 h 165"/>
                <a:gd name="T38" fmla="*/ 38 w 54"/>
                <a:gd name="T39" fmla="*/ 165 h 165"/>
                <a:gd name="T40" fmla="*/ 30 w 54"/>
                <a:gd name="T41" fmla="*/ 163 h 165"/>
                <a:gd name="T42" fmla="*/ 21 w 54"/>
                <a:gd name="T43" fmla="*/ 156 h 165"/>
                <a:gd name="T44" fmla="*/ 16 w 54"/>
                <a:gd name="T45" fmla="*/ 144 h 165"/>
                <a:gd name="T46" fmla="*/ 9 w 54"/>
                <a:gd name="T47" fmla="*/ 121 h 165"/>
                <a:gd name="T48" fmla="*/ 5 w 54"/>
                <a:gd name="T49" fmla="*/ 95 h 165"/>
                <a:gd name="T50" fmla="*/ 2 w 54"/>
                <a:gd name="T51" fmla="*/ 67 h 165"/>
                <a:gd name="T52" fmla="*/ 0 w 54"/>
                <a:gd name="T53" fmla="*/ 44 h 165"/>
                <a:gd name="T54" fmla="*/ 0 w 54"/>
                <a:gd name="T55" fmla="*/ 25 h 165"/>
                <a:gd name="T56" fmla="*/ 0 w 54"/>
                <a:gd name="T57" fmla="*/ 18 h 165"/>
                <a:gd name="T58" fmla="*/ 2 w 54"/>
                <a:gd name="T59" fmla="*/ 11 h 165"/>
                <a:gd name="T60" fmla="*/ 5 w 54"/>
                <a:gd name="T61" fmla="*/ 6 h 165"/>
                <a:gd name="T62" fmla="*/ 9 w 54"/>
                <a:gd name="T63" fmla="*/ 2 h 165"/>
                <a:gd name="T64" fmla="*/ 14 w 54"/>
                <a:gd name="T65" fmla="*/ 0 h 165"/>
                <a:gd name="T66" fmla="*/ 21 w 54"/>
                <a:gd name="T67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" h="165">
                  <a:moveTo>
                    <a:pt x="21" y="0"/>
                  </a:moveTo>
                  <a:lnTo>
                    <a:pt x="26" y="2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5" y="11"/>
                  </a:lnTo>
                  <a:lnTo>
                    <a:pt x="37" y="14"/>
                  </a:lnTo>
                  <a:lnTo>
                    <a:pt x="37" y="20"/>
                  </a:lnTo>
                  <a:lnTo>
                    <a:pt x="37" y="35"/>
                  </a:lnTo>
                  <a:lnTo>
                    <a:pt x="37" y="62"/>
                  </a:lnTo>
                  <a:lnTo>
                    <a:pt x="38" y="93"/>
                  </a:lnTo>
                  <a:lnTo>
                    <a:pt x="40" y="119"/>
                  </a:lnTo>
                  <a:lnTo>
                    <a:pt x="44" y="137"/>
                  </a:lnTo>
                  <a:lnTo>
                    <a:pt x="51" y="149"/>
                  </a:lnTo>
                  <a:lnTo>
                    <a:pt x="52" y="151"/>
                  </a:lnTo>
                  <a:lnTo>
                    <a:pt x="52" y="154"/>
                  </a:lnTo>
                  <a:lnTo>
                    <a:pt x="54" y="158"/>
                  </a:lnTo>
                  <a:lnTo>
                    <a:pt x="52" y="160"/>
                  </a:lnTo>
                  <a:lnTo>
                    <a:pt x="51" y="163"/>
                  </a:lnTo>
                  <a:lnTo>
                    <a:pt x="47" y="165"/>
                  </a:lnTo>
                  <a:lnTo>
                    <a:pt x="38" y="165"/>
                  </a:lnTo>
                  <a:lnTo>
                    <a:pt x="30" y="163"/>
                  </a:lnTo>
                  <a:lnTo>
                    <a:pt x="21" y="156"/>
                  </a:lnTo>
                  <a:lnTo>
                    <a:pt x="16" y="144"/>
                  </a:lnTo>
                  <a:lnTo>
                    <a:pt x="9" y="121"/>
                  </a:lnTo>
                  <a:lnTo>
                    <a:pt x="5" y="95"/>
                  </a:lnTo>
                  <a:lnTo>
                    <a:pt x="2" y="67"/>
                  </a:lnTo>
                  <a:lnTo>
                    <a:pt x="0" y="44"/>
                  </a:lnTo>
                  <a:lnTo>
                    <a:pt x="0" y="25"/>
                  </a:lnTo>
                  <a:lnTo>
                    <a:pt x="0" y="18"/>
                  </a:lnTo>
                  <a:lnTo>
                    <a:pt x="2" y="11"/>
                  </a:lnTo>
                  <a:lnTo>
                    <a:pt x="5" y="6"/>
                  </a:lnTo>
                  <a:lnTo>
                    <a:pt x="9" y="2"/>
                  </a:lnTo>
                  <a:lnTo>
                    <a:pt x="14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4"/>
            <p:cNvSpPr>
              <a:spLocks/>
            </p:cNvSpPr>
            <p:nvPr userDrawn="1"/>
          </p:nvSpPr>
          <p:spPr bwMode="auto">
            <a:xfrm>
              <a:off x="6334126" y="5121275"/>
              <a:ext cx="61913" cy="38100"/>
            </a:xfrm>
            <a:custGeom>
              <a:avLst/>
              <a:gdLst>
                <a:gd name="T0" fmla="*/ 20 w 39"/>
                <a:gd name="T1" fmla="*/ 0 h 24"/>
                <a:gd name="T2" fmla="*/ 27 w 39"/>
                <a:gd name="T3" fmla="*/ 0 h 24"/>
                <a:gd name="T4" fmla="*/ 32 w 39"/>
                <a:gd name="T5" fmla="*/ 3 h 24"/>
                <a:gd name="T6" fmla="*/ 35 w 39"/>
                <a:gd name="T7" fmla="*/ 7 h 24"/>
                <a:gd name="T8" fmla="*/ 39 w 39"/>
                <a:gd name="T9" fmla="*/ 10 h 24"/>
                <a:gd name="T10" fmla="*/ 39 w 39"/>
                <a:gd name="T11" fmla="*/ 14 h 24"/>
                <a:gd name="T12" fmla="*/ 37 w 39"/>
                <a:gd name="T13" fmla="*/ 17 h 24"/>
                <a:gd name="T14" fmla="*/ 35 w 39"/>
                <a:gd name="T15" fmla="*/ 19 h 24"/>
                <a:gd name="T16" fmla="*/ 30 w 39"/>
                <a:gd name="T17" fmla="*/ 21 h 24"/>
                <a:gd name="T18" fmla="*/ 27 w 39"/>
                <a:gd name="T19" fmla="*/ 23 h 24"/>
                <a:gd name="T20" fmla="*/ 20 w 39"/>
                <a:gd name="T21" fmla="*/ 24 h 24"/>
                <a:gd name="T22" fmla="*/ 16 w 39"/>
                <a:gd name="T23" fmla="*/ 24 h 24"/>
                <a:gd name="T24" fmla="*/ 13 w 39"/>
                <a:gd name="T25" fmla="*/ 23 h 24"/>
                <a:gd name="T26" fmla="*/ 7 w 39"/>
                <a:gd name="T27" fmla="*/ 23 h 24"/>
                <a:gd name="T28" fmla="*/ 4 w 39"/>
                <a:gd name="T29" fmla="*/ 21 h 24"/>
                <a:gd name="T30" fmla="*/ 2 w 39"/>
                <a:gd name="T31" fmla="*/ 17 h 24"/>
                <a:gd name="T32" fmla="*/ 0 w 39"/>
                <a:gd name="T33" fmla="*/ 14 h 24"/>
                <a:gd name="T34" fmla="*/ 0 w 39"/>
                <a:gd name="T35" fmla="*/ 10 h 24"/>
                <a:gd name="T36" fmla="*/ 2 w 39"/>
                <a:gd name="T37" fmla="*/ 7 h 24"/>
                <a:gd name="T38" fmla="*/ 4 w 39"/>
                <a:gd name="T39" fmla="*/ 3 h 24"/>
                <a:gd name="T40" fmla="*/ 6 w 39"/>
                <a:gd name="T41" fmla="*/ 2 h 24"/>
                <a:gd name="T42" fmla="*/ 9 w 39"/>
                <a:gd name="T43" fmla="*/ 0 h 24"/>
                <a:gd name="T44" fmla="*/ 14 w 39"/>
                <a:gd name="T45" fmla="*/ 0 h 24"/>
                <a:gd name="T46" fmla="*/ 20 w 39"/>
                <a:gd name="T4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24">
                  <a:moveTo>
                    <a:pt x="20" y="0"/>
                  </a:moveTo>
                  <a:lnTo>
                    <a:pt x="27" y="0"/>
                  </a:lnTo>
                  <a:lnTo>
                    <a:pt x="32" y="3"/>
                  </a:lnTo>
                  <a:lnTo>
                    <a:pt x="35" y="7"/>
                  </a:lnTo>
                  <a:lnTo>
                    <a:pt x="39" y="10"/>
                  </a:lnTo>
                  <a:lnTo>
                    <a:pt x="39" y="14"/>
                  </a:lnTo>
                  <a:lnTo>
                    <a:pt x="37" y="17"/>
                  </a:lnTo>
                  <a:lnTo>
                    <a:pt x="35" y="19"/>
                  </a:lnTo>
                  <a:lnTo>
                    <a:pt x="30" y="21"/>
                  </a:lnTo>
                  <a:lnTo>
                    <a:pt x="27" y="23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3" y="23"/>
                  </a:lnTo>
                  <a:lnTo>
                    <a:pt x="7" y="23"/>
                  </a:lnTo>
                  <a:lnTo>
                    <a:pt x="4" y="21"/>
                  </a:lnTo>
                  <a:lnTo>
                    <a:pt x="2" y="17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7"/>
                  </a:lnTo>
                  <a:lnTo>
                    <a:pt x="4" y="3"/>
                  </a:lnTo>
                  <a:lnTo>
                    <a:pt x="6" y="2"/>
                  </a:lnTo>
                  <a:lnTo>
                    <a:pt x="9" y="0"/>
                  </a:lnTo>
                  <a:lnTo>
                    <a:pt x="14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5"/>
            <p:cNvSpPr>
              <a:spLocks/>
            </p:cNvSpPr>
            <p:nvPr userDrawn="1"/>
          </p:nvSpPr>
          <p:spPr bwMode="auto">
            <a:xfrm>
              <a:off x="6440488" y="5170488"/>
              <a:ext cx="211138" cy="414338"/>
            </a:xfrm>
            <a:custGeom>
              <a:avLst/>
              <a:gdLst>
                <a:gd name="T0" fmla="*/ 72 w 133"/>
                <a:gd name="T1" fmla="*/ 2 h 261"/>
                <a:gd name="T2" fmla="*/ 99 w 133"/>
                <a:gd name="T3" fmla="*/ 14 h 261"/>
                <a:gd name="T4" fmla="*/ 112 w 133"/>
                <a:gd name="T5" fmla="*/ 39 h 261"/>
                <a:gd name="T6" fmla="*/ 99 w 133"/>
                <a:gd name="T7" fmla="*/ 55 h 261"/>
                <a:gd name="T8" fmla="*/ 89 w 133"/>
                <a:gd name="T9" fmla="*/ 55 h 261"/>
                <a:gd name="T10" fmla="*/ 82 w 133"/>
                <a:gd name="T11" fmla="*/ 49 h 261"/>
                <a:gd name="T12" fmla="*/ 73 w 133"/>
                <a:gd name="T13" fmla="*/ 34 h 261"/>
                <a:gd name="T14" fmla="*/ 54 w 133"/>
                <a:gd name="T15" fmla="*/ 27 h 261"/>
                <a:gd name="T16" fmla="*/ 38 w 133"/>
                <a:gd name="T17" fmla="*/ 30 h 261"/>
                <a:gd name="T18" fmla="*/ 33 w 133"/>
                <a:gd name="T19" fmla="*/ 39 h 261"/>
                <a:gd name="T20" fmla="*/ 35 w 133"/>
                <a:gd name="T21" fmla="*/ 49 h 261"/>
                <a:gd name="T22" fmla="*/ 45 w 133"/>
                <a:gd name="T23" fmla="*/ 65 h 261"/>
                <a:gd name="T24" fmla="*/ 72 w 133"/>
                <a:gd name="T25" fmla="*/ 90 h 261"/>
                <a:gd name="T26" fmla="*/ 105 w 133"/>
                <a:gd name="T27" fmla="*/ 123 h 261"/>
                <a:gd name="T28" fmla="*/ 129 w 133"/>
                <a:gd name="T29" fmla="*/ 158 h 261"/>
                <a:gd name="T30" fmla="*/ 127 w 133"/>
                <a:gd name="T31" fmla="*/ 198 h 261"/>
                <a:gd name="T32" fmla="*/ 99 w 133"/>
                <a:gd name="T33" fmla="*/ 235 h 261"/>
                <a:gd name="T34" fmla="*/ 66 w 133"/>
                <a:gd name="T35" fmla="*/ 256 h 261"/>
                <a:gd name="T36" fmla="*/ 35 w 133"/>
                <a:gd name="T37" fmla="*/ 261 h 261"/>
                <a:gd name="T38" fmla="*/ 16 w 133"/>
                <a:gd name="T39" fmla="*/ 251 h 261"/>
                <a:gd name="T40" fmla="*/ 3 w 133"/>
                <a:gd name="T41" fmla="*/ 235 h 261"/>
                <a:gd name="T42" fmla="*/ 2 w 133"/>
                <a:gd name="T43" fmla="*/ 217 h 261"/>
                <a:gd name="T44" fmla="*/ 7 w 133"/>
                <a:gd name="T45" fmla="*/ 214 h 261"/>
                <a:gd name="T46" fmla="*/ 12 w 133"/>
                <a:gd name="T47" fmla="*/ 216 h 261"/>
                <a:gd name="T48" fmla="*/ 21 w 133"/>
                <a:gd name="T49" fmla="*/ 226 h 261"/>
                <a:gd name="T50" fmla="*/ 44 w 133"/>
                <a:gd name="T51" fmla="*/ 237 h 261"/>
                <a:gd name="T52" fmla="*/ 82 w 133"/>
                <a:gd name="T53" fmla="*/ 219 h 261"/>
                <a:gd name="T54" fmla="*/ 101 w 133"/>
                <a:gd name="T55" fmla="*/ 181 h 261"/>
                <a:gd name="T56" fmla="*/ 87 w 133"/>
                <a:gd name="T57" fmla="*/ 146 h 261"/>
                <a:gd name="T58" fmla="*/ 47 w 133"/>
                <a:gd name="T59" fmla="*/ 107 h 261"/>
                <a:gd name="T60" fmla="*/ 12 w 133"/>
                <a:gd name="T61" fmla="*/ 70 h 261"/>
                <a:gd name="T62" fmla="*/ 0 w 133"/>
                <a:gd name="T63" fmla="*/ 39 h 261"/>
                <a:gd name="T64" fmla="*/ 12 w 133"/>
                <a:gd name="T65" fmla="*/ 13 h 261"/>
                <a:gd name="T66" fmla="*/ 51 w 133"/>
                <a:gd name="T67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3" h="261">
                  <a:moveTo>
                    <a:pt x="51" y="0"/>
                  </a:moveTo>
                  <a:lnTo>
                    <a:pt x="72" y="2"/>
                  </a:lnTo>
                  <a:lnTo>
                    <a:pt x="87" y="7"/>
                  </a:lnTo>
                  <a:lnTo>
                    <a:pt x="99" y="14"/>
                  </a:lnTo>
                  <a:lnTo>
                    <a:pt x="108" y="25"/>
                  </a:lnTo>
                  <a:lnTo>
                    <a:pt x="112" y="39"/>
                  </a:lnTo>
                  <a:lnTo>
                    <a:pt x="108" y="49"/>
                  </a:lnTo>
                  <a:lnTo>
                    <a:pt x="99" y="55"/>
                  </a:lnTo>
                  <a:lnTo>
                    <a:pt x="92" y="56"/>
                  </a:lnTo>
                  <a:lnTo>
                    <a:pt x="89" y="55"/>
                  </a:lnTo>
                  <a:lnTo>
                    <a:pt x="85" y="53"/>
                  </a:lnTo>
                  <a:lnTo>
                    <a:pt x="82" y="49"/>
                  </a:lnTo>
                  <a:lnTo>
                    <a:pt x="80" y="44"/>
                  </a:lnTo>
                  <a:lnTo>
                    <a:pt x="73" y="34"/>
                  </a:lnTo>
                  <a:lnTo>
                    <a:pt x="65" y="28"/>
                  </a:lnTo>
                  <a:lnTo>
                    <a:pt x="54" y="27"/>
                  </a:lnTo>
                  <a:lnTo>
                    <a:pt x="44" y="28"/>
                  </a:lnTo>
                  <a:lnTo>
                    <a:pt x="38" y="30"/>
                  </a:lnTo>
                  <a:lnTo>
                    <a:pt x="35" y="34"/>
                  </a:lnTo>
                  <a:lnTo>
                    <a:pt x="33" y="39"/>
                  </a:lnTo>
                  <a:lnTo>
                    <a:pt x="33" y="44"/>
                  </a:lnTo>
                  <a:lnTo>
                    <a:pt x="35" y="49"/>
                  </a:lnTo>
                  <a:lnTo>
                    <a:pt x="38" y="55"/>
                  </a:lnTo>
                  <a:lnTo>
                    <a:pt x="45" y="65"/>
                  </a:lnTo>
                  <a:lnTo>
                    <a:pt x="58" y="77"/>
                  </a:lnTo>
                  <a:lnTo>
                    <a:pt x="72" y="90"/>
                  </a:lnTo>
                  <a:lnTo>
                    <a:pt x="84" y="104"/>
                  </a:lnTo>
                  <a:lnTo>
                    <a:pt x="105" y="123"/>
                  </a:lnTo>
                  <a:lnTo>
                    <a:pt x="120" y="142"/>
                  </a:lnTo>
                  <a:lnTo>
                    <a:pt x="129" y="158"/>
                  </a:lnTo>
                  <a:lnTo>
                    <a:pt x="133" y="175"/>
                  </a:lnTo>
                  <a:lnTo>
                    <a:pt x="127" y="198"/>
                  </a:lnTo>
                  <a:lnTo>
                    <a:pt x="115" y="219"/>
                  </a:lnTo>
                  <a:lnTo>
                    <a:pt x="99" y="235"/>
                  </a:lnTo>
                  <a:lnTo>
                    <a:pt x="82" y="249"/>
                  </a:lnTo>
                  <a:lnTo>
                    <a:pt x="66" y="256"/>
                  </a:lnTo>
                  <a:lnTo>
                    <a:pt x="49" y="261"/>
                  </a:lnTo>
                  <a:lnTo>
                    <a:pt x="35" y="261"/>
                  </a:lnTo>
                  <a:lnTo>
                    <a:pt x="23" y="258"/>
                  </a:lnTo>
                  <a:lnTo>
                    <a:pt x="16" y="251"/>
                  </a:lnTo>
                  <a:lnTo>
                    <a:pt x="9" y="244"/>
                  </a:lnTo>
                  <a:lnTo>
                    <a:pt x="3" y="235"/>
                  </a:lnTo>
                  <a:lnTo>
                    <a:pt x="2" y="223"/>
                  </a:lnTo>
                  <a:lnTo>
                    <a:pt x="2" y="217"/>
                  </a:lnTo>
                  <a:lnTo>
                    <a:pt x="3" y="216"/>
                  </a:lnTo>
                  <a:lnTo>
                    <a:pt x="7" y="214"/>
                  </a:lnTo>
                  <a:lnTo>
                    <a:pt x="10" y="214"/>
                  </a:lnTo>
                  <a:lnTo>
                    <a:pt x="12" y="216"/>
                  </a:lnTo>
                  <a:lnTo>
                    <a:pt x="16" y="217"/>
                  </a:lnTo>
                  <a:lnTo>
                    <a:pt x="21" y="226"/>
                  </a:lnTo>
                  <a:lnTo>
                    <a:pt x="31" y="233"/>
                  </a:lnTo>
                  <a:lnTo>
                    <a:pt x="44" y="237"/>
                  </a:lnTo>
                  <a:lnTo>
                    <a:pt x="65" y="231"/>
                  </a:lnTo>
                  <a:lnTo>
                    <a:pt x="82" y="219"/>
                  </a:lnTo>
                  <a:lnTo>
                    <a:pt x="96" y="200"/>
                  </a:lnTo>
                  <a:lnTo>
                    <a:pt x="101" y="181"/>
                  </a:lnTo>
                  <a:lnTo>
                    <a:pt x="99" y="163"/>
                  </a:lnTo>
                  <a:lnTo>
                    <a:pt x="87" y="146"/>
                  </a:lnTo>
                  <a:lnTo>
                    <a:pt x="70" y="128"/>
                  </a:lnTo>
                  <a:lnTo>
                    <a:pt x="47" y="107"/>
                  </a:lnTo>
                  <a:lnTo>
                    <a:pt x="26" y="88"/>
                  </a:lnTo>
                  <a:lnTo>
                    <a:pt x="12" y="70"/>
                  </a:lnTo>
                  <a:lnTo>
                    <a:pt x="3" y="53"/>
                  </a:lnTo>
                  <a:lnTo>
                    <a:pt x="0" y="39"/>
                  </a:lnTo>
                  <a:lnTo>
                    <a:pt x="3" y="25"/>
                  </a:lnTo>
                  <a:lnTo>
                    <a:pt x="12" y="13"/>
                  </a:lnTo>
                  <a:lnTo>
                    <a:pt x="28" y="4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6"/>
            <p:cNvSpPr>
              <a:spLocks/>
            </p:cNvSpPr>
            <p:nvPr userDrawn="1"/>
          </p:nvSpPr>
          <p:spPr bwMode="auto">
            <a:xfrm>
              <a:off x="6692901" y="5076825"/>
              <a:ext cx="233363" cy="504825"/>
            </a:xfrm>
            <a:custGeom>
              <a:avLst/>
              <a:gdLst>
                <a:gd name="T0" fmla="*/ 26 w 147"/>
                <a:gd name="T1" fmla="*/ 2 h 318"/>
                <a:gd name="T2" fmla="*/ 35 w 147"/>
                <a:gd name="T3" fmla="*/ 9 h 318"/>
                <a:gd name="T4" fmla="*/ 38 w 147"/>
                <a:gd name="T5" fmla="*/ 21 h 318"/>
                <a:gd name="T6" fmla="*/ 31 w 147"/>
                <a:gd name="T7" fmla="*/ 66 h 318"/>
                <a:gd name="T8" fmla="*/ 26 w 147"/>
                <a:gd name="T9" fmla="*/ 163 h 318"/>
                <a:gd name="T10" fmla="*/ 47 w 147"/>
                <a:gd name="T11" fmla="*/ 178 h 318"/>
                <a:gd name="T12" fmla="*/ 77 w 147"/>
                <a:gd name="T13" fmla="*/ 131 h 318"/>
                <a:gd name="T14" fmla="*/ 107 w 147"/>
                <a:gd name="T15" fmla="*/ 119 h 318"/>
                <a:gd name="T16" fmla="*/ 129 w 147"/>
                <a:gd name="T17" fmla="*/ 136 h 318"/>
                <a:gd name="T18" fmla="*/ 143 w 147"/>
                <a:gd name="T19" fmla="*/ 182 h 318"/>
                <a:gd name="T20" fmla="*/ 147 w 147"/>
                <a:gd name="T21" fmla="*/ 255 h 318"/>
                <a:gd name="T22" fmla="*/ 142 w 147"/>
                <a:gd name="T23" fmla="*/ 310 h 318"/>
                <a:gd name="T24" fmla="*/ 135 w 147"/>
                <a:gd name="T25" fmla="*/ 318 h 318"/>
                <a:gd name="T26" fmla="*/ 126 w 147"/>
                <a:gd name="T27" fmla="*/ 318 h 318"/>
                <a:gd name="T28" fmla="*/ 121 w 147"/>
                <a:gd name="T29" fmla="*/ 315 h 318"/>
                <a:gd name="T30" fmla="*/ 117 w 147"/>
                <a:gd name="T31" fmla="*/ 308 h 318"/>
                <a:gd name="T32" fmla="*/ 119 w 147"/>
                <a:gd name="T33" fmla="*/ 262 h 318"/>
                <a:gd name="T34" fmla="*/ 115 w 147"/>
                <a:gd name="T35" fmla="*/ 198 h 318"/>
                <a:gd name="T36" fmla="*/ 107 w 147"/>
                <a:gd name="T37" fmla="*/ 163 h 318"/>
                <a:gd name="T38" fmla="*/ 100 w 147"/>
                <a:gd name="T39" fmla="*/ 156 h 318"/>
                <a:gd name="T40" fmla="*/ 93 w 147"/>
                <a:gd name="T41" fmla="*/ 157 h 318"/>
                <a:gd name="T42" fmla="*/ 84 w 147"/>
                <a:gd name="T43" fmla="*/ 164 h 318"/>
                <a:gd name="T44" fmla="*/ 58 w 147"/>
                <a:gd name="T45" fmla="*/ 213 h 318"/>
                <a:gd name="T46" fmla="*/ 38 w 147"/>
                <a:gd name="T47" fmla="*/ 254 h 318"/>
                <a:gd name="T48" fmla="*/ 31 w 147"/>
                <a:gd name="T49" fmla="*/ 259 h 318"/>
                <a:gd name="T50" fmla="*/ 26 w 147"/>
                <a:gd name="T51" fmla="*/ 261 h 318"/>
                <a:gd name="T52" fmla="*/ 19 w 147"/>
                <a:gd name="T53" fmla="*/ 261 h 318"/>
                <a:gd name="T54" fmla="*/ 12 w 147"/>
                <a:gd name="T55" fmla="*/ 257 h 318"/>
                <a:gd name="T56" fmla="*/ 7 w 147"/>
                <a:gd name="T57" fmla="*/ 248 h 318"/>
                <a:gd name="T58" fmla="*/ 5 w 147"/>
                <a:gd name="T59" fmla="*/ 226 h 318"/>
                <a:gd name="T60" fmla="*/ 2 w 147"/>
                <a:gd name="T61" fmla="*/ 170 h 318"/>
                <a:gd name="T62" fmla="*/ 2 w 147"/>
                <a:gd name="T63" fmla="*/ 96 h 318"/>
                <a:gd name="T64" fmla="*/ 7 w 147"/>
                <a:gd name="T65" fmla="*/ 23 h 318"/>
                <a:gd name="T66" fmla="*/ 9 w 147"/>
                <a:gd name="T67" fmla="*/ 10 h 318"/>
                <a:gd name="T68" fmla="*/ 12 w 147"/>
                <a:gd name="T69" fmla="*/ 3 h 318"/>
                <a:gd name="T70" fmla="*/ 19 w 147"/>
                <a:gd name="T7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7" h="318">
                  <a:moveTo>
                    <a:pt x="19" y="0"/>
                  </a:moveTo>
                  <a:lnTo>
                    <a:pt x="26" y="2"/>
                  </a:lnTo>
                  <a:lnTo>
                    <a:pt x="31" y="3"/>
                  </a:lnTo>
                  <a:lnTo>
                    <a:pt x="35" y="9"/>
                  </a:lnTo>
                  <a:lnTo>
                    <a:pt x="38" y="14"/>
                  </a:lnTo>
                  <a:lnTo>
                    <a:pt x="38" y="21"/>
                  </a:lnTo>
                  <a:lnTo>
                    <a:pt x="38" y="28"/>
                  </a:lnTo>
                  <a:lnTo>
                    <a:pt x="31" y="66"/>
                  </a:lnTo>
                  <a:lnTo>
                    <a:pt x="28" y="112"/>
                  </a:lnTo>
                  <a:lnTo>
                    <a:pt x="26" y="163"/>
                  </a:lnTo>
                  <a:lnTo>
                    <a:pt x="30" y="215"/>
                  </a:lnTo>
                  <a:lnTo>
                    <a:pt x="47" y="178"/>
                  </a:lnTo>
                  <a:lnTo>
                    <a:pt x="63" y="150"/>
                  </a:lnTo>
                  <a:lnTo>
                    <a:pt x="77" y="131"/>
                  </a:lnTo>
                  <a:lnTo>
                    <a:pt x="93" y="121"/>
                  </a:lnTo>
                  <a:lnTo>
                    <a:pt x="107" y="119"/>
                  </a:lnTo>
                  <a:lnTo>
                    <a:pt x="119" y="124"/>
                  </a:lnTo>
                  <a:lnTo>
                    <a:pt x="129" y="136"/>
                  </a:lnTo>
                  <a:lnTo>
                    <a:pt x="138" y="156"/>
                  </a:lnTo>
                  <a:lnTo>
                    <a:pt x="143" y="182"/>
                  </a:lnTo>
                  <a:lnTo>
                    <a:pt x="147" y="215"/>
                  </a:lnTo>
                  <a:lnTo>
                    <a:pt x="147" y="255"/>
                  </a:lnTo>
                  <a:lnTo>
                    <a:pt x="143" y="303"/>
                  </a:lnTo>
                  <a:lnTo>
                    <a:pt x="142" y="310"/>
                  </a:lnTo>
                  <a:lnTo>
                    <a:pt x="140" y="315"/>
                  </a:lnTo>
                  <a:lnTo>
                    <a:pt x="135" y="318"/>
                  </a:lnTo>
                  <a:lnTo>
                    <a:pt x="129" y="318"/>
                  </a:lnTo>
                  <a:lnTo>
                    <a:pt x="126" y="318"/>
                  </a:lnTo>
                  <a:lnTo>
                    <a:pt x="124" y="317"/>
                  </a:lnTo>
                  <a:lnTo>
                    <a:pt x="121" y="315"/>
                  </a:lnTo>
                  <a:lnTo>
                    <a:pt x="119" y="311"/>
                  </a:lnTo>
                  <a:lnTo>
                    <a:pt x="117" y="308"/>
                  </a:lnTo>
                  <a:lnTo>
                    <a:pt x="117" y="303"/>
                  </a:lnTo>
                  <a:lnTo>
                    <a:pt x="119" y="262"/>
                  </a:lnTo>
                  <a:lnTo>
                    <a:pt x="117" y="227"/>
                  </a:lnTo>
                  <a:lnTo>
                    <a:pt x="115" y="198"/>
                  </a:lnTo>
                  <a:lnTo>
                    <a:pt x="110" y="170"/>
                  </a:lnTo>
                  <a:lnTo>
                    <a:pt x="107" y="163"/>
                  </a:lnTo>
                  <a:lnTo>
                    <a:pt x="103" y="157"/>
                  </a:lnTo>
                  <a:lnTo>
                    <a:pt x="100" y="156"/>
                  </a:lnTo>
                  <a:lnTo>
                    <a:pt x="96" y="156"/>
                  </a:lnTo>
                  <a:lnTo>
                    <a:pt x="93" y="157"/>
                  </a:lnTo>
                  <a:lnTo>
                    <a:pt x="89" y="161"/>
                  </a:lnTo>
                  <a:lnTo>
                    <a:pt x="84" y="164"/>
                  </a:lnTo>
                  <a:lnTo>
                    <a:pt x="72" y="185"/>
                  </a:lnTo>
                  <a:lnTo>
                    <a:pt x="58" y="213"/>
                  </a:lnTo>
                  <a:lnTo>
                    <a:pt x="42" y="248"/>
                  </a:lnTo>
                  <a:lnTo>
                    <a:pt x="38" y="254"/>
                  </a:lnTo>
                  <a:lnTo>
                    <a:pt x="35" y="257"/>
                  </a:lnTo>
                  <a:lnTo>
                    <a:pt x="31" y="259"/>
                  </a:lnTo>
                  <a:lnTo>
                    <a:pt x="28" y="261"/>
                  </a:lnTo>
                  <a:lnTo>
                    <a:pt x="26" y="261"/>
                  </a:lnTo>
                  <a:lnTo>
                    <a:pt x="23" y="261"/>
                  </a:lnTo>
                  <a:lnTo>
                    <a:pt x="19" y="261"/>
                  </a:lnTo>
                  <a:lnTo>
                    <a:pt x="16" y="259"/>
                  </a:lnTo>
                  <a:lnTo>
                    <a:pt x="12" y="257"/>
                  </a:lnTo>
                  <a:lnTo>
                    <a:pt x="10" y="254"/>
                  </a:lnTo>
                  <a:lnTo>
                    <a:pt x="7" y="248"/>
                  </a:lnTo>
                  <a:lnTo>
                    <a:pt x="7" y="241"/>
                  </a:lnTo>
                  <a:lnTo>
                    <a:pt x="5" y="226"/>
                  </a:lnTo>
                  <a:lnTo>
                    <a:pt x="3" y="201"/>
                  </a:lnTo>
                  <a:lnTo>
                    <a:pt x="2" y="170"/>
                  </a:lnTo>
                  <a:lnTo>
                    <a:pt x="0" y="135"/>
                  </a:lnTo>
                  <a:lnTo>
                    <a:pt x="2" y="96"/>
                  </a:lnTo>
                  <a:lnTo>
                    <a:pt x="3" y="59"/>
                  </a:lnTo>
                  <a:lnTo>
                    <a:pt x="7" y="23"/>
                  </a:lnTo>
                  <a:lnTo>
                    <a:pt x="7" y="16"/>
                  </a:lnTo>
                  <a:lnTo>
                    <a:pt x="9" y="10"/>
                  </a:lnTo>
                  <a:lnTo>
                    <a:pt x="10" y="7"/>
                  </a:lnTo>
                  <a:lnTo>
                    <a:pt x="12" y="3"/>
                  </a:lnTo>
                  <a:lnTo>
                    <a:pt x="1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7"/>
            <p:cNvSpPr>
              <a:spLocks/>
            </p:cNvSpPr>
            <p:nvPr userDrawn="1"/>
          </p:nvSpPr>
          <p:spPr bwMode="auto">
            <a:xfrm>
              <a:off x="6978651" y="5259388"/>
              <a:ext cx="71438" cy="303213"/>
            </a:xfrm>
            <a:custGeom>
              <a:avLst/>
              <a:gdLst>
                <a:gd name="T0" fmla="*/ 14 w 45"/>
                <a:gd name="T1" fmla="*/ 0 h 191"/>
                <a:gd name="T2" fmla="*/ 19 w 45"/>
                <a:gd name="T3" fmla="*/ 0 h 191"/>
                <a:gd name="T4" fmla="*/ 24 w 45"/>
                <a:gd name="T5" fmla="*/ 2 h 191"/>
                <a:gd name="T6" fmla="*/ 28 w 45"/>
                <a:gd name="T7" fmla="*/ 4 h 191"/>
                <a:gd name="T8" fmla="*/ 31 w 45"/>
                <a:gd name="T9" fmla="*/ 6 h 191"/>
                <a:gd name="T10" fmla="*/ 35 w 45"/>
                <a:gd name="T11" fmla="*/ 9 h 191"/>
                <a:gd name="T12" fmla="*/ 37 w 45"/>
                <a:gd name="T13" fmla="*/ 14 h 191"/>
                <a:gd name="T14" fmla="*/ 38 w 45"/>
                <a:gd name="T15" fmla="*/ 20 h 191"/>
                <a:gd name="T16" fmla="*/ 38 w 45"/>
                <a:gd name="T17" fmla="*/ 28 h 191"/>
                <a:gd name="T18" fmla="*/ 37 w 45"/>
                <a:gd name="T19" fmla="*/ 65 h 191"/>
                <a:gd name="T20" fmla="*/ 35 w 45"/>
                <a:gd name="T21" fmla="*/ 102 h 191"/>
                <a:gd name="T22" fmla="*/ 37 w 45"/>
                <a:gd name="T23" fmla="*/ 132 h 191"/>
                <a:gd name="T24" fmla="*/ 38 w 45"/>
                <a:gd name="T25" fmla="*/ 158 h 191"/>
                <a:gd name="T26" fmla="*/ 44 w 45"/>
                <a:gd name="T27" fmla="*/ 177 h 191"/>
                <a:gd name="T28" fmla="*/ 45 w 45"/>
                <a:gd name="T29" fmla="*/ 181 h 191"/>
                <a:gd name="T30" fmla="*/ 45 w 45"/>
                <a:gd name="T31" fmla="*/ 186 h 191"/>
                <a:gd name="T32" fmla="*/ 44 w 45"/>
                <a:gd name="T33" fmla="*/ 188 h 191"/>
                <a:gd name="T34" fmla="*/ 40 w 45"/>
                <a:gd name="T35" fmla="*/ 191 h 191"/>
                <a:gd name="T36" fmla="*/ 37 w 45"/>
                <a:gd name="T37" fmla="*/ 191 h 191"/>
                <a:gd name="T38" fmla="*/ 31 w 45"/>
                <a:gd name="T39" fmla="*/ 191 h 191"/>
                <a:gd name="T40" fmla="*/ 28 w 45"/>
                <a:gd name="T41" fmla="*/ 189 h 191"/>
                <a:gd name="T42" fmla="*/ 23 w 45"/>
                <a:gd name="T43" fmla="*/ 188 h 191"/>
                <a:gd name="T44" fmla="*/ 19 w 45"/>
                <a:gd name="T45" fmla="*/ 184 h 191"/>
                <a:gd name="T46" fmla="*/ 16 w 45"/>
                <a:gd name="T47" fmla="*/ 177 h 191"/>
                <a:gd name="T48" fmla="*/ 12 w 45"/>
                <a:gd name="T49" fmla="*/ 170 h 191"/>
                <a:gd name="T50" fmla="*/ 9 w 45"/>
                <a:gd name="T51" fmla="*/ 149 h 191"/>
                <a:gd name="T52" fmla="*/ 4 w 45"/>
                <a:gd name="T53" fmla="*/ 121 h 191"/>
                <a:gd name="T54" fmla="*/ 2 w 45"/>
                <a:gd name="T55" fmla="*/ 90 h 191"/>
                <a:gd name="T56" fmla="*/ 0 w 45"/>
                <a:gd name="T57" fmla="*/ 55 h 191"/>
                <a:gd name="T58" fmla="*/ 2 w 45"/>
                <a:gd name="T59" fmla="*/ 23 h 191"/>
                <a:gd name="T60" fmla="*/ 2 w 45"/>
                <a:gd name="T61" fmla="*/ 16 h 191"/>
                <a:gd name="T62" fmla="*/ 4 w 45"/>
                <a:gd name="T63" fmla="*/ 9 h 191"/>
                <a:gd name="T64" fmla="*/ 7 w 45"/>
                <a:gd name="T65" fmla="*/ 6 h 191"/>
                <a:gd name="T66" fmla="*/ 11 w 45"/>
                <a:gd name="T67" fmla="*/ 2 h 191"/>
                <a:gd name="T68" fmla="*/ 14 w 45"/>
                <a:gd name="T6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5" h="191">
                  <a:moveTo>
                    <a:pt x="14" y="0"/>
                  </a:moveTo>
                  <a:lnTo>
                    <a:pt x="19" y="0"/>
                  </a:lnTo>
                  <a:lnTo>
                    <a:pt x="24" y="2"/>
                  </a:lnTo>
                  <a:lnTo>
                    <a:pt x="28" y="4"/>
                  </a:lnTo>
                  <a:lnTo>
                    <a:pt x="31" y="6"/>
                  </a:lnTo>
                  <a:lnTo>
                    <a:pt x="35" y="9"/>
                  </a:lnTo>
                  <a:lnTo>
                    <a:pt x="37" y="14"/>
                  </a:lnTo>
                  <a:lnTo>
                    <a:pt x="38" y="20"/>
                  </a:lnTo>
                  <a:lnTo>
                    <a:pt x="38" y="28"/>
                  </a:lnTo>
                  <a:lnTo>
                    <a:pt x="37" y="65"/>
                  </a:lnTo>
                  <a:lnTo>
                    <a:pt x="35" y="102"/>
                  </a:lnTo>
                  <a:lnTo>
                    <a:pt x="37" y="132"/>
                  </a:lnTo>
                  <a:lnTo>
                    <a:pt x="38" y="158"/>
                  </a:lnTo>
                  <a:lnTo>
                    <a:pt x="44" y="177"/>
                  </a:lnTo>
                  <a:lnTo>
                    <a:pt x="45" y="181"/>
                  </a:lnTo>
                  <a:lnTo>
                    <a:pt x="45" y="186"/>
                  </a:lnTo>
                  <a:lnTo>
                    <a:pt x="44" y="188"/>
                  </a:lnTo>
                  <a:lnTo>
                    <a:pt x="40" y="191"/>
                  </a:lnTo>
                  <a:lnTo>
                    <a:pt x="37" y="191"/>
                  </a:lnTo>
                  <a:lnTo>
                    <a:pt x="31" y="191"/>
                  </a:lnTo>
                  <a:lnTo>
                    <a:pt x="28" y="189"/>
                  </a:lnTo>
                  <a:lnTo>
                    <a:pt x="23" y="188"/>
                  </a:lnTo>
                  <a:lnTo>
                    <a:pt x="19" y="184"/>
                  </a:lnTo>
                  <a:lnTo>
                    <a:pt x="16" y="177"/>
                  </a:lnTo>
                  <a:lnTo>
                    <a:pt x="12" y="170"/>
                  </a:lnTo>
                  <a:lnTo>
                    <a:pt x="9" y="149"/>
                  </a:lnTo>
                  <a:lnTo>
                    <a:pt x="4" y="121"/>
                  </a:lnTo>
                  <a:lnTo>
                    <a:pt x="2" y="90"/>
                  </a:lnTo>
                  <a:lnTo>
                    <a:pt x="0" y="55"/>
                  </a:lnTo>
                  <a:lnTo>
                    <a:pt x="2" y="23"/>
                  </a:lnTo>
                  <a:lnTo>
                    <a:pt x="2" y="16"/>
                  </a:lnTo>
                  <a:lnTo>
                    <a:pt x="4" y="9"/>
                  </a:lnTo>
                  <a:lnTo>
                    <a:pt x="7" y="6"/>
                  </a:lnTo>
                  <a:lnTo>
                    <a:pt x="11" y="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48"/>
            <p:cNvSpPr>
              <a:spLocks/>
            </p:cNvSpPr>
            <p:nvPr userDrawn="1"/>
          </p:nvSpPr>
          <p:spPr bwMode="auto">
            <a:xfrm>
              <a:off x="7011988" y="5137150"/>
              <a:ext cx="63500" cy="44450"/>
            </a:xfrm>
            <a:custGeom>
              <a:avLst/>
              <a:gdLst>
                <a:gd name="T0" fmla="*/ 10 w 40"/>
                <a:gd name="T1" fmla="*/ 0 h 28"/>
                <a:gd name="T2" fmla="*/ 17 w 40"/>
                <a:gd name="T3" fmla="*/ 0 h 28"/>
                <a:gd name="T4" fmla="*/ 23 w 40"/>
                <a:gd name="T5" fmla="*/ 2 h 28"/>
                <a:gd name="T6" fmla="*/ 30 w 40"/>
                <a:gd name="T7" fmla="*/ 6 h 28"/>
                <a:gd name="T8" fmla="*/ 35 w 40"/>
                <a:gd name="T9" fmla="*/ 9 h 28"/>
                <a:gd name="T10" fmla="*/ 38 w 40"/>
                <a:gd name="T11" fmla="*/ 13 h 28"/>
                <a:gd name="T12" fmla="*/ 40 w 40"/>
                <a:gd name="T13" fmla="*/ 18 h 28"/>
                <a:gd name="T14" fmla="*/ 38 w 40"/>
                <a:gd name="T15" fmla="*/ 21 h 28"/>
                <a:gd name="T16" fmla="*/ 37 w 40"/>
                <a:gd name="T17" fmla="*/ 25 h 28"/>
                <a:gd name="T18" fmla="*/ 35 w 40"/>
                <a:gd name="T19" fmla="*/ 27 h 28"/>
                <a:gd name="T20" fmla="*/ 30 w 40"/>
                <a:gd name="T21" fmla="*/ 28 h 28"/>
                <a:gd name="T22" fmla="*/ 26 w 40"/>
                <a:gd name="T23" fmla="*/ 28 h 28"/>
                <a:gd name="T24" fmla="*/ 21 w 40"/>
                <a:gd name="T25" fmla="*/ 28 h 28"/>
                <a:gd name="T26" fmla="*/ 16 w 40"/>
                <a:gd name="T27" fmla="*/ 27 h 28"/>
                <a:gd name="T28" fmla="*/ 10 w 40"/>
                <a:gd name="T29" fmla="*/ 25 h 28"/>
                <a:gd name="T30" fmla="*/ 5 w 40"/>
                <a:gd name="T31" fmla="*/ 21 h 28"/>
                <a:gd name="T32" fmla="*/ 2 w 40"/>
                <a:gd name="T33" fmla="*/ 18 h 28"/>
                <a:gd name="T34" fmla="*/ 0 w 40"/>
                <a:gd name="T35" fmla="*/ 14 h 28"/>
                <a:gd name="T36" fmla="*/ 0 w 40"/>
                <a:gd name="T37" fmla="*/ 9 h 28"/>
                <a:gd name="T38" fmla="*/ 2 w 40"/>
                <a:gd name="T39" fmla="*/ 6 h 28"/>
                <a:gd name="T40" fmla="*/ 3 w 40"/>
                <a:gd name="T41" fmla="*/ 4 h 28"/>
                <a:gd name="T42" fmla="*/ 7 w 40"/>
                <a:gd name="T43" fmla="*/ 2 h 28"/>
                <a:gd name="T44" fmla="*/ 10 w 40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28">
                  <a:moveTo>
                    <a:pt x="10" y="0"/>
                  </a:moveTo>
                  <a:lnTo>
                    <a:pt x="17" y="0"/>
                  </a:lnTo>
                  <a:lnTo>
                    <a:pt x="23" y="2"/>
                  </a:lnTo>
                  <a:lnTo>
                    <a:pt x="30" y="6"/>
                  </a:lnTo>
                  <a:lnTo>
                    <a:pt x="35" y="9"/>
                  </a:lnTo>
                  <a:lnTo>
                    <a:pt x="38" y="13"/>
                  </a:lnTo>
                  <a:lnTo>
                    <a:pt x="40" y="18"/>
                  </a:lnTo>
                  <a:lnTo>
                    <a:pt x="38" y="21"/>
                  </a:lnTo>
                  <a:lnTo>
                    <a:pt x="37" y="25"/>
                  </a:lnTo>
                  <a:lnTo>
                    <a:pt x="35" y="27"/>
                  </a:lnTo>
                  <a:lnTo>
                    <a:pt x="30" y="28"/>
                  </a:lnTo>
                  <a:lnTo>
                    <a:pt x="26" y="28"/>
                  </a:lnTo>
                  <a:lnTo>
                    <a:pt x="21" y="28"/>
                  </a:lnTo>
                  <a:lnTo>
                    <a:pt x="16" y="27"/>
                  </a:lnTo>
                  <a:lnTo>
                    <a:pt x="10" y="25"/>
                  </a:lnTo>
                  <a:lnTo>
                    <a:pt x="5" y="21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2" y="6"/>
                  </a:lnTo>
                  <a:lnTo>
                    <a:pt x="3" y="4"/>
                  </a:lnTo>
                  <a:lnTo>
                    <a:pt x="7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49"/>
            <p:cNvSpPr>
              <a:spLocks/>
            </p:cNvSpPr>
            <p:nvPr userDrawn="1"/>
          </p:nvSpPr>
          <p:spPr bwMode="auto">
            <a:xfrm>
              <a:off x="7105651" y="5262563"/>
              <a:ext cx="261938" cy="330200"/>
            </a:xfrm>
            <a:custGeom>
              <a:avLst/>
              <a:gdLst>
                <a:gd name="T0" fmla="*/ 156 w 165"/>
                <a:gd name="T1" fmla="*/ 4 h 208"/>
                <a:gd name="T2" fmla="*/ 165 w 165"/>
                <a:gd name="T3" fmla="*/ 28 h 208"/>
                <a:gd name="T4" fmla="*/ 163 w 165"/>
                <a:gd name="T5" fmla="*/ 72 h 208"/>
                <a:gd name="T6" fmla="*/ 158 w 165"/>
                <a:gd name="T7" fmla="*/ 124 h 208"/>
                <a:gd name="T8" fmla="*/ 156 w 165"/>
                <a:gd name="T9" fmla="*/ 163 h 208"/>
                <a:gd name="T10" fmla="*/ 161 w 165"/>
                <a:gd name="T11" fmla="*/ 193 h 208"/>
                <a:gd name="T12" fmla="*/ 163 w 165"/>
                <a:gd name="T13" fmla="*/ 198 h 208"/>
                <a:gd name="T14" fmla="*/ 160 w 165"/>
                <a:gd name="T15" fmla="*/ 203 h 208"/>
                <a:gd name="T16" fmla="*/ 154 w 165"/>
                <a:gd name="T17" fmla="*/ 207 h 208"/>
                <a:gd name="T18" fmla="*/ 147 w 165"/>
                <a:gd name="T19" fmla="*/ 207 h 208"/>
                <a:gd name="T20" fmla="*/ 139 w 165"/>
                <a:gd name="T21" fmla="*/ 203 h 208"/>
                <a:gd name="T22" fmla="*/ 132 w 165"/>
                <a:gd name="T23" fmla="*/ 187 h 208"/>
                <a:gd name="T24" fmla="*/ 133 w 165"/>
                <a:gd name="T25" fmla="*/ 131 h 208"/>
                <a:gd name="T26" fmla="*/ 133 w 165"/>
                <a:gd name="T27" fmla="*/ 49 h 208"/>
                <a:gd name="T28" fmla="*/ 130 w 165"/>
                <a:gd name="T29" fmla="*/ 42 h 208"/>
                <a:gd name="T30" fmla="*/ 125 w 165"/>
                <a:gd name="T31" fmla="*/ 40 h 208"/>
                <a:gd name="T32" fmla="*/ 118 w 165"/>
                <a:gd name="T33" fmla="*/ 47 h 208"/>
                <a:gd name="T34" fmla="*/ 91 w 165"/>
                <a:gd name="T35" fmla="*/ 89 h 208"/>
                <a:gd name="T36" fmla="*/ 70 w 165"/>
                <a:gd name="T37" fmla="*/ 130 h 208"/>
                <a:gd name="T38" fmla="*/ 55 w 165"/>
                <a:gd name="T39" fmla="*/ 152 h 208"/>
                <a:gd name="T40" fmla="*/ 34 w 165"/>
                <a:gd name="T41" fmla="*/ 158 h 208"/>
                <a:gd name="T42" fmla="*/ 16 w 165"/>
                <a:gd name="T43" fmla="*/ 149 h 208"/>
                <a:gd name="T44" fmla="*/ 7 w 165"/>
                <a:gd name="T45" fmla="*/ 138 h 208"/>
                <a:gd name="T46" fmla="*/ 4 w 165"/>
                <a:gd name="T47" fmla="*/ 107 h 208"/>
                <a:gd name="T48" fmla="*/ 0 w 165"/>
                <a:gd name="T49" fmla="*/ 49 h 208"/>
                <a:gd name="T50" fmla="*/ 4 w 165"/>
                <a:gd name="T51" fmla="*/ 18 h 208"/>
                <a:gd name="T52" fmla="*/ 7 w 165"/>
                <a:gd name="T53" fmla="*/ 11 h 208"/>
                <a:gd name="T54" fmla="*/ 16 w 165"/>
                <a:gd name="T55" fmla="*/ 11 h 208"/>
                <a:gd name="T56" fmla="*/ 27 w 165"/>
                <a:gd name="T57" fmla="*/ 12 h 208"/>
                <a:gd name="T58" fmla="*/ 32 w 165"/>
                <a:gd name="T59" fmla="*/ 16 h 208"/>
                <a:gd name="T60" fmla="*/ 35 w 165"/>
                <a:gd name="T61" fmla="*/ 21 h 208"/>
                <a:gd name="T62" fmla="*/ 35 w 165"/>
                <a:gd name="T63" fmla="*/ 30 h 208"/>
                <a:gd name="T64" fmla="*/ 32 w 165"/>
                <a:gd name="T65" fmla="*/ 63 h 208"/>
                <a:gd name="T66" fmla="*/ 34 w 165"/>
                <a:gd name="T67" fmla="*/ 102 h 208"/>
                <a:gd name="T68" fmla="*/ 35 w 165"/>
                <a:gd name="T69" fmla="*/ 119 h 208"/>
                <a:gd name="T70" fmla="*/ 37 w 165"/>
                <a:gd name="T71" fmla="*/ 121 h 208"/>
                <a:gd name="T72" fmla="*/ 41 w 165"/>
                <a:gd name="T73" fmla="*/ 117 h 208"/>
                <a:gd name="T74" fmla="*/ 63 w 165"/>
                <a:gd name="T75" fmla="*/ 88 h 208"/>
                <a:gd name="T76" fmla="*/ 90 w 165"/>
                <a:gd name="T77" fmla="*/ 46 h 208"/>
                <a:gd name="T78" fmla="*/ 116 w 165"/>
                <a:gd name="T79" fmla="*/ 12 h 208"/>
                <a:gd name="T80" fmla="*/ 147 w 165"/>
                <a:gd name="T81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5" h="208">
                  <a:moveTo>
                    <a:pt x="147" y="0"/>
                  </a:moveTo>
                  <a:lnTo>
                    <a:pt x="156" y="4"/>
                  </a:lnTo>
                  <a:lnTo>
                    <a:pt x="163" y="14"/>
                  </a:lnTo>
                  <a:lnTo>
                    <a:pt x="165" y="28"/>
                  </a:lnTo>
                  <a:lnTo>
                    <a:pt x="165" y="47"/>
                  </a:lnTo>
                  <a:lnTo>
                    <a:pt x="163" y="72"/>
                  </a:lnTo>
                  <a:lnTo>
                    <a:pt x="161" y="100"/>
                  </a:lnTo>
                  <a:lnTo>
                    <a:pt x="158" y="124"/>
                  </a:lnTo>
                  <a:lnTo>
                    <a:pt x="156" y="144"/>
                  </a:lnTo>
                  <a:lnTo>
                    <a:pt x="156" y="163"/>
                  </a:lnTo>
                  <a:lnTo>
                    <a:pt x="158" y="180"/>
                  </a:lnTo>
                  <a:lnTo>
                    <a:pt x="161" y="193"/>
                  </a:lnTo>
                  <a:lnTo>
                    <a:pt x="163" y="196"/>
                  </a:lnTo>
                  <a:lnTo>
                    <a:pt x="163" y="198"/>
                  </a:lnTo>
                  <a:lnTo>
                    <a:pt x="161" y="200"/>
                  </a:lnTo>
                  <a:lnTo>
                    <a:pt x="160" y="203"/>
                  </a:lnTo>
                  <a:lnTo>
                    <a:pt x="158" y="205"/>
                  </a:lnTo>
                  <a:lnTo>
                    <a:pt x="154" y="207"/>
                  </a:lnTo>
                  <a:lnTo>
                    <a:pt x="151" y="208"/>
                  </a:lnTo>
                  <a:lnTo>
                    <a:pt x="147" y="207"/>
                  </a:lnTo>
                  <a:lnTo>
                    <a:pt x="144" y="205"/>
                  </a:lnTo>
                  <a:lnTo>
                    <a:pt x="139" y="203"/>
                  </a:lnTo>
                  <a:lnTo>
                    <a:pt x="135" y="196"/>
                  </a:lnTo>
                  <a:lnTo>
                    <a:pt x="132" y="187"/>
                  </a:lnTo>
                  <a:lnTo>
                    <a:pt x="130" y="175"/>
                  </a:lnTo>
                  <a:lnTo>
                    <a:pt x="133" y="131"/>
                  </a:lnTo>
                  <a:lnTo>
                    <a:pt x="133" y="89"/>
                  </a:lnTo>
                  <a:lnTo>
                    <a:pt x="133" y="49"/>
                  </a:lnTo>
                  <a:lnTo>
                    <a:pt x="132" y="44"/>
                  </a:lnTo>
                  <a:lnTo>
                    <a:pt x="130" y="42"/>
                  </a:lnTo>
                  <a:lnTo>
                    <a:pt x="128" y="40"/>
                  </a:lnTo>
                  <a:lnTo>
                    <a:pt x="125" y="40"/>
                  </a:lnTo>
                  <a:lnTo>
                    <a:pt x="121" y="44"/>
                  </a:lnTo>
                  <a:lnTo>
                    <a:pt x="118" y="47"/>
                  </a:lnTo>
                  <a:lnTo>
                    <a:pt x="105" y="68"/>
                  </a:lnTo>
                  <a:lnTo>
                    <a:pt x="91" y="89"/>
                  </a:lnTo>
                  <a:lnTo>
                    <a:pt x="81" y="110"/>
                  </a:lnTo>
                  <a:lnTo>
                    <a:pt x="70" y="130"/>
                  </a:lnTo>
                  <a:lnTo>
                    <a:pt x="62" y="144"/>
                  </a:lnTo>
                  <a:lnTo>
                    <a:pt x="55" y="152"/>
                  </a:lnTo>
                  <a:lnTo>
                    <a:pt x="46" y="159"/>
                  </a:lnTo>
                  <a:lnTo>
                    <a:pt x="34" y="158"/>
                  </a:lnTo>
                  <a:lnTo>
                    <a:pt x="23" y="154"/>
                  </a:lnTo>
                  <a:lnTo>
                    <a:pt x="16" y="149"/>
                  </a:lnTo>
                  <a:lnTo>
                    <a:pt x="11" y="144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4" y="107"/>
                  </a:lnTo>
                  <a:lnTo>
                    <a:pt x="2" y="79"/>
                  </a:lnTo>
                  <a:lnTo>
                    <a:pt x="0" y="49"/>
                  </a:lnTo>
                  <a:lnTo>
                    <a:pt x="2" y="23"/>
                  </a:lnTo>
                  <a:lnTo>
                    <a:pt x="4" y="18"/>
                  </a:lnTo>
                  <a:lnTo>
                    <a:pt x="6" y="14"/>
                  </a:lnTo>
                  <a:lnTo>
                    <a:pt x="7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23" y="11"/>
                  </a:lnTo>
                  <a:lnTo>
                    <a:pt x="27" y="12"/>
                  </a:lnTo>
                  <a:lnTo>
                    <a:pt x="30" y="14"/>
                  </a:lnTo>
                  <a:lnTo>
                    <a:pt x="32" y="16"/>
                  </a:lnTo>
                  <a:lnTo>
                    <a:pt x="34" y="18"/>
                  </a:lnTo>
                  <a:lnTo>
                    <a:pt x="35" y="21"/>
                  </a:lnTo>
                  <a:lnTo>
                    <a:pt x="35" y="25"/>
                  </a:lnTo>
                  <a:lnTo>
                    <a:pt x="35" y="30"/>
                  </a:lnTo>
                  <a:lnTo>
                    <a:pt x="34" y="44"/>
                  </a:lnTo>
                  <a:lnTo>
                    <a:pt x="32" y="63"/>
                  </a:lnTo>
                  <a:lnTo>
                    <a:pt x="32" y="84"/>
                  </a:lnTo>
                  <a:lnTo>
                    <a:pt x="34" y="102"/>
                  </a:lnTo>
                  <a:lnTo>
                    <a:pt x="35" y="116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7" y="121"/>
                  </a:lnTo>
                  <a:lnTo>
                    <a:pt x="39" y="119"/>
                  </a:lnTo>
                  <a:lnTo>
                    <a:pt x="41" y="117"/>
                  </a:lnTo>
                  <a:lnTo>
                    <a:pt x="51" y="105"/>
                  </a:lnTo>
                  <a:lnTo>
                    <a:pt x="63" y="88"/>
                  </a:lnTo>
                  <a:lnTo>
                    <a:pt x="76" y="67"/>
                  </a:lnTo>
                  <a:lnTo>
                    <a:pt x="90" y="46"/>
                  </a:lnTo>
                  <a:lnTo>
                    <a:pt x="100" y="30"/>
                  </a:lnTo>
                  <a:lnTo>
                    <a:pt x="116" y="12"/>
                  </a:lnTo>
                  <a:lnTo>
                    <a:pt x="130" y="4"/>
                  </a:lnTo>
                  <a:lnTo>
                    <a:pt x="14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50"/>
            <p:cNvSpPr>
              <a:spLocks/>
            </p:cNvSpPr>
            <p:nvPr userDrawn="1"/>
          </p:nvSpPr>
          <p:spPr bwMode="auto">
            <a:xfrm>
              <a:off x="7416801" y="5257800"/>
              <a:ext cx="284163" cy="596900"/>
            </a:xfrm>
            <a:custGeom>
              <a:avLst/>
              <a:gdLst>
                <a:gd name="T0" fmla="*/ 119 w 179"/>
                <a:gd name="T1" fmla="*/ 1 h 376"/>
                <a:gd name="T2" fmla="*/ 130 w 179"/>
                <a:gd name="T3" fmla="*/ 8 h 376"/>
                <a:gd name="T4" fmla="*/ 128 w 179"/>
                <a:gd name="T5" fmla="*/ 15 h 376"/>
                <a:gd name="T6" fmla="*/ 123 w 179"/>
                <a:gd name="T7" fmla="*/ 17 h 376"/>
                <a:gd name="T8" fmla="*/ 114 w 179"/>
                <a:gd name="T9" fmla="*/ 19 h 376"/>
                <a:gd name="T10" fmla="*/ 88 w 179"/>
                <a:gd name="T11" fmla="*/ 29 h 376"/>
                <a:gd name="T12" fmla="*/ 49 w 179"/>
                <a:gd name="T13" fmla="*/ 59 h 376"/>
                <a:gd name="T14" fmla="*/ 30 w 179"/>
                <a:gd name="T15" fmla="*/ 98 h 376"/>
                <a:gd name="T16" fmla="*/ 44 w 179"/>
                <a:gd name="T17" fmla="*/ 136 h 376"/>
                <a:gd name="T18" fmla="*/ 67 w 179"/>
                <a:gd name="T19" fmla="*/ 145 h 376"/>
                <a:gd name="T20" fmla="*/ 89 w 179"/>
                <a:gd name="T21" fmla="*/ 129 h 376"/>
                <a:gd name="T22" fmla="*/ 109 w 179"/>
                <a:gd name="T23" fmla="*/ 110 h 376"/>
                <a:gd name="T24" fmla="*/ 117 w 179"/>
                <a:gd name="T25" fmla="*/ 99 h 376"/>
                <a:gd name="T26" fmla="*/ 123 w 179"/>
                <a:gd name="T27" fmla="*/ 92 h 376"/>
                <a:gd name="T28" fmla="*/ 126 w 179"/>
                <a:gd name="T29" fmla="*/ 85 h 376"/>
                <a:gd name="T30" fmla="*/ 128 w 179"/>
                <a:gd name="T31" fmla="*/ 75 h 376"/>
                <a:gd name="T32" fmla="*/ 128 w 179"/>
                <a:gd name="T33" fmla="*/ 66 h 376"/>
                <a:gd name="T34" fmla="*/ 131 w 179"/>
                <a:gd name="T35" fmla="*/ 61 h 376"/>
                <a:gd name="T36" fmla="*/ 140 w 179"/>
                <a:gd name="T37" fmla="*/ 57 h 376"/>
                <a:gd name="T38" fmla="*/ 151 w 179"/>
                <a:gd name="T39" fmla="*/ 59 h 376"/>
                <a:gd name="T40" fmla="*/ 158 w 179"/>
                <a:gd name="T41" fmla="*/ 64 h 376"/>
                <a:gd name="T42" fmla="*/ 161 w 179"/>
                <a:gd name="T43" fmla="*/ 75 h 376"/>
                <a:gd name="T44" fmla="*/ 166 w 179"/>
                <a:gd name="T45" fmla="*/ 124 h 376"/>
                <a:gd name="T46" fmla="*/ 172 w 179"/>
                <a:gd name="T47" fmla="*/ 185 h 376"/>
                <a:gd name="T48" fmla="*/ 177 w 179"/>
                <a:gd name="T49" fmla="*/ 232 h 376"/>
                <a:gd name="T50" fmla="*/ 179 w 179"/>
                <a:gd name="T51" fmla="*/ 287 h 376"/>
                <a:gd name="T52" fmla="*/ 170 w 179"/>
                <a:gd name="T53" fmla="*/ 336 h 376"/>
                <a:gd name="T54" fmla="*/ 145 w 179"/>
                <a:gd name="T55" fmla="*/ 369 h 376"/>
                <a:gd name="T56" fmla="*/ 107 w 179"/>
                <a:gd name="T57" fmla="*/ 376 h 376"/>
                <a:gd name="T58" fmla="*/ 95 w 179"/>
                <a:gd name="T59" fmla="*/ 367 h 376"/>
                <a:gd name="T60" fmla="*/ 95 w 179"/>
                <a:gd name="T61" fmla="*/ 360 h 376"/>
                <a:gd name="T62" fmla="*/ 100 w 179"/>
                <a:gd name="T63" fmla="*/ 358 h 376"/>
                <a:gd name="T64" fmla="*/ 117 w 179"/>
                <a:gd name="T65" fmla="*/ 358 h 376"/>
                <a:gd name="T66" fmla="*/ 142 w 179"/>
                <a:gd name="T67" fmla="*/ 334 h 376"/>
                <a:gd name="T68" fmla="*/ 151 w 179"/>
                <a:gd name="T69" fmla="*/ 281 h 376"/>
                <a:gd name="T70" fmla="*/ 147 w 179"/>
                <a:gd name="T71" fmla="*/ 220 h 376"/>
                <a:gd name="T72" fmla="*/ 140 w 179"/>
                <a:gd name="T73" fmla="*/ 164 h 376"/>
                <a:gd name="T74" fmla="*/ 135 w 179"/>
                <a:gd name="T75" fmla="*/ 119 h 376"/>
                <a:gd name="T76" fmla="*/ 103 w 179"/>
                <a:gd name="T77" fmla="*/ 152 h 376"/>
                <a:gd name="T78" fmla="*/ 65 w 179"/>
                <a:gd name="T79" fmla="*/ 164 h 376"/>
                <a:gd name="T80" fmla="*/ 23 w 179"/>
                <a:gd name="T81" fmla="*/ 152 h 376"/>
                <a:gd name="T82" fmla="*/ 2 w 179"/>
                <a:gd name="T83" fmla="*/ 119 h 376"/>
                <a:gd name="T84" fmla="*/ 4 w 179"/>
                <a:gd name="T85" fmla="*/ 82 h 376"/>
                <a:gd name="T86" fmla="*/ 28 w 179"/>
                <a:gd name="T87" fmla="*/ 42 h 376"/>
                <a:gd name="T88" fmla="*/ 65 w 179"/>
                <a:gd name="T89" fmla="*/ 10 h 376"/>
                <a:gd name="T90" fmla="*/ 107 w 179"/>
                <a:gd name="T91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9" h="376">
                  <a:moveTo>
                    <a:pt x="107" y="0"/>
                  </a:moveTo>
                  <a:lnTo>
                    <a:pt x="119" y="1"/>
                  </a:lnTo>
                  <a:lnTo>
                    <a:pt x="128" y="5"/>
                  </a:lnTo>
                  <a:lnTo>
                    <a:pt x="130" y="8"/>
                  </a:lnTo>
                  <a:lnTo>
                    <a:pt x="130" y="12"/>
                  </a:lnTo>
                  <a:lnTo>
                    <a:pt x="128" y="15"/>
                  </a:lnTo>
                  <a:lnTo>
                    <a:pt x="126" y="17"/>
                  </a:lnTo>
                  <a:lnTo>
                    <a:pt x="123" y="17"/>
                  </a:lnTo>
                  <a:lnTo>
                    <a:pt x="119" y="19"/>
                  </a:lnTo>
                  <a:lnTo>
                    <a:pt x="114" y="19"/>
                  </a:lnTo>
                  <a:lnTo>
                    <a:pt x="107" y="21"/>
                  </a:lnTo>
                  <a:lnTo>
                    <a:pt x="88" y="29"/>
                  </a:lnTo>
                  <a:lnTo>
                    <a:pt x="67" y="42"/>
                  </a:lnTo>
                  <a:lnTo>
                    <a:pt x="49" y="59"/>
                  </a:lnTo>
                  <a:lnTo>
                    <a:pt x="35" y="77"/>
                  </a:lnTo>
                  <a:lnTo>
                    <a:pt x="30" y="98"/>
                  </a:lnTo>
                  <a:lnTo>
                    <a:pt x="34" y="120"/>
                  </a:lnTo>
                  <a:lnTo>
                    <a:pt x="44" y="136"/>
                  </a:lnTo>
                  <a:lnTo>
                    <a:pt x="54" y="143"/>
                  </a:lnTo>
                  <a:lnTo>
                    <a:pt x="67" y="145"/>
                  </a:lnTo>
                  <a:lnTo>
                    <a:pt x="77" y="138"/>
                  </a:lnTo>
                  <a:lnTo>
                    <a:pt x="89" y="129"/>
                  </a:lnTo>
                  <a:lnTo>
                    <a:pt x="102" y="117"/>
                  </a:lnTo>
                  <a:lnTo>
                    <a:pt x="109" y="110"/>
                  </a:lnTo>
                  <a:lnTo>
                    <a:pt x="114" y="103"/>
                  </a:lnTo>
                  <a:lnTo>
                    <a:pt x="117" y="99"/>
                  </a:lnTo>
                  <a:lnTo>
                    <a:pt x="121" y="96"/>
                  </a:lnTo>
                  <a:lnTo>
                    <a:pt x="123" y="92"/>
                  </a:lnTo>
                  <a:lnTo>
                    <a:pt x="124" y="91"/>
                  </a:lnTo>
                  <a:lnTo>
                    <a:pt x="126" y="85"/>
                  </a:lnTo>
                  <a:lnTo>
                    <a:pt x="128" y="80"/>
                  </a:lnTo>
                  <a:lnTo>
                    <a:pt x="128" y="75"/>
                  </a:lnTo>
                  <a:lnTo>
                    <a:pt x="128" y="71"/>
                  </a:lnTo>
                  <a:lnTo>
                    <a:pt x="128" y="66"/>
                  </a:lnTo>
                  <a:lnTo>
                    <a:pt x="130" y="63"/>
                  </a:lnTo>
                  <a:lnTo>
                    <a:pt x="131" y="61"/>
                  </a:lnTo>
                  <a:lnTo>
                    <a:pt x="135" y="59"/>
                  </a:lnTo>
                  <a:lnTo>
                    <a:pt x="140" y="57"/>
                  </a:lnTo>
                  <a:lnTo>
                    <a:pt x="145" y="59"/>
                  </a:lnTo>
                  <a:lnTo>
                    <a:pt x="151" y="59"/>
                  </a:lnTo>
                  <a:lnTo>
                    <a:pt x="154" y="61"/>
                  </a:lnTo>
                  <a:lnTo>
                    <a:pt x="158" y="64"/>
                  </a:lnTo>
                  <a:lnTo>
                    <a:pt x="159" y="70"/>
                  </a:lnTo>
                  <a:lnTo>
                    <a:pt x="161" y="75"/>
                  </a:lnTo>
                  <a:lnTo>
                    <a:pt x="163" y="94"/>
                  </a:lnTo>
                  <a:lnTo>
                    <a:pt x="166" y="124"/>
                  </a:lnTo>
                  <a:lnTo>
                    <a:pt x="170" y="166"/>
                  </a:lnTo>
                  <a:lnTo>
                    <a:pt x="172" y="185"/>
                  </a:lnTo>
                  <a:lnTo>
                    <a:pt x="173" y="208"/>
                  </a:lnTo>
                  <a:lnTo>
                    <a:pt x="177" y="232"/>
                  </a:lnTo>
                  <a:lnTo>
                    <a:pt x="179" y="260"/>
                  </a:lnTo>
                  <a:lnTo>
                    <a:pt x="179" y="287"/>
                  </a:lnTo>
                  <a:lnTo>
                    <a:pt x="175" y="313"/>
                  </a:lnTo>
                  <a:lnTo>
                    <a:pt x="170" y="336"/>
                  </a:lnTo>
                  <a:lnTo>
                    <a:pt x="161" y="355"/>
                  </a:lnTo>
                  <a:lnTo>
                    <a:pt x="145" y="369"/>
                  </a:lnTo>
                  <a:lnTo>
                    <a:pt x="124" y="376"/>
                  </a:lnTo>
                  <a:lnTo>
                    <a:pt x="107" y="376"/>
                  </a:lnTo>
                  <a:lnTo>
                    <a:pt x="96" y="371"/>
                  </a:lnTo>
                  <a:lnTo>
                    <a:pt x="95" y="367"/>
                  </a:lnTo>
                  <a:lnTo>
                    <a:pt x="95" y="364"/>
                  </a:lnTo>
                  <a:lnTo>
                    <a:pt x="95" y="360"/>
                  </a:lnTo>
                  <a:lnTo>
                    <a:pt x="96" y="358"/>
                  </a:lnTo>
                  <a:lnTo>
                    <a:pt x="100" y="358"/>
                  </a:lnTo>
                  <a:lnTo>
                    <a:pt x="103" y="358"/>
                  </a:lnTo>
                  <a:lnTo>
                    <a:pt x="117" y="358"/>
                  </a:lnTo>
                  <a:lnTo>
                    <a:pt x="131" y="351"/>
                  </a:lnTo>
                  <a:lnTo>
                    <a:pt x="142" y="334"/>
                  </a:lnTo>
                  <a:lnTo>
                    <a:pt x="149" y="309"/>
                  </a:lnTo>
                  <a:lnTo>
                    <a:pt x="151" y="281"/>
                  </a:lnTo>
                  <a:lnTo>
                    <a:pt x="149" y="246"/>
                  </a:lnTo>
                  <a:lnTo>
                    <a:pt x="147" y="220"/>
                  </a:lnTo>
                  <a:lnTo>
                    <a:pt x="144" y="192"/>
                  </a:lnTo>
                  <a:lnTo>
                    <a:pt x="140" y="164"/>
                  </a:lnTo>
                  <a:lnTo>
                    <a:pt x="138" y="138"/>
                  </a:lnTo>
                  <a:lnTo>
                    <a:pt x="135" y="119"/>
                  </a:lnTo>
                  <a:lnTo>
                    <a:pt x="121" y="138"/>
                  </a:lnTo>
                  <a:lnTo>
                    <a:pt x="103" y="152"/>
                  </a:lnTo>
                  <a:lnTo>
                    <a:pt x="86" y="161"/>
                  </a:lnTo>
                  <a:lnTo>
                    <a:pt x="65" y="164"/>
                  </a:lnTo>
                  <a:lnTo>
                    <a:pt x="42" y="161"/>
                  </a:lnTo>
                  <a:lnTo>
                    <a:pt x="23" y="152"/>
                  </a:lnTo>
                  <a:lnTo>
                    <a:pt x="11" y="136"/>
                  </a:lnTo>
                  <a:lnTo>
                    <a:pt x="2" y="119"/>
                  </a:lnTo>
                  <a:lnTo>
                    <a:pt x="0" y="99"/>
                  </a:lnTo>
                  <a:lnTo>
                    <a:pt x="4" y="82"/>
                  </a:lnTo>
                  <a:lnTo>
                    <a:pt x="13" y="63"/>
                  </a:lnTo>
                  <a:lnTo>
                    <a:pt x="28" y="42"/>
                  </a:lnTo>
                  <a:lnTo>
                    <a:pt x="46" y="24"/>
                  </a:lnTo>
                  <a:lnTo>
                    <a:pt x="65" y="10"/>
                  </a:lnTo>
                  <a:lnTo>
                    <a:pt x="86" y="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51"/>
            <p:cNvSpPr>
              <a:spLocks/>
            </p:cNvSpPr>
            <p:nvPr userDrawn="1"/>
          </p:nvSpPr>
          <p:spPr bwMode="auto">
            <a:xfrm>
              <a:off x="7905751" y="5046663"/>
              <a:ext cx="330200" cy="479425"/>
            </a:xfrm>
            <a:custGeom>
              <a:avLst/>
              <a:gdLst>
                <a:gd name="T0" fmla="*/ 21 w 208"/>
                <a:gd name="T1" fmla="*/ 1 h 302"/>
                <a:gd name="T2" fmla="*/ 30 w 208"/>
                <a:gd name="T3" fmla="*/ 7 h 302"/>
                <a:gd name="T4" fmla="*/ 35 w 208"/>
                <a:gd name="T5" fmla="*/ 19 h 302"/>
                <a:gd name="T6" fmla="*/ 44 w 208"/>
                <a:gd name="T7" fmla="*/ 122 h 302"/>
                <a:gd name="T8" fmla="*/ 58 w 208"/>
                <a:gd name="T9" fmla="*/ 210 h 302"/>
                <a:gd name="T10" fmla="*/ 89 w 208"/>
                <a:gd name="T11" fmla="*/ 168 h 302"/>
                <a:gd name="T12" fmla="*/ 131 w 208"/>
                <a:gd name="T13" fmla="*/ 136 h 302"/>
                <a:gd name="T14" fmla="*/ 170 w 208"/>
                <a:gd name="T15" fmla="*/ 129 h 302"/>
                <a:gd name="T16" fmla="*/ 194 w 208"/>
                <a:gd name="T17" fmla="*/ 138 h 302"/>
                <a:gd name="T18" fmla="*/ 208 w 208"/>
                <a:gd name="T19" fmla="*/ 169 h 302"/>
                <a:gd name="T20" fmla="*/ 205 w 208"/>
                <a:gd name="T21" fmla="*/ 215 h 302"/>
                <a:gd name="T22" fmla="*/ 187 w 208"/>
                <a:gd name="T23" fmla="*/ 260 h 302"/>
                <a:gd name="T24" fmla="*/ 154 w 208"/>
                <a:gd name="T25" fmla="*/ 294 h 302"/>
                <a:gd name="T26" fmla="*/ 126 w 208"/>
                <a:gd name="T27" fmla="*/ 302 h 302"/>
                <a:gd name="T28" fmla="*/ 115 w 208"/>
                <a:gd name="T29" fmla="*/ 301 h 302"/>
                <a:gd name="T30" fmla="*/ 108 w 208"/>
                <a:gd name="T31" fmla="*/ 295 h 302"/>
                <a:gd name="T32" fmla="*/ 105 w 208"/>
                <a:gd name="T33" fmla="*/ 288 h 302"/>
                <a:gd name="T34" fmla="*/ 107 w 208"/>
                <a:gd name="T35" fmla="*/ 281 h 302"/>
                <a:gd name="T36" fmla="*/ 112 w 208"/>
                <a:gd name="T37" fmla="*/ 281 h 302"/>
                <a:gd name="T38" fmla="*/ 133 w 208"/>
                <a:gd name="T39" fmla="*/ 283 h 302"/>
                <a:gd name="T40" fmla="*/ 161 w 208"/>
                <a:gd name="T41" fmla="*/ 257 h 302"/>
                <a:gd name="T42" fmla="*/ 177 w 208"/>
                <a:gd name="T43" fmla="*/ 197 h 302"/>
                <a:gd name="T44" fmla="*/ 171 w 208"/>
                <a:gd name="T45" fmla="*/ 157 h 302"/>
                <a:gd name="T46" fmla="*/ 164 w 208"/>
                <a:gd name="T47" fmla="*/ 152 h 302"/>
                <a:gd name="T48" fmla="*/ 154 w 208"/>
                <a:gd name="T49" fmla="*/ 154 h 302"/>
                <a:gd name="T50" fmla="*/ 140 w 208"/>
                <a:gd name="T51" fmla="*/ 161 h 302"/>
                <a:gd name="T52" fmla="*/ 110 w 208"/>
                <a:gd name="T53" fmla="*/ 183 h 302"/>
                <a:gd name="T54" fmla="*/ 79 w 208"/>
                <a:gd name="T55" fmla="*/ 227 h 302"/>
                <a:gd name="T56" fmla="*/ 63 w 208"/>
                <a:gd name="T57" fmla="*/ 266 h 302"/>
                <a:gd name="T58" fmla="*/ 56 w 208"/>
                <a:gd name="T59" fmla="*/ 274 h 302"/>
                <a:gd name="T60" fmla="*/ 45 w 208"/>
                <a:gd name="T61" fmla="*/ 276 h 302"/>
                <a:gd name="T62" fmla="*/ 37 w 208"/>
                <a:gd name="T63" fmla="*/ 274 h 302"/>
                <a:gd name="T64" fmla="*/ 31 w 208"/>
                <a:gd name="T65" fmla="*/ 267 h 302"/>
                <a:gd name="T66" fmla="*/ 31 w 208"/>
                <a:gd name="T67" fmla="*/ 259 h 302"/>
                <a:gd name="T68" fmla="*/ 31 w 208"/>
                <a:gd name="T69" fmla="*/ 224 h 302"/>
                <a:gd name="T70" fmla="*/ 26 w 208"/>
                <a:gd name="T71" fmla="*/ 187 h 302"/>
                <a:gd name="T72" fmla="*/ 17 w 208"/>
                <a:gd name="T73" fmla="*/ 140 h 302"/>
                <a:gd name="T74" fmla="*/ 7 w 208"/>
                <a:gd name="T75" fmla="*/ 78 h 302"/>
                <a:gd name="T76" fmla="*/ 0 w 208"/>
                <a:gd name="T77" fmla="*/ 22 h 302"/>
                <a:gd name="T78" fmla="*/ 2 w 208"/>
                <a:gd name="T79" fmla="*/ 8 h 302"/>
                <a:gd name="T80" fmla="*/ 9 w 208"/>
                <a:gd name="T81" fmla="*/ 1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8" h="302">
                  <a:moveTo>
                    <a:pt x="14" y="0"/>
                  </a:moveTo>
                  <a:lnTo>
                    <a:pt x="21" y="1"/>
                  </a:lnTo>
                  <a:lnTo>
                    <a:pt x="26" y="3"/>
                  </a:lnTo>
                  <a:lnTo>
                    <a:pt x="30" y="7"/>
                  </a:lnTo>
                  <a:lnTo>
                    <a:pt x="33" y="12"/>
                  </a:lnTo>
                  <a:lnTo>
                    <a:pt x="35" y="19"/>
                  </a:lnTo>
                  <a:lnTo>
                    <a:pt x="40" y="75"/>
                  </a:lnTo>
                  <a:lnTo>
                    <a:pt x="44" y="122"/>
                  </a:lnTo>
                  <a:lnTo>
                    <a:pt x="49" y="166"/>
                  </a:lnTo>
                  <a:lnTo>
                    <a:pt x="58" y="210"/>
                  </a:lnTo>
                  <a:lnTo>
                    <a:pt x="72" y="189"/>
                  </a:lnTo>
                  <a:lnTo>
                    <a:pt x="89" y="168"/>
                  </a:lnTo>
                  <a:lnTo>
                    <a:pt x="108" y="150"/>
                  </a:lnTo>
                  <a:lnTo>
                    <a:pt x="131" y="136"/>
                  </a:lnTo>
                  <a:lnTo>
                    <a:pt x="157" y="129"/>
                  </a:lnTo>
                  <a:lnTo>
                    <a:pt x="170" y="129"/>
                  </a:lnTo>
                  <a:lnTo>
                    <a:pt x="184" y="133"/>
                  </a:lnTo>
                  <a:lnTo>
                    <a:pt x="194" y="138"/>
                  </a:lnTo>
                  <a:lnTo>
                    <a:pt x="203" y="152"/>
                  </a:lnTo>
                  <a:lnTo>
                    <a:pt x="208" y="169"/>
                  </a:lnTo>
                  <a:lnTo>
                    <a:pt x="208" y="192"/>
                  </a:lnTo>
                  <a:lnTo>
                    <a:pt x="205" y="215"/>
                  </a:lnTo>
                  <a:lnTo>
                    <a:pt x="198" y="239"/>
                  </a:lnTo>
                  <a:lnTo>
                    <a:pt x="187" y="260"/>
                  </a:lnTo>
                  <a:lnTo>
                    <a:pt x="173" y="280"/>
                  </a:lnTo>
                  <a:lnTo>
                    <a:pt x="154" y="294"/>
                  </a:lnTo>
                  <a:lnTo>
                    <a:pt x="133" y="302"/>
                  </a:lnTo>
                  <a:lnTo>
                    <a:pt x="126" y="302"/>
                  </a:lnTo>
                  <a:lnTo>
                    <a:pt x="119" y="301"/>
                  </a:lnTo>
                  <a:lnTo>
                    <a:pt x="115" y="301"/>
                  </a:lnTo>
                  <a:lnTo>
                    <a:pt x="112" y="297"/>
                  </a:lnTo>
                  <a:lnTo>
                    <a:pt x="108" y="295"/>
                  </a:lnTo>
                  <a:lnTo>
                    <a:pt x="107" y="292"/>
                  </a:lnTo>
                  <a:lnTo>
                    <a:pt x="105" y="288"/>
                  </a:lnTo>
                  <a:lnTo>
                    <a:pt x="105" y="285"/>
                  </a:lnTo>
                  <a:lnTo>
                    <a:pt x="107" y="281"/>
                  </a:lnTo>
                  <a:lnTo>
                    <a:pt x="108" y="281"/>
                  </a:lnTo>
                  <a:lnTo>
                    <a:pt x="112" y="281"/>
                  </a:lnTo>
                  <a:lnTo>
                    <a:pt x="122" y="285"/>
                  </a:lnTo>
                  <a:lnTo>
                    <a:pt x="133" y="283"/>
                  </a:lnTo>
                  <a:lnTo>
                    <a:pt x="145" y="276"/>
                  </a:lnTo>
                  <a:lnTo>
                    <a:pt x="161" y="257"/>
                  </a:lnTo>
                  <a:lnTo>
                    <a:pt x="171" y="229"/>
                  </a:lnTo>
                  <a:lnTo>
                    <a:pt x="177" y="197"/>
                  </a:lnTo>
                  <a:lnTo>
                    <a:pt x="173" y="162"/>
                  </a:lnTo>
                  <a:lnTo>
                    <a:pt x="171" y="157"/>
                  </a:lnTo>
                  <a:lnTo>
                    <a:pt x="168" y="154"/>
                  </a:lnTo>
                  <a:lnTo>
                    <a:pt x="164" y="152"/>
                  </a:lnTo>
                  <a:lnTo>
                    <a:pt x="161" y="152"/>
                  </a:lnTo>
                  <a:lnTo>
                    <a:pt x="154" y="154"/>
                  </a:lnTo>
                  <a:lnTo>
                    <a:pt x="149" y="155"/>
                  </a:lnTo>
                  <a:lnTo>
                    <a:pt x="140" y="161"/>
                  </a:lnTo>
                  <a:lnTo>
                    <a:pt x="126" y="169"/>
                  </a:lnTo>
                  <a:lnTo>
                    <a:pt x="110" y="183"/>
                  </a:lnTo>
                  <a:lnTo>
                    <a:pt x="94" y="201"/>
                  </a:lnTo>
                  <a:lnTo>
                    <a:pt x="79" y="227"/>
                  </a:lnTo>
                  <a:lnTo>
                    <a:pt x="66" y="259"/>
                  </a:lnTo>
                  <a:lnTo>
                    <a:pt x="63" y="266"/>
                  </a:lnTo>
                  <a:lnTo>
                    <a:pt x="59" y="271"/>
                  </a:lnTo>
                  <a:lnTo>
                    <a:pt x="56" y="274"/>
                  </a:lnTo>
                  <a:lnTo>
                    <a:pt x="51" y="276"/>
                  </a:lnTo>
                  <a:lnTo>
                    <a:pt x="45" y="276"/>
                  </a:lnTo>
                  <a:lnTo>
                    <a:pt x="40" y="276"/>
                  </a:lnTo>
                  <a:lnTo>
                    <a:pt x="37" y="274"/>
                  </a:lnTo>
                  <a:lnTo>
                    <a:pt x="33" y="271"/>
                  </a:lnTo>
                  <a:lnTo>
                    <a:pt x="31" y="267"/>
                  </a:lnTo>
                  <a:lnTo>
                    <a:pt x="31" y="264"/>
                  </a:lnTo>
                  <a:lnTo>
                    <a:pt x="31" y="259"/>
                  </a:lnTo>
                  <a:lnTo>
                    <a:pt x="33" y="243"/>
                  </a:lnTo>
                  <a:lnTo>
                    <a:pt x="31" y="224"/>
                  </a:lnTo>
                  <a:lnTo>
                    <a:pt x="28" y="201"/>
                  </a:lnTo>
                  <a:lnTo>
                    <a:pt x="26" y="187"/>
                  </a:lnTo>
                  <a:lnTo>
                    <a:pt x="21" y="166"/>
                  </a:lnTo>
                  <a:lnTo>
                    <a:pt x="17" y="140"/>
                  </a:lnTo>
                  <a:lnTo>
                    <a:pt x="12" y="110"/>
                  </a:lnTo>
                  <a:lnTo>
                    <a:pt x="7" y="78"/>
                  </a:lnTo>
                  <a:lnTo>
                    <a:pt x="4" y="49"/>
                  </a:lnTo>
                  <a:lnTo>
                    <a:pt x="0" y="22"/>
                  </a:lnTo>
                  <a:lnTo>
                    <a:pt x="0" y="15"/>
                  </a:lnTo>
                  <a:lnTo>
                    <a:pt x="2" y="8"/>
                  </a:lnTo>
                  <a:lnTo>
                    <a:pt x="5" y="5"/>
                  </a:lnTo>
                  <a:lnTo>
                    <a:pt x="9" y="1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52"/>
            <p:cNvSpPr>
              <a:spLocks/>
            </p:cNvSpPr>
            <p:nvPr userDrawn="1"/>
          </p:nvSpPr>
          <p:spPr bwMode="auto">
            <a:xfrm>
              <a:off x="8275638" y="5257800"/>
              <a:ext cx="254000" cy="590550"/>
            </a:xfrm>
            <a:custGeom>
              <a:avLst/>
              <a:gdLst>
                <a:gd name="T0" fmla="*/ 150 w 160"/>
                <a:gd name="T1" fmla="*/ 1 h 372"/>
                <a:gd name="T2" fmla="*/ 159 w 160"/>
                <a:gd name="T3" fmla="*/ 10 h 372"/>
                <a:gd name="T4" fmla="*/ 160 w 160"/>
                <a:gd name="T5" fmla="*/ 45 h 372"/>
                <a:gd name="T6" fmla="*/ 150 w 160"/>
                <a:gd name="T7" fmla="*/ 105 h 372"/>
                <a:gd name="T8" fmla="*/ 131 w 160"/>
                <a:gd name="T9" fmla="*/ 175 h 372"/>
                <a:gd name="T10" fmla="*/ 117 w 160"/>
                <a:gd name="T11" fmla="*/ 241 h 372"/>
                <a:gd name="T12" fmla="*/ 115 w 160"/>
                <a:gd name="T13" fmla="*/ 287 h 372"/>
                <a:gd name="T14" fmla="*/ 118 w 160"/>
                <a:gd name="T15" fmla="*/ 318 h 372"/>
                <a:gd name="T16" fmla="*/ 122 w 160"/>
                <a:gd name="T17" fmla="*/ 350 h 372"/>
                <a:gd name="T18" fmla="*/ 120 w 160"/>
                <a:gd name="T19" fmla="*/ 365 h 372"/>
                <a:gd name="T20" fmla="*/ 115 w 160"/>
                <a:gd name="T21" fmla="*/ 372 h 372"/>
                <a:gd name="T22" fmla="*/ 110 w 160"/>
                <a:gd name="T23" fmla="*/ 372 h 372"/>
                <a:gd name="T24" fmla="*/ 103 w 160"/>
                <a:gd name="T25" fmla="*/ 369 h 372"/>
                <a:gd name="T26" fmla="*/ 97 w 160"/>
                <a:gd name="T27" fmla="*/ 364 h 372"/>
                <a:gd name="T28" fmla="*/ 99 w 160"/>
                <a:gd name="T29" fmla="*/ 357 h 372"/>
                <a:gd name="T30" fmla="*/ 99 w 160"/>
                <a:gd name="T31" fmla="*/ 348 h 372"/>
                <a:gd name="T32" fmla="*/ 97 w 160"/>
                <a:gd name="T33" fmla="*/ 336 h 372"/>
                <a:gd name="T34" fmla="*/ 94 w 160"/>
                <a:gd name="T35" fmla="*/ 262 h 372"/>
                <a:gd name="T36" fmla="*/ 101 w 160"/>
                <a:gd name="T37" fmla="*/ 206 h 372"/>
                <a:gd name="T38" fmla="*/ 113 w 160"/>
                <a:gd name="T39" fmla="*/ 147 h 372"/>
                <a:gd name="T40" fmla="*/ 131 w 160"/>
                <a:gd name="T41" fmla="*/ 66 h 372"/>
                <a:gd name="T42" fmla="*/ 103 w 160"/>
                <a:gd name="T43" fmla="*/ 119 h 372"/>
                <a:gd name="T44" fmla="*/ 80 w 160"/>
                <a:gd name="T45" fmla="*/ 155 h 372"/>
                <a:gd name="T46" fmla="*/ 59 w 160"/>
                <a:gd name="T47" fmla="*/ 168 h 372"/>
                <a:gd name="T48" fmla="*/ 43 w 160"/>
                <a:gd name="T49" fmla="*/ 164 h 372"/>
                <a:gd name="T50" fmla="*/ 31 w 160"/>
                <a:gd name="T51" fmla="*/ 159 h 372"/>
                <a:gd name="T52" fmla="*/ 22 w 160"/>
                <a:gd name="T53" fmla="*/ 150 h 372"/>
                <a:gd name="T54" fmla="*/ 15 w 160"/>
                <a:gd name="T55" fmla="*/ 133 h 372"/>
                <a:gd name="T56" fmla="*/ 5 w 160"/>
                <a:gd name="T57" fmla="*/ 96 h 372"/>
                <a:gd name="T58" fmla="*/ 0 w 160"/>
                <a:gd name="T59" fmla="*/ 61 h 372"/>
                <a:gd name="T60" fmla="*/ 1 w 160"/>
                <a:gd name="T61" fmla="*/ 38 h 372"/>
                <a:gd name="T62" fmla="*/ 14 w 160"/>
                <a:gd name="T63" fmla="*/ 29 h 372"/>
                <a:gd name="T64" fmla="*/ 21 w 160"/>
                <a:gd name="T65" fmla="*/ 33 h 372"/>
                <a:gd name="T66" fmla="*/ 26 w 160"/>
                <a:gd name="T67" fmla="*/ 42 h 372"/>
                <a:gd name="T68" fmla="*/ 28 w 160"/>
                <a:gd name="T69" fmla="*/ 54 h 372"/>
                <a:gd name="T70" fmla="*/ 33 w 160"/>
                <a:gd name="T71" fmla="*/ 98 h 372"/>
                <a:gd name="T72" fmla="*/ 43 w 160"/>
                <a:gd name="T73" fmla="*/ 136 h 372"/>
                <a:gd name="T74" fmla="*/ 59 w 160"/>
                <a:gd name="T75" fmla="*/ 138 h 372"/>
                <a:gd name="T76" fmla="*/ 89 w 160"/>
                <a:gd name="T77" fmla="*/ 98 h 372"/>
                <a:gd name="T78" fmla="*/ 122 w 160"/>
                <a:gd name="T79" fmla="*/ 29 h 372"/>
                <a:gd name="T80" fmla="*/ 136 w 160"/>
                <a:gd name="T81" fmla="*/ 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" h="372">
                  <a:moveTo>
                    <a:pt x="145" y="0"/>
                  </a:moveTo>
                  <a:lnTo>
                    <a:pt x="150" y="1"/>
                  </a:lnTo>
                  <a:lnTo>
                    <a:pt x="155" y="3"/>
                  </a:lnTo>
                  <a:lnTo>
                    <a:pt x="159" y="10"/>
                  </a:lnTo>
                  <a:lnTo>
                    <a:pt x="160" y="24"/>
                  </a:lnTo>
                  <a:lnTo>
                    <a:pt x="160" y="45"/>
                  </a:lnTo>
                  <a:lnTo>
                    <a:pt x="157" y="71"/>
                  </a:lnTo>
                  <a:lnTo>
                    <a:pt x="150" y="105"/>
                  </a:lnTo>
                  <a:lnTo>
                    <a:pt x="139" y="140"/>
                  </a:lnTo>
                  <a:lnTo>
                    <a:pt x="131" y="175"/>
                  </a:lnTo>
                  <a:lnTo>
                    <a:pt x="122" y="211"/>
                  </a:lnTo>
                  <a:lnTo>
                    <a:pt x="117" y="241"/>
                  </a:lnTo>
                  <a:lnTo>
                    <a:pt x="115" y="267"/>
                  </a:lnTo>
                  <a:lnTo>
                    <a:pt x="115" y="287"/>
                  </a:lnTo>
                  <a:lnTo>
                    <a:pt x="117" y="304"/>
                  </a:lnTo>
                  <a:lnTo>
                    <a:pt x="118" y="318"/>
                  </a:lnTo>
                  <a:lnTo>
                    <a:pt x="120" y="337"/>
                  </a:lnTo>
                  <a:lnTo>
                    <a:pt x="122" y="350"/>
                  </a:lnTo>
                  <a:lnTo>
                    <a:pt x="122" y="360"/>
                  </a:lnTo>
                  <a:lnTo>
                    <a:pt x="120" y="365"/>
                  </a:lnTo>
                  <a:lnTo>
                    <a:pt x="118" y="371"/>
                  </a:lnTo>
                  <a:lnTo>
                    <a:pt x="115" y="372"/>
                  </a:lnTo>
                  <a:lnTo>
                    <a:pt x="113" y="372"/>
                  </a:lnTo>
                  <a:lnTo>
                    <a:pt x="110" y="372"/>
                  </a:lnTo>
                  <a:lnTo>
                    <a:pt x="104" y="371"/>
                  </a:lnTo>
                  <a:lnTo>
                    <a:pt x="103" y="369"/>
                  </a:lnTo>
                  <a:lnTo>
                    <a:pt x="99" y="367"/>
                  </a:lnTo>
                  <a:lnTo>
                    <a:pt x="97" y="364"/>
                  </a:lnTo>
                  <a:lnTo>
                    <a:pt x="97" y="360"/>
                  </a:lnTo>
                  <a:lnTo>
                    <a:pt x="99" y="357"/>
                  </a:lnTo>
                  <a:lnTo>
                    <a:pt x="99" y="351"/>
                  </a:lnTo>
                  <a:lnTo>
                    <a:pt x="99" y="348"/>
                  </a:lnTo>
                  <a:lnTo>
                    <a:pt x="97" y="343"/>
                  </a:lnTo>
                  <a:lnTo>
                    <a:pt x="97" y="336"/>
                  </a:lnTo>
                  <a:lnTo>
                    <a:pt x="94" y="295"/>
                  </a:lnTo>
                  <a:lnTo>
                    <a:pt x="94" y="262"/>
                  </a:lnTo>
                  <a:lnTo>
                    <a:pt x="96" y="234"/>
                  </a:lnTo>
                  <a:lnTo>
                    <a:pt x="101" y="206"/>
                  </a:lnTo>
                  <a:lnTo>
                    <a:pt x="106" y="178"/>
                  </a:lnTo>
                  <a:lnTo>
                    <a:pt x="113" y="147"/>
                  </a:lnTo>
                  <a:lnTo>
                    <a:pt x="122" y="110"/>
                  </a:lnTo>
                  <a:lnTo>
                    <a:pt x="131" y="66"/>
                  </a:lnTo>
                  <a:lnTo>
                    <a:pt x="117" y="94"/>
                  </a:lnTo>
                  <a:lnTo>
                    <a:pt x="103" y="119"/>
                  </a:lnTo>
                  <a:lnTo>
                    <a:pt x="90" y="140"/>
                  </a:lnTo>
                  <a:lnTo>
                    <a:pt x="80" y="155"/>
                  </a:lnTo>
                  <a:lnTo>
                    <a:pt x="70" y="164"/>
                  </a:lnTo>
                  <a:lnTo>
                    <a:pt x="59" y="168"/>
                  </a:lnTo>
                  <a:lnTo>
                    <a:pt x="50" y="168"/>
                  </a:lnTo>
                  <a:lnTo>
                    <a:pt x="43" y="164"/>
                  </a:lnTo>
                  <a:lnTo>
                    <a:pt x="36" y="162"/>
                  </a:lnTo>
                  <a:lnTo>
                    <a:pt x="31" y="159"/>
                  </a:lnTo>
                  <a:lnTo>
                    <a:pt x="26" y="155"/>
                  </a:lnTo>
                  <a:lnTo>
                    <a:pt x="22" y="150"/>
                  </a:lnTo>
                  <a:lnTo>
                    <a:pt x="19" y="143"/>
                  </a:lnTo>
                  <a:lnTo>
                    <a:pt x="15" y="133"/>
                  </a:lnTo>
                  <a:lnTo>
                    <a:pt x="10" y="115"/>
                  </a:lnTo>
                  <a:lnTo>
                    <a:pt x="5" y="96"/>
                  </a:lnTo>
                  <a:lnTo>
                    <a:pt x="3" y="77"/>
                  </a:lnTo>
                  <a:lnTo>
                    <a:pt x="0" y="61"/>
                  </a:lnTo>
                  <a:lnTo>
                    <a:pt x="0" y="49"/>
                  </a:lnTo>
                  <a:lnTo>
                    <a:pt x="1" y="38"/>
                  </a:lnTo>
                  <a:lnTo>
                    <a:pt x="7" y="31"/>
                  </a:lnTo>
                  <a:lnTo>
                    <a:pt x="14" y="29"/>
                  </a:lnTo>
                  <a:lnTo>
                    <a:pt x="17" y="31"/>
                  </a:lnTo>
                  <a:lnTo>
                    <a:pt x="21" y="33"/>
                  </a:lnTo>
                  <a:lnTo>
                    <a:pt x="22" y="36"/>
                  </a:lnTo>
                  <a:lnTo>
                    <a:pt x="26" y="42"/>
                  </a:lnTo>
                  <a:lnTo>
                    <a:pt x="28" y="47"/>
                  </a:lnTo>
                  <a:lnTo>
                    <a:pt x="28" y="54"/>
                  </a:lnTo>
                  <a:lnTo>
                    <a:pt x="29" y="73"/>
                  </a:lnTo>
                  <a:lnTo>
                    <a:pt x="33" y="98"/>
                  </a:lnTo>
                  <a:lnTo>
                    <a:pt x="38" y="122"/>
                  </a:lnTo>
                  <a:lnTo>
                    <a:pt x="43" y="136"/>
                  </a:lnTo>
                  <a:lnTo>
                    <a:pt x="50" y="141"/>
                  </a:lnTo>
                  <a:lnTo>
                    <a:pt x="59" y="138"/>
                  </a:lnTo>
                  <a:lnTo>
                    <a:pt x="70" y="126"/>
                  </a:lnTo>
                  <a:lnTo>
                    <a:pt x="89" y="98"/>
                  </a:lnTo>
                  <a:lnTo>
                    <a:pt x="106" y="66"/>
                  </a:lnTo>
                  <a:lnTo>
                    <a:pt x="122" y="29"/>
                  </a:lnTo>
                  <a:lnTo>
                    <a:pt x="129" y="10"/>
                  </a:lnTo>
                  <a:lnTo>
                    <a:pt x="136" y="1"/>
                  </a:lnTo>
                  <a:lnTo>
                    <a:pt x="14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53"/>
            <p:cNvSpPr>
              <a:spLocks/>
            </p:cNvSpPr>
            <p:nvPr userDrawn="1"/>
          </p:nvSpPr>
          <p:spPr bwMode="auto">
            <a:xfrm>
              <a:off x="8743951" y="5254625"/>
              <a:ext cx="280988" cy="344488"/>
            </a:xfrm>
            <a:custGeom>
              <a:avLst/>
              <a:gdLst>
                <a:gd name="T0" fmla="*/ 135 w 177"/>
                <a:gd name="T1" fmla="*/ 2 h 217"/>
                <a:gd name="T2" fmla="*/ 161 w 177"/>
                <a:gd name="T3" fmla="*/ 14 h 217"/>
                <a:gd name="T4" fmla="*/ 164 w 177"/>
                <a:gd name="T5" fmla="*/ 42 h 217"/>
                <a:gd name="T6" fmla="*/ 166 w 177"/>
                <a:gd name="T7" fmla="*/ 96 h 217"/>
                <a:gd name="T8" fmla="*/ 170 w 177"/>
                <a:gd name="T9" fmla="*/ 154 h 217"/>
                <a:gd name="T10" fmla="*/ 177 w 177"/>
                <a:gd name="T11" fmla="*/ 196 h 217"/>
                <a:gd name="T12" fmla="*/ 177 w 177"/>
                <a:gd name="T13" fmla="*/ 210 h 217"/>
                <a:gd name="T14" fmla="*/ 171 w 177"/>
                <a:gd name="T15" fmla="*/ 217 h 217"/>
                <a:gd name="T16" fmla="*/ 161 w 177"/>
                <a:gd name="T17" fmla="*/ 217 h 217"/>
                <a:gd name="T18" fmla="*/ 150 w 177"/>
                <a:gd name="T19" fmla="*/ 213 h 217"/>
                <a:gd name="T20" fmla="*/ 143 w 177"/>
                <a:gd name="T21" fmla="*/ 206 h 217"/>
                <a:gd name="T22" fmla="*/ 142 w 177"/>
                <a:gd name="T23" fmla="*/ 191 h 217"/>
                <a:gd name="T24" fmla="*/ 140 w 177"/>
                <a:gd name="T25" fmla="*/ 150 h 217"/>
                <a:gd name="T26" fmla="*/ 135 w 177"/>
                <a:gd name="T27" fmla="*/ 87 h 217"/>
                <a:gd name="T28" fmla="*/ 129 w 177"/>
                <a:gd name="T29" fmla="*/ 35 h 217"/>
                <a:gd name="T30" fmla="*/ 126 w 177"/>
                <a:gd name="T31" fmla="*/ 28 h 217"/>
                <a:gd name="T32" fmla="*/ 122 w 177"/>
                <a:gd name="T33" fmla="*/ 28 h 217"/>
                <a:gd name="T34" fmla="*/ 115 w 177"/>
                <a:gd name="T35" fmla="*/ 35 h 217"/>
                <a:gd name="T36" fmla="*/ 100 w 177"/>
                <a:gd name="T37" fmla="*/ 56 h 217"/>
                <a:gd name="T38" fmla="*/ 73 w 177"/>
                <a:gd name="T39" fmla="*/ 100 h 217"/>
                <a:gd name="T40" fmla="*/ 47 w 177"/>
                <a:gd name="T41" fmla="*/ 170 h 217"/>
                <a:gd name="T42" fmla="*/ 44 w 177"/>
                <a:gd name="T43" fmla="*/ 177 h 217"/>
                <a:gd name="T44" fmla="*/ 35 w 177"/>
                <a:gd name="T45" fmla="*/ 178 h 217"/>
                <a:gd name="T46" fmla="*/ 23 w 177"/>
                <a:gd name="T47" fmla="*/ 177 h 217"/>
                <a:gd name="T48" fmla="*/ 14 w 177"/>
                <a:gd name="T49" fmla="*/ 171 h 217"/>
                <a:gd name="T50" fmla="*/ 11 w 177"/>
                <a:gd name="T51" fmla="*/ 166 h 217"/>
                <a:gd name="T52" fmla="*/ 7 w 177"/>
                <a:gd name="T53" fmla="*/ 154 h 217"/>
                <a:gd name="T54" fmla="*/ 4 w 177"/>
                <a:gd name="T55" fmla="*/ 126 h 217"/>
                <a:gd name="T56" fmla="*/ 2 w 177"/>
                <a:gd name="T57" fmla="*/ 75 h 217"/>
                <a:gd name="T58" fmla="*/ 0 w 177"/>
                <a:gd name="T59" fmla="*/ 24 h 217"/>
                <a:gd name="T60" fmla="*/ 2 w 177"/>
                <a:gd name="T61" fmla="*/ 10 h 217"/>
                <a:gd name="T62" fmla="*/ 7 w 177"/>
                <a:gd name="T63" fmla="*/ 2 h 217"/>
                <a:gd name="T64" fmla="*/ 16 w 177"/>
                <a:gd name="T65" fmla="*/ 2 h 217"/>
                <a:gd name="T66" fmla="*/ 26 w 177"/>
                <a:gd name="T67" fmla="*/ 14 h 217"/>
                <a:gd name="T68" fmla="*/ 28 w 177"/>
                <a:gd name="T69" fmla="*/ 38 h 217"/>
                <a:gd name="T70" fmla="*/ 30 w 177"/>
                <a:gd name="T71" fmla="*/ 98 h 217"/>
                <a:gd name="T72" fmla="*/ 46 w 177"/>
                <a:gd name="T73" fmla="*/ 101 h 217"/>
                <a:gd name="T74" fmla="*/ 73 w 177"/>
                <a:gd name="T75" fmla="*/ 54 h 217"/>
                <a:gd name="T76" fmla="*/ 96 w 177"/>
                <a:gd name="T77" fmla="*/ 17 h 217"/>
                <a:gd name="T78" fmla="*/ 112 w 177"/>
                <a:gd name="T79" fmla="*/ 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7" h="217">
                  <a:moveTo>
                    <a:pt x="121" y="0"/>
                  </a:moveTo>
                  <a:lnTo>
                    <a:pt x="135" y="2"/>
                  </a:lnTo>
                  <a:lnTo>
                    <a:pt x="152" y="7"/>
                  </a:lnTo>
                  <a:lnTo>
                    <a:pt x="161" y="14"/>
                  </a:lnTo>
                  <a:lnTo>
                    <a:pt x="163" y="24"/>
                  </a:lnTo>
                  <a:lnTo>
                    <a:pt x="164" y="42"/>
                  </a:lnTo>
                  <a:lnTo>
                    <a:pt x="164" y="68"/>
                  </a:lnTo>
                  <a:lnTo>
                    <a:pt x="166" y="96"/>
                  </a:lnTo>
                  <a:lnTo>
                    <a:pt x="168" y="124"/>
                  </a:lnTo>
                  <a:lnTo>
                    <a:pt x="170" y="154"/>
                  </a:lnTo>
                  <a:lnTo>
                    <a:pt x="173" y="177"/>
                  </a:lnTo>
                  <a:lnTo>
                    <a:pt x="177" y="196"/>
                  </a:lnTo>
                  <a:lnTo>
                    <a:pt x="177" y="205"/>
                  </a:lnTo>
                  <a:lnTo>
                    <a:pt x="177" y="210"/>
                  </a:lnTo>
                  <a:lnTo>
                    <a:pt x="175" y="213"/>
                  </a:lnTo>
                  <a:lnTo>
                    <a:pt x="171" y="217"/>
                  </a:lnTo>
                  <a:lnTo>
                    <a:pt x="168" y="217"/>
                  </a:lnTo>
                  <a:lnTo>
                    <a:pt x="161" y="217"/>
                  </a:lnTo>
                  <a:lnTo>
                    <a:pt x="156" y="215"/>
                  </a:lnTo>
                  <a:lnTo>
                    <a:pt x="150" y="213"/>
                  </a:lnTo>
                  <a:lnTo>
                    <a:pt x="147" y="210"/>
                  </a:lnTo>
                  <a:lnTo>
                    <a:pt x="143" y="206"/>
                  </a:lnTo>
                  <a:lnTo>
                    <a:pt x="142" y="199"/>
                  </a:lnTo>
                  <a:lnTo>
                    <a:pt x="142" y="191"/>
                  </a:lnTo>
                  <a:lnTo>
                    <a:pt x="140" y="175"/>
                  </a:lnTo>
                  <a:lnTo>
                    <a:pt x="140" y="150"/>
                  </a:lnTo>
                  <a:lnTo>
                    <a:pt x="138" y="119"/>
                  </a:lnTo>
                  <a:lnTo>
                    <a:pt x="135" y="87"/>
                  </a:lnTo>
                  <a:lnTo>
                    <a:pt x="133" y="58"/>
                  </a:lnTo>
                  <a:lnTo>
                    <a:pt x="129" y="35"/>
                  </a:lnTo>
                  <a:lnTo>
                    <a:pt x="128" y="30"/>
                  </a:lnTo>
                  <a:lnTo>
                    <a:pt x="126" y="28"/>
                  </a:lnTo>
                  <a:lnTo>
                    <a:pt x="124" y="26"/>
                  </a:lnTo>
                  <a:lnTo>
                    <a:pt x="122" y="28"/>
                  </a:lnTo>
                  <a:lnTo>
                    <a:pt x="119" y="30"/>
                  </a:lnTo>
                  <a:lnTo>
                    <a:pt x="115" y="35"/>
                  </a:lnTo>
                  <a:lnTo>
                    <a:pt x="110" y="42"/>
                  </a:lnTo>
                  <a:lnTo>
                    <a:pt x="100" y="56"/>
                  </a:lnTo>
                  <a:lnTo>
                    <a:pt x="87" y="75"/>
                  </a:lnTo>
                  <a:lnTo>
                    <a:pt x="73" y="100"/>
                  </a:lnTo>
                  <a:lnTo>
                    <a:pt x="60" y="131"/>
                  </a:lnTo>
                  <a:lnTo>
                    <a:pt x="47" y="170"/>
                  </a:lnTo>
                  <a:lnTo>
                    <a:pt x="46" y="173"/>
                  </a:lnTo>
                  <a:lnTo>
                    <a:pt x="44" y="177"/>
                  </a:lnTo>
                  <a:lnTo>
                    <a:pt x="40" y="178"/>
                  </a:lnTo>
                  <a:lnTo>
                    <a:pt x="35" y="178"/>
                  </a:lnTo>
                  <a:lnTo>
                    <a:pt x="30" y="178"/>
                  </a:lnTo>
                  <a:lnTo>
                    <a:pt x="23" y="177"/>
                  </a:lnTo>
                  <a:lnTo>
                    <a:pt x="19" y="175"/>
                  </a:lnTo>
                  <a:lnTo>
                    <a:pt x="14" y="171"/>
                  </a:lnTo>
                  <a:lnTo>
                    <a:pt x="12" y="170"/>
                  </a:lnTo>
                  <a:lnTo>
                    <a:pt x="11" y="166"/>
                  </a:lnTo>
                  <a:lnTo>
                    <a:pt x="9" y="161"/>
                  </a:lnTo>
                  <a:lnTo>
                    <a:pt x="7" y="154"/>
                  </a:lnTo>
                  <a:lnTo>
                    <a:pt x="5" y="143"/>
                  </a:lnTo>
                  <a:lnTo>
                    <a:pt x="4" y="126"/>
                  </a:lnTo>
                  <a:lnTo>
                    <a:pt x="2" y="101"/>
                  </a:lnTo>
                  <a:lnTo>
                    <a:pt x="2" y="75"/>
                  </a:lnTo>
                  <a:lnTo>
                    <a:pt x="0" y="49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2" y="10"/>
                  </a:lnTo>
                  <a:lnTo>
                    <a:pt x="4" y="5"/>
                  </a:lnTo>
                  <a:lnTo>
                    <a:pt x="7" y="2"/>
                  </a:lnTo>
                  <a:lnTo>
                    <a:pt x="11" y="2"/>
                  </a:lnTo>
                  <a:lnTo>
                    <a:pt x="16" y="2"/>
                  </a:lnTo>
                  <a:lnTo>
                    <a:pt x="23" y="5"/>
                  </a:lnTo>
                  <a:lnTo>
                    <a:pt x="26" y="14"/>
                  </a:lnTo>
                  <a:lnTo>
                    <a:pt x="28" y="24"/>
                  </a:lnTo>
                  <a:lnTo>
                    <a:pt x="28" y="38"/>
                  </a:lnTo>
                  <a:lnTo>
                    <a:pt x="28" y="68"/>
                  </a:lnTo>
                  <a:lnTo>
                    <a:pt x="30" y="98"/>
                  </a:lnTo>
                  <a:lnTo>
                    <a:pt x="33" y="128"/>
                  </a:lnTo>
                  <a:lnTo>
                    <a:pt x="46" y="101"/>
                  </a:lnTo>
                  <a:lnTo>
                    <a:pt x="60" y="77"/>
                  </a:lnTo>
                  <a:lnTo>
                    <a:pt x="73" y="54"/>
                  </a:lnTo>
                  <a:lnTo>
                    <a:pt x="86" y="33"/>
                  </a:lnTo>
                  <a:lnTo>
                    <a:pt x="96" y="17"/>
                  </a:lnTo>
                  <a:lnTo>
                    <a:pt x="105" y="5"/>
                  </a:lnTo>
                  <a:lnTo>
                    <a:pt x="112" y="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54"/>
            <p:cNvSpPr>
              <a:spLocks/>
            </p:cNvSpPr>
            <p:nvPr userDrawn="1"/>
          </p:nvSpPr>
          <p:spPr bwMode="auto">
            <a:xfrm>
              <a:off x="9043988" y="5251450"/>
              <a:ext cx="271463" cy="330200"/>
            </a:xfrm>
            <a:custGeom>
              <a:avLst/>
              <a:gdLst>
                <a:gd name="T0" fmla="*/ 114 w 171"/>
                <a:gd name="T1" fmla="*/ 2 h 208"/>
                <a:gd name="T2" fmla="*/ 121 w 171"/>
                <a:gd name="T3" fmla="*/ 5 h 208"/>
                <a:gd name="T4" fmla="*/ 124 w 171"/>
                <a:gd name="T5" fmla="*/ 12 h 208"/>
                <a:gd name="T6" fmla="*/ 119 w 171"/>
                <a:gd name="T7" fmla="*/ 23 h 208"/>
                <a:gd name="T8" fmla="*/ 73 w 171"/>
                <a:gd name="T9" fmla="*/ 47 h 208"/>
                <a:gd name="T10" fmla="*/ 42 w 171"/>
                <a:gd name="T11" fmla="*/ 79 h 208"/>
                <a:gd name="T12" fmla="*/ 30 w 171"/>
                <a:gd name="T13" fmla="*/ 109 h 208"/>
                <a:gd name="T14" fmla="*/ 38 w 171"/>
                <a:gd name="T15" fmla="*/ 123 h 208"/>
                <a:gd name="T16" fmla="*/ 65 w 171"/>
                <a:gd name="T17" fmla="*/ 119 h 208"/>
                <a:gd name="T18" fmla="*/ 98 w 171"/>
                <a:gd name="T19" fmla="*/ 105 h 208"/>
                <a:gd name="T20" fmla="*/ 126 w 171"/>
                <a:gd name="T21" fmla="*/ 86 h 208"/>
                <a:gd name="T22" fmla="*/ 128 w 171"/>
                <a:gd name="T23" fmla="*/ 60 h 208"/>
                <a:gd name="T24" fmla="*/ 140 w 171"/>
                <a:gd name="T25" fmla="*/ 49 h 208"/>
                <a:gd name="T26" fmla="*/ 152 w 171"/>
                <a:gd name="T27" fmla="*/ 54 h 208"/>
                <a:gd name="T28" fmla="*/ 157 w 171"/>
                <a:gd name="T29" fmla="*/ 58 h 208"/>
                <a:gd name="T30" fmla="*/ 159 w 171"/>
                <a:gd name="T31" fmla="*/ 63 h 208"/>
                <a:gd name="T32" fmla="*/ 161 w 171"/>
                <a:gd name="T33" fmla="*/ 112 h 208"/>
                <a:gd name="T34" fmla="*/ 166 w 171"/>
                <a:gd name="T35" fmla="*/ 172 h 208"/>
                <a:gd name="T36" fmla="*/ 169 w 171"/>
                <a:gd name="T37" fmla="*/ 200 h 208"/>
                <a:gd name="T38" fmla="*/ 164 w 171"/>
                <a:gd name="T39" fmla="*/ 207 h 208"/>
                <a:gd name="T40" fmla="*/ 156 w 171"/>
                <a:gd name="T41" fmla="*/ 207 h 208"/>
                <a:gd name="T42" fmla="*/ 147 w 171"/>
                <a:gd name="T43" fmla="*/ 198 h 208"/>
                <a:gd name="T44" fmla="*/ 135 w 171"/>
                <a:gd name="T45" fmla="*/ 158 h 208"/>
                <a:gd name="T46" fmla="*/ 129 w 171"/>
                <a:gd name="T47" fmla="*/ 117 h 208"/>
                <a:gd name="T48" fmla="*/ 86 w 171"/>
                <a:gd name="T49" fmla="*/ 140 h 208"/>
                <a:gd name="T50" fmla="*/ 44 w 171"/>
                <a:gd name="T51" fmla="*/ 151 h 208"/>
                <a:gd name="T52" fmla="*/ 12 w 171"/>
                <a:gd name="T53" fmla="*/ 138 h 208"/>
                <a:gd name="T54" fmla="*/ 0 w 171"/>
                <a:gd name="T55" fmla="*/ 102 h 208"/>
                <a:gd name="T56" fmla="*/ 17 w 171"/>
                <a:gd name="T57" fmla="*/ 58 h 208"/>
                <a:gd name="T58" fmla="*/ 58 w 171"/>
                <a:gd name="T59" fmla="*/ 19 h 208"/>
                <a:gd name="T60" fmla="*/ 91 w 171"/>
                <a:gd name="T61" fmla="*/ 2 h 208"/>
                <a:gd name="T62" fmla="*/ 110 w 171"/>
                <a:gd name="T63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1" h="208">
                  <a:moveTo>
                    <a:pt x="110" y="0"/>
                  </a:moveTo>
                  <a:lnTo>
                    <a:pt x="114" y="2"/>
                  </a:lnTo>
                  <a:lnTo>
                    <a:pt x="117" y="4"/>
                  </a:lnTo>
                  <a:lnTo>
                    <a:pt x="121" y="5"/>
                  </a:lnTo>
                  <a:lnTo>
                    <a:pt x="122" y="9"/>
                  </a:lnTo>
                  <a:lnTo>
                    <a:pt x="124" y="12"/>
                  </a:lnTo>
                  <a:lnTo>
                    <a:pt x="122" y="18"/>
                  </a:lnTo>
                  <a:lnTo>
                    <a:pt x="119" y="23"/>
                  </a:lnTo>
                  <a:lnTo>
                    <a:pt x="96" y="33"/>
                  </a:lnTo>
                  <a:lnTo>
                    <a:pt x="73" y="47"/>
                  </a:lnTo>
                  <a:lnTo>
                    <a:pt x="56" y="63"/>
                  </a:lnTo>
                  <a:lnTo>
                    <a:pt x="42" y="79"/>
                  </a:lnTo>
                  <a:lnTo>
                    <a:pt x="33" y="95"/>
                  </a:lnTo>
                  <a:lnTo>
                    <a:pt x="30" y="109"/>
                  </a:lnTo>
                  <a:lnTo>
                    <a:pt x="31" y="119"/>
                  </a:lnTo>
                  <a:lnTo>
                    <a:pt x="38" y="123"/>
                  </a:lnTo>
                  <a:lnTo>
                    <a:pt x="49" y="123"/>
                  </a:lnTo>
                  <a:lnTo>
                    <a:pt x="65" y="119"/>
                  </a:lnTo>
                  <a:lnTo>
                    <a:pt x="82" y="112"/>
                  </a:lnTo>
                  <a:lnTo>
                    <a:pt x="98" y="105"/>
                  </a:lnTo>
                  <a:lnTo>
                    <a:pt x="114" y="95"/>
                  </a:lnTo>
                  <a:lnTo>
                    <a:pt x="126" y="86"/>
                  </a:lnTo>
                  <a:lnTo>
                    <a:pt x="126" y="70"/>
                  </a:lnTo>
                  <a:lnTo>
                    <a:pt x="128" y="60"/>
                  </a:lnTo>
                  <a:lnTo>
                    <a:pt x="131" y="51"/>
                  </a:lnTo>
                  <a:lnTo>
                    <a:pt x="140" y="49"/>
                  </a:lnTo>
                  <a:lnTo>
                    <a:pt x="147" y="51"/>
                  </a:lnTo>
                  <a:lnTo>
                    <a:pt x="152" y="54"/>
                  </a:lnTo>
                  <a:lnTo>
                    <a:pt x="154" y="56"/>
                  </a:lnTo>
                  <a:lnTo>
                    <a:pt x="157" y="58"/>
                  </a:lnTo>
                  <a:lnTo>
                    <a:pt x="157" y="61"/>
                  </a:lnTo>
                  <a:lnTo>
                    <a:pt x="159" y="63"/>
                  </a:lnTo>
                  <a:lnTo>
                    <a:pt x="159" y="84"/>
                  </a:lnTo>
                  <a:lnTo>
                    <a:pt x="161" y="112"/>
                  </a:lnTo>
                  <a:lnTo>
                    <a:pt x="163" y="142"/>
                  </a:lnTo>
                  <a:lnTo>
                    <a:pt x="166" y="172"/>
                  </a:lnTo>
                  <a:lnTo>
                    <a:pt x="171" y="194"/>
                  </a:lnTo>
                  <a:lnTo>
                    <a:pt x="169" y="200"/>
                  </a:lnTo>
                  <a:lnTo>
                    <a:pt x="168" y="205"/>
                  </a:lnTo>
                  <a:lnTo>
                    <a:pt x="164" y="207"/>
                  </a:lnTo>
                  <a:lnTo>
                    <a:pt x="161" y="208"/>
                  </a:lnTo>
                  <a:lnTo>
                    <a:pt x="156" y="207"/>
                  </a:lnTo>
                  <a:lnTo>
                    <a:pt x="150" y="203"/>
                  </a:lnTo>
                  <a:lnTo>
                    <a:pt x="147" y="198"/>
                  </a:lnTo>
                  <a:lnTo>
                    <a:pt x="140" y="179"/>
                  </a:lnTo>
                  <a:lnTo>
                    <a:pt x="135" y="158"/>
                  </a:lnTo>
                  <a:lnTo>
                    <a:pt x="131" y="135"/>
                  </a:lnTo>
                  <a:lnTo>
                    <a:pt x="129" y="117"/>
                  </a:lnTo>
                  <a:lnTo>
                    <a:pt x="108" y="130"/>
                  </a:lnTo>
                  <a:lnTo>
                    <a:pt x="86" y="140"/>
                  </a:lnTo>
                  <a:lnTo>
                    <a:pt x="65" y="147"/>
                  </a:lnTo>
                  <a:lnTo>
                    <a:pt x="44" y="151"/>
                  </a:lnTo>
                  <a:lnTo>
                    <a:pt x="26" y="149"/>
                  </a:lnTo>
                  <a:lnTo>
                    <a:pt x="12" y="138"/>
                  </a:lnTo>
                  <a:lnTo>
                    <a:pt x="2" y="121"/>
                  </a:lnTo>
                  <a:lnTo>
                    <a:pt x="0" y="102"/>
                  </a:lnTo>
                  <a:lnTo>
                    <a:pt x="5" y="81"/>
                  </a:lnTo>
                  <a:lnTo>
                    <a:pt x="17" y="58"/>
                  </a:lnTo>
                  <a:lnTo>
                    <a:pt x="37" y="37"/>
                  </a:lnTo>
                  <a:lnTo>
                    <a:pt x="58" y="19"/>
                  </a:lnTo>
                  <a:lnTo>
                    <a:pt x="75" y="9"/>
                  </a:lnTo>
                  <a:lnTo>
                    <a:pt x="91" y="2"/>
                  </a:lnTo>
                  <a:lnTo>
                    <a:pt x="101" y="0"/>
                  </a:lnTo>
                  <a:lnTo>
                    <a:pt x="11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5"/>
            <p:cNvSpPr>
              <a:spLocks/>
            </p:cNvSpPr>
            <p:nvPr userDrawn="1"/>
          </p:nvSpPr>
          <p:spPr bwMode="auto">
            <a:xfrm>
              <a:off x="9356726" y="5065713"/>
              <a:ext cx="120650" cy="503238"/>
            </a:xfrm>
            <a:custGeom>
              <a:avLst/>
              <a:gdLst>
                <a:gd name="T0" fmla="*/ 16 w 76"/>
                <a:gd name="T1" fmla="*/ 0 h 317"/>
                <a:gd name="T2" fmla="*/ 21 w 76"/>
                <a:gd name="T3" fmla="*/ 0 h 317"/>
                <a:gd name="T4" fmla="*/ 28 w 76"/>
                <a:gd name="T5" fmla="*/ 3 h 317"/>
                <a:gd name="T6" fmla="*/ 34 w 76"/>
                <a:gd name="T7" fmla="*/ 10 h 317"/>
                <a:gd name="T8" fmla="*/ 35 w 76"/>
                <a:gd name="T9" fmla="*/ 24 h 317"/>
                <a:gd name="T10" fmla="*/ 35 w 76"/>
                <a:gd name="T11" fmla="*/ 47 h 317"/>
                <a:gd name="T12" fmla="*/ 37 w 76"/>
                <a:gd name="T13" fmla="*/ 72 h 317"/>
                <a:gd name="T14" fmla="*/ 37 w 76"/>
                <a:gd name="T15" fmla="*/ 103 h 317"/>
                <a:gd name="T16" fmla="*/ 39 w 76"/>
                <a:gd name="T17" fmla="*/ 142 h 317"/>
                <a:gd name="T18" fmla="*/ 42 w 76"/>
                <a:gd name="T19" fmla="*/ 180 h 317"/>
                <a:gd name="T20" fmla="*/ 46 w 76"/>
                <a:gd name="T21" fmla="*/ 219 h 317"/>
                <a:gd name="T22" fmla="*/ 51 w 76"/>
                <a:gd name="T23" fmla="*/ 255 h 317"/>
                <a:gd name="T24" fmla="*/ 53 w 76"/>
                <a:gd name="T25" fmla="*/ 254 h 317"/>
                <a:gd name="T26" fmla="*/ 56 w 76"/>
                <a:gd name="T27" fmla="*/ 252 h 317"/>
                <a:gd name="T28" fmla="*/ 60 w 76"/>
                <a:gd name="T29" fmla="*/ 250 h 317"/>
                <a:gd name="T30" fmla="*/ 62 w 76"/>
                <a:gd name="T31" fmla="*/ 248 h 317"/>
                <a:gd name="T32" fmla="*/ 65 w 76"/>
                <a:gd name="T33" fmla="*/ 247 h 317"/>
                <a:gd name="T34" fmla="*/ 69 w 76"/>
                <a:gd name="T35" fmla="*/ 247 h 317"/>
                <a:gd name="T36" fmla="*/ 70 w 76"/>
                <a:gd name="T37" fmla="*/ 248 h 317"/>
                <a:gd name="T38" fmla="*/ 74 w 76"/>
                <a:gd name="T39" fmla="*/ 250 h 317"/>
                <a:gd name="T40" fmla="*/ 74 w 76"/>
                <a:gd name="T41" fmla="*/ 255 h 317"/>
                <a:gd name="T42" fmla="*/ 76 w 76"/>
                <a:gd name="T43" fmla="*/ 261 h 317"/>
                <a:gd name="T44" fmla="*/ 72 w 76"/>
                <a:gd name="T45" fmla="*/ 283 h 317"/>
                <a:gd name="T46" fmla="*/ 63 w 76"/>
                <a:gd name="T47" fmla="*/ 301 h 317"/>
                <a:gd name="T48" fmla="*/ 53 w 76"/>
                <a:gd name="T49" fmla="*/ 313 h 317"/>
                <a:gd name="T50" fmla="*/ 42 w 76"/>
                <a:gd name="T51" fmla="*/ 317 h 317"/>
                <a:gd name="T52" fmla="*/ 35 w 76"/>
                <a:gd name="T53" fmla="*/ 315 h 317"/>
                <a:gd name="T54" fmla="*/ 30 w 76"/>
                <a:gd name="T55" fmla="*/ 306 h 317"/>
                <a:gd name="T56" fmla="*/ 27 w 76"/>
                <a:gd name="T57" fmla="*/ 296 h 317"/>
                <a:gd name="T58" fmla="*/ 23 w 76"/>
                <a:gd name="T59" fmla="*/ 282 h 317"/>
                <a:gd name="T60" fmla="*/ 21 w 76"/>
                <a:gd name="T61" fmla="*/ 264 h 317"/>
                <a:gd name="T62" fmla="*/ 18 w 76"/>
                <a:gd name="T63" fmla="*/ 238 h 317"/>
                <a:gd name="T64" fmla="*/ 14 w 76"/>
                <a:gd name="T65" fmla="*/ 205 h 317"/>
                <a:gd name="T66" fmla="*/ 13 w 76"/>
                <a:gd name="T67" fmla="*/ 168 h 317"/>
                <a:gd name="T68" fmla="*/ 9 w 76"/>
                <a:gd name="T69" fmla="*/ 131 h 317"/>
                <a:gd name="T70" fmla="*/ 6 w 76"/>
                <a:gd name="T71" fmla="*/ 94 h 317"/>
                <a:gd name="T72" fmla="*/ 2 w 76"/>
                <a:gd name="T73" fmla="*/ 65 h 317"/>
                <a:gd name="T74" fmla="*/ 0 w 76"/>
                <a:gd name="T75" fmla="*/ 40 h 317"/>
                <a:gd name="T76" fmla="*/ 0 w 76"/>
                <a:gd name="T77" fmla="*/ 26 h 317"/>
                <a:gd name="T78" fmla="*/ 0 w 76"/>
                <a:gd name="T79" fmla="*/ 19 h 317"/>
                <a:gd name="T80" fmla="*/ 0 w 76"/>
                <a:gd name="T81" fmla="*/ 12 h 317"/>
                <a:gd name="T82" fmla="*/ 4 w 76"/>
                <a:gd name="T83" fmla="*/ 7 h 317"/>
                <a:gd name="T84" fmla="*/ 6 w 76"/>
                <a:gd name="T85" fmla="*/ 3 h 317"/>
                <a:gd name="T86" fmla="*/ 9 w 76"/>
                <a:gd name="T87" fmla="*/ 2 h 317"/>
                <a:gd name="T88" fmla="*/ 13 w 76"/>
                <a:gd name="T89" fmla="*/ 0 h 317"/>
                <a:gd name="T90" fmla="*/ 16 w 76"/>
                <a:gd name="T91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6" h="317">
                  <a:moveTo>
                    <a:pt x="16" y="0"/>
                  </a:moveTo>
                  <a:lnTo>
                    <a:pt x="21" y="0"/>
                  </a:lnTo>
                  <a:lnTo>
                    <a:pt x="28" y="3"/>
                  </a:lnTo>
                  <a:lnTo>
                    <a:pt x="34" y="10"/>
                  </a:lnTo>
                  <a:lnTo>
                    <a:pt x="35" y="24"/>
                  </a:lnTo>
                  <a:lnTo>
                    <a:pt x="35" y="47"/>
                  </a:lnTo>
                  <a:lnTo>
                    <a:pt x="37" y="72"/>
                  </a:lnTo>
                  <a:lnTo>
                    <a:pt x="37" y="103"/>
                  </a:lnTo>
                  <a:lnTo>
                    <a:pt x="39" y="142"/>
                  </a:lnTo>
                  <a:lnTo>
                    <a:pt x="42" y="180"/>
                  </a:lnTo>
                  <a:lnTo>
                    <a:pt x="46" y="219"/>
                  </a:lnTo>
                  <a:lnTo>
                    <a:pt x="51" y="255"/>
                  </a:lnTo>
                  <a:lnTo>
                    <a:pt x="53" y="254"/>
                  </a:lnTo>
                  <a:lnTo>
                    <a:pt x="56" y="252"/>
                  </a:lnTo>
                  <a:lnTo>
                    <a:pt x="60" y="250"/>
                  </a:lnTo>
                  <a:lnTo>
                    <a:pt x="62" y="248"/>
                  </a:lnTo>
                  <a:lnTo>
                    <a:pt x="65" y="247"/>
                  </a:lnTo>
                  <a:lnTo>
                    <a:pt x="69" y="247"/>
                  </a:lnTo>
                  <a:lnTo>
                    <a:pt x="70" y="248"/>
                  </a:lnTo>
                  <a:lnTo>
                    <a:pt x="74" y="250"/>
                  </a:lnTo>
                  <a:lnTo>
                    <a:pt x="74" y="255"/>
                  </a:lnTo>
                  <a:lnTo>
                    <a:pt x="76" y="261"/>
                  </a:lnTo>
                  <a:lnTo>
                    <a:pt x="72" y="283"/>
                  </a:lnTo>
                  <a:lnTo>
                    <a:pt x="63" y="301"/>
                  </a:lnTo>
                  <a:lnTo>
                    <a:pt x="53" y="313"/>
                  </a:lnTo>
                  <a:lnTo>
                    <a:pt x="42" y="317"/>
                  </a:lnTo>
                  <a:lnTo>
                    <a:pt x="35" y="315"/>
                  </a:lnTo>
                  <a:lnTo>
                    <a:pt x="30" y="306"/>
                  </a:lnTo>
                  <a:lnTo>
                    <a:pt x="27" y="296"/>
                  </a:lnTo>
                  <a:lnTo>
                    <a:pt x="23" y="282"/>
                  </a:lnTo>
                  <a:lnTo>
                    <a:pt x="21" y="264"/>
                  </a:lnTo>
                  <a:lnTo>
                    <a:pt x="18" y="238"/>
                  </a:lnTo>
                  <a:lnTo>
                    <a:pt x="14" y="205"/>
                  </a:lnTo>
                  <a:lnTo>
                    <a:pt x="13" y="168"/>
                  </a:lnTo>
                  <a:lnTo>
                    <a:pt x="9" y="131"/>
                  </a:lnTo>
                  <a:lnTo>
                    <a:pt x="6" y="94"/>
                  </a:lnTo>
                  <a:lnTo>
                    <a:pt x="2" y="65"/>
                  </a:lnTo>
                  <a:lnTo>
                    <a:pt x="0" y="40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0" y="12"/>
                  </a:lnTo>
                  <a:lnTo>
                    <a:pt x="4" y="7"/>
                  </a:lnTo>
                  <a:lnTo>
                    <a:pt x="6" y="3"/>
                  </a:lnTo>
                  <a:lnTo>
                    <a:pt x="9" y="2"/>
                  </a:lnTo>
                  <a:lnTo>
                    <a:pt x="13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6"/>
            <p:cNvSpPr>
              <a:spLocks/>
            </p:cNvSpPr>
            <p:nvPr userDrawn="1"/>
          </p:nvSpPr>
          <p:spPr bwMode="auto">
            <a:xfrm>
              <a:off x="9299576" y="5176838"/>
              <a:ext cx="312738" cy="74613"/>
            </a:xfrm>
            <a:custGeom>
              <a:avLst/>
              <a:gdLst>
                <a:gd name="T0" fmla="*/ 183 w 197"/>
                <a:gd name="T1" fmla="*/ 0 h 47"/>
                <a:gd name="T2" fmla="*/ 187 w 197"/>
                <a:gd name="T3" fmla="*/ 3 h 47"/>
                <a:gd name="T4" fmla="*/ 192 w 197"/>
                <a:gd name="T5" fmla="*/ 7 h 47"/>
                <a:gd name="T6" fmla="*/ 196 w 197"/>
                <a:gd name="T7" fmla="*/ 10 h 47"/>
                <a:gd name="T8" fmla="*/ 197 w 197"/>
                <a:gd name="T9" fmla="*/ 14 h 47"/>
                <a:gd name="T10" fmla="*/ 196 w 197"/>
                <a:gd name="T11" fmla="*/ 16 h 47"/>
                <a:gd name="T12" fmla="*/ 194 w 197"/>
                <a:gd name="T13" fmla="*/ 19 h 47"/>
                <a:gd name="T14" fmla="*/ 190 w 197"/>
                <a:gd name="T15" fmla="*/ 21 h 47"/>
                <a:gd name="T16" fmla="*/ 183 w 197"/>
                <a:gd name="T17" fmla="*/ 23 h 47"/>
                <a:gd name="T18" fmla="*/ 176 w 197"/>
                <a:gd name="T19" fmla="*/ 24 h 47"/>
                <a:gd name="T20" fmla="*/ 157 w 197"/>
                <a:gd name="T21" fmla="*/ 26 h 47"/>
                <a:gd name="T22" fmla="*/ 131 w 197"/>
                <a:gd name="T23" fmla="*/ 31 h 47"/>
                <a:gd name="T24" fmla="*/ 105 w 197"/>
                <a:gd name="T25" fmla="*/ 37 h 47"/>
                <a:gd name="T26" fmla="*/ 78 w 197"/>
                <a:gd name="T27" fmla="*/ 42 h 47"/>
                <a:gd name="T28" fmla="*/ 52 w 197"/>
                <a:gd name="T29" fmla="*/ 45 h 47"/>
                <a:gd name="T30" fmla="*/ 33 w 197"/>
                <a:gd name="T31" fmla="*/ 47 h 47"/>
                <a:gd name="T32" fmla="*/ 19 w 197"/>
                <a:gd name="T33" fmla="*/ 47 h 47"/>
                <a:gd name="T34" fmla="*/ 8 w 197"/>
                <a:gd name="T35" fmla="*/ 42 h 47"/>
                <a:gd name="T36" fmla="*/ 2 w 197"/>
                <a:gd name="T37" fmla="*/ 35 h 47"/>
                <a:gd name="T38" fmla="*/ 0 w 197"/>
                <a:gd name="T39" fmla="*/ 31 h 47"/>
                <a:gd name="T40" fmla="*/ 2 w 197"/>
                <a:gd name="T41" fmla="*/ 26 h 47"/>
                <a:gd name="T42" fmla="*/ 3 w 197"/>
                <a:gd name="T43" fmla="*/ 23 h 47"/>
                <a:gd name="T44" fmla="*/ 5 w 197"/>
                <a:gd name="T45" fmla="*/ 21 h 47"/>
                <a:gd name="T46" fmla="*/ 10 w 197"/>
                <a:gd name="T47" fmla="*/ 19 h 47"/>
                <a:gd name="T48" fmla="*/ 17 w 197"/>
                <a:gd name="T49" fmla="*/ 17 h 47"/>
                <a:gd name="T50" fmla="*/ 31 w 197"/>
                <a:gd name="T51" fmla="*/ 17 h 47"/>
                <a:gd name="T52" fmla="*/ 47 w 197"/>
                <a:gd name="T53" fmla="*/ 16 h 47"/>
                <a:gd name="T54" fmla="*/ 64 w 197"/>
                <a:gd name="T55" fmla="*/ 12 h 47"/>
                <a:gd name="T56" fmla="*/ 122 w 197"/>
                <a:gd name="T57" fmla="*/ 5 h 47"/>
                <a:gd name="T58" fmla="*/ 183 w 197"/>
                <a:gd name="T5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97" h="47">
                  <a:moveTo>
                    <a:pt x="183" y="0"/>
                  </a:moveTo>
                  <a:lnTo>
                    <a:pt x="187" y="3"/>
                  </a:lnTo>
                  <a:lnTo>
                    <a:pt x="192" y="7"/>
                  </a:lnTo>
                  <a:lnTo>
                    <a:pt x="196" y="10"/>
                  </a:lnTo>
                  <a:lnTo>
                    <a:pt x="197" y="14"/>
                  </a:lnTo>
                  <a:lnTo>
                    <a:pt x="196" y="16"/>
                  </a:lnTo>
                  <a:lnTo>
                    <a:pt x="194" y="19"/>
                  </a:lnTo>
                  <a:lnTo>
                    <a:pt x="190" y="21"/>
                  </a:lnTo>
                  <a:lnTo>
                    <a:pt x="183" y="23"/>
                  </a:lnTo>
                  <a:lnTo>
                    <a:pt x="176" y="24"/>
                  </a:lnTo>
                  <a:lnTo>
                    <a:pt x="157" y="26"/>
                  </a:lnTo>
                  <a:lnTo>
                    <a:pt x="131" y="31"/>
                  </a:lnTo>
                  <a:lnTo>
                    <a:pt x="105" y="37"/>
                  </a:lnTo>
                  <a:lnTo>
                    <a:pt x="78" y="42"/>
                  </a:lnTo>
                  <a:lnTo>
                    <a:pt x="52" y="45"/>
                  </a:lnTo>
                  <a:lnTo>
                    <a:pt x="33" y="47"/>
                  </a:lnTo>
                  <a:lnTo>
                    <a:pt x="19" y="47"/>
                  </a:lnTo>
                  <a:lnTo>
                    <a:pt x="8" y="42"/>
                  </a:lnTo>
                  <a:lnTo>
                    <a:pt x="2" y="35"/>
                  </a:lnTo>
                  <a:lnTo>
                    <a:pt x="0" y="31"/>
                  </a:lnTo>
                  <a:lnTo>
                    <a:pt x="2" y="26"/>
                  </a:lnTo>
                  <a:lnTo>
                    <a:pt x="3" y="23"/>
                  </a:lnTo>
                  <a:lnTo>
                    <a:pt x="5" y="21"/>
                  </a:lnTo>
                  <a:lnTo>
                    <a:pt x="10" y="19"/>
                  </a:lnTo>
                  <a:lnTo>
                    <a:pt x="17" y="17"/>
                  </a:lnTo>
                  <a:lnTo>
                    <a:pt x="31" y="17"/>
                  </a:lnTo>
                  <a:lnTo>
                    <a:pt x="47" y="16"/>
                  </a:lnTo>
                  <a:lnTo>
                    <a:pt x="64" y="12"/>
                  </a:lnTo>
                  <a:lnTo>
                    <a:pt x="122" y="5"/>
                  </a:lnTo>
                  <a:lnTo>
                    <a:pt x="18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7"/>
            <p:cNvSpPr>
              <a:spLocks/>
            </p:cNvSpPr>
            <p:nvPr userDrawn="1"/>
          </p:nvSpPr>
          <p:spPr bwMode="auto">
            <a:xfrm>
              <a:off x="9512301" y="5254625"/>
              <a:ext cx="277813" cy="300038"/>
            </a:xfrm>
            <a:custGeom>
              <a:avLst/>
              <a:gdLst>
                <a:gd name="T0" fmla="*/ 158 w 175"/>
                <a:gd name="T1" fmla="*/ 2 h 189"/>
                <a:gd name="T2" fmla="*/ 163 w 175"/>
                <a:gd name="T3" fmla="*/ 19 h 189"/>
                <a:gd name="T4" fmla="*/ 159 w 175"/>
                <a:gd name="T5" fmla="*/ 65 h 189"/>
                <a:gd name="T6" fmla="*/ 161 w 175"/>
                <a:gd name="T7" fmla="*/ 112 h 189"/>
                <a:gd name="T8" fmla="*/ 168 w 175"/>
                <a:gd name="T9" fmla="*/ 157 h 189"/>
                <a:gd name="T10" fmla="*/ 172 w 175"/>
                <a:gd name="T11" fmla="*/ 163 h 189"/>
                <a:gd name="T12" fmla="*/ 175 w 175"/>
                <a:gd name="T13" fmla="*/ 170 h 189"/>
                <a:gd name="T14" fmla="*/ 173 w 175"/>
                <a:gd name="T15" fmla="*/ 180 h 189"/>
                <a:gd name="T16" fmla="*/ 168 w 175"/>
                <a:gd name="T17" fmla="*/ 189 h 189"/>
                <a:gd name="T18" fmla="*/ 159 w 175"/>
                <a:gd name="T19" fmla="*/ 189 h 189"/>
                <a:gd name="T20" fmla="*/ 153 w 175"/>
                <a:gd name="T21" fmla="*/ 185 h 189"/>
                <a:gd name="T22" fmla="*/ 142 w 175"/>
                <a:gd name="T23" fmla="*/ 166 h 189"/>
                <a:gd name="T24" fmla="*/ 132 w 175"/>
                <a:gd name="T25" fmla="*/ 112 h 189"/>
                <a:gd name="T26" fmla="*/ 104 w 175"/>
                <a:gd name="T27" fmla="*/ 156 h 189"/>
                <a:gd name="T28" fmla="*/ 76 w 175"/>
                <a:gd name="T29" fmla="*/ 173 h 189"/>
                <a:gd name="T30" fmla="*/ 46 w 175"/>
                <a:gd name="T31" fmla="*/ 164 h 189"/>
                <a:gd name="T32" fmla="*/ 23 w 175"/>
                <a:gd name="T33" fmla="*/ 131 h 189"/>
                <a:gd name="T34" fmla="*/ 9 w 175"/>
                <a:gd name="T35" fmla="*/ 87 h 189"/>
                <a:gd name="T36" fmla="*/ 2 w 175"/>
                <a:gd name="T37" fmla="*/ 49 h 189"/>
                <a:gd name="T38" fmla="*/ 0 w 175"/>
                <a:gd name="T39" fmla="*/ 31 h 189"/>
                <a:gd name="T40" fmla="*/ 2 w 175"/>
                <a:gd name="T41" fmla="*/ 23 h 189"/>
                <a:gd name="T42" fmla="*/ 6 w 175"/>
                <a:gd name="T43" fmla="*/ 16 h 189"/>
                <a:gd name="T44" fmla="*/ 13 w 175"/>
                <a:gd name="T45" fmla="*/ 12 h 189"/>
                <a:gd name="T46" fmla="*/ 28 w 175"/>
                <a:gd name="T47" fmla="*/ 14 h 189"/>
                <a:gd name="T48" fmla="*/ 34 w 175"/>
                <a:gd name="T49" fmla="*/ 31 h 189"/>
                <a:gd name="T50" fmla="*/ 41 w 175"/>
                <a:gd name="T51" fmla="*/ 82 h 189"/>
                <a:gd name="T52" fmla="*/ 55 w 175"/>
                <a:gd name="T53" fmla="*/ 135 h 189"/>
                <a:gd name="T54" fmla="*/ 63 w 175"/>
                <a:gd name="T55" fmla="*/ 145 h 189"/>
                <a:gd name="T56" fmla="*/ 72 w 175"/>
                <a:gd name="T57" fmla="*/ 147 h 189"/>
                <a:gd name="T58" fmla="*/ 83 w 175"/>
                <a:gd name="T59" fmla="*/ 140 h 189"/>
                <a:gd name="T60" fmla="*/ 109 w 175"/>
                <a:gd name="T61" fmla="*/ 105 h 189"/>
                <a:gd name="T62" fmla="*/ 133 w 175"/>
                <a:gd name="T63" fmla="*/ 42 h 189"/>
                <a:gd name="T64" fmla="*/ 139 w 175"/>
                <a:gd name="T65" fmla="*/ 9 h 189"/>
                <a:gd name="T66" fmla="*/ 153 w 175"/>
                <a:gd name="T67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5" h="189">
                  <a:moveTo>
                    <a:pt x="153" y="0"/>
                  </a:moveTo>
                  <a:lnTo>
                    <a:pt x="158" y="2"/>
                  </a:lnTo>
                  <a:lnTo>
                    <a:pt x="161" y="9"/>
                  </a:lnTo>
                  <a:lnTo>
                    <a:pt x="163" y="19"/>
                  </a:lnTo>
                  <a:lnTo>
                    <a:pt x="163" y="35"/>
                  </a:lnTo>
                  <a:lnTo>
                    <a:pt x="159" y="65"/>
                  </a:lnTo>
                  <a:lnTo>
                    <a:pt x="159" y="89"/>
                  </a:lnTo>
                  <a:lnTo>
                    <a:pt x="161" y="112"/>
                  </a:lnTo>
                  <a:lnTo>
                    <a:pt x="163" y="133"/>
                  </a:lnTo>
                  <a:lnTo>
                    <a:pt x="168" y="157"/>
                  </a:lnTo>
                  <a:lnTo>
                    <a:pt x="170" y="159"/>
                  </a:lnTo>
                  <a:lnTo>
                    <a:pt x="172" y="163"/>
                  </a:lnTo>
                  <a:lnTo>
                    <a:pt x="173" y="166"/>
                  </a:lnTo>
                  <a:lnTo>
                    <a:pt x="175" y="170"/>
                  </a:lnTo>
                  <a:lnTo>
                    <a:pt x="175" y="175"/>
                  </a:lnTo>
                  <a:lnTo>
                    <a:pt x="173" y="180"/>
                  </a:lnTo>
                  <a:lnTo>
                    <a:pt x="170" y="185"/>
                  </a:lnTo>
                  <a:lnTo>
                    <a:pt x="168" y="189"/>
                  </a:lnTo>
                  <a:lnTo>
                    <a:pt x="163" y="189"/>
                  </a:lnTo>
                  <a:lnTo>
                    <a:pt x="159" y="189"/>
                  </a:lnTo>
                  <a:lnTo>
                    <a:pt x="156" y="189"/>
                  </a:lnTo>
                  <a:lnTo>
                    <a:pt x="153" y="185"/>
                  </a:lnTo>
                  <a:lnTo>
                    <a:pt x="149" y="182"/>
                  </a:lnTo>
                  <a:lnTo>
                    <a:pt x="142" y="166"/>
                  </a:lnTo>
                  <a:lnTo>
                    <a:pt x="137" y="142"/>
                  </a:lnTo>
                  <a:lnTo>
                    <a:pt x="132" y="112"/>
                  </a:lnTo>
                  <a:lnTo>
                    <a:pt x="119" y="135"/>
                  </a:lnTo>
                  <a:lnTo>
                    <a:pt x="104" y="156"/>
                  </a:lnTo>
                  <a:lnTo>
                    <a:pt x="91" y="168"/>
                  </a:lnTo>
                  <a:lnTo>
                    <a:pt x="76" y="173"/>
                  </a:lnTo>
                  <a:lnTo>
                    <a:pt x="62" y="173"/>
                  </a:lnTo>
                  <a:lnTo>
                    <a:pt x="46" y="164"/>
                  </a:lnTo>
                  <a:lnTo>
                    <a:pt x="32" y="149"/>
                  </a:lnTo>
                  <a:lnTo>
                    <a:pt x="23" y="131"/>
                  </a:lnTo>
                  <a:lnTo>
                    <a:pt x="16" y="108"/>
                  </a:lnTo>
                  <a:lnTo>
                    <a:pt x="9" y="87"/>
                  </a:lnTo>
                  <a:lnTo>
                    <a:pt x="6" y="66"/>
                  </a:lnTo>
                  <a:lnTo>
                    <a:pt x="2" y="49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6" y="16"/>
                  </a:lnTo>
                  <a:lnTo>
                    <a:pt x="9" y="12"/>
                  </a:lnTo>
                  <a:lnTo>
                    <a:pt x="13" y="12"/>
                  </a:lnTo>
                  <a:lnTo>
                    <a:pt x="20" y="10"/>
                  </a:lnTo>
                  <a:lnTo>
                    <a:pt x="28" y="14"/>
                  </a:lnTo>
                  <a:lnTo>
                    <a:pt x="32" y="19"/>
                  </a:lnTo>
                  <a:lnTo>
                    <a:pt x="34" y="31"/>
                  </a:lnTo>
                  <a:lnTo>
                    <a:pt x="37" y="51"/>
                  </a:lnTo>
                  <a:lnTo>
                    <a:pt x="41" y="82"/>
                  </a:lnTo>
                  <a:lnTo>
                    <a:pt x="48" y="112"/>
                  </a:lnTo>
                  <a:lnTo>
                    <a:pt x="55" y="135"/>
                  </a:lnTo>
                  <a:lnTo>
                    <a:pt x="58" y="142"/>
                  </a:lnTo>
                  <a:lnTo>
                    <a:pt x="63" y="145"/>
                  </a:lnTo>
                  <a:lnTo>
                    <a:pt x="69" y="147"/>
                  </a:lnTo>
                  <a:lnTo>
                    <a:pt x="72" y="147"/>
                  </a:lnTo>
                  <a:lnTo>
                    <a:pt x="77" y="145"/>
                  </a:lnTo>
                  <a:lnTo>
                    <a:pt x="83" y="140"/>
                  </a:lnTo>
                  <a:lnTo>
                    <a:pt x="97" y="126"/>
                  </a:lnTo>
                  <a:lnTo>
                    <a:pt x="109" y="105"/>
                  </a:lnTo>
                  <a:lnTo>
                    <a:pt x="123" y="77"/>
                  </a:lnTo>
                  <a:lnTo>
                    <a:pt x="133" y="42"/>
                  </a:lnTo>
                  <a:lnTo>
                    <a:pt x="135" y="23"/>
                  </a:lnTo>
                  <a:lnTo>
                    <a:pt x="139" y="9"/>
                  </a:lnTo>
                  <a:lnTo>
                    <a:pt x="144" y="0"/>
                  </a:lnTo>
                  <a:lnTo>
                    <a:pt x="15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58"/>
            <p:cNvSpPr>
              <a:spLocks/>
            </p:cNvSpPr>
            <p:nvPr userDrawn="1"/>
          </p:nvSpPr>
          <p:spPr bwMode="auto">
            <a:xfrm>
              <a:off x="9853613" y="5240338"/>
              <a:ext cx="217488" cy="314325"/>
            </a:xfrm>
            <a:custGeom>
              <a:avLst/>
              <a:gdLst>
                <a:gd name="T0" fmla="*/ 105 w 137"/>
                <a:gd name="T1" fmla="*/ 0 h 198"/>
                <a:gd name="T2" fmla="*/ 119 w 137"/>
                <a:gd name="T3" fmla="*/ 0 h 198"/>
                <a:gd name="T4" fmla="*/ 128 w 137"/>
                <a:gd name="T5" fmla="*/ 5 h 198"/>
                <a:gd name="T6" fmla="*/ 135 w 137"/>
                <a:gd name="T7" fmla="*/ 14 h 198"/>
                <a:gd name="T8" fmla="*/ 137 w 137"/>
                <a:gd name="T9" fmla="*/ 32 h 198"/>
                <a:gd name="T10" fmla="*/ 135 w 137"/>
                <a:gd name="T11" fmla="*/ 46 h 198"/>
                <a:gd name="T12" fmla="*/ 132 w 137"/>
                <a:gd name="T13" fmla="*/ 58 h 198"/>
                <a:gd name="T14" fmla="*/ 126 w 137"/>
                <a:gd name="T15" fmla="*/ 68 h 198"/>
                <a:gd name="T16" fmla="*/ 118 w 137"/>
                <a:gd name="T17" fmla="*/ 74 h 198"/>
                <a:gd name="T18" fmla="*/ 107 w 137"/>
                <a:gd name="T19" fmla="*/ 75 h 198"/>
                <a:gd name="T20" fmla="*/ 104 w 137"/>
                <a:gd name="T21" fmla="*/ 74 h 198"/>
                <a:gd name="T22" fmla="*/ 102 w 137"/>
                <a:gd name="T23" fmla="*/ 72 h 198"/>
                <a:gd name="T24" fmla="*/ 102 w 137"/>
                <a:gd name="T25" fmla="*/ 68 h 198"/>
                <a:gd name="T26" fmla="*/ 102 w 137"/>
                <a:gd name="T27" fmla="*/ 67 h 198"/>
                <a:gd name="T28" fmla="*/ 104 w 137"/>
                <a:gd name="T29" fmla="*/ 63 h 198"/>
                <a:gd name="T30" fmla="*/ 105 w 137"/>
                <a:gd name="T31" fmla="*/ 58 h 198"/>
                <a:gd name="T32" fmla="*/ 105 w 137"/>
                <a:gd name="T33" fmla="*/ 49 h 198"/>
                <a:gd name="T34" fmla="*/ 107 w 137"/>
                <a:gd name="T35" fmla="*/ 39 h 198"/>
                <a:gd name="T36" fmla="*/ 104 w 137"/>
                <a:gd name="T37" fmla="*/ 30 h 198"/>
                <a:gd name="T38" fmla="*/ 98 w 137"/>
                <a:gd name="T39" fmla="*/ 26 h 198"/>
                <a:gd name="T40" fmla="*/ 88 w 137"/>
                <a:gd name="T41" fmla="*/ 28 h 198"/>
                <a:gd name="T42" fmla="*/ 77 w 137"/>
                <a:gd name="T43" fmla="*/ 37 h 198"/>
                <a:gd name="T44" fmla="*/ 69 w 137"/>
                <a:gd name="T45" fmla="*/ 54 h 198"/>
                <a:gd name="T46" fmla="*/ 58 w 137"/>
                <a:gd name="T47" fmla="*/ 75 h 198"/>
                <a:gd name="T48" fmla="*/ 53 w 137"/>
                <a:gd name="T49" fmla="*/ 103 h 198"/>
                <a:gd name="T50" fmla="*/ 51 w 137"/>
                <a:gd name="T51" fmla="*/ 117 h 198"/>
                <a:gd name="T52" fmla="*/ 51 w 137"/>
                <a:gd name="T53" fmla="*/ 131 h 198"/>
                <a:gd name="T54" fmla="*/ 51 w 137"/>
                <a:gd name="T55" fmla="*/ 149 h 198"/>
                <a:gd name="T56" fmla="*/ 55 w 137"/>
                <a:gd name="T57" fmla="*/ 175 h 198"/>
                <a:gd name="T58" fmla="*/ 56 w 137"/>
                <a:gd name="T59" fmla="*/ 182 h 198"/>
                <a:gd name="T60" fmla="*/ 56 w 137"/>
                <a:gd name="T61" fmla="*/ 189 h 198"/>
                <a:gd name="T62" fmla="*/ 55 w 137"/>
                <a:gd name="T63" fmla="*/ 193 h 198"/>
                <a:gd name="T64" fmla="*/ 55 w 137"/>
                <a:gd name="T65" fmla="*/ 196 h 198"/>
                <a:gd name="T66" fmla="*/ 53 w 137"/>
                <a:gd name="T67" fmla="*/ 198 h 198"/>
                <a:gd name="T68" fmla="*/ 49 w 137"/>
                <a:gd name="T69" fmla="*/ 198 h 198"/>
                <a:gd name="T70" fmla="*/ 46 w 137"/>
                <a:gd name="T71" fmla="*/ 198 h 198"/>
                <a:gd name="T72" fmla="*/ 41 w 137"/>
                <a:gd name="T73" fmla="*/ 198 h 198"/>
                <a:gd name="T74" fmla="*/ 35 w 137"/>
                <a:gd name="T75" fmla="*/ 196 h 198"/>
                <a:gd name="T76" fmla="*/ 32 w 137"/>
                <a:gd name="T77" fmla="*/ 194 h 198"/>
                <a:gd name="T78" fmla="*/ 28 w 137"/>
                <a:gd name="T79" fmla="*/ 191 h 198"/>
                <a:gd name="T80" fmla="*/ 27 w 137"/>
                <a:gd name="T81" fmla="*/ 186 h 198"/>
                <a:gd name="T82" fmla="*/ 14 w 137"/>
                <a:gd name="T83" fmla="*/ 138 h 198"/>
                <a:gd name="T84" fmla="*/ 7 w 137"/>
                <a:gd name="T85" fmla="*/ 93 h 198"/>
                <a:gd name="T86" fmla="*/ 2 w 137"/>
                <a:gd name="T87" fmla="*/ 49 h 198"/>
                <a:gd name="T88" fmla="*/ 0 w 137"/>
                <a:gd name="T89" fmla="*/ 14 h 198"/>
                <a:gd name="T90" fmla="*/ 0 w 137"/>
                <a:gd name="T91" fmla="*/ 9 h 198"/>
                <a:gd name="T92" fmla="*/ 4 w 137"/>
                <a:gd name="T93" fmla="*/ 5 h 198"/>
                <a:gd name="T94" fmla="*/ 7 w 137"/>
                <a:gd name="T95" fmla="*/ 4 h 198"/>
                <a:gd name="T96" fmla="*/ 11 w 137"/>
                <a:gd name="T97" fmla="*/ 2 h 198"/>
                <a:gd name="T98" fmla="*/ 14 w 137"/>
                <a:gd name="T99" fmla="*/ 2 h 198"/>
                <a:gd name="T100" fmla="*/ 18 w 137"/>
                <a:gd name="T101" fmla="*/ 4 h 198"/>
                <a:gd name="T102" fmla="*/ 21 w 137"/>
                <a:gd name="T103" fmla="*/ 4 h 198"/>
                <a:gd name="T104" fmla="*/ 25 w 137"/>
                <a:gd name="T105" fmla="*/ 7 h 198"/>
                <a:gd name="T106" fmla="*/ 27 w 137"/>
                <a:gd name="T107" fmla="*/ 12 h 198"/>
                <a:gd name="T108" fmla="*/ 30 w 137"/>
                <a:gd name="T109" fmla="*/ 28 h 198"/>
                <a:gd name="T110" fmla="*/ 34 w 137"/>
                <a:gd name="T111" fmla="*/ 47 h 198"/>
                <a:gd name="T112" fmla="*/ 37 w 137"/>
                <a:gd name="T113" fmla="*/ 68 h 198"/>
                <a:gd name="T114" fmla="*/ 44 w 137"/>
                <a:gd name="T115" fmla="*/ 49 h 198"/>
                <a:gd name="T116" fmla="*/ 55 w 137"/>
                <a:gd name="T117" fmla="*/ 32 h 198"/>
                <a:gd name="T118" fmla="*/ 67 w 137"/>
                <a:gd name="T119" fmla="*/ 16 h 198"/>
                <a:gd name="T120" fmla="*/ 84 w 137"/>
                <a:gd name="T121" fmla="*/ 5 h 198"/>
                <a:gd name="T122" fmla="*/ 105 w 137"/>
                <a:gd name="T123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" h="198">
                  <a:moveTo>
                    <a:pt x="105" y="0"/>
                  </a:moveTo>
                  <a:lnTo>
                    <a:pt x="119" y="0"/>
                  </a:lnTo>
                  <a:lnTo>
                    <a:pt x="128" y="5"/>
                  </a:lnTo>
                  <a:lnTo>
                    <a:pt x="135" y="14"/>
                  </a:lnTo>
                  <a:lnTo>
                    <a:pt x="137" y="32"/>
                  </a:lnTo>
                  <a:lnTo>
                    <a:pt x="135" y="46"/>
                  </a:lnTo>
                  <a:lnTo>
                    <a:pt x="132" y="58"/>
                  </a:lnTo>
                  <a:lnTo>
                    <a:pt x="126" y="68"/>
                  </a:lnTo>
                  <a:lnTo>
                    <a:pt x="118" y="74"/>
                  </a:lnTo>
                  <a:lnTo>
                    <a:pt x="107" y="75"/>
                  </a:lnTo>
                  <a:lnTo>
                    <a:pt x="104" y="74"/>
                  </a:lnTo>
                  <a:lnTo>
                    <a:pt x="102" y="72"/>
                  </a:lnTo>
                  <a:lnTo>
                    <a:pt x="102" y="68"/>
                  </a:lnTo>
                  <a:lnTo>
                    <a:pt x="102" y="67"/>
                  </a:lnTo>
                  <a:lnTo>
                    <a:pt x="104" y="63"/>
                  </a:lnTo>
                  <a:lnTo>
                    <a:pt x="105" y="58"/>
                  </a:lnTo>
                  <a:lnTo>
                    <a:pt x="105" y="49"/>
                  </a:lnTo>
                  <a:lnTo>
                    <a:pt x="107" y="39"/>
                  </a:lnTo>
                  <a:lnTo>
                    <a:pt x="104" y="30"/>
                  </a:lnTo>
                  <a:lnTo>
                    <a:pt x="98" y="26"/>
                  </a:lnTo>
                  <a:lnTo>
                    <a:pt x="88" y="28"/>
                  </a:lnTo>
                  <a:lnTo>
                    <a:pt x="77" y="37"/>
                  </a:lnTo>
                  <a:lnTo>
                    <a:pt x="69" y="54"/>
                  </a:lnTo>
                  <a:lnTo>
                    <a:pt x="58" y="75"/>
                  </a:lnTo>
                  <a:lnTo>
                    <a:pt x="53" y="103"/>
                  </a:lnTo>
                  <a:lnTo>
                    <a:pt x="51" y="117"/>
                  </a:lnTo>
                  <a:lnTo>
                    <a:pt x="51" y="131"/>
                  </a:lnTo>
                  <a:lnTo>
                    <a:pt x="51" y="149"/>
                  </a:lnTo>
                  <a:lnTo>
                    <a:pt x="55" y="175"/>
                  </a:lnTo>
                  <a:lnTo>
                    <a:pt x="56" y="182"/>
                  </a:lnTo>
                  <a:lnTo>
                    <a:pt x="56" y="189"/>
                  </a:lnTo>
                  <a:lnTo>
                    <a:pt x="55" y="193"/>
                  </a:lnTo>
                  <a:lnTo>
                    <a:pt x="55" y="196"/>
                  </a:lnTo>
                  <a:lnTo>
                    <a:pt x="53" y="198"/>
                  </a:lnTo>
                  <a:lnTo>
                    <a:pt x="49" y="198"/>
                  </a:lnTo>
                  <a:lnTo>
                    <a:pt x="46" y="198"/>
                  </a:lnTo>
                  <a:lnTo>
                    <a:pt x="41" y="198"/>
                  </a:lnTo>
                  <a:lnTo>
                    <a:pt x="35" y="196"/>
                  </a:lnTo>
                  <a:lnTo>
                    <a:pt x="32" y="194"/>
                  </a:lnTo>
                  <a:lnTo>
                    <a:pt x="28" y="191"/>
                  </a:lnTo>
                  <a:lnTo>
                    <a:pt x="27" y="186"/>
                  </a:lnTo>
                  <a:lnTo>
                    <a:pt x="14" y="138"/>
                  </a:lnTo>
                  <a:lnTo>
                    <a:pt x="7" y="93"/>
                  </a:lnTo>
                  <a:lnTo>
                    <a:pt x="2" y="49"/>
                  </a:lnTo>
                  <a:lnTo>
                    <a:pt x="0" y="14"/>
                  </a:lnTo>
                  <a:lnTo>
                    <a:pt x="0" y="9"/>
                  </a:lnTo>
                  <a:lnTo>
                    <a:pt x="4" y="5"/>
                  </a:lnTo>
                  <a:lnTo>
                    <a:pt x="7" y="4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8" y="4"/>
                  </a:lnTo>
                  <a:lnTo>
                    <a:pt x="21" y="4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28"/>
                  </a:lnTo>
                  <a:lnTo>
                    <a:pt x="34" y="47"/>
                  </a:lnTo>
                  <a:lnTo>
                    <a:pt x="37" y="68"/>
                  </a:lnTo>
                  <a:lnTo>
                    <a:pt x="44" y="49"/>
                  </a:lnTo>
                  <a:lnTo>
                    <a:pt x="55" y="32"/>
                  </a:lnTo>
                  <a:lnTo>
                    <a:pt x="67" y="16"/>
                  </a:lnTo>
                  <a:lnTo>
                    <a:pt x="84" y="5"/>
                  </a:lnTo>
                  <a:lnTo>
                    <a:pt x="10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59"/>
            <p:cNvSpPr>
              <a:spLocks noEditPoints="1"/>
            </p:cNvSpPr>
            <p:nvPr userDrawn="1"/>
          </p:nvSpPr>
          <p:spPr bwMode="auto">
            <a:xfrm>
              <a:off x="10059988" y="5268913"/>
              <a:ext cx="266700" cy="285750"/>
            </a:xfrm>
            <a:custGeom>
              <a:avLst/>
              <a:gdLst>
                <a:gd name="T0" fmla="*/ 110 w 168"/>
                <a:gd name="T1" fmla="*/ 26 h 180"/>
                <a:gd name="T2" fmla="*/ 84 w 168"/>
                <a:gd name="T3" fmla="*/ 42 h 180"/>
                <a:gd name="T4" fmla="*/ 59 w 168"/>
                <a:gd name="T5" fmla="*/ 68 h 180"/>
                <a:gd name="T6" fmla="*/ 51 w 168"/>
                <a:gd name="T7" fmla="*/ 87 h 180"/>
                <a:gd name="T8" fmla="*/ 86 w 168"/>
                <a:gd name="T9" fmla="*/ 80 h 180"/>
                <a:gd name="T10" fmla="*/ 124 w 168"/>
                <a:gd name="T11" fmla="*/ 59 h 180"/>
                <a:gd name="T12" fmla="*/ 138 w 168"/>
                <a:gd name="T13" fmla="*/ 35 h 180"/>
                <a:gd name="T14" fmla="*/ 124 w 168"/>
                <a:gd name="T15" fmla="*/ 22 h 180"/>
                <a:gd name="T16" fmla="*/ 134 w 168"/>
                <a:gd name="T17" fmla="*/ 1 h 180"/>
                <a:gd name="T18" fmla="*/ 162 w 168"/>
                <a:gd name="T19" fmla="*/ 22 h 180"/>
                <a:gd name="T20" fmla="*/ 164 w 168"/>
                <a:gd name="T21" fmla="*/ 57 h 180"/>
                <a:gd name="T22" fmla="*/ 136 w 168"/>
                <a:gd name="T23" fmla="*/ 87 h 180"/>
                <a:gd name="T24" fmla="*/ 91 w 168"/>
                <a:gd name="T25" fmla="*/ 108 h 180"/>
                <a:gd name="T26" fmla="*/ 51 w 168"/>
                <a:gd name="T27" fmla="*/ 115 h 180"/>
                <a:gd name="T28" fmla="*/ 59 w 168"/>
                <a:gd name="T29" fmla="*/ 138 h 180"/>
                <a:gd name="T30" fmla="*/ 93 w 168"/>
                <a:gd name="T31" fmla="*/ 155 h 180"/>
                <a:gd name="T32" fmla="*/ 138 w 168"/>
                <a:gd name="T33" fmla="*/ 150 h 180"/>
                <a:gd name="T34" fmla="*/ 148 w 168"/>
                <a:gd name="T35" fmla="*/ 147 h 180"/>
                <a:gd name="T36" fmla="*/ 155 w 168"/>
                <a:gd name="T37" fmla="*/ 148 h 180"/>
                <a:gd name="T38" fmla="*/ 157 w 168"/>
                <a:gd name="T39" fmla="*/ 154 h 180"/>
                <a:gd name="T40" fmla="*/ 154 w 168"/>
                <a:gd name="T41" fmla="*/ 162 h 180"/>
                <a:gd name="T42" fmla="*/ 147 w 168"/>
                <a:gd name="T43" fmla="*/ 171 h 180"/>
                <a:gd name="T44" fmla="*/ 117 w 168"/>
                <a:gd name="T45" fmla="*/ 180 h 180"/>
                <a:gd name="T46" fmla="*/ 66 w 168"/>
                <a:gd name="T47" fmla="*/ 175 h 180"/>
                <a:gd name="T48" fmla="*/ 28 w 168"/>
                <a:gd name="T49" fmla="*/ 145 h 180"/>
                <a:gd name="T50" fmla="*/ 19 w 168"/>
                <a:gd name="T51" fmla="*/ 112 h 180"/>
                <a:gd name="T52" fmla="*/ 5 w 168"/>
                <a:gd name="T53" fmla="*/ 105 h 180"/>
                <a:gd name="T54" fmla="*/ 0 w 168"/>
                <a:gd name="T55" fmla="*/ 98 h 180"/>
                <a:gd name="T56" fmla="*/ 2 w 168"/>
                <a:gd name="T57" fmla="*/ 91 h 180"/>
                <a:gd name="T58" fmla="*/ 9 w 168"/>
                <a:gd name="T59" fmla="*/ 84 h 180"/>
                <a:gd name="T60" fmla="*/ 23 w 168"/>
                <a:gd name="T61" fmla="*/ 80 h 180"/>
                <a:gd name="T62" fmla="*/ 51 w 168"/>
                <a:gd name="T63" fmla="*/ 35 h 180"/>
                <a:gd name="T64" fmla="*/ 91 w 168"/>
                <a:gd name="T65" fmla="*/ 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8" h="180">
                  <a:moveTo>
                    <a:pt x="124" y="22"/>
                  </a:moveTo>
                  <a:lnTo>
                    <a:pt x="110" y="26"/>
                  </a:lnTo>
                  <a:lnTo>
                    <a:pt x="96" y="33"/>
                  </a:lnTo>
                  <a:lnTo>
                    <a:pt x="84" y="42"/>
                  </a:lnTo>
                  <a:lnTo>
                    <a:pt x="73" y="50"/>
                  </a:lnTo>
                  <a:lnTo>
                    <a:pt x="59" y="68"/>
                  </a:lnTo>
                  <a:lnTo>
                    <a:pt x="51" y="84"/>
                  </a:lnTo>
                  <a:lnTo>
                    <a:pt x="51" y="87"/>
                  </a:lnTo>
                  <a:lnTo>
                    <a:pt x="61" y="85"/>
                  </a:lnTo>
                  <a:lnTo>
                    <a:pt x="86" y="80"/>
                  </a:lnTo>
                  <a:lnTo>
                    <a:pt x="106" y="70"/>
                  </a:lnTo>
                  <a:lnTo>
                    <a:pt x="124" y="59"/>
                  </a:lnTo>
                  <a:lnTo>
                    <a:pt x="134" y="47"/>
                  </a:lnTo>
                  <a:lnTo>
                    <a:pt x="138" y="35"/>
                  </a:lnTo>
                  <a:lnTo>
                    <a:pt x="133" y="26"/>
                  </a:lnTo>
                  <a:lnTo>
                    <a:pt x="124" y="22"/>
                  </a:lnTo>
                  <a:close/>
                  <a:moveTo>
                    <a:pt x="113" y="0"/>
                  </a:moveTo>
                  <a:lnTo>
                    <a:pt x="134" y="1"/>
                  </a:lnTo>
                  <a:lnTo>
                    <a:pt x="154" y="10"/>
                  </a:lnTo>
                  <a:lnTo>
                    <a:pt x="162" y="22"/>
                  </a:lnTo>
                  <a:lnTo>
                    <a:pt x="168" y="38"/>
                  </a:lnTo>
                  <a:lnTo>
                    <a:pt x="164" y="57"/>
                  </a:lnTo>
                  <a:lnTo>
                    <a:pt x="154" y="71"/>
                  </a:lnTo>
                  <a:lnTo>
                    <a:pt x="136" y="87"/>
                  </a:lnTo>
                  <a:lnTo>
                    <a:pt x="115" y="99"/>
                  </a:lnTo>
                  <a:lnTo>
                    <a:pt x="91" y="108"/>
                  </a:lnTo>
                  <a:lnTo>
                    <a:pt x="68" y="113"/>
                  </a:lnTo>
                  <a:lnTo>
                    <a:pt x="51" y="115"/>
                  </a:lnTo>
                  <a:lnTo>
                    <a:pt x="51" y="122"/>
                  </a:lnTo>
                  <a:lnTo>
                    <a:pt x="59" y="138"/>
                  </a:lnTo>
                  <a:lnTo>
                    <a:pt x="73" y="148"/>
                  </a:lnTo>
                  <a:lnTo>
                    <a:pt x="93" y="155"/>
                  </a:lnTo>
                  <a:lnTo>
                    <a:pt x="113" y="155"/>
                  </a:lnTo>
                  <a:lnTo>
                    <a:pt x="138" y="150"/>
                  </a:lnTo>
                  <a:lnTo>
                    <a:pt x="143" y="148"/>
                  </a:lnTo>
                  <a:lnTo>
                    <a:pt x="148" y="147"/>
                  </a:lnTo>
                  <a:lnTo>
                    <a:pt x="152" y="147"/>
                  </a:lnTo>
                  <a:lnTo>
                    <a:pt x="155" y="148"/>
                  </a:lnTo>
                  <a:lnTo>
                    <a:pt x="157" y="150"/>
                  </a:lnTo>
                  <a:lnTo>
                    <a:pt x="157" y="154"/>
                  </a:lnTo>
                  <a:lnTo>
                    <a:pt x="157" y="159"/>
                  </a:lnTo>
                  <a:lnTo>
                    <a:pt x="154" y="162"/>
                  </a:lnTo>
                  <a:lnTo>
                    <a:pt x="152" y="168"/>
                  </a:lnTo>
                  <a:lnTo>
                    <a:pt x="147" y="171"/>
                  </a:lnTo>
                  <a:lnTo>
                    <a:pt x="143" y="173"/>
                  </a:lnTo>
                  <a:lnTo>
                    <a:pt x="117" y="180"/>
                  </a:lnTo>
                  <a:lnTo>
                    <a:pt x="91" y="180"/>
                  </a:lnTo>
                  <a:lnTo>
                    <a:pt x="66" y="175"/>
                  </a:lnTo>
                  <a:lnTo>
                    <a:pt x="45" y="162"/>
                  </a:lnTo>
                  <a:lnTo>
                    <a:pt x="28" y="145"/>
                  </a:lnTo>
                  <a:lnTo>
                    <a:pt x="21" y="126"/>
                  </a:lnTo>
                  <a:lnTo>
                    <a:pt x="19" y="112"/>
                  </a:lnTo>
                  <a:lnTo>
                    <a:pt x="10" y="110"/>
                  </a:lnTo>
                  <a:lnTo>
                    <a:pt x="5" y="105"/>
                  </a:lnTo>
                  <a:lnTo>
                    <a:pt x="2" y="101"/>
                  </a:lnTo>
                  <a:lnTo>
                    <a:pt x="0" y="98"/>
                  </a:lnTo>
                  <a:lnTo>
                    <a:pt x="0" y="94"/>
                  </a:lnTo>
                  <a:lnTo>
                    <a:pt x="2" y="91"/>
                  </a:lnTo>
                  <a:lnTo>
                    <a:pt x="3" y="87"/>
                  </a:lnTo>
                  <a:lnTo>
                    <a:pt x="9" y="84"/>
                  </a:lnTo>
                  <a:lnTo>
                    <a:pt x="21" y="85"/>
                  </a:lnTo>
                  <a:lnTo>
                    <a:pt x="23" y="80"/>
                  </a:lnTo>
                  <a:lnTo>
                    <a:pt x="33" y="57"/>
                  </a:lnTo>
                  <a:lnTo>
                    <a:pt x="51" y="35"/>
                  </a:lnTo>
                  <a:lnTo>
                    <a:pt x="70" y="19"/>
                  </a:lnTo>
                  <a:lnTo>
                    <a:pt x="91" y="7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Tijdelijke aanduiding voor tekst 23"/>
          <p:cNvSpPr>
            <a:spLocks noGrp="1"/>
          </p:cNvSpPr>
          <p:nvPr>
            <p:ph type="body" sz="quarter" idx="19" hasCustomPrompt="1"/>
          </p:nvPr>
        </p:nvSpPr>
        <p:spPr>
          <a:xfrm>
            <a:off x="1455826" y="2334126"/>
            <a:ext cx="1701295" cy="4089898"/>
          </a:xfrm>
          <a:solidFill>
            <a:schemeClr val="accent1">
              <a:alpha val="90000"/>
            </a:schemeClr>
          </a:solidFill>
        </p:spPr>
        <p:txBody>
          <a:bodyPr lIns="144000" tIns="1728000" rIns="144000" bIns="108000">
            <a:normAutofit/>
          </a:bodyPr>
          <a:lstStyle>
            <a:lvl1pPr marL="0" indent="0" algn="ctr">
              <a:buNone/>
              <a:defRPr sz="16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Hoofdstuk titel</a:t>
            </a:r>
            <a:endParaRPr lang="en-US" dirty="0"/>
          </a:p>
        </p:txBody>
      </p:sp>
      <p:sp>
        <p:nvSpPr>
          <p:cNvPr id="138" name="Tijdelijke aanduiding voor tekst 23"/>
          <p:cNvSpPr>
            <a:spLocks noGrp="1"/>
          </p:cNvSpPr>
          <p:nvPr>
            <p:ph type="body" sz="quarter" idx="20" hasCustomPrompt="1"/>
          </p:nvPr>
        </p:nvSpPr>
        <p:spPr>
          <a:xfrm>
            <a:off x="3346634" y="2334126"/>
            <a:ext cx="1701295" cy="4089898"/>
          </a:xfrm>
          <a:solidFill>
            <a:schemeClr val="accent2">
              <a:alpha val="90000"/>
            </a:schemeClr>
          </a:solidFill>
        </p:spPr>
        <p:txBody>
          <a:bodyPr lIns="144000" tIns="1728000" rIns="144000" bIns="108000">
            <a:normAutofit/>
          </a:bodyPr>
          <a:lstStyle>
            <a:lvl1pPr marL="0" indent="0" algn="ctr">
              <a:buNone/>
              <a:defRPr sz="16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Hoofdstuk titel</a:t>
            </a:r>
            <a:endParaRPr lang="en-US" dirty="0"/>
          </a:p>
        </p:txBody>
      </p:sp>
      <p:sp>
        <p:nvSpPr>
          <p:cNvPr id="139" name="Tijdelijke aanduiding voor tekst 23"/>
          <p:cNvSpPr>
            <a:spLocks noGrp="1"/>
          </p:cNvSpPr>
          <p:nvPr>
            <p:ph type="body" sz="quarter" idx="21" hasCustomPrompt="1"/>
          </p:nvPr>
        </p:nvSpPr>
        <p:spPr>
          <a:xfrm>
            <a:off x="5248133" y="2334126"/>
            <a:ext cx="1701295" cy="4089898"/>
          </a:xfrm>
          <a:solidFill>
            <a:schemeClr val="accent3">
              <a:alpha val="90000"/>
            </a:schemeClr>
          </a:solidFill>
        </p:spPr>
        <p:txBody>
          <a:bodyPr lIns="144000" tIns="1728000" rIns="144000" bIns="108000">
            <a:normAutofit/>
          </a:bodyPr>
          <a:lstStyle>
            <a:lvl1pPr marL="0" indent="0" algn="ctr">
              <a:buNone/>
              <a:defRPr sz="16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Hoofdstuk titel</a:t>
            </a:r>
            <a:endParaRPr lang="en-US" dirty="0"/>
          </a:p>
        </p:txBody>
      </p:sp>
      <p:sp>
        <p:nvSpPr>
          <p:cNvPr id="140" name="Tijdelijke aanduiding voor tekst 23"/>
          <p:cNvSpPr>
            <a:spLocks noGrp="1"/>
          </p:cNvSpPr>
          <p:nvPr>
            <p:ph type="body" sz="quarter" idx="22" hasCustomPrompt="1"/>
          </p:nvPr>
        </p:nvSpPr>
        <p:spPr>
          <a:xfrm>
            <a:off x="7137466" y="2334126"/>
            <a:ext cx="1701295" cy="4089898"/>
          </a:xfrm>
          <a:solidFill>
            <a:schemeClr val="accent4">
              <a:alpha val="90000"/>
            </a:schemeClr>
          </a:solidFill>
        </p:spPr>
        <p:txBody>
          <a:bodyPr lIns="144000" tIns="1728000" rIns="144000" bIns="108000">
            <a:normAutofit/>
          </a:bodyPr>
          <a:lstStyle>
            <a:lvl1pPr marL="0" indent="0" algn="ctr">
              <a:buNone/>
              <a:defRPr sz="16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Hoofdstuk titel</a:t>
            </a:r>
            <a:endParaRPr lang="en-US" dirty="0"/>
          </a:p>
        </p:txBody>
      </p:sp>
      <p:sp>
        <p:nvSpPr>
          <p:cNvPr id="141" name="Tijdelijke aanduiding voor tekst 23"/>
          <p:cNvSpPr>
            <a:spLocks noGrp="1"/>
          </p:cNvSpPr>
          <p:nvPr>
            <p:ph type="body" sz="quarter" idx="23" hasCustomPrompt="1"/>
          </p:nvPr>
        </p:nvSpPr>
        <p:spPr>
          <a:xfrm>
            <a:off x="9036916" y="2334126"/>
            <a:ext cx="1701295" cy="4089898"/>
          </a:xfrm>
          <a:solidFill>
            <a:schemeClr val="accent5">
              <a:alpha val="90000"/>
            </a:schemeClr>
          </a:solidFill>
        </p:spPr>
        <p:txBody>
          <a:bodyPr lIns="144000" tIns="1728000" rIns="144000" bIns="108000">
            <a:normAutofit/>
          </a:bodyPr>
          <a:lstStyle>
            <a:lvl1pPr marL="0" indent="0" algn="ctr">
              <a:buNone/>
              <a:defRPr sz="16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/>
              <a:t>Hoofdstuk titel</a:t>
            </a:r>
            <a:endParaRPr lang="en-US" dirty="0"/>
          </a:p>
        </p:txBody>
      </p:sp>
      <p:sp>
        <p:nvSpPr>
          <p:cNvPr id="126" name="Bloem_rechts"/>
          <p:cNvSpPr>
            <a:spLocks noGrp="1"/>
          </p:cNvSpPr>
          <p:nvPr>
            <p:ph type="body" sz="quarter" idx="18" hasCustomPrompt="1"/>
          </p:nvPr>
        </p:nvSpPr>
        <p:spPr>
          <a:xfrm>
            <a:off x="6492667" y="5546816"/>
            <a:ext cx="1266434" cy="1314267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5" name="Bloem_links"/>
          <p:cNvSpPr>
            <a:spLocks noGrp="1"/>
          </p:cNvSpPr>
          <p:nvPr>
            <p:ph type="body" sz="quarter" idx="17" hasCustomPrompt="1"/>
          </p:nvPr>
        </p:nvSpPr>
        <p:spPr>
          <a:xfrm>
            <a:off x="573995" y="4835398"/>
            <a:ext cx="1251199" cy="1781749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2" name="Graspol_rechts"/>
          <p:cNvSpPr>
            <a:spLocks noGrp="1"/>
          </p:cNvSpPr>
          <p:nvPr>
            <p:ph type="body" sz="quarter" idx="16" hasCustomPrompt="1"/>
          </p:nvPr>
        </p:nvSpPr>
        <p:spPr>
          <a:xfrm>
            <a:off x="10255456" y="5472217"/>
            <a:ext cx="1953039" cy="994887"/>
          </a:xfr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7" name="Graspol_links"/>
          <p:cNvSpPr>
            <a:spLocks noGrp="1"/>
          </p:cNvSpPr>
          <p:nvPr>
            <p:ph type="body" sz="quarter" idx="15" hasCustomPrompt="1"/>
          </p:nvPr>
        </p:nvSpPr>
        <p:spPr>
          <a:xfrm>
            <a:off x="-9938" y="5025895"/>
            <a:ext cx="1499778" cy="1335609"/>
          </a:xfr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6" name="Gras_voor"/>
          <p:cNvSpPr>
            <a:spLocks noGrp="1"/>
          </p:cNvSpPr>
          <p:nvPr>
            <p:ph type="body" sz="quarter" idx="14" hasCustomPrompt="1"/>
          </p:nvPr>
        </p:nvSpPr>
        <p:spPr>
          <a:xfrm>
            <a:off x="-9525" y="5287366"/>
            <a:ext cx="12199938" cy="1570634"/>
          </a:xfr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Bloem_blur"/>
          <p:cNvSpPr>
            <a:spLocks noGrp="1"/>
          </p:cNvSpPr>
          <p:nvPr>
            <p:ph type="body" sz="quarter" idx="13" hasCustomPrompt="1"/>
          </p:nvPr>
        </p:nvSpPr>
        <p:spPr>
          <a:xfrm>
            <a:off x="-9525" y="4940168"/>
            <a:ext cx="12199938" cy="1917832"/>
          </a:xfr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9" name="Tekstvak 118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Menu - Zonder animatie</a:t>
            </a:r>
          </a:p>
        </p:txBody>
      </p:sp>
      <p:grpSp>
        <p:nvGrpSpPr>
          <p:cNvPr id="92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</p:grpSpPr>
        <p:sp>
          <p:nvSpPr>
            <p:cNvPr id="93" name="Rechthoek 92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Rechthoek 95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7" name="Rechthoek 96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hthoek 98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Rechthoek 127"/>
            <p:cNvSpPr/>
            <p:nvPr userDrawn="1"/>
          </p:nvSpPr>
          <p:spPr>
            <a:xfrm>
              <a:off x="0" y="5812900"/>
              <a:ext cx="12192000" cy="39493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hthoek 128"/>
            <p:cNvSpPr/>
            <p:nvPr userDrawn="1"/>
          </p:nvSpPr>
          <p:spPr>
            <a:xfrm>
              <a:off x="0" y="1792697"/>
              <a:ext cx="12192000" cy="541467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Rechthoek 130"/>
            <p:cNvSpPr/>
            <p:nvPr userDrawn="1"/>
          </p:nvSpPr>
          <p:spPr>
            <a:xfrm rot="16200000">
              <a:off x="-2698771" y="2698774"/>
              <a:ext cx="6853368" cy="1455824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Rechthoek 132"/>
            <p:cNvSpPr/>
            <p:nvPr userDrawn="1"/>
          </p:nvSpPr>
          <p:spPr>
            <a:xfrm rot="16200000">
              <a:off x="-172425" y="3331240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Rechthoek 133"/>
            <p:cNvSpPr/>
            <p:nvPr userDrawn="1"/>
          </p:nvSpPr>
          <p:spPr>
            <a:xfrm rot="16200000">
              <a:off x="1721455" y="3331240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hthoek 134"/>
            <p:cNvSpPr/>
            <p:nvPr userDrawn="1"/>
          </p:nvSpPr>
          <p:spPr>
            <a:xfrm rot="16200000">
              <a:off x="3615335" y="3331240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hthoek 135"/>
            <p:cNvSpPr/>
            <p:nvPr userDrawn="1"/>
          </p:nvSpPr>
          <p:spPr>
            <a:xfrm rot="16200000">
              <a:off x="5509215" y="3331241"/>
              <a:ext cx="6853368" cy="190893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hthoek 136"/>
            <p:cNvSpPr/>
            <p:nvPr userDrawn="1"/>
          </p:nvSpPr>
          <p:spPr>
            <a:xfrm rot="16200000">
              <a:off x="8035560" y="2698774"/>
              <a:ext cx="6853368" cy="1455824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4" name="Titel 1"/>
          <p:cNvSpPr>
            <a:spLocks noGrp="1"/>
          </p:cNvSpPr>
          <p:nvPr>
            <p:ph type="title"/>
          </p:nvPr>
        </p:nvSpPr>
        <p:spPr>
          <a:xfrm>
            <a:off x="3355097" y="1105533"/>
            <a:ext cx="8304409" cy="47542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7850465"/>
      </p:ext>
    </p:extLst>
  </p:cSld>
  <p:clrMapOvr>
    <a:masterClrMapping/>
  </p:clrMapOvr>
  <p:transition xmlns:p14="http://schemas.microsoft.com/office/powerpoint/2010/main"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nu dia #2 -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04" y="-3347945"/>
            <a:ext cx="12193609" cy="10209028"/>
          </a:xfrm>
          <a:prstGeom prst="rect">
            <a:avLst/>
          </a:prstGeom>
        </p:spPr>
      </p:pic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5BB6A-266B-4245-A8BA-FDD428F65C7D}" type="datetime1">
              <a:rPr lang="en-US" smtClean="0"/>
              <a:t>6/10/18</a:t>
            </a:fld>
            <a:endParaRPr lang="en-US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pic>
        <p:nvPicPr>
          <p:cNvPr id="3" name="Gras_achter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77" y="2523753"/>
            <a:ext cx="12208496" cy="3943351"/>
          </a:xfrm>
          <a:prstGeom prst="rect">
            <a:avLst/>
          </a:prstGeom>
        </p:spPr>
      </p:pic>
      <p:sp>
        <p:nvSpPr>
          <p:cNvPr id="118" name="Ovaal 117"/>
          <p:cNvSpPr/>
          <p:nvPr userDrawn="1"/>
        </p:nvSpPr>
        <p:spPr>
          <a:xfrm>
            <a:off x="-1451082" y="-1719824"/>
            <a:ext cx="5289958" cy="5289958"/>
          </a:xfrm>
          <a:prstGeom prst="ellipse">
            <a:avLst/>
          </a:prstGeom>
          <a:solidFill>
            <a:schemeClr val="bg1">
              <a:alpha val="63000"/>
            </a:schemeClr>
          </a:solidFill>
          <a:ln>
            <a:noFill/>
          </a:ln>
          <a:effectLst>
            <a:softEdge rad="838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8" name="6-puntige ster 7"/>
          <p:cNvSpPr/>
          <p:nvPr userDrawn="1"/>
        </p:nvSpPr>
        <p:spPr>
          <a:xfrm rot="20040497">
            <a:off x="-3464863" y="-4112032"/>
            <a:ext cx="9068687" cy="9889645"/>
          </a:xfrm>
          <a:prstGeom prst="star6">
            <a:avLst>
              <a:gd name="adj" fmla="val 7354"/>
              <a:gd name="hf" fmla="val 115470"/>
            </a:avLst>
          </a:prstGeom>
          <a:solidFill>
            <a:schemeClr val="bg1">
              <a:alpha val="80000"/>
            </a:schemeClr>
          </a:solidFill>
          <a:ln>
            <a:noFill/>
          </a:ln>
          <a:effectLst>
            <a:softEdge rad="215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13" name="Lensflare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249" y="-1457264"/>
            <a:ext cx="4008747" cy="6320589"/>
          </a:xfrm>
          <a:prstGeom prst="rect">
            <a:avLst/>
          </a:prstGeom>
        </p:spPr>
      </p:pic>
      <p:sp>
        <p:nvSpPr>
          <p:cNvPr id="126" name="Bloem_rechts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492667" y="5546816"/>
            <a:ext cx="1266434" cy="1314267"/>
          </a:xfr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5" name="Bloem_links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73995" y="4835398"/>
            <a:ext cx="1251199" cy="1781749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2" name="Graspol_rechts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10255456" y="5472217"/>
            <a:ext cx="1953039" cy="994887"/>
          </a:xfr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7" name="Graspol_links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-9938" y="5025895"/>
            <a:ext cx="1499778" cy="1335609"/>
          </a:xfr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6" name="Gras_voor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-9525" y="5287366"/>
            <a:ext cx="12199938" cy="1570634"/>
          </a:xfr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Bloem_blur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-9525" y="4940168"/>
            <a:ext cx="12199938" cy="1917832"/>
          </a:xfr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9" name="Tekstvak 118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Menu dia #2 - OUTRO</a:t>
            </a:r>
          </a:p>
        </p:txBody>
      </p:sp>
      <p:grpSp>
        <p:nvGrpSpPr>
          <p:cNvPr id="243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244" name="Rechthoek 243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5" name="Rechthoek 244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6" name="Rechthoek 245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7" name="Rechthoek 246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Rechthoek 247"/>
            <p:cNvSpPr/>
            <p:nvPr userDrawn="1"/>
          </p:nvSpPr>
          <p:spPr>
            <a:xfrm>
              <a:off x="0" y="5522912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9" name="Rechthoek 248"/>
            <p:cNvSpPr/>
            <p:nvPr userDrawn="1"/>
          </p:nvSpPr>
          <p:spPr>
            <a:xfrm>
              <a:off x="0" y="96285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0" name="Rechthoek 249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46637117"/>
      </p:ext>
    </p:extLst>
  </p:cSld>
  <p:clrMapOvr>
    <a:masterClrMapping/>
  </p:clrMapOvr>
  <p:transition xmlns:p14="http://schemas.microsoft.com/office/powerpoint/2010/main" spd="slow" advClick="0" advTm="0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3.7037E-7 L -3.95833E-6 0.12431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20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-2.59259E-6 L 2.91667E-6 0.16991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8495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4.81481E-6 L 8.33333E-7 0.28703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4352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3.33333E-6 L 8.33333E-7 0.2287 " pathEditMode="relative" rAng="0" ptsTypes="AA">
                                      <p:cBhvr>
                                        <p:cTn id="12" dur="85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1435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3.7037E-6 L 2.5E-6 0.32338 " pathEditMode="relative" rAng="0" ptsTypes="AA">
                                      <p:cBhvr>
                                        <p:cTn id="14" dur="9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6157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4.81481E-6 L 8.33333E-7 0.24861 " pathEditMode="relative" rAng="0" ptsTypes="AA">
                                      <p:cBhvr>
                                        <p:cTn id="16" dur="95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431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4.44444E-6 L -0.00338 0.59722 " pathEditMode="relative" rAng="0" ptsTypes="AA">
                                      <p:cBhvr>
                                        <p:cTn id="18" dur="10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9" y="29861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1.48148E-6 L 0 0.48565 " pathEditMode="relative" rAng="0" ptsTypes="AA">
                                      <p:cBhvr>
                                        <p:cTn id="20" dur="11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428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6" grpId="0" animBg="1">
        <p:tmplLst>
          <p:tmpl>
            <p:tnLst>
              <p:par>
                <p:cTn xmlns:p14="http://schemas.microsoft.com/office/powerpoint/2010/main"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8.33333E-7 4.81481E-6 L 8.33333E-7 0.24861 " pathEditMode="relative" rAng="0" ptsTypes="AA">
                      <p:cBhvr>
                        <p:cTn dur="950" fill="hold"/>
                        <p:tgtEl>
                          <p:spTgt spid="1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2431"/>
                    </p:animMotion>
                  </p:childTnLst>
                </p:cTn>
              </p:par>
            </p:tnLst>
          </p:tmpl>
        </p:tmplLst>
      </p:bldP>
      <p:bldP spid="125" grpId="0" animBg="1">
        <p:tmplLst>
          <p:tmpl>
            <p:tnLst>
              <p:par>
                <p:cTn xmlns:p14="http://schemas.microsoft.com/office/powerpoint/2010/main"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2.5E-6 -3.7037E-6 L 2.5E-6 0.32338 " pathEditMode="relative" rAng="0" ptsTypes="AA">
                      <p:cBhvr>
                        <p:cTn dur="950" fill="hold"/>
                        <p:tgtEl>
                          <p:spTgt spid="1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6157"/>
                    </p:animMotion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xmlns:p14="http://schemas.microsoft.com/office/powerpoint/2010/main"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-3.95833E-6 -3.7037E-7 L -3.95833E-6 0.12431 " pathEditMode="relative" rAng="0" ptsTypes="AA">
                      <p:cBhvr>
                        <p:cTn dur="750" fill="hold"/>
                        <p:tgtEl>
                          <p:spTgt spid="122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6204"/>
                    </p:animMotion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xmlns:p14="http://schemas.microsoft.com/office/powerpoint/2010/main"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2.91667E-6 -2.59259E-6 L 2.91667E-6 0.16991 " pathEditMode="relative" rAng="0" ptsTypes="AA">
                      <p:cBhvr>
                        <p:cTn dur="750" fill="hold"/>
                        <p:tgtEl>
                          <p:spTgt spid="11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8495"/>
                    </p:animMotion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xmlns:p14="http://schemas.microsoft.com/office/powerpoint/2010/main"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8.33333E-7 3.33333E-6 L 8.33333E-7 0.2287 " pathEditMode="relative" rAng="0" ptsTypes="AA">
                      <p:cBhvr>
                        <p:cTn dur="850" fill="hold"/>
                        <p:tgtEl>
                          <p:spTgt spid="11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1435"/>
                    </p:animMotion>
                  </p:childTnLst>
                </p:cTn>
              </p:par>
            </p:tnLst>
          </p:tmpl>
        </p:tmplLst>
      </p:bldP>
      <p:bldP spid="9" grpId="0" animBg="1">
        <p:tmplLst>
          <p:tmpl>
            <p:tnLst>
              <p:par>
                <p:cTn xmlns:p14="http://schemas.microsoft.com/office/powerpoint/2010/main"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8.33333E-7 4.81481E-6 L 8.33333E-7 0.28703 " pathEditMode="relative" rAng="0" ptsTypes="AA">
                      <p:cBhvr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4352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1BBCB-6159-4B37-8120-E0F40BEFAD15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13"/>
          </p:nvPr>
        </p:nvSpPr>
        <p:spPr>
          <a:xfrm>
            <a:off x="543005" y="872249"/>
            <a:ext cx="11104144" cy="207875"/>
          </a:xfrm>
          <a:noFill/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1400">
                <a:solidFill>
                  <a:schemeClr val="accent2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1" name="Tekstvak 80"/>
          <p:cNvSpPr txBox="1"/>
          <p:nvPr userDrawn="1"/>
        </p:nvSpPr>
        <p:spPr>
          <a:xfrm>
            <a:off x="2644217" y="-744183"/>
            <a:ext cx="6882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0" i="1" cap="all" spc="50" baseline="0" noProof="0" dirty="0">
                <a:solidFill>
                  <a:schemeClr val="accent2"/>
                </a:solidFill>
                <a:latin typeface="+mj-lt"/>
                <a:cs typeface="Calibri" panose="020F0502020204030204" pitchFamily="34" charset="0"/>
              </a:rPr>
              <a:t>Alleen titel</a:t>
            </a:r>
          </a:p>
        </p:txBody>
      </p:sp>
      <p:grpSp>
        <p:nvGrpSpPr>
          <p:cNvPr id="10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11" name="Rechthoek 10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hoek 11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hthoek 12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hthoek 14"/>
            <p:cNvSpPr/>
            <p:nvPr userDrawn="1"/>
          </p:nvSpPr>
          <p:spPr>
            <a:xfrm>
              <a:off x="0" y="5522912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hthoek 15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hthoek 16"/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67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theme" Target="../theme/theme1.xml"/><Relationship Id="rId24" Type="http://schemas.openxmlformats.org/officeDocument/2006/relationships/image" Target="../media/image1.jpeg"/><Relationship Id="rId25" Type="http://schemas.openxmlformats.org/officeDocument/2006/relationships/image" Target="../media/image2.png"/><Relationship Id="rId2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3" y="0"/>
            <a:ext cx="12177814" cy="6858000"/>
          </a:xfrm>
          <a:prstGeom prst="rect">
            <a:avLst/>
          </a:prstGeom>
        </p:spPr>
      </p:pic>
      <p:sp>
        <p:nvSpPr>
          <p:cNvPr id="7" name="Rechthoek 6"/>
          <p:cNvSpPr/>
          <p:nvPr userDrawn="1"/>
        </p:nvSpPr>
        <p:spPr>
          <a:xfrm>
            <a:off x="-19464" y="-9170"/>
            <a:ext cx="12209773" cy="6873994"/>
          </a:xfrm>
          <a:prstGeom prst="rect">
            <a:avLst/>
          </a:prstGeom>
          <a:gradFill flip="none" rotWithShape="1">
            <a:gsLst>
              <a:gs pos="68000">
                <a:schemeClr val="bg1">
                  <a:alpha val="95000"/>
                </a:schemeClr>
              </a:gs>
              <a:gs pos="100000">
                <a:schemeClr val="bg1">
                  <a:alpha val="7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43005" y="1448502"/>
            <a:ext cx="11102416" cy="416863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 err="1"/>
              <a:t>Bullet</a:t>
            </a:r>
            <a:endParaRPr lang="nl-NL" dirty="0"/>
          </a:p>
          <a:p>
            <a:pPr lvl="1"/>
            <a:r>
              <a:rPr lang="nl-NL" dirty="0"/>
              <a:t>Sub-</a:t>
            </a:r>
            <a:r>
              <a:rPr lang="nl-NL" dirty="0" err="1"/>
              <a:t>bullet</a:t>
            </a:r>
            <a:r>
              <a:rPr lang="nl-NL" dirty="0"/>
              <a:t> #1</a:t>
            </a:r>
          </a:p>
          <a:p>
            <a:pPr lvl="2"/>
            <a:r>
              <a:rPr lang="nl-NL" dirty="0"/>
              <a:t>Sub-</a:t>
            </a:r>
            <a:r>
              <a:rPr lang="nl-NL" dirty="0" err="1"/>
              <a:t>bullet</a:t>
            </a:r>
            <a:r>
              <a:rPr lang="nl-NL" dirty="0"/>
              <a:t> #2</a:t>
            </a:r>
          </a:p>
          <a:p>
            <a:pPr lvl="3"/>
            <a:r>
              <a:rPr lang="nl-NL" dirty="0"/>
              <a:t>Leestekst</a:t>
            </a:r>
          </a:p>
          <a:p>
            <a:pPr lvl="4"/>
            <a:r>
              <a:rPr lang="nl-NL" dirty="0"/>
              <a:t>Kopje</a:t>
            </a:r>
          </a:p>
          <a:p>
            <a:pPr lvl="5"/>
            <a:r>
              <a:rPr lang="nl-NL" dirty="0" err="1"/>
              <a:t>Bullet</a:t>
            </a:r>
            <a:endParaRPr lang="nl-NL" dirty="0"/>
          </a:p>
          <a:p>
            <a:pPr lvl="6"/>
            <a:r>
              <a:rPr lang="nl-NL" dirty="0"/>
              <a:t>Sub-</a:t>
            </a:r>
            <a:r>
              <a:rPr lang="nl-NL" dirty="0" err="1"/>
              <a:t>bullet</a:t>
            </a:r>
            <a:r>
              <a:rPr lang="nl-NL" dirty="0"/>
              <a:t> #1</a:t>
            </a:r>
          </a:p>
          <a:p>
            <a:pPr lvl="7"/>
            <a:r>
              <a:rPr lang="nl-NL" dirty="0"/>
              <a:t>Sub-</a:t>
            </a:r>
            <a:r>
              <a:rPr lang="nl-NL" dirty="0" err="1"/>
              <a:t>bullet</a:t>
            </a:r>
            <a:r>
              <a:rPr lang="nl-NL" dirty="0"/>
              <a:t> #2</a:t>
            </a:r>
          </a:p>
          <a:p>
            <a:pPr lvl="8"/>
            <a:r>
              <a:rPr lang="nl-NL" dirty="0"/>
              <a:t>Leestekst</a:t>
            </a:r>
          </a:p>
          <a:p>
            <a:pPr lvl="5"/>
            <a:endParaRPr lang="en-US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7114339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0E3A36-5727-4AF0-8687-353AA64B527C}" type="datetime1">
              <a:rPr lang="en-US" smtClean="0"/>
              <a:t>6/10/18</a:t>
            </a:fld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543004" y="6071253"/>
            <a:ext cx="56836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omotion Optimization Institute | European Summit 2018 | Budapest, Hungary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7114339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30932D-C64D-4575-983A-82E0040E4B72}" type="slidenum">
              <a:rPr lang="en-US" smtClean="0"/>
              <a:t>‹#›</a:t>
            </a:fld>
            <a:endParaRPr lang="en-US"/>
          </a:p>
        </p:txBody>
      </p:sp>
      <p:grpSp>
        <p:nvGrpSpPr>
          <p:cNvPr id="88" name="GRID" hidden="1"/>
          <p:cNvGrpSpPr/>
          <p:nvPr userDrawn="1"/>
        </p:nvGrpSpPr>
        <p:grpSpPr>
          <a:xfrm>
            <a:off x="0" y="-1"/>
            <a:ext cx="12192000" cy="6854697"/>
            <a:chOff x="0" y="-1"/>
            <a:chExt cx="12192000" cy="6854697"/>
          </a:xfrm>
          <a:solidFill>
            <a:schemeClr val="tx2">
              <a:alpha val="26000"/>
            </a:schemeClr>
          </a:solidFill>
        </p:grpSpPr>
        <p:sp>
          <p:nvSpPr>
            <p:cNvPr id="89" name="Rechthoek 88"/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Rechthoek 89"/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Rechthoek 90"/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echthoek 91"/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Rechthoek 92"/>
            <p:cNvSpPr/>
            <p:nvPr userDrawn="1"/>
          </p:nvSpPr>
          <p:spPr>
            <a:xfrm>
              <a:off x="0" y="5609570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4" name="Rechthoek 93"/>
            <p:cNvSpPr/>
            <p:nvPr userDrawn="1"/>
          </p:nvSpPr>
          <p:spPr>
            <a:xfrm rot="16200000">
              <a:off x="4675280" y="3155953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6" name="Graspol_rechts"/>
          <p:cNvSpPr txBox="1">
            <a:spLocks/>
          </p:cNvSpPr>
          <p:nvPr userDrawn="1"/>
        </p:nvSpPr>
        <p:spPr>
          <a:xfrm>
            <a:off x="10255456" y="6322557"/>
            <a:ext cx="1953039" cy="994887"/>
          </a:xfrm>
          <a:prstGeom prst="roundRect">
            <a:avLst>
              <a:gd name="adj" fmla="val 1370"/>
            </a:avLst>
          </a:prstGeom>
          <a:blipFill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97" name="Graspol_links"/>
          <p:cNvSpPr txBox="1">
            <a:spLocks/>
          </p:cNvSpPr>
          <p:nvPr userDrawn="1"/>
        </p:nvSpPr>
        <p:spPr>
          <a:xfrm>
            <a:off x="-9938" y="6188754"/>
            <a:ext cx="1499778" cy="1335609"/>
          </a:xfrm>
          <a:prstGeom prst="roundRect">
            <a:avLst>
              <a:gd name="adj" fmla="val 1370"/>
            </a:avLst>
          </a:prstGeom>
          <a:blipFill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753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88" r:id="rId3"/>
    <p:sldLayoutId id="2147483671" r:id="rId4"/>
    <p:sldLayoutId id="2147483682" r:id="rId5"/>
    <p:sldLayoutId id="2147483664" r:id="rId6"/>
    <p:sldLayoutId id="2147483684" r:id="rId7"/>
    <p:sldLayoutId id="2147483680" r:id="rId8"/>
    <p:sldLayoutId id="2147483667" r:id="rId9"/>
    <p:sldLayoutId id="2147483686" r:id="rId10"/>
    <p:sldLayoutId id="2147483658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81" r:id="rId19"/>
    <p:sldLayoutId id="2147483683" r:id="rId20"/>
    <p:sldLayoutId id="2147483687" r:id="rId21"/>
    <p:sldLayoutId id="2147483689" r:id="rId2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360363" indent="-1793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541338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2"/>
        </a:buClr>
        <a:buFont typeface="Corbel" panose="020B0503020204020204" pitchFamily="34" charset="0"/>
        <a:buChar char="−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0975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6pPr>
      <a:lvl7pPr marL="360363" indent="-1793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541338" indent="-180975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chemeClr val="tx2"/>
        </a:buClr>
        <a:buFont typeface="Corbel" panose="020B0503020204020204" pitchFamily="34" charset="0"/>
        <a:buChar char="−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8" Type="http://schemas.openxmlformats.org/officeDocument/2006/relationships/image" Target="../media/image66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65.jpe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8" Type="http://schemas.openxmlformats.org/officeDocument/2006/relationships/image" Target="../media/image66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6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4" Type="http://schemas.openxmlformats.org/officeDocument/2006/relationships/chart" Target="../charts/chart3.xml"/><Relationship Id="rId5" Type="http://schemas.openxmlformats.org/officeDocument/2006/relationships/chart" Target="../charts/chart4.xml"/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9.png"/><Relationship Id="rId6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6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4" Type="http://schemas.openxmlformats.org/officeDocument/2006/relationships/image" Target="../media/image70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68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chart" Target="../charts/chart5.xml"/><Relationship Id="rId3" Type="http://schemas.openxmlformats.org/officeDocument/2006/relationships/image" Target="../media/image71.png"/></Relationships>
</file>

<file path=ppt/slides/_rels/slide1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6.png"/><Relationship Id="rId12" Type="http://schemas.openxmlformats.org/officeDocument/2006/relationships/image" Target="../media/image77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67.png"/><Relationship Id="rId3" Type="http://schemas.openxmlformats.org/officeDocument/2006/relationships/image" Target="../media/image15.png"/><Relationship Id="rId4" Type="http://schemas.openxmlformats.org/officeDocument/2006/relationships/image" Target="../media/image72.png"/><Relationship Id="rId5" Type="http://schemas.openxmlformats.org/officeDocument/2006/relationships/image" Target="../media/image73.png"/><Relationship Id="rId6" Type="http://schemas.openxmlformats.org/officeDocument/2006/relationships/image" Target="../media/image74.png"/><Relationship Id="rId7" Type="http://schemas.openxmlformats.org/officeDocument/2006/relationships/image" Target="../media/image75.jpeg"/><Relationship Id="rId8" Type="http://schemas.openxmlformats.org/officeDocument/2006/relationships/image" Target="../media/image16.png"/><Relationship Id="rId9" Type="http://schemas.openxmlformats.org/officeDocument/2006/relationships/image" Target="../media/image19.png"/><Relationship Id="rId10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tags" Target="../tags/tag9.xml"/><Relationship Id="rId9" Type="http://schemas.openxmlformats.org/officeDocument/2006/relationships/slideLayout" Target="../slideLayouts/slideLayout9.xml"/><Relationship Id="rId10" Type="http://schemas.openxmlformats.org/officeDocument/2006/relationships/chart" Target="../charts/chart6.xml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9.png"/><Relationship Id="rId6" Type="http://schemas.openxmlformats.org/officeDocument/2006/relationships/image" Target="../media/image20.png"/><Relationship Id="rId7" Type="http://schemas.openxmlformats.org/officeDocument/2006/relationships/image" Target="../media/image78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6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4" Type="http://schemas.openxmlformats.org/officeDocument/2006/relationships/image" Target="../media/image79.svg"/><Relationship Id="rId5" Type="http://schemas.openxmlformats.org/officeDocument/2006/relationships/image" Target="../media/image81.png"/><Relationship Id="rId6" Type="http://schemas.openxmlformats.org/officeDocument/2006/relationships/image" Target="../media/image81.svg"/><Relationship Id="rId7" Type="http://schemas.openxmlformats.org/officeDocument/2006/relationships/image" Target="../media/image82.png"/><Relationship Id="rId8" Type="http://schemas.openxmlformats.org/officeDocument/2006/relationships/image" Target="../media/image83.sv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79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37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36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4" Type="http://schemas.openxmlformats.org/officeDocument/2006/relationships/image" Target="../media/image85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83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83.png"/><Relationship Id="rId3" Type="http://schemas.openxmlformats.org/officeDocument/2006/relationships/image" Target="../media/image8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4" Type="http://schemas.openxmlformats.org/officeDocument/2006/relationships/image" Target="../media/image86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83.png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4" Type="http://schemas.openxmlformats.org/officeDocument/2006/relationships/image" Target="../media/image88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8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4" Type="http://schemas.openxmlformats.org/officeDocument/2006/relationships/image" Target="../media/image91.png"/><Relationship Id="rId5" Type="http://schemas.openxmlformats.org/officeDocument/2006/relationships/image" Target="../media/image92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8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4" Type="http://schemas.openxmlformats.org/officeDocument/2006/relationships/image" Target="../media/image93.png"/><Relationship Id="rId5" Type="http://schemas.openxmlformats.org/officeDocument/2006/relationships/image" Target="../media/image94.png"/><Relationship Id="rId1" Type="http://schemas.openxmlformats.org/officeDocument/2006/relationships/slideLayout" Target="../slideLayouts/slideLayout13.xml"/><Relationship Id="rId2" Type="http://schemas.openxmlformats.org/officeDocument/2006/relationships/chart" Target="../charts/char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4" Type="http://schemas.openxmlformats.org/officeDocument/2006/relationships/image" Target="../media/image93.png"/><Relationship Id="rId5" Type="http://schemas.openxmlformats.org/officeDocument/2006/relationships/image" Target="../media/image95.png"/><Relationship Id="rId1" Type="http://schemas.openxmlformats.org/officeDocument/2006/relationships/slideLayout" Target="../slideLayouts/slideLayout13.xml"/><Relationship Id="rId2" Type="http://schemas.openxmlformats.org/officeDocument/2006/relationships/chart" Target="../charts/char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4" Type="http://schemas.openxmlformats.org/officeDocument/2006/relationships/chart" Target="../charts/chart11.xml"/><Relationship Id="rId5" Type="http://schemas.openxmlformats.org/officeDocument/2006/relationships/chart" Target="../charts/chart12.xml"/><Relationship Id="rId6" Type="http://schemas.openxmlformats.org/officeDocument/2006/relationships/image" Target="../media/image96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9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4" Type="http://schemas.openxmlformats.org/officeDocument/2006/relationships/image" Target="../media/image40.png"/><Relationship Id="rId5" Type="http://schemas.openxmlformats.org/officeDocument/2006/relationships/image" Target="../media/image41.png"/><Relationship Id="rId6" Type="http://schemas.openxmlformats.org/officeDocument/2006/relationships/image" Target="../media/image42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38.png"/></Relationships>
</file>

<file path=ppt/slides/_rels/slide3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9.png"/><Relationship Id="rId12" Type="http://schemas.openxmlformats.org/officeDocument/2006/relationships/image" Target="../media/image99.svg"/><Relationship Id="rId1" Type="http://schemas.openxmlformats.org/officeDocument/2006/relationships/slideLayout" Target="../slideLayouts/slideLayout13.xml"/><Relationship Id="rId2" Type="http://schemas.openxmlformats.org/officeDocument/2006/relationships/chart" Target="../charts/chart13.xml"/><Relationship Id="rId3" Type="http://schemas.openxmlformats.org/officeDocument/2006/relationships/chart" Target="../charts/chart14.xml"/><Relationship Id="rId4" Type="http://schemas.openxmlformats.org/officeDocument/2006/relationships/chart" Target="../charts/chart15.xml"/><Relationship Id="rId5" Type="http://schemas.openxmlformats.org/officeDocument/2006/relationships/chart" Target="../charts/chart16.xml"/><Relationship Id="rId6" Type="http://schemas.openxmlformats.org/officeDocument/2006/relationships/chart" Target="../charts/chart17.xml"/><Relationship Id="rId7" Type="http://schemas.openxmlformats.org/officeDocument/2006/relationships/chart" Target="../charts/chart18.xml"/><Relationship Id="rId8" Type="http://schemas.openxmlformats.org/officeDocument/2006/relationships/image" Target="../media/image97.jpeg"/><Relationship Id="rId9" Type="http://schemas.openxmlformats.org/officeDocument/2006/relationships/image" Target="../media/image98.png"/><Relationship Id="rId10" Type="http://schemas.microsoft.com/office/2007/relationships/hdphoto" Target="../media/hdphoto7.wdp"/></Relationships>
</file>

<file path=ppt/slides/_rels/slide3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9.png"/><Relationship Id="rId12" Type="http://schemas.openxmlformats.org/officeDocument/2006/relationships/image" Target="../media/image99.svg"/><Relationship Id="rId13" Type="http://schemas.openxmlformats.org/officeDocument/2006/relationships/image" Target="../media/image100.png"/><Relationship Id="rId1" Type="http://schemas.openxmlformats.org/officeDocument/2006/relationships/slideLayout" Target="../slideLayouts/slideLayout13.xml"/><Relationship Id="rId2" Type="http://schemas.openxmlformats.org/officeDocument/2006/relationships/chart" Target="../charts/chart19.xml"/><Relationship Id="rId3" Type="http://schemas.openxmlformats.org/officeDocument/2006/relationships/chart" Target="../charts/chart20.xml"/><Relationship Id="rId4" Type="http://schemas.openxmlformats.org/officeDocument/2006/relationships/chart" Target="../charts/chart21.xml"/><Relationship Id="rId5" Type="http://schemas.openxmlformats.org/officeDocument/2006/relationships/chart" Target="../charts/chart22.xml"/><Relationship Id="rId6" Type="http://schemas.openxmlformats.org/officeDocument/2006/relationships/chart" Target="../charts/chart23.xml"/><Relationship Id="rId7" Type="http://schemas.openxmlformats.org/officeDocument/2006/relationships/chart" Target="../charts/chart24.xml"/><Relationship Id="rId8" Type="http://schemas.openxmlformats.org/officeDocument/2006/relationships/image" Target="../media/image97.jpeg"/><Relationship Id="rId9" Type="http://schemas.openxmlformats.org/officeDocument/2006/relationships/image" Target="../media/image98.png"/><Relationship Id="rId10" Type="http://schemas.microsoft.com/office/2007/relationships/hdphoto" Target="../media/hdphoto7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01.png"/><Relationship Id="rId5" Type="http://schemas.openxmlformats.org/officeDocument/2006/relationships/image" Target="../media/image16.png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8" Type="http://schemas.openxmlformats.org/officeDocument/2006/relationships/image" Target="../media/image102.jpeg"/><Relationship Id="rId9" Type="http://schemas.openxmlformats.org/officeDocument/2006/relationships/image" Target="../media/image103.png"/><Relationship Id="rId10" Type="http://schemas.openxmlformats.org/officeDocument/2006/relationships/image" Target="../media/image104.png"/><Relationship Id="rId11" Type="http://schemas.openxmlformats.org/officeDocument/2006/relationships/image" Target="../media/image105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6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4" Type="http://schemas.microsoft.com/office/2007/relationships/hdphoto" Target="../media/hdphoto8.wdp"/><Relationship Id="rId5" Type="http://schemas.openxmlformats.org/officeDocument/2006/relationships/image" Target="../media/image108.png"/><Relationship Id="rId6" Type="http://schemas.openxmlformats.org/officeDocument/2006/relationships/image" Target="../media/image109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06.jpe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89.png"/><Relationship Id="rId3" Type="http://schemas.openxmlformats.org/officeDocument/2006/relationships/image" Target="../media/image110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89.png"/><Relationship Id="rId3" Type="http://schemas.openxmlformats.org/officeDocument/2006/relationships/image" Target="../media/image111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4" Type="http://schemas.openxmlformats.org/officeDocument/2006/relationships/image" Target="../media/image112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83.png"/></Relationships>
</file>

<file path=ppt/slides/_rels/slide39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4" Type="http://schemas.openxmlformats.org/officeDocument/2006/relationships/image" Target="../media/image113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36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52.png"/><Relationship Id="rId12" Type="http://schemas.openxmlformats.org/officeDocument/2006/relationships/image" Target="../media/image53.png"/><Relationship Id="rId13" Type="http://schemas.openxmlformats.org/officeDocument/2006/relationships/image" Target="../media/image54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43.png"/><Relationship Id="rId3" Type="http://schemas.openxmlformats.org/officeDocument/2006/relationships/image" Target="../media/image44.jpeg"/><Relationship Id="rId4" Type="http://schemas.openxmlformats.org/officeDocument/2006/relationships/image" Target="../media/image45.jpeg"/><Relationship Id="rId5" Type="http://schemas.openxmlformats.org/officeDocument/2006/relationships/image" Target="../media/image46.jpeg"/><Relationship Id="rId6" Type="http://schemas.openxmlformats.org/officeDocument/2006/relationships/image" Target="../media/image47.jpeg"/><Relationship Id="rId7" Type="http://schemas.openxmlformats.org/officeDocument/2006/relationships/image" Target="../media/image48.png"/><Relationship Id="rId8" Type="http://schemas.openxmlformats.org/officeDocument/2006/relationships/image" Target="../media/image49.png"/><Relationship Id="rId9" Type="http://schemas.openxmlformats.org/officeDocument/2006/relationships/image" Target="../media/image50.png"/><Relationship Id="rId10" Type="http://schemas.openxmlformats.org/officeDocument/2006/relationships/image" Target="../media/image5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4" Type="http://schemas.openxmlformats.org/officeDocument/2006/relationships/image" Target="../media/image57.png"/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5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58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4" Type="http://schemas.openxmlformats.org/officeDocument/2006/relationships/image" Target="../media/image60.png"/><Relationship Id="rId5" Type="http://schemas.microsoft.com/office/2007/relationships/hdphoto" Target="../media/hdphoto3.wdp"/><Relationship Id="rId6" Type="http://schemas.openxmlformats.org/officeDocument/2006/relationships/image" Target="../media/image61.png"/><Relationship Id="rId7" Type="http://schemas.openxmlformats.org/officeDocument/2006/relationships/image" Target="../media/image62.png"/><Relationship Id="rId8" Type="http://schemas.openxmlformats.org/officeDocument/2006/relationships/image" Target="../media/image63.png"/><Relationship Id="rId9" Type="http://schemas.openxmlformats.org/officeDocument/2006/relationships/image" Target="../media/image64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5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YPERLINK">
            <a:hlinkClick r:id="" action="ppaction://hlinkshowjump?jump=nextslide"/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93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xmlns="" id="{6104CE6C-B8AE-4565-A02F-E9AFE5C9D40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Bloem1">
            <a:extLst>
              <a:ext uri="{FF2B5EF4-FFF2-40B4-BE49-F238E27FC236}">
                <a16:creationId xmlns:a16="http://schemas.microsoft.com/office/drawing/2014/main" xmlns="" id="{CCB323C6-F62C-49D9-9C2F-975B516021E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0" y="4838701"/>
            <a:ext cx="1371448" cy="2019299"/>
          </a:xfrm>
          <a:prstGeom prst="rect">
            <a:avLst/>
          </a:prstGeom>
        </p:spPr>
      </p:pic>
      <p:pic>
        <p:nvPicPr>
          <p:cNvPr id="12" name="Bloem 2">
            <a:extLst>
              <a:ext uri="{FF2B5EF4-FFF2-40B4-BE49-F238E27FC236}">
                <a16:creationId xmlns:a16="http://schemas.microsoft.com/office/drawing/2014/main" xmlns="" id="{AE92C5D2-8089-422E-AA10-830A453EEFD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6050" y="5546816"/>
            <a:ext cx="1268102" cy="1311184"/>
          </a:xfrm>
          <a:prstGeom prst="rect">
            <a:avLst/>
          </a:prstGeom>
        </p:spPr>
      </p:pic>
      <p:sp>
        <p:nvSpPr>
          <p:cNvPr id="15" name="Rechthoek: afgeronde hoeken 14">
            <a:extLst>
              <a:ext uri="{FF2B5EF4-FFF2-40B4-BE49-F238E27FC236}">
                <a16:creationId xmlns:a16="http://schemas.microsoft.com/office/drawing/2014/main" xmlns="" id="{F0BC26A5-1339-495E-9C6C-67D30ED7830F}"/>
              </a:ext>
            </a:extLst>
          </p:cNvPr>
          <p:cNvSpPr/>
          <p:nvPr/>
        </p:nvSpPr>
        <p:spPr>
          <a:xfrm>
            <a:off x="4914900" y="1448502"/>
            <a:ext cx="5402580" cy="5068412"/>
          </a:xfrm>
          <a:prstGeom prst="roundRect">
            <a:avLst>
              <a:gd name="adj" fmla="val 1691"/>
            </a:avLst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504000" rIns="540000" bIns="144000" rtlCol="0" anchor="t" anchorCtr="0"/>
          <a:lstStyle/>
          <a:p>
            <a:r>
              <a:rPr lang="en-US" sz="2800" b="1" cap="all" dirty="0"/>
              <a:t>The cow is always on and gives milk 24/7</a:t>
            </a:r>
            <a:endParaRPr lang="en-US" sz="2000" b="1" i="1" cap="all" baseline="0" dirty="0"/>
          </a:p>
        </p:txBody>
      </p:sp>
      <p:sp>
        <p:nvSpPr>
          <p:cNvPr id="23" name="Rechthoek: afgeronde hoeken 22">
            <a:extLst>
              <a:ext uri="{FF2B5EF4-FFF2-40B4-BE49-F238E27FC236}">
                <a16:creationId xmlns:a16="http://schemas.microsoft.com/office/drawing/2014/main" xmlns="" id="{69B1CC44-E785-4940-AEFF-2D6C56C68822}"/>
              </a:ext>
            </a:extLst>
          </p:cNvPr>
          <p:cNvSpPr/>
          <p:nvPr/>
        </p:nvSpPr>
        <p:spPr>
          <a:xfrm>
            <a:off x="5765800" y="3265714"/>
            <a:ext cx="5796642" cy="3251200"/>
          </a:xfrm>
          <a:prstGeom prst="roundRect">
            <a:avLst>
              <a:gd name="adj" fmla="val 3074"/>
            </a:avLst>
          </a:prstGeom>
          <a:solidFill>
            <a:schemeClr val="accent3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504000" rIns="540000" bIns="144000" rtlCol="0" anchor="t" anchorCtr="0"/>
          <a:lstStyle/>
          <a:p>
            <a:r>
              <a:rPr lang="en-US" sz="2800" b="1" cap="all" dirty="0" err="1"/>
              <a:t>mY</a:t>
            </a:r>
            <a:r>
              <a:rPr lang="en-US" sz="2800" b="1" cap="all" dirty="0"/>
              <a:t> job is to valorize that milk at highest possible value</a:t>
            </a:r>
          </a:p>
        </p:txBody>
      </p:sp>
      <p:pic>
        <p:nvPicPr>
          <p:cNvPr id="13" name="Gras_voor">
            <a:extLst>
              <a:ext uri="{FF2B5EF4-FFF2-40B4-BE49-F238E27FC236}">
                <a16:creationId xmlns:a16="http://schemas.microsoft.com/office/drawing/2014/main" xmlns="" id="{87B75DC3-6939-4764-B218-CD03AD5D729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5287367"/>
            <a:ext cx="12208496" cy="1570633"/>
          </a:xfrm>
          <a:prstGeom prst="rect">
            <a:avLst/>
          </a:prstGeom>
        </p:spPr>
      </p:pic>
      <p:pic>
        <p:nvPicPr>
          <p:cNvPr id="14" name="Bloem_blur">
            <a:extLst>
              <a:ext uri="{FF2B5EF4-FFF2-40B4-BE49-F238E27FC236}">
                <a16:creationId xmlns:a16="http://schemas.microsoft.com/office/drawing/2014/main" xmlns="" id="{EC23511D-385C-46CB-B437-02698C91AD9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4957904"/>
            <a:ext cx="12208496" cy="1900096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xmlns="" id="{9CA49BD9-752C-4D06-AB43-CB342E62699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0994" y="2241494"/>
            <a:ext cx="973931" cy="735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31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xmlns="" id="{6104CE6C-B8AE-4565-A02F-E9AFE5C9D40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Bloem1">
            <a:extLst>
              <a:ext uri="{FF2B5EF4-FFF2-40B4-BE49-F238E27FC236}">
                <a16:creationId xmlns:a16="http://schemas.microsoft.com/office/drawing/2014/main" xmlns="" id="{CCB323C6-F62C-49D9-9C2F-975B516021E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0" y="4838701"/>
            <a:ext cx="1371448" cy="2019299"/>
          </a:xfrm>
          <a:prstGeom prst="rect">
            <a:avLst/>
          </a:prstGeom>
        </p:spPr>
      </p:pic>
      <p:pic>
        <p:nvPicPr>
          <p:cNvPr id="12" name="Bloem 2">
            <a:extLst>
              <a:ext uri="{FF2B5EF4-FFF2-40B4-BE49-F238E27FC236}">
                <a16:creationId xmlns:a16="http://schemas.microsoft.com/office/drawing/2014/main" xmlns="" id="{AE92C5D2-8089-422E-AA10-830A453EEFD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6050" y="5546816"/>
            <a:ext cx="1268102" cy="1311184"/>
          </a:xfrm>
          <a:prstGeom prst="rect">
            <a:avLst/>
          </a:prstGeom>
        </p:spPr>
      </p:pic>
      <p:sp>
        <p:nvSpPr>
          <p:cNvPr id="10" name="Rechthoek: afgeronde hoeken 9">
            <a:extLst>
              <a:ext uri="{FF2B5EF4-FFF2-40B4-BE49-F238E27FC236}">
                <a16:creationId xmlns:a16="http://schemas.microsoft.com/office/drawing/2014/main" xmlns="" id="{D826A9C1-C0B8-49F4-99F5-EF728FEA3C89}"/>
              </a:ext>
            </a:extLst>
          </p:cNvPr>
          <p:cNvSpPr/>
          <p:nvPr/>
        </p:nvSpPr>
        <p:spPr>
          <a:xfrm>
            <a:off x="6253661" y="1448502"/>
            <a:ext cx="4686300" cy="5068412"/>
          </a:xfrm>
          <a:prstGeom prst="roundRect">
            <a:avLst>
              <a:gd name="adj" fmla="val 1691"/>
            </a:avLst>
          </a:prstGeom>
          <a:solidFill>
            <a:schemeClr val="accent5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504000" rIns="540000" bIns="144000" rtlCol="0" anchor="t" anchorCtr="0"/>
          <a:lstStyle/>
          <a:p>
            <a:r>
              <a:rPr lang="en-US" sz="2800" b="1" cap="all" dirty="0"/>
              <a:t>So where are we…?</a:t>
            </a:r>
            <a:endParaRPr lang="en-US" sz="2000" b="1" i="1" cap="all" baseline="0" dirty="0"/>
          </a:p>
        </p:txBody>
      </p:sp>
      <p:sp>
        <p:nvSpPr>
          <p:cNvPr id="15" name="Rechthoek: afgeronde hoeken 14">
            <a:extLst>
              <a:ext uri="{FF2B5EF4-FFF2-40B4-BE49-F238E27FC236}">
                <a16:creationId xmlns:a16="http://schemas.microsoft.com/office/drawing/2014/main" xmlns="" id="{F0BC26A5-1339-495E-9C6C-67D30ED7830F}"/>
              </a:ext>
            </a:extLst>
          </p:cNvPr>
          <p:cNvSpPr/>
          <p:nvPr/>
        </p:nvSpPr>
        <p:spPr>
          <a:xfrm>
            <a:off x="4914900" y="1448502"/>
            <a:ext cx="5402580" cy="5068412"/>
          </a:xfrm>
          <a:prstGeom prst="roundRect">
            <a:avLst>
              <a:gd name="adj" fmla="val 1691"/>
            </a:avLst>
          </a:pr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504000" rIns="540000" bIns="144000" rtlCol="0" anchor="t" anchorCtr="0"/>
          <a:lstStyle/>
          <a:p>
            <a:r>
              <a:rPr lang="en-US" sz="2800" b="1" cap="all" dirty="0"/>
              <a:t>The cow is always on and gives milk 24/7</a:t>
            </a:r>
          </a:p>
        </p:txBody>
      </p:sp>
      <p:sp>
        <p:nvSpPr>
          <p:cNvPr id="23" name="Rechthoek: afgeronde hoeken 22">
            <a:extLst>
              <a:ext uri="{FF2B5EF4-FFF2-40B4-BE49-F238E27FC236}">
                <a16:creationId xmlns:a16="http://schemas.microsoft.com/office/drawing/2014/main" xmlns="" id="{69B1CC44-E785-4940-AEFF-2D6C56C68822}"/>
              </a:ext>
            </a:extLst>
          </p:cNvPr>
          <p:cNvSpPr/>
          <p:nvPr/>
        </p:nvSpPr>
        <p:spPr>
          <a:xfrm>
            <a:off x="5765800" y="3265714"/>
            <a:ext cx="5796642" cy="3251200"/>
          </a:xfrm>
          <a:prstGeom prst="roundRect">
            <a:avLst>
              <a:gd name="adj" fmla="val 3074"/>
            </a:avLst>
          </a:prstGeom>
          <a:solidFill>
            <a:schemeClr val="accent3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504000" rIns="540000" bIns="144000" rtlCol="0" anchor="t" anchorCtr="0"/>
          <a:lstStyle/>
          <a:p>
            <a:r>
              <a:rPr lang="en-US" sz="2800" b="1" cap="all" dirty="0" err="1"/>
              <a:t>mY</a:t>
            </a:r>
            <a:r>
              <a:rPr lang="en-US" sz="2800" b="1" cap="all" dirty="0"/>
              <a:t> job is to valorize that milk at highest possible value</a:t>
            </a:r>
          </a:p>
        </p:txBody>
      </p:sp>
      <p:pic>
        <p:nvPicPr>
          <p:cNvPr id="13" name="Gras_voor">
            <a:extLst>
              <a:ext uri="{FF2B5EF4-FFF2-40B4-BE49-F238E27FC236}">
                <a16:creationId xmlns:a16="http://schemas.microsoft.com/office/drawing/2014/main" xmlns="" id="{87B75DC3-6939-4764-B218-CD03AD5D729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5287367"/>
            <a:ext cx="12208496" cy="1570633"/>
          </a:xfrm>
          <a:prstGeom prst="rect">
            <a:avLst/>
          </a:prstGeom>
        </p:spPr>
      </p:pic>
      <p:pic>
        <p:nvPicPr>
          <p:cNvPr id="14" name="Bloem_blur">
            <a:extLst>
              <a:ext uri="{FF2B5EF4-FFF2-40B4-BE49-F238E27FC236}">
                <a16:creationId xmlns:a16="http://schemas.microsoft.com/office/drawing/2014/main" xmlns="" id="{EC23511D-385C-46CB-B437-02698C91AD9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4957904"/>
            <a:ext cx="12208496" cy="1900096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xmlns="" id="{9CA49BD9-752C-4D06-AB43-CB342E62699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0994" y="2241494"/>
            <a:ext cx="973931" cy="735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949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" presetClass="exit" presetSubtype="4" ac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" presetClass="exit" presetSubtype="4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7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5" grpId="0" animBg="1"/>
      <p:bldP spid="2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9AA0BE0E-C18D-48D8-B25A-9CF08A109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2017: 2/3th of the promotions are GP positive</a:t>
            </a:r>
            <a:endParaRPr lang="nl-NL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65945973-4877-4864-BAF8-4B90C66D15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cremental this is only half % of the promotions..</a:t>
            </a:r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5B94E9E2-4FFF-4265-98E8-4547F96868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/>
              <a:t>Promotion Optimization Institute | European Summit 2018 | Budapest, Hungary</a:t>
            </a:r>
          </a:p>
        </p:txBody>
      </p:sp>
      <p:cxnSp>
        <p:nvCxnSpPr>
          <p:cNvPr id="15" name="Rechte verbindingslijn 14">
            <a:extLst>
              <a:ext uri="{FF2B5EF4-FFF2-40B4-BE49-F238E27FC236}">
                <a16:creationId xmlns:a16="http://schemas.microsoft.com/office/drawing/2014/main" xmlns="" id="{A58D0FB5-CBE9-47DA-A185-FAB98E44781D}"/>
              </a:ext>
            </a:extLst>
          </p:cNvPr>
          <p:cNvCxnSpPr>
            <a:cxnSpLocks/>
          </p:cNvCxnSpPr>
          <p:nvPr/>
        </p:nvCxnSpPr>
        <p:spPr>
          <a:xfrm flipH="1">
            <a:off x="542260" y="3557865"/>
            <a:ext cx="11111024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kstvak 15">
            <a:extLst>
              <a:ext uri="{FF2B5EF4-FFF2-40B4-BE49-F238E27FC236}">
                <a16:creationId xmlns:a16="http://schemas.microsoft.com/office/drawing/2014/main" xmlns="" id="{60423A75-C5F5-4267-B4B5-C192FE1177F1}"/>
              </a:ext>
            </a:extLst>
          </p:cNvPr>
          <p:cNvSpPr txBox="1"/>
          <p:nvPr/>
        </p:nvSpPr>
        <p:spPr>
          <a:xfrm>
            <a:off x="542261" y="1447798"/>
            <a:ext cx="5281238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</a:rPr>
              <a:t>Number of total positive GP promotions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xmlns="" id="{20C56AD6-F517-4513-A608-D90A7F7480A3}"/>
              </a:ext>
            </a:extLst>
          </p:cNvPr>
          <p:cNvSpPr txBox="1"/>
          <p:nvPr/>
        </p:nvSpPr>
        <p:spPr>
          <a:xfrm>
            <a:off x="542261" y="3835398"/>
            <a:ext cx="5281238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</a:rPr>
              <a:t>Number of total positive GP promotions</a:t>
            </a: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xmlns="" id="{C604A4D9-37F0-4283-B3A7-DC4AE32FB6F3}"/>
              </a:ext>
            </a:extLst>
          </p:cNvPr>
          <p:cNvSpPr txBox="1"/>
          <p:nvPr/>
        </p:nvSpPr>
        <p:spPr>
          <a:xfrm>
            <a:off x="6338460" y="1447798"/>
            <a:ext cx="5281238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</a:rPr>
              <a:t>Ratio negative and positive promotions</a:t>
            </a:r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xmlns="" id="{1F057D1B-64AA-42E1-839F-2181F2441E19}"/>
              </a:ext>
            </a:extLst>
          </p:cNvPr>
          <p:cNvSpPr txBox="1"/>
          <p:nvPr/>
        </p:nvSpPr>
        <p:spPr>
          <a:xfrm>
            <a:off x="6338460" y="3733798"/>
            <a:ext cx="5281238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</a:rPr>
              <a:t>Ratio negative and positive promotions</a:t>
            </a:r>
          </a:p>
        </p:txBody>
      </p:sp>
      <p:graphicFrame>
        <p:nvGraphicFramePr>
          <p:cNvPr id="23" name="Grafiek 22">
            <a:extLst>
              <a:ext uri="{FF2B5EF4-FFF2-40B4-BE49-F238E27FC236}">
                <a16:creationId xmlns:a16="http://schemas.microsoft.com/office/drawing/2014/main" xmlns="" id="{D13B038D-E04D-411A-9F52-4C394F9EF0A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6326296"/>
              </p:ext>
            </p:extLst>
          </p:nvPr>
        </p:nvGraphicFramePr>
        <p:xfrm>
          <a:off x="1308100" y="1757228"/>
          <a:ext cx="2857500" cy="17048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Grafiek 23">
            <a:extLst>
              <a:ext uri="{FF2B5EF4-FFF2-40B4-BE49-F238E27FC236}">
                <a16:creationId xmlns:a16="http://schemas.microsoft.com/office/drawing/2014/main" xmlns="" id="{9394B396-FBED-48E1-B858-F07B68605E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1286252"/>
              </p:ext>
            </p:extLst>
          </p:nvPr>
        </p:nvGraphicFramePr>
        <p:xfrm>
          <a:off x="1308100" y="4081328"/>
          <a:ext cx="2857500" cy="17048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5" name="Groep 24">
            <a:extLst>
              <a:ext uri="{FF2B5EF4-FFF2-40B4-BE49-F238E27FC236}">
                <a16:creationId xmlns:a16="http://schemas.microsoft.com/office/drawing/2014/main" xmlns="" id="{AF48DC0B-E8CC-4AF4-B690-500821AEA45A}"/>
              </a:ext>
            </a:extLst>
          </p:cNvPr>
          <p:cNvGrpSpPr/>
          <p:nvPr/>
        </p:nvGrpSpPr>
        <p:grpSpPr>
          <a:xfrm>
            <a:off x="5947388" y="2139657"/>
            <a:ext cx="340242" cy="871399"/>
            <a:chOff x="3880884" y="2041451"/>
            <a:chExt cx="340242" cy="871399"/>
          </a:xfrm>
        </p:grpSpPr>
        <p:cxnSp>
          <p:nvCxnSpPr>
            <p:cNvPr id="26" name="Rechte verbindingslijn 25">
              <a:extLst>
                <a:ext uri="{FF2B5EF4-FFF2-40B4-BE49-F238E27FC236}">
                  <a16:creationId xmlns:a16="http://schemas.microsoft.com/office/drawing/2014/main" xmlns="" id="{3CA7EBCF-FF9D-488F-B44E-E96D6D5E565B}"/>
                </a:ext>
              </a:extLst>
            </p:cNvPr>
            <p:cNvCxnSpPr/>
            <p:nvPr/>
          </p:nvCxnSpPr>
          <p:spPr>
            <a:xfrm>
              <a:off x="3880884" y="2041451"/>
              <a:ext cx="340242" cy="435935"/>
            </a:xfrm>
            <a:prstGeom prst="line">
              <a:avLst/>
            </a:prstGeom>
            <a:ln w="1905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xmlns="" id="{A4D114F3-7B2A-4CF4-B5FA-A634F90AD47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80884" y="2476915"/>
              <a:ext cx="340242" cy="435935"/>
            </a:xfrm>
            <a:prstGeom prst="line">
              <a:avLst/>
            </a:prstGeom>
            <a:ln w="1905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ep 27">
            <a:extLst>
              <a:ext uri="{FF2B5EF4-FFF2-40B4-BE49-F238E27FC236}">
                <a16:creationId xmlns:a16="http://schemas.microsoft.com/office/drawing/2014/main" xmlns="" id="{BCC6C0DA-A464-49A0-8B86-925E579EFF9F}"/>
              </a:ext>
            </a:extLst>
          </p:cNvPr>
          <p:cNvGrpSpPr/>
          <p:nvPr/>
        </p:nvGrpSpPr>
        <p:grpSpPr>
          <a:xfrm>
            <a:off x="5947388" y="4387557"/>
            <a:ext cx="340242" cy="871399"/>
            <a:chOff x="3880884" y="2041451"/>
            <a:chExt cx="340242" cy="871399"/>
          </a:xfrm>
        </p:grpSpPr>
        <p:cxnSp>
          <p:nvCxnSpPr>
            <p:cNvPr id="29" name="Rechte verbindingslijn 28">
              <a:extLst>
                <a:ext uri="{FF2B5EF4-FFF2-40B4-BE49-F238E27FC236}">
                  <a16:creationId xmlns:a16="http://schemas.microsoft.com/office/drawing/2014/main" xmlns="" id="{BC6556D1-F6D3-44F5-B502-107DBDC7F023}"/>
                </a:ext>
              </a:extLst>
            </p:cNvPr>
            <p:cNvCxnSpPr/>
            <p:nvPr/>
          </p:nvCxnSpPr>
          <p:spPr>
            <a:xfrm>
              <a:off x="3880884" y="2041451"/>
              <a:ext cx="340242" cy="435935"/>
            </a:xfrm>
            <a:prstGeom prst="line">
              <a:avLst/>
            </a:prstGeom>
            <a:ln w="1905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Rechte verbindingslijn 29">
              <a:extLst>
                <a:ext uri="{FF2B5EF4-FFF2-40B4-BE49-F238E27FC236}">
                  <a16:creationId xmlns:a16="http://schemas.microsoft.com/office/drawing/2014/main" xmlns="" id="{5E00FE2C-6D7C-4CF3-BCA1-D749840AED2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80884" y="2476915"/>
              <a:ext cx="340242" cy="435935"/>
            </a:xfrm>
            <a:prstGeom prst="line">
              <a:avLst/>
            </a:prstGeom>
            <a:ln w="1905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ep 42">
            <a:extLst>
              <a:ext uri="{FF2B5EF4-FFF2-40B4-BE49-F238E27FC236}">
                <a16:creationId xmlns:a16="http://schemas.microsoft.com/office/drawing/2014/main" xmlns="" id="{15DA457D-83D3-4303-B563-3EF4F7FEFADD}"/>
              </a:ext>
            </a:extLst>
          </p:cNvPr>
          <p:cNvGrpSpPr/>
          <p:nvPr/>
        </p:nvGrpSpPr>
        <p:grpSpPr>
          <a:xfrm>
            <a:off x="6642100" y="1689100"/>
            <a:ext cx="4977598" cy="1634778"/>
            <a:chOff x="6642100" y="1689100"/>
            <a:chExt cx="4977598" cy="1634778"/>
          </a:xfrm>
        </p:grpSpPr>
        <p:graphicFrame>
          <p:nvGraphicFramePr>
            <p:cNvPr id="33" name="Grafiek 32">
              <a:extLst>
                <a:ext uri="{FF2B5EF4-FFF2-40B4-BE49-F238E27FC236}">
                  <a16:creationId xmlns:a16="http://schemas.microsoft.com/office/drawing/2014/main" xmlns="" id="{18D12820-D4FB-4FB1-A808-6D39F577709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83115182"/>
                </p:ext>
              </p:extLst>
            </p:nvPr>
          </p:nvGraphicFramePr>
          <p:xfrm>
            <a:off x="7137400" y="1689100"/>
            <a:ext cx="4482298" cy="163477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4" name="Tekstvak 33">
              <a:extLst>
                <a:ext uri="{FF2B5EF4-FFF2-40B4-BE49-F238E27FC236}">
                  <a16:creationId xmlns:a16="http://schemas.microsoft.com/office/drawing/2014/main" xmlns="" id="{D24B38E4-20F5-4CF1-A5EB-E1A2D3BAD402}"/>
                </a:ext>
              </a:extLst>
            </p:cNvPr>
            <p:cNvSpPr txBox="1"/>
            <p:nvPr/>
          </p:nvSpPr>
          <p:spPr>
            <a:xfrm>
              <a:off x="6642100" y="1917700"/>
              <a:ext cx="1968500" cy="3556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nl-NL" sz="1200" dirty="0">
                  <a:solidFill>
                    <a:schemeClr val="tx2"/>
                  </a:solidFill>
                </a:rPr>
                <a:t>Negative GP</a:t>
              </a:r>
            </a:p>
          </p:txBody>
        </p:sp>
        <p:sp>
          <p:nvSpPr>
            <p:cNvPr id="35" name="Tekstvak 34">
              <a:extLst>
                <a:ext uri="{FF2B5EF4-FFF2-40B4-BE49-F238E27FC236}">
                  <a16:creationId xmlns:a16="http://schemas.microsoft.com/office/drawing/2014/main" xmlns="" id="{570030FC-DEF9-4ECF-A25C-F54A73BE533F}"/>
                </a:ext>
              </a:extLst>
            </p:cNvPr>
            <p:cNvSpPr txBox="1"/>
            <p:nvPr/>
          </p:nvSpPr>
          <p:spPr>
            <a:xfrm>
              <a:off x="6642100" y="2489200"/>
              <a:ext cx="1968500" cy="3556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nl-NL" sz="1200" dirty="0" err="1">
                  <a:solidFill>
                    <a:schemeClr val="tx2"/>
                  </a:solidFill>
                </a:rPr>
                <a:t>Positive</a:t>
              </a:r>
              <a:r>
                <a:rPr lang="nl-NL" sz="1200" dirty="0">
                  <a:solidFill>
                    <a:schemeClr val="tx2"/>
                  </a:solidFill>
                </a:rPr>
                <a:t> GP</a:t>
              </a:r>
            </a:p>
          </p:txBody>
        </p:sp>
        <p:cxnSp>
          <p:nvCxnSpPr>
            <p:cNvPr id="40" name="Rechte verbindingslijn 39">
              <a:extLst>
                <a:ext uri="{FF2B5EF4-FFF2-40B4-BE49-F238E27FC236}">
                  <a16:creationId xmlns:a16="http://schemas.microsoft.com/office/drawing/2014/main" xmlns="" id="{9196A1FC-6212-4951-B478-927DF637BB2F}"/>
                </a:ext>
              </a:extLst>
            </p:cNvPr>
            <p:cNvCxnSpPr>
              <a:cxnSpLocks/>
            </p:cNvCxnSpPr>
            <p:nvPr/>
          </p:nvCxnSpPr>
          <p:spPr>
            <a:xfrm>
              <a:off x="9864725" y="1912144"/>
              <a:ext cx="0" cy="970756"/>
            </a:xfrm>
            <a:prstGeom prst="line">
              <a:avLst/>
            </a:prstGeom>
            <a:ln w="15875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4" name="Groep 43">
            <a:extLst>
              <a:ext uri="{FF2B5EF4-FFF2-40B4-BE49-F238E27FC236}">
                <a16:creationId xmlns:a16="http://schemas.microsoft.com/office/drawing/2014/main" xmlns="" id="{89970AC3-15D8-4791-B955-13C2D26D57D3}"/>
              </a:ext>
            </a:extLst>
          </p:cNvPr>
          <p:cNvGrpSpPr/>
          <p:nvPr/>
        </p:nvGrpSpPr>
        <p:grpSpPr>
          <a:xfrm>
            <a:off x="6642100" y="4000500"/>
            <a:ext cx="4977598" cy="1634778"/>
            <a:chOff x="6642100" y="3898900"/>
            <a:chExt cx="4977598" cy="1634778"/>
          </a:xfrm>
        </p:grpSpPr>
        <p:graphicFrame>
          <p:nvGraphicFramePr>
            <p:cNvPr id="36" name="Grafiek 35">
              <a:extLst>
                <a:ext uri="{FF2B5EF4-FFF2-40B4-BE49-F238E27FC236}">
                  <a16:creationId xmlns:a16="http://schemas.microsoft.com/office/drawing/2014/main" xmlns="" id="{62E8A71D-8931-486A-A761-5061FD8EA47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906860064"/>
                </p:ext>
              </p:extLst>
            </p:nvPr>
          </p:nvGraphicFramePr>
          <p:xfrm>
            <a:off x="7137400" y="3898900"/>
            <a:ext cx="4482298" cy="163477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37" name="Tekstvak 36">
              <a:extLst>
                <a:ext uri="{FF2B5EF4-FFF2-40B4-BE49-F238E27FC236}">
                  <a16:creationId xmlns:a16="http://schemas.microsoft.com/office/drawing/2014/main" xmlns="" id="{D851509A-337A-47D9-ADB1-DDD6D14D8C85}"/>
                </a:ext>
              </a:extLst>
            </p:cNvPr>
            <p:cNvSpPr txBox="1"/>
            <p:nvPr/>
          </p:nvSpPr>
          <p:spPr>
            <a:xfrm>
              <a:off x="6642100" y="4127500"/>
              <a:ext cx="1968500" cy="3556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nl-NL" sz="1200" dirty="0">
                  <a:solidFill>
                    <a:schemeClr val="tx2"/>
                  </a:solidFill>
                </a:rPr>
                <a:t>Negative GP</a:t>
              </a:r>
            </a:p>
          </p:txBody>
        </p:sp>
        <p:sp>
          <p:nvSpPr>
            <p:cNvPr id="38" name="Tekstvak 37">
              <a:extLst>
                <a:ext uri="{FF2B5EF4-FFF2-40B4-BE49-F238E27FC236}">
                  <a16:creationId xmlns:a16="http://schemas.microsoft.com/office/drawing/2014/main" xmlns="" id="{BB7D1FD6-FC1B-4AD9-A7D4-12855F8284E0}"/>
                </a:ext>
              </a:extLst>
            </p:cNvPr>
            <p:cNvSpPr txBox="1"/>
            <p:nvPr/>
          </p:nvSpPr>
          <p:spPr>
            <a:xfrm>
              <a:off x="6642100" y="4699000"/>
              <a:ext cx="1968500" cy="3556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r>
                <a:rPr lang="nl-NL" sz="1200" dirty="0" err="1">
                  <a:solidFill>
                    <a:schemeClr val="tx2"/>
                  </a:solidFill>
                </a:rPr>
                <a:t>Positive</a:t>
              </a:r>
              <a:r>
                <a:rPr lang="nl-NL" sz="1200" dirty="0">
                  <a:solidFill>
                    <a:schemeClr val="tx2"/>
                  </a:solidFill>
                </a:rPr>
                <a:t> GP</a:t>
              </a:r>
            </a:p>
          </p:txBody>
        </p:sp>
        <p:cxnSp>
          <p:nvCxnSpPr>
            <p:cNvPr id="42" name="Rechte verbindingslijn 41">
              <a:extLst>
                <a:ext uri="{FF2B5EF4-FFF2-40B4-BE49-F238E27FC236}">
                  <a16:creationId xmlns:a16="http://schemas.microsoft.com/office/drawing/2014/main" xmlns="" id="{D52939CA-F365-4C0C-9B51-624B6AAF9B42}"/>
                </a:ext>
              </a:extLst>
            </p:cNvPr>
            <p:cNvCxnSpPr>
              <a:cxnSpLocks/>
            </p:cNvCxnSpPr>
            <p:nvPr/>
          </p:nvCxnSpPr>
          <p:spPr>
            <a:xfrm>
              <a:off x="10029031" y="4117182"/>
              <a:ext cx="0" cy="970756"/>
            </a:xfrm>
            <a:prstGeom prst="line">
              <a:avLst/>
            </a:prstGeom>
            <a:ln w="15875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Rechthoek 4">
            <a:extLst>
              <a:ext uri="{FF2B5EF4-FFF2-40B4-BE49-F238E27FC236}">
                <a16:creationId xmlns:a16="http://schemas.microsoft.com/office/drawing/2014/main" xmlns="" id="{CF411246-C623-4741-8C32-430953D2EA09}"/>
              </a:ext>
            </a:extLst>
          </p:cNvPr>
          <p:cNvSpPr/>
          <p:nvPr/>
        </p:nvSpPr>
        <p:spPr>
          <a:xfrm rot="16200000">
            <a:off x="407765" y="4804848"/>
            <a:ext cx="95090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i="1" dirty="0">
                <a:solidFill>
                  <a:schemeClr val="bg2">
                    <a:lumMod val="50000"/>
                  </a:schemeClr>
                </a:solidFill>
              </a:rPr>
              <a:t>Incremental</a:t>
            </a:r>
            <a:endParaRPr lang="nl-NL" i="1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430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mp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7" dur="400" fill="hold"/>
                                        <p:tgtEl>
                                          <p:spTgt spid="25"/>
                                        </p:tgtEl>
                                      </p:cBhvr>
                                      <p:by x="103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5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8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300"/>
                            </p:stCondLst>
                            <p:childTnLst>
                              <p:par>
                                <p:cTn id="27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9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5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8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3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mp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6" dur="400" fill="hold"/>
                                        <p:tgtEl>
                                          <p:spTgt spid="28"/>
                                        </p:tgtEl>
                                      </p:cBhvr>
                                      <p:by x="103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1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6850"/>
                            </p:stCondLst>
                            <p:childTnLst>
                              <p:par>
                                <p:cTn id="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19" grpId="0"/>
      <p:bldGraphic spid="23" grpId="0">
        <p:bldAsOne/>
      </p:bldGraphic>
      <p:bldGraphic spid="24" grpId="0">
        <p:bldAsOne/>
      </p:bldGraphic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xmlns="" id="{FD816963-D6D2-47DC-BF61-B29F6A269989}"/>
              </a:ext>
            </a:extLst>
          </p:cNvPr>
          <p:cNvSpPr/>
          <p:nvPr/>
        </p:nvSpPr>
        <p:spPr>
          <a:xfrm>
            <a:off x="0" y="3303"/>
            <a:ext cx="12208496" cy="6850065"/>
          </a:xfrm>
          <a:prstGeom prst="rect">
            <a:avLst/>
          </a:prstGeom>
          <a:blipFill dpi="0" rotWithShape="1">
            <a:blip r:embed="rId2" cstate="email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xmlns="" id="{014A0692-B5AE-4825-B57F-42503697224D}"/>
              </a:ext>
            </a:extLst>
          </p:cNvPr>
          <p:cNvSpPr/>
          <p:nvPr/>
        </p:nvSpPr>
        <p:spPr>
          <a:xfrm>
            <a:off x="0" y="0"/>
            <a:ext cx="12190309" cy="2696353"/>
          </a:xfrm>
          <a:prstGeom prst="rect">
            <a:avLst/>
          </a:prstGeom>
          <a:gradFill>
            <a:gsLst>
              <a:gs pos="0">
                <a:schemeClr val="bg1"/>
              </a:gs>
              <a:gs pos="66000">
                <a:srgbClr val="FFFFFF">
                  <a:alpha val="78000"/>
                </a:srgbClr>
              </a:gs>
              <a:gs pos="43000">
                <a:srgbClr val="FFFFFF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43" name="Vrije vorm: vorm 42">
            <a:extLst>
              <a:ext uri="{FF2B5EF4-FFF2-40B4-BE49-F238E27FC236}">
                <a16:creationId xmlns:a16="http://schemas.microsoft.com/office/drawing/2014/main" xmlns="" id="{E12C44EE-E02A-4B4A-A9FA-062A5A17220B}"/>
              </a:ext>
            </a:extLst>
          </p:cNvPr>
          <p:cNvSpPr/>
          <p:nvPr/>
        </p:nvSpPr>
        <p:spPr>
          <a:xfrm>
            <a:off x="543005" y="3842888"/>
            <a:ext cx="2365909" cy="2674026"/>
          </a:xfrm>
          <a:custGeom>
            <a:avLst/>
            <a:gdLst>
              <a:gd name="connsiteX0" fmla="*/ 2240765 w 2365909"/>
              <a:gd name="connsiteY0" fmla="*/ 0 h 2422364"/>
              <a:gd name="connsiteX1" fmla="*/ 2304963 w 2365909"/>
              <a:gd name="connsiteY1" fmla="*/ 0 h 2422364"/>
              <a:gd name="connsiteX2" fmla="*/ 2365909 w 2365909"/>
              <a:gd name="connsiteY2" fmla="*/ 60946 h 2422364"/>
              <a:gd name="connsiteX3" fmla="*/ 2365909 w 2365909"/>
              <a:gd name="connsiteY3" fmla="*/ 2388971 h 2422364"/>
              <a:gd name="connsiteX4" fmla="*/ 2356937 w 2365909"/>
              <a:gd name="connsiteY4" fmla="*/ 2410633 h 2422364"/>
              <a:gd name="connsiteX5" fmla="*/ 2328614 w 2365909"/>
              <a:gd name="connsiteY5" fmla="*/ 2422364 h 2422364"/>
              <a:gd name="connsiteX6" fmla="*/ 40054 w 2365909"/>
              <a:gd name="connsiteY6" fmla="*/ 2422364 h 2422364"/>
              <a:gd name="connsiteX7" fmla="*/ 0 w 2365909"/>
              <a:gd name="connsiteY7" fmla="*/ 2382310 h 2422364"/>
              <a:gd name="connsiteX8" fmla="*/ 0 w 2365909"/>
              <a:gd name="connsiteY8" fmla="*/ 167504 h 2422364"/>
              <a:gd name="connsiteX9" fmla="*/ 3868 w 2365909"/>
              <a:gd name="connsiteY9" fmla="*/ 148348 h 2422364"/>
              <a:gd name="connsiteX10" fmla="*/ 36301 w 2365909"/>
              <a:gd name="connsiteY10" fmla="*/ 115915 h 2422364"/>
              <a:gd name="connsiteX11" fmla="*/ 52075 w 2365909"/>
              <a:gd name="connsiteY11" fmla="*/ 112730 h 2422364"/>
              <a:gd name="connsiteX12" fmla="*/ 528662 w 2365909"/>
              <a:gd name="connsiteY12" fmla="*/ 105589 h 2422364"/>
              <a:gd name="connsiteX13" fmla="*/ 2180565 w 2365909"/>
              <a:gd name="connsiteY13" fmla="*/ 6370 h 2422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65909" h="2422364">
                <a:moveTo>
                  <a:pt x="2240765" y="0"/>
                </a:moveTo>
                <a:lnTo>
                  <a:pt x="2304963" y="0"/>
                </a:lnTo>
                <a:cubicBezTo>
                  <a:pt x="2338623" y="0"/>
                  <a:pt x="2365909" y="27286"/>
                  <a:pt x="2365909" y="60946"/>
                </a:cubicBezTo>
                <a:lnTo>
                  <a:pt x="2365909" y="2388971"/>
                </a:lnTo>
                <a:lnTo>
                  <a:pt x="2356937" y="2410633"/>
                </a:lnTo>
                <a:cubicBezTo>
                  <a:pt x="2349688" y="2417881"/>
                  <a:pt x="2339675" y="2422364"/>
                  <a:pt x="2328614" y="2422364"/>
                </a:cubicBezTo>
                <a:lnTo>
                  <a:pt x="40054" y="2422364"/>
                </a:lnTo>
                <a:cubicBezTo>
                  <a:pt x="17933" y="2422364"/>
                  <a:pt x="0" y="2404431"/>
                  <a:pt x="0" y="2382310"/>
                </a:cubicBezTo>
                <a:lnTo>
                  <a:pt x="0" y="167504"/>
                </a:lnTo>
                <a:lnTo>
                  <a:pt x="3868" y="148348"/>
                </a:lnTo>
                <a:cubicBezTo>
                  <a:pt x="10036" y="133765"/>
                  <a:pt x="21718" y="122083"/>
                  <a:pt x="36301" y="115915"/>
                </a:cubicBezTo>
                <a:lnTo>
                  <a:pt x="52075" y="112730"/>
                </a:lnTo>
                <a:lnTo>
                  <a:pt x="528662" y="105589"/>
                </a:lnTo>
                <a:cubicBezTo>
                  <a:pt x="1087132" y="88815"/>
                  <a:pt x="1638224" y="55471"/>
                  <a:pt x="2180565" y="6370"/>
                </a:cubicBezTo>
                <a:close/>
              </a:path>
            </a:pathLst>
          </a:cu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0" rIns="288000" bIns="1908000" rtlCol="0" anchor="b" anchorCtr="0">
            <a:noAutofit/>
          </a:bodyPr>
          <a:lstStyle/>
          <a:p>
            <a:pPr algn="ctr"/>
            <a:r>
              <a:rPr lang="en-US" sz="2000" b="1" cap="all" baseline="0" dirty="0"/>
              <a:t>control</a:t>
            </a:r>
          </a:p>
        </p:txBody>
      </p:sp>
      <p:sp>
        <p:nvSpPr>
          <p:cNvPr id="50" name="Vrije vorm: vorm 49">
            <a:extLst>
              <a:ext uri="{FF2B5EF4-FFF2-40B4-BE49-F238E27FC236}">
                <a16:creationId xmlns:a16="http://schemas.microsoft.com/office/drawing/2014/main" xmlns="" id="{D0EF1AE2-CE6F-4613-97FF-F48D4754D324}"/>
              </a:ext>
            </a:extLst>
          </p:cNvPr>
          <p:cNvSpPr/>
          <p:nvPr/>
        </p:nvSpPr>
        <p:spPr>
          <a:xfrm>
            <a:off x="3455537" y="3359240"/>
            <a:ext cx="2368668" cy="3157675"/>
          </a:xfrm>
          <a:custGeom>
            <a:avLst/>
            <a:gdLst>
              <a:gd name="connsiteX0" fmla="*/ 2243050 w 2368668"/>
              <a:gd name="connsiteY0" fmla="*/ 0 h 2860495"/>
              <a:gd name="connsiteX1" fmla="*/ 2306222 w 2368668"/>
              <a:gd name="connsiteY1" fmla="*/ 0 h 2860495"/>
              <a:gd name="connsiteX2" fmla="*/ 2367168 w 2368668"/>
              <a:gd name="connsiteY2" fmla="*/ 60946 h 2860495"/>
              <a:gd name="connsiteX3" fmla="*/ 2367168 w 2368668"/>
              <a:gd name="connsiteY3" fmla="*/ 2582315 h 2860495"/>
              <a:gd name="connsiteX4" fmla="*/ 2368668 w 2368668"/>
              <a:gd name="connsiteY4" fmla="*/ 2582315 h 2860495"/>
              <a:gd name="connsiteX5" fmla="*/ 2368668 w 2368668"/>
              <a:gd name="connsiteY5" fmla="*/ 2820441 h 2860495"/>
              <a:gd name="connsiteX6" fmla="*/ 2328614 w 2368668"/>
              <a:gd name="connsiteY6" fmla="*/ 2860495 h 2860495"/>
              <a:gd name="connsiteX7" fmla="*/ 40054 w 2368668"/>
              <a:gd name="connsiteY7" fmla="*/ 2860495 h 2860495"/>
              <a:gd name="connsiteX8" fmla="*/ 0 w 2368668"/>
              <a:gd name="connsiteY8" fmla="*/ 2820441 h 2860495"/>
              <a:gd name="connsiteX9" fmla="*/ 0 w 2368668"/>
              <a:gd name="connsiteY9" fmla="*/ 412806 h 2860495"/>
              <a:gd name="connsiteX10" fmla="*/ 2917 w 2368668"/>
              <a:gd name="connsiteY10" fmla="*/ 398360 h 2860495"/>
              <a:gd name="connsiteX11" fmla="*/ 59073 w 2368668"/>
              <a:gd name="connsiteY11" fmla="*/ 361137 h 2860495"/>
              <a:gd name="connsiteX12" fmla="*/ 125222 w 2368668"/>
              <a:gd name="connsiteY12" fmla="*/ 352239 h 2860495"/>
              <a:gd name="connsiteX13" fmla="*/ 867430 w 2368668"/>
              <a:gd name="connsiteY13" fmla="*/ 250739 h 2860495"/>
              <a:gd name="connsiteX14" fmla="*/ 1644866 w 2368668"/>
              <a:gd name="connsiteY14" fmla="*/ 119929 h 2860495"/>
              <a:gd name="connsiteX0" fmla="*/ 1644866 w 2368668"/>
              <a:gd name="connsiteY0" fmla="*/ 119929 h 2860495"/>
              <a:gd name="connsiteX1" fmla="*/ 2306222 w 2368668"/>
              <a:gd name="connsiteY1" fmla="*/ 0 h 2860495"/>
              <a:gd name="connsiteX2" fmla="*/ 2367168 w 2368668"/>
              <a:gd name="connsiteY2" fmla="*/ 60946 h 2860495"/>
              <a:gd name="connsiteX3" fmla="*/ 2367168 w 2368668"/>
              <a:gd name="connsiteY3" fmla="*/ 2582315 h 2860495"/>
              <a:gd name="connsiteX4" fmla="*/ 2368668 w 2368668"/>
              <a:gd name="connsiteY4" fmla="*/ 2582315 h 2860495"/>
              <a:gd name="connsiteX5" fmla="*/ 2368668 w 2368668"/>
              <a:gd name="connsiteY5" fmla="*/ 2820441 h 2860495"/>
              <a:gd name="connsiteX6" fmla="*/ 2328614 w 2368668"/>
              <a:gd name="connsiteY6" fmla="*/ 2860495 h 2860495"/>
              <a:gd name="connsiteX7" fmla="*/ 40054 w 2368668"/>
              <a:gd name="connsiteY7" fmla="*/ 2860495 h 2860495"/>
              <a:gd name="connsiteX8" fmla="*/ 0 w 2368668"/>
              <a:gd name="connsiteY8" fmla="*/ 2820441 h 2860495"/>
              <a:gd name="connsiteX9" fmla="*/ 0 w 2368668"/>
              <a:gd name="connsiteY9" fmla="*/ 412806 h 2860495"/>
              <a:gd name="connsiteX10" fmla="*/ 2917 w 2368668"/>
              <a:gd name="connsiteY10" fmla="*/ 398360 h 2860495"/>
              <a:gd name="connsiteX11" fmla="*/ 59073 w 2368668"/>
              <a:gd name="connsiteY11" fmla="*/ 361137 h 2860495"/>
              <a:gd name="connsiteX12" fmla="*/ 125222 w 2368668"/>
              <a:gd name="connsiteY12" fmla="*/ 352239 h 2860495"/>
              <a:gd name="connsiteX13" fmla="*/ 867430 w 2368668"/>
              <a:gd name="connsiteY13" fmla="*/ 250739 h 2860495"/>
              <a:gd name="connsiteX14" fmla="*/ 1644866 w 2368668"/>
              <a:gd name="connsiteY14" fmla="*/ 119929 h 2860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368668" h="2860495">
                <a:moveTo>
                  <a:pt x="1644866" y="119929"/>
                </a:moveTo>
                <a:lnTo>
                  <a:pt x="2306222" y="0"/>
                </a:lnTo>
                <a:cubicBezTo>
                  <a:pt x="2339882" y="0"/>
                  <a:pt x="2367168" y="27286"/>
                  <a:pt x="2367168" y="60946"/>
                </a:cubicBezTo>
                <a:lnTo>
                  <a:pt x="2367168" y="2582315"/>
                </a:lnTo>
                <a:lnTo>
                  <a:pt x="2368668" y="2582315"/>
                </a:lnTo>
                <a:lnTo>
                  <a:pt x="2368668" y="2820441"/>
                </a:lnTo>
                <a:cubicBezTo>
                  <a:pt x="2368668" y="2842562"/>
                  <a:pt x="2350735" y="2860495"/>
                  <a:pt x="2328614" y="2860495"/>
                </a:cubicBezTo>
                <a:lnTo>
                  <a:pt x="40054" y="2860495"/>
                </a:lnTo>
                <a:cubicBezTo>
                  <a:pt x="17933" y="2860495"/>
                  <a:pt x="0" y="2842562"/>
                  <a:pt x="0" y="2820441"/>
                </a:cubicBezTo>
                <a:lnTo>
                  <a:pt x="0" y="412806"/>
                </a:lnTo>
                <a:lnTo>
                  <a:pt x="2917" y="398360"/>
                </a:lnTo>
                <a:cubicBezTo>
                  <a:pt x="12169" y="376486"/>
                  <a:pt x="33828" y="361137"/>
                  <a:pt x="59073" y="361137"/>
                </a:cubicBezTo>
                <a:lnTo>
                  <a:pt x="125222" y="352239"/>
                </a:lnTo>
                <a:lnTo>
                  <a:pt x="867430" y="250739"/>
                </a:lnTo>
                <a:cubicBezTo>
                  <a:pt x="1129164" y="210838"/>
                  <a:pt x="1388366" y="167201"/>
                  <a:pt x="1644866" y="119929"/>
                </a:cubicBez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0" rIns="288000" bIns="1908000" rtlCol="0" anchor="b" anchorCtr="0">
            <a:noAutofit/>
          </a:bodyPr>
          <a:lstStyle/>
          <a:p>
            <a:pPr algn="ctr"/>
            <a:r>
              <a:rPr lang="en-US" sz="2000" b="1" cap="all" baseline="0" dirty="0"/>
              <a:t>Insights</a:t>
            </a:r>
          </a:p>
        </p:txBody>
      </p:sp>
      <p:sp>
        <p:nvSpPr>
          <p:cNvPr id="52" name="Vrije vorm: vorm 51">
            <a:extLst>
              <a:ext uri="{FF2B5EF4-FFF2-40B4-BE49-F238E27FC236}">
                <a16:creationId xmlns:a16="http://schemas.microsoft.com/office/drawing/2014/main" xmlns="" id="{F114587F-0E61-4FD6-86CC-5631F5C8B756}"/>
              </a:ext>
            </a:extLst>
          </p:cNvPr>
          <p:cNvSpPr/>
          <p:nvPr/>
        </p:nvSpPr>
        <p:spPr>
          <a:xfrm>
            <a:off x="6368070" y="2471182"/>
            <a:ext cx="2368668" cy="4045734"/>
          </a:xfrm>
          <a:custGeom>
            <a:avLst/>
            <a:gdLst>
              <a:gd name="connsiteX0" fmla="*/ 2235665 w 2368668"/>
              <a:gd name="connsiteY0" fmla="*/ 0 h 3668033"/>
              <a:gd name="connsiteX1" fmla="*/ 2235665 w 2368668"/>
              <a:gd name="connsiteY1" fmla="*/ 3057 h 3668033"/>
              <a:gd name="connsiteX2" fmla="*/ 2301814 w 2368668"/>
              <a:gd name="connsiteY2" fmla="*/ 3057 h 3668033"/>
              <a:gd name="connsiteX3" fmla="*/ 2362760 w 2368668"/>
              <a:gd name="connsiteY3" fmla="*/ 64003 h 3668033"/>
              <a:gd name="connsiteX4" fmla="*/ 2362760 w 2368668"/>
              <a:gd name="connsiteY4" fmla="*/ 2585372 h 3668033"/>
              <a:gd name="connsiteX5" fmla="*/ 2368668 w 2368668"/>
              <a:gd name="connsiteY5" fmla="*/ 2585372 h 3668033"/>
              <a:gd name="connsiteX6" fmla="*/ 2368668 w 2368668"/>
              <a:gd name="connsiteY6" fmla="*/ 3627979 h 3668033"/>
              <a:gd name="connsiteX7" fmla="*/ 2328614 w 2368668"/>
              <a:gd name="connsiteY7" fmla="*/ 3668033 h 3668033"/>
              <a:gd name="connsiteX8" fmla="*/ 40054 w 2368668"/>
              <a:gd name="connsiteY8" fmla="*/ 3668033 h 3668033"/>
              <a:gd name="connsiteX9" fmla="*/ 0 w 2368668"/>
              <a:gd name="connsiteY9" fmla="*/ 3627979 h 3668033"/>
              <a:gd name="connsiteX10" fmla="*/ 0 w 2368668"/>
              <a:gd name="connsiteY10" fmla="*/ 700312 h 3668033"/>
              <a:gd name="connsiteX11" fmla="*/ 3932 w 2368668"/>
              <a:gd name="connsiteY11" fmla="*/ 680839 h 3668033"/>
              <a:gd name="connsiteX12" fmla="*/ 60088 w 2368668"/>
              <a:gd name="connsiteY12" fmla="*/ 643616 h 3668033"/>
              <a:gd name="connsiteX13" fmla="*/ 126237 w 2368668"/>
              <a:gd name="connsiteY13" fmla="*/ 627040 h 3668033"/>
              <a:gd name="connsiteX14" fmla="*/ 237533 w 2368668"/>
              <a:gd name="connsiteY14" fmla="*/ 601039 h 3668033"/>
              <a:gd name="connsiteX15" fmla="*/ 1843105 w 2368668"/>
              <a:gd name="connsiteY15" fmla="*/ 135623 h 3668033"/>
              <a:gd name="connsiteX0" fmla="*/ 1843105 w 2368668"/>
              <a:gd name="connsiteY0" fmla="*/ 132566 h 3664976"/>
              <a:gd name="connsiteX1" fmla="*/ 2235665 w 2368668"/>
              <a:gd name="connsiteY1" fmla="*/ 0 h 3664976"/>
              <a:gd name="connsiteX2" fmla="*/ 2301814 w 2368668"/>
              <a:gd name="connsiteY2" fmla="*/ 0 h 3664976"/>
              <a:gd name="connsiteX3" fmla="*/ 2362760 w 2368668"/>
              <a:gd name="connsiteY3" fmla="*/ 60946 h 3664976"/>
              <a:gd name="connsiteX4" fmla="*/ 2362760 w 2368668"/>
              <a:gd name="connsiteY4" fmla="*/ 2582315 h 3664976"/>
              <a:gd name="connsiteX5" fmla="*/ 2368668 w 2368668"/>
              <a:gd name="connsiteY5" fmla="*/ 2582315 h 3664976"/>
              <a:gd name="connsiteX6" fmla="*/ 2368668 w 2368668"/>
              <a:gd name="connsiteY6" fmla="*/ 3624922 h 3664976"/>
              <a:gd name="connsiteX7" fmla="*/ 2328614 w 2368668"/>
              <a:gd name="connsiteY7" fmla="*/ 3664976 h 3664976"/>
              <a:gd name="connsiteX8" fmla="*/ 40054 w 2368668"/>
              <a:gd name="connsiteY8" fmla="*/ 3664976 h 3664976"/>
              <a:gd name="connsiteX9" fmla="*/ 0 w 2368668"/>
              <a:gd name="connsiteY9" fmla="*/ 3624922 h 3664976"/>
              <a:gd name="connsiteX10" fmla="*/ 0 w 2368668"/>
              <a:gd name="connsiteY10" fmla="*/ 697255 h 3664976"/>
              <a:gd name="connsiteX11" fmla="*/ 3932 w 2368668"/>
              <a:gd name="connsiteY11" fmla="*/ 677782 h 3664976"/>
              <a:gd name="connsiteX12" fmla="*/ 60088 w 2368668"/>
              <a:gd name="connsiteY12" fmla="*/ 640559 h 3664976"/>
              <a:gd name="connsiteX13" fmla="*/ 126237 w 2368668"/>
              <a:gd name="connsiteY13" fmla="*/ 623983 h 3664976"/>
              <a:gd name="connsiteX14" fmla="*/ 237533 w 2368668"/>
              <a:gd name="connsiteY14" fmla="*/ 597982 h 3664976"/>
              <a:gd name="connsiteX15" fmla="*/ 1843105 w 2368668"/>
              <a:gd name="connsiteY15" fmla="*/ 132566 h 3664976"/>
              <a:gd name="connsiteX0" fmla="*/ 1843105 w 2368668"/>
              <a:gd name="connsiteY0" fmla="*/ 132566 h 3664976"/>
              <a:gd name="connsiteX1" fmla="*/ 2301814 w 2368668"/>
              <a:gd name="connsiteY1" fmla="*/ 0 h 3664976"/>
              <a:gd name="connsiteX2" fmla="*/ 2362760 w 2368668"/>
              <a:gd name="connsiteY2" fmla="*/ 60946 h 3664976"/>
              <a:gd name="connsiteX3" fmla="*/ 2362760 w 2368668"/>
              <a:gd name="connsiteY3" fmla="*/ 2582315 h 3664976"/>
              <a:gd name="connsiteX4" fmla="*/ 2368668 w 2368668"/>
              <a:gd name="connsiteY4" fmla="*/ 2582315 h 3664976"/>
              <a:gd name="connsiteX5" fmla="*/ 2368668 w 2368668"/>
              <a:gd name="connsiteY5" fmla="*/ 3624922 h 3664976"/>
              <a:gd name="connsiteX6" fmla="*/ 2328614 w 2368668"/>
              <a:gd name="connsiteY6" fmla="*/ 3664976 h 3664976"/>
              <a:gd name="connsiteX7" fmla="*/ 40054 w 2368668"/>
              <a:gd name="connsiteY7" fmla="*/ 3664976 h 3664976"/>
              <a:gd name="connsiteX8" fmla="*/ 0 w 2368668"/>
              <a:gd name="connsiteY8" fmla="*/ 3624922 h 3664976"/>
              <a:gd name="connsiteX9" fmla="*/ 0 w 2368668"/>
              <a:gd name="connsiteY9" fmla="*/ 697255 h 3664976"/>
              <a:gd name="connsiteX10" fmla="*/ 3932 w 2368668"/>
              <a:gd name="connsiteY10" fmla="*/ 677782 h 3664976"/>
              <a:gd name="connsiteX11" fmla="*/ 60088 w 2368668"/>
              <a:gd name="connsiteY11" fmla="*/ 640559 h 3664976"/>
              <a:gd name="connsiteX12" fmla="*/ 126237 w 2368668"/>
              <a:gd name="connsiteY12" fmla="*/ 623983 h 3664976"/>
              <a:gd name="connsiteX13" fmla="*/ 237533 w 2368668"/>
              <a:gd name="connsiteY13" fmla="*/ 597982 h 3664976"/>
              <a:gd name="connsiteX14" fmla="*/ 1843105 w 2368668"/>
              <a:gd name="connsiteY14" fmla="*/ 132566 h 3664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368668" h="3664976">
                <a:moveTo>
                  <a:pt x="1843105" y="132566"/>
                </a:moveTo>
                <a:lnTo>
                  <a:pt x="2301814" y="0"/>
                </a:lnTo>
                <a:cubicBezTo>
                  <a:pt x="2335474" y="0"/>
                  <a:pt x="2362760" y="27286"/>
                  <a:pt x="2362760" y="60946"/>
                </a:cubicBezTo>
                <a:lnTo>
                  <a:pt x="2362760" y="2582315"/>
                </a:lnTo>
                <a:lnTo>
                  <a:pt x="2368668" y="2582315"/>
                </a:lnTo>
                <a:lnTo>
                  <a:pt x="2368668" y="3624922"/>
                </a:lnTo>
                <a:cubicBezTo>
                  <a:pt x="2368668" y="3647043"/>
                  <a:pt x="2350735" y="3664976"/>
                  <a:pt x="2328614" y="3664976"/>
                </a:cubicBezTo>
                <a:lnTo>
                  <a:pt x="40054" y="3664976"/>
                </a:lnTo>
                <a:cubicBezTo>
                  <a:pt x="17933" y="3664976"/>
                  <a:pt x="0" y="3647043"/>
                  <a:pt x="0" y="3624922"/>
                </a:cubicBezTo>
                <a:lnTo>
                  <a:pt x="0" y="697255"/>
                </a:lnTo>
                <a:lnTo>
                  <a:pt x="3932" y="677782"/>
                </a:lnTo>
                <a:cubicBezTo>
                  <a:pt x="13184" y="655908"/>
                  <a:pt x="34843" y="640559"/>
                  <a:pt x="60088" y="640559"/>
                </a:cubicBezTo>
                <a:lnTo>
                  <a:pt x="126237" y="623983"/>
                </a:lnTo>
                <a:lnTo>
                  <a:pt x="237533" y="597982"/>
                </a:lnTo>
                <a:cubicBezTo>
                  <a:pt x="788793" y="459827"/>
                  <a:pt x="1324635" y="304302"/>
                  <a:pt x="1843105" y="132566"/>
                </a:cubicBezTo>
                <a:close/>
              </a:path>
            </a:pathLst>
          </a:custGeom>
          <a:solidFill>
            <a:schemeClr val="accent6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0" rIns="288000" bIns="1908000" rtlCol="0" anchor="b" anchorCtr="0">
            <a:noAutofit/>
          </a:bodyPr>
          <a:lstStyle/>
          <a:p>
            <a:pPr algn="ctr"/>
            <a:r>
              <a:rPr lang="en-US" sz="2000" b="1" cap="all" baseline="0" dirty="0"/>
              <a:t>Optimization</a:t>
            </a:r>
          </a:p>
        </p:txBody>
      </p:sp>
      <p:sp>
        <p:nvSpPr>
          <p:cNvPr id="54" name="Vrije vorm: vorm 53">
            <a:extLst>
              <a:ext uri="{FF2B5EF4-FFF2-40B4-BE49-F238E27FC236}">
                <a16:creationId xmlns:a16="http://schemas.microsoft.com/office/drawing/2014/main" xmlns="" id="{DA1DFC32-DAB5-4995-9681-DC3D12CB7481}"/>
              </a:ext>
            </a:extLst>
          </p:cNvPr>
          <p:cNvSpPr/>
          <p:nvPr/>
        </p:nvSpPr>
        <p:spPr>
          <a:xfrm>
            <a:off x="9280604" y="1003300"/>
            <a:ext cx="2368668" cy="5513614"/>
          </a:xfrm>
          <a:custGeom>
            <a:avLst/>
            <a:gdLst>
              <a:gd name="connsiteX0" fmla="*/ 2262313 w 2368668"/>
              <a:gd name="connsiteY0" fmla="*/ 0 h 4994708"/>
              <a:gd name="connsiteX1" fmla="*/ 2308612 w 2368668"/>
              <a:gd name="connsiteY1" fmla="*/ 0 h 4994708"/>
              <a:gd name="connsiteX2" fmla="*/ 2364769 w 2368668"/>
              <a:gd name="connsiteY2" fmla="*/ 37223 h 4994708"/>
              <a:gd name="connsiteX3" fmla="*/ 2368668 w 2368668"/>
              <a:gd name="connsiteY3" fmla="*/ 56538 h 4994708"/>
              <a:gd name="connsiteX4" fmla="*/ 2368668 w 2368668"/>
              <a:gd name="connsiteY4" fmla="*/ 4954654 h 4994708"/>
              <a:gd name="connsiteX5" fmla="*/ 2328614 w 2368668"/>
              <a:gd name="connsiteY5" fmla="*/ 4994708 h 4994708"/>
              <a:gd name="connsiteX6" fmla="*/ 40054 w 2368668"/>
              <a:gd name="connsiteY6" fmla="*/ 4994708 h 4994708"/>
              <a:gd name="connsiteX7" fmla="*/ 0 w 2368668"/>
              <a:gd name="connsiteY7" fmla="*/ 4954654 h 4994708"/>
              <a:gd name="connsiteX8" fmla="*/ 0 w 2368668"/>
              <a:gd name="connsiteY8" fmla="*/ 1107073 h 4994708"/>
              <a:gd name="connsiteX9" fmla="*/ 2126 w 2368668"/>
              <a:gd name="connsiteY9" fmla="*/ 1096540 h 4994708"/>
              <a:gd name="connsiteX10" fmla="*/ 58283 w 2368668"/>
              <a:gd name="connsiteY10" fmla="*/ 1059317 h 4994708"/>
              <a:gd name="connsiteX11" fmla="*/ 591782 w 2368668"/>
              <a:gd name="connsiteY11" fmla="*/ 831390 h 4994708"/>
              <a:gd name="connsiteX12" fmla="*/ 1963555 w 2368668"/>
              <a:gd name="connsiteY12" fmla="*/ 168774 h 4994708"/>
              <a:gd name="connsiteX0" fmla="*/ 1963555 w 2368668"/>
              <a:gd name="connsiteY0" fmla="*/ 168774 h 4994708"/>
              <a:gd name="connsiteX1" fmla="*/ 2308612 w 2368668"/>
              <a:gd name="connsiteY1" fmla="*/ 0 h 4994708"/>
              <a:gd name="connsiteX2" fmla="*/ 2364769 w 2368668"/>
              <a:gd name="connsiteY2" fmla="*/ 37223 h 4994708"/>
              <a:gd name="connsiteX3" fmla="*/ 2368668 w 2368668"/>
              <a:gd name="connsiteY3" fmla="*/ 56538 h 4994708"/>
              <a:gd name="connsiteX4" fmla="*/ 2368668 w 2368668"/>
              <a:gd name="connsiteY4" fmla="*/ 4954654 h 4994708"/>
              <a:gd name="connsiteX5" fmla="*/ 2328614 w 2368668"/>
              <a:gd name="connsiteY5" fmla="*/ 4994708 h 4994708"/>
              <a:gd name="connsiteX6" fmla="*/ 40054 w 2368668"/>
              <a:gd name="connsiteY6" fmla="*/ 4994708 h 4994708"/>
              <a:gd name="connsiteX7" fmla="*/ 0 w 2368668"/>
              <a:gd name="connsiteY7" fmla="*/ 4954654 h 4994708"/>
              <a:gd name="connsiteX8" fmla="*/ 0 w 2368668"/>
              <a:gd name="connsiteY8" fmla="*/ 1107073 h 4994708"/>
              <a:gd name="connsiteX9" fmla="*/ 2126 w 2368668"/>
              <a:gd name="connsiteY9" fmla="*/ 1096540 h 4994708"/>
              <a:gd name="connsiteX10" fmla="*/ 58283 w 2368668"/>
              <a:gd name="connsiteY10" fmla="*/ 1059317 h 4994708"/>
              <a:gd name="connsiteX11" fmla="*/ 591782 w 2368668"/>
              <a:gd name="connsiteY11" fmla="*/ 831390 h 4994708"/>
              <a:gd name="connsiteX12" fmla="*/ 1963555 w 2368668"/>
              <a:gd name="connsiteY12" fmla="*/ 168774 h 4994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68668" h="4994708">
                <a:moveTo>
                  <a:pt x="1963555" y="168774"/>
                </a:moveTo>
                <a:lnTo>
                  <a:pt x="2308612" y="0"/>
                </a:lnTo>
                <a:cubicBezTo>
                  <a:pt x="2333857" y="0"/>
                  <a:pt x="2355517" y="15349"/>
                  <a:pt x="2364769" y="37223"/>
                </a:cubicBezTo>
                <a:lnTo>
                  <a:pt x="2368668" y="56538"/>
                </a:lnTo>
                <a:lnTo>
                  <a:pt x="2368668" y="4954654"/>
                </a:lnTo>
                <a:cubicBezTo>
                  <a:pt x="2368668" y="4976775"/>
                  <a:pt x="2350735" y="4994708"/>
                  <a:pt x="2328614" y="4994708"/>
                </a:cubicBezTo>
                <a:lnTo>
                  <a:pt x="40054" y="4994708"/>
                </a:lnTo>
                <a:cubicBezTo>
                  <a:pt x="17933" y="4994708"/>
                  <a:pt x="0" y="4976775"/>
                  <a:pt x="0" y="4954654"/>
                </a:cubicBezTo>
                <a:lnTo>
                  <a:pt x="0" y="1107073"/>
                </a:lnTo>
                <a:lnTo>
                  <a:pt x="2126" y="1096540"/>
                </a:lnTo>
                <a:cubicBezTo>
                  <a:pt x="11378" y="1074666"/>
                  <a:pt x="33038" y="1059317"/>
                  <a:pt x="58283" y="1059317"/>
                </a:cubicBezTo>
                <a:lnTo>
                  <a:pt x="591782" y="831390"/>
                </a:lnTo>
                <a:cubicBezTo>
                  <a:pt x="1069234" y="625057"/>
                  <a:pt x="1527143" y="403799"/>
                  <a:pt x="1963555" y="168774"/>
                </a:cubicBezTo>
                <a:close/>
              </a:path>
            </a:pathLst>
          </a:custGeom>
          <a:solidFill>
            <a:schemeClr val="accent4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0" rIns="288000" bIns="1908000" rtlCol="0" anchor="b" anchorCtr="0">
            <a:noAutofit/>
          </a:bodyPr>
          <a:lstStyle/>
          <a:p>
            <a:pPr algn="ctr"/>
            <a:r>
              <a:rPr lang="en-US" sz="2000" b="1" cap="all" baseline="0" dirty="0"/>
              <a:t>Automation</a:t>
            </a:r>
          </a:p>
        </p:txBody>
      </p:sp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xmlns="" id="{0025DC97-CB5B-440B-BBFD-53F6AAC37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3CAF3428-2C80-4A6E-B527-B396C0F6F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Intervention was needed</a:t>
            </a:r>
          </a:p>
        </p:txBody>
      </p:sp>
      <p:pic>
        <p:nvPicPr>
          <p:cNvPr id="12" name="Bloem1">
            <a:extLst>
              <a:ext uri="{FF2B5EF4-FFF2-40B4-BE49-F238E27FC236}">
                <a16:creationId xmlns:a16="http://schemas.microsoft.com/office/drawing/2014/main" xmlns="" id="{895199FB-6D26-41EF-BC50-5E6FC55D83D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0" y="4838701"/>
            <a:ext cx="1371448" cy="2019299"/>
          </a:xfrm>
          <a:prstGeom prst="rect">
            <a:avLst/>
          </a:prstGeom>
        </p:spPr>
      </p:pic>
      <p:pic>
        <p:nvPicPr>
          <p:cNvPr id="13" name="Bloem 2">
            <a:extLst>
              <a:ext uri="{FF2B5EF4-FFF2-40B4-BE49-F238E27FC236}">
                <a16:creationId xmlns:a16="http://schemas.microsoft.com/office/drawing/2014/main" xmlns="" id="{3C49B63C-8E1B-40E6-85D0-DF9DC3D113E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6050" y="5546816"/>
            <a:ext cx="1268102" cy="1311184"/>
          </a:xfrm>
          <a:prstGeom prst="rect">
            <a:avLst/>
          </a:prstGeom>
        </p:spPr>
      </p:pic>
      <p:pic>
        <p:nvPicPr>
          <p:cNvPr id="14" name="Gras_voor">
            <a:extLst>
              <a:ext uri="{FF2B5EF4-FFF2-40B4-BE49-F238E27FC236}">
                <a16:creationId xmlns:a16="http://schemas.microsoft.com/office/drawing/2014/main" xmlns="" id="{1229985B-36D7-4797-9A10-FDB66FC3682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5287367"/>
            <a:ext cx="12208496" cy="1570633"/>
          </a:xfrm>
          <a:prstGeom prst="rect">
            <a:avLst/>
          </a:prstGeom>
        </p:spPr>
      </p:pic>
      <p:pic>
        <p:nvPicPr>
          <p:cNvPr id="15" name="Bloem_blur">
            <a:extLst>
              <a:ext uri="{FF2B5EF4-FFF2-40B4-BE49-F238E27FC236}">
                <a16:creationId xmlns:a16="http://schemas.microsoft.com/office/drawing/2014/main" xmlns="" id="{4A897E4E-FE92-4121-B36B-77DAFF18E83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4957904"/>
            <a:ext cx="12208496" cy="1900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046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50" grpId="0" animBg="1"/>
      <p:bldP spid="52" grpId="0" animBg="1"/>
      <p:bldP spid="5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xmlns="" id="{D2670E5C-B565-486A-AA20-A806D8865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EAF71218-DB4E-45A4-BED9-0C8797184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 err="1"/>
              <a:t>Promotional</a:t>
            </a:r>
            <a:r>
              <a:rPr lang="nl-NL" dirty="0"/>
              <a:t> </a:t>
            </a:r>
            <a:r>
              <a:rPr lang="nl-NL" dirty="0" err="1"/>
              <a:t>strategy</a:t>
            </a:r>
            <a:r>
              <a:rPr lang="nl-NL" dirty="0"/>
              <a:t> reset for 2018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beyond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xmlns="" id="{1203CE69-9597-4E32-9AFE-F7B24FAAB6ED}"/>
              </a:ext>
            </a:extLst>
          </p:cNvPr>
          <p:cNvCxnSpPr>
            <a:cxnSpLocks/>
          </p:cNvCxnSpPr>
          <p:nvPr/>
        </p:nvCxnSpPr>
        <p:spPr>
          <a:xfrm>
            <a:off x="6081824" y="1449238"/>
            <a:ext cx="0" cy="4183811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xmlns="" id="{D7F53F33-41B5-4C6C-9920-DB704226A1FB}"/>
              </a:ext>
            </a:extLst>
          </p:cNvPr>
          <p:cNvCxnSpPr>
            <a:cxnSpLocks/>
          </p:cNvCxnSpPr>
          <p:nvPr/>
        </p:nvCxnSpPr>
        <p:spPr>
          <a:xfrm flipH="1">
            <a:off x="542260" y="3528837"/>
            <a:ext cx="11111024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hthoek: afgeronde hoeken 6">
            <a:extLst>
              <a:ext uri="{FF2B5EF4-FFF2-40B4-BE49-F238E27FC236}">
                <a16:creationId xmlns:a16="http://schemas.microsoft.com/office/drawing/2014/main" xmlns="" id="{2271A9D4-DEA9-4BF3-8C07-FB963F1D7179}"/>
              </a:ext>
            </a:extLst>
          </p:cNvPr>
          <p:cNvSpPr/>
          <p:nvPr/>
        </p:nvSpPr>
        <p:spPr>
          <a:xfrm>
            <a:off x="538716" y="1449238"/>
            <a:ext cx="5107328" cy="1685163"/>
          </a:xfrm>
          <a:prstGeom prst="roundRect">
            <a:avLst>
              <a:gd name="adj" fmla="val 935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600" dirty="0">
                <a:solidFill>
                  <a:schemeClr val="bg1"/>
                </a:solidFill>
              </a:rPr>
              <a:t>Define clearly per brand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the required balance of pitch fork</a:t>
            </a:r>
          </a:p>
        </p:txBody>
      </p:sp>
      <p:sp>
        <p:nvSpPr>
          <p:cNvPr id="13" name="Rechthoek: afgeronde hoeken 12">
            <a:extLst>
              <a:ext uri="{FF2B5EF4-FFF2-40B4-BE49-F238E27FC236}">
                <a16:creationId xmlns:a16="http://schemas.microsoft.com/office/drawing/2014/main" xmlns="" id="{2029ED50-64F8-49EF-9CB1-66146CB85099}"/>
              </a:ext>
            </a:extLst>
          </p:cNvPr>
          <p:cNvSpPr/>
          <p:nvPr/>
        </p:nvSpPr>
        <p:spPr>
          <a:xfrm>
            <a:off x="538716" y="3947885"/>
            <a:ext cx="5107328" cy="1685163"/>
          </a:xfrm>
          <a:prstGeom prst="roundRect">
            <a:avLst>
              <a:gd name="adj" fmla="val 720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ctr"/>
          <a:lstStyle/>
          <a:p>
            <a:pPr>
              <a:lnSpc>
                <a:spcPct val="80000"/>
              </a:lnSpc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600" dirty="0">
                <a:solidFill>
                  <a:schemeClr val="bg1"/>
                </a:solidFill>
              </a:rPr>
              <a:t>Sharpen promotional guidance</a:t>
            </a:r>
          </a:p>
        </p:txBody>
      </p:sp>
      <p:grpSp>
        <p:nvGrpSpPr>
          <p:cNvPr id="22" name="Groep 21">
            <a:extLst>
              <a:ext uri="{FF2B5EF4-FFF2-40B4-BE49-F238E27FC236}">
                <a16:creationId xmlns:a16="http://schemas.microsoft.com/office/drawing/2014/main" xmlns="" id="{6DF278D3-7F52-4542-B6B3-20CCB138FFB3}"/>
              </a:ext>
            </a:extLst>
          </p:cNvPr>
          <p:cNvGrpSpPr/>
          <p:nvPr/>
        </p:nvGrpSpPr>
        <p:grpSpPr>
          <a:xfrm>
            <a:off x="6545948" y="1449238"/>
            <a:ext cx="5107328" cy="1685163"/>
            <a:chOff x="6545948" y="1449238"/>
            <a:chExt cx="5107328" cy="1685163"/>
          </a:xfrm>
        </p:grpSpPr>
        <p:sp>
          <p:nvSpPr>
            <p:cNvPr id="9" name="Rechthoek: afgeronde hoeken 8">
              <a:extLst>
                <a:ext uri="{FF2B5EF4-FFF2-40B4-BE49-F238E27FC236}">
                  <a16:creationId xmlns:a16="http://schemas.microsoft.com/office/drawing/2014/main" xmlns="" id="{14E15283-22F1-44E2-8446-6ABEF45FFA56}"/>
                </a:ext>
              </a:extLst>
            </p:cNvPr>
            <p:cNvSpPr/>
            <p:nvPr/>
          </p:nvSpPr>
          <p:spPr>
            <a:xfrm>
              <a:off x="6545948" y="1449238"/>
              <a:ext cx="5107328" cy="1685163"/>
            </a:xfrm>
            <a:prstGeom prst="roundRect">
              <a:avLst>
                <a:gd name="adj" fmla="val 7208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44000" rIns="180000" bIns="144000" rtlCol="0" anchor="ctr"/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bg1"/>
                </a:buClr>
              </a:pPr>
              <a:r>
                <a:rPr lang="en-US" sz="1600" dirty="0">
                  <a:solidFill>
                    <a:schemeClr val="bg1"/>
                  </a:solidFill>
                </a:rPr>
                <a:t>Buy external insights </a:t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>
                  <a:solidFill>
                    <a:schemeClr val="bg1"/>
                  </a:solidFill>
                </a:rPr>
                <a:t>in promotional effectiveness</a:t>
              </a:r>
            </a:p>
          </p:txBody>
        </p:sp>
        <p:pic>
          <p:nvPicPr>
            <p:cNvPr id="15" name="Picture 5">
              <a:extLst>
                <a:ext uri="{FF2B5EF4-FFF2-40B4-BE49-F238E27FC236}">
                  <a16:creationId xmlns:a16="http://schemas.microsoft.com/office/drawing/2014/main" xmlns="" id="{535C2D21-231E-4F9D-816D-98423FB14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57342" y="1588027"/>
              <a:ext cx="350704" cy="367773"/>
            </a:xfrm>
            <a:prstGeom prst="rect">
              <a:avLst/>
            </a:prstGeom>
          </p:spPr>
        </p:pic>
        <p:pic>
          <p:nvPicPr>
            <p:cNvPr id="18" name="Afbeelding 17">
              <a:extLst>
                <a:ext uri="{FF2B5EF4-FFF2-40B4-BE49-F238E27FC236}">
                  <a16:creationId xmlns:a16="http://schemas.microsoft.com/office/drawing/2014/main" xmlns="" id="{C18E1485-2CFA-4742-AFC7-CD3054C7D2D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83101" y="1638300"/>
              <a:ext cx="742313" cy="269593"/>
            </a:xfrm>
            <a:prstGeom prst="rect">
              <a:avLst/>
            </a:prstGeom>
          </p:spPr>
        </p:pic>
      </p:grpSp>
      <p:grpSp>
        <p:nvGrpSpPr>
          <p:cNvPr id="23" name="Groep 22">
            <a:extLst>
              <a:ext uri="{FF2B5EF4-FFF2-40B4-BE49-F238E27FC236}">
                <a16:creationId xmlns:a16="http://schemas.microsoft.com/office/drawing/2014/main" xmlns="" id="{EE696307-3F4D-4D79-B75D-725404693DA1}"/>
              </a:ext>
            </a:extLst>
          </p:cNvPr>
          <p:cNvGrpSpPr/>
          <p:nvPr/>
        </p:nvGrpSpPr>
        <p:grpSpPr>
          <a:xfrm>
            <a:off x="6545948" y="3947885"/>
            <a:ext cx="5107329" cy="1685163"/>
            <a:chOff x="6545948" y="3947885"/>
            <a:chExt cx="5107329" cy="1685163"/>
          </a:xfrm>
        </p:grpSpPr>
        <p:sp>
          <p:nvSpPr>
            <p:cNvPr id="11" name="Rechthoek: afgeronde hoeken 10">
              <a:extLst>
                <a:ext uri="{FF2B5EF4-FFF2-40B4-BE49-F238E27FC236}">
                  <a16:creationId xmlns:a16="http://schemas.microsoft.com/office/drawing/2014/main" xmlns="" id="{A9D53ADD-BB3D-4D52-B1EA-8A560407FD96}"/>
                </a:ext>
              </a:extLst>
            </p:cNvPr>
            <p:cNvSpPr/>
            <p:nvPr/>
          </p:nvSpPr>
          <p:spPr>
            <a:xfrm>
              <a:off x="6545948" y="3947885"/>
              <a:ext cx="5107329" cy="1685163"/>
            </a:xfrm>
            <a:prstGeom prst="roundRect">
              <a:avLst>
                <a:gd name="adj" fmla="val 7208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44000" rIns="180000" bIns="144000" rtlCol="0" anchor="t"/>
            <a:lstStyle/>
            <a:p>
              <a:pPr>
                <a:lnSpc>
                  <a:spcPct val="80000"/>
                </a:lnSpc>
                <a:spcBef>
                  <a:spcPts val="400"/>
                </a:spcBef>
                <a:spcAft>
                  <a:spcPts val="800"/>
                </a:spcAft>
                <a:buClr>
                  <a:schemeClr val="bg1"/>
                </a:buClr>
              </a:pPr>
              <a:r>
                <a:rPr lang="en-US" sz="1600" dirty="0">
                  <a:solidFill>
                    <a:schemeClr val="bg1"/>
                  </a:solidFill>
                </a:rPr>
                <a:t>Increase awareness on incrementality </a:t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>
                  <a:solidFill>
                    <a:schemeClr val="bg1"/>
                  </a:solidFill>
                </a:rPr>
                <a:t>and promotional ROI</a:t>
              </a:r>
            </a:p>
            <a:p>
              <a:pPr marL="171450" indent="-171450">
                <a:lnSpc>
                  <a:spcPct val="80000"/>
                </a:lnSpc>
                <a:spcBef>
                  <a:spcPts val="400"/>
                </a:spcBef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solidFill>
                    <a:schemeClr val="bg1"/>
                  </a:solidFill>
                </a:rPr>
                <a:t>Train the organization on revenue management</a:t>
              </a:r>
            </a:p>
            <a:p>
              <a:pPr marL="171450" indent="-171450">
                <a:lnSpc>
                  <a:spcPct val="80000"/>
                </a:lnSpc>
                <a:spcBef>
                  <a:spcPts val="400"/>
                </a:spcBef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solidFill>
                    <a:schemeClr val="bg1"/>
                  </a:solidFill>
                </a:rPr>
                <a:t>Implement </a:t>
              </a:r>
              <a:r>
                <a:rPr lang="en-US" sz="1300" dirty="0" err="1">
                  <a:solidFill>
                    <a:schemeClr val="bg1"/>
                  </a:solidFill>
                </a:rPr>
                <a:t>TPx</a:t>
              </a:r>
              <a:r>
                <a:rPr lang="en-US" sz="1300" dirty="0">
                  <a:solidFill>
                    <a:schemeClr val="bg1"/>
                  </a:solidFill>
                </a:rPr>
                <a:t> to increase visibility and control</a:t>
              </a:r>
            </a:p>
            <a:p>
              <a:pPr marL="171450" indent="-171450">
                <a:lnSpc>
                  <a:spcPct val="80000"/>
                </a:lnSpc>
                <a:spcBef>
                  <a:spcPts val="400"/>
                </a:spcBef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solidFill>
                    <a:schemeClr val="bg1"/>
                  </a:solidFill>
                </a:rPr>
                <a:t>Define targets on </a:t>
              </a:r>
              <a:r>
                <a:rPr lang="en-US" sz="1300" dirty="0" err="1">
                  <a:solidFill>
                    <a:schemeClr val="bg1"/>
                  </a:solidFill>
                </a:rPr>
                <a:t>promtoional</a:t>
              </a:r>
              <a:r>
                <a:rPr lang="en-US" sz="1300" dirty="0">
                  <a:solidFill>
                    <a:schemeClr val="bg1"/>
                  </a:solidFill>
                </a:rPr>
                <a:t> effectiveness</a:t>
              </a:r>
            </a:p>
            <a:p>
              <a:pPr marL="171450" indent="-171450">
                <a:lnSpc>
                  <a:spcPct val="80000"/>
                </a:lnSpc>
                <a:spcBef>
                  <a:spcPts val="400"/>
                </a:spcBef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300" dirty="0">
                  <a:solidFill>
                    <a:schemeClr val="bg1"/>
                  </a:solidFill>
                </a:rPr>
                <a:t>Test and learn to prepare for the future</a:t>
              </a:r>
            </a:p>
          </p:txBody>
        </p:sp>
        <p:pic>
          <p:nvPicPr>
            <p:cNvPr id="21" name="Afbeelding 20">
              <a:extLst>
                <a:ext uri="{FF2B5EF4-FFF2-40B4-BE49-F238E27FC236}">
                  <a16:creationId xmlns:a16="http://schemas.microsoft.com/office/drawing/2014/main" xmlns="" id="{AE7A5A99-6C9B-45A2-9F2B-BBA9B17212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94273" y="4122113"/>
              <a:ext cx="972013" cy="17183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8458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5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5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5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5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4">
            <a:extLst>
              <a:ext uri="{FF2B5EF4-FFF2-40B4-BE49-F238E27FC236}">
                <a16:creationId xmlns:a16="http://schemas.microsoft.com/office/drawing/2014/main" xmlns="" id="{A3FA6347-E5FE-4AAC-8033-7DD219EF4B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5870761"/>
              </p:ext>
            </p:extLst>
          </p:nvPr>
        </p:nvGraphicFramePr>
        <p:xfrm>
          <a:off x="3384816" y="1739900"/>
          <a:ext cx="3262164" cy="4025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7" name="Groep 46">
            <a:extLst>
              <a:ext uri="{FF2B5EF4-FFF2-40B4-BE49-F238E27FC236}">
                <a16:creationId xmlns:a16="http://schemas.microsoft.com/office/drawing/2014/main" xmlns="" id="{334C152A-D68C-4C2C-9F9A-590E751BFF0A}"/>
              </a:ext>
            </a:extLst>
          </p:cNvPr>
          <p:cNvGrpSpPr/>
          <p:nvPr/>
        </p:nvGrpSpPr>
        <p:grpSpPr>
          <a:xfrm>
            <a:off x="5838835" y="1868614"/>
            <a:ext cx="3636821" cy="3755899"/>
            <a:chOff x="5838835" y="1868614"/>
            <a:chExt cx="3636821" cy="3755899"/>
          </a:xfrm>
        </p:grpSpPr>
        <p:sp>
          <p:nvSpPr>
            <p:cNvPr id="22" name="Text Box 9">
              <a:extLst>
                <a:ext uri="{FF2B5EF4-FFF2-40B4-BE49-F238E27FC236}">
                  <a16:creationId xmlns:a16="http://schemas.microsoft.com/office/drawing/2014/main" xmlns="" id="{C9850B73-BDE6-4082-858E-4F696772EF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75656" y="5147357"/>
              <a:ext cx="360000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eaLnBrk="0" hangingPunct="0"/>
              <a:r>
                <a:rPr lang="nl-NL" sz="1400" b="1" dirty="0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Brand erosion </a:t>
              </a:r>
              <a:r>
                <a:rPr lang="nl-NL" sz="1400" b="1" dirty="0" err="1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other</a:t>
              </a:r>
              <a:r>
                <a:rPr lang="nl-NL" sz="1400" b="1" dirty="0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nl-NL" sz="1400" b="1" dirty="0" err="1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brands</a:t>
              </a:r>
              <a:endParaRPr lang="nl-NL" sz="1400" b="1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 Box 10">
              <a:extLst>
                <a:ext uri="{FF2B5EF4-FFF2-40B4-BE49-F238E27FC236}">
                  <a16:creationId xmlns:a16="http://schemas.microsoft.com/office/drawing/2014/main" xmlns="" id="{2FBA82AB-7B1C-45AE-83EE-BEC3C2E4D40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75656" y="2079156"/>
              <a:ext cx="360000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eaLnBrk="0" hangingPunct="0"/>
              <a:r>
                <a:rPr lang="nl-NL" sz="1400" b="1" dirty="0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Brand investment </a:t>
              </a:r>
              <a:r>
                <a:rPr lang="nl-NL" sz="1400" b="1" dirty="0" err="1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other</a:t>
              </a:r>
              <a:r>
                <a:rPr lang="nl-NL" sz="1400" b="1" dirty="0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r>
                <a:rPr lang="nl-NL" sz="1400" b="1" dirty="0" err="1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brands</a:t>
              </a:r>
              <a:endParaRPr lang="nl-NL" sz="1400" b="1" dirty="0">
                <a:solidFill>
                  <a:schemeClr val="accent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Text Box 11">
              <a:extLst>
                <a:ext uri="{FF2B5EF4-FFF2-40B4-BE49-F238E27FC236}">
                  <a16:creationId xmlns:a16="http://schemas.microsoft.com/office/drawing/2014/main" xmlns="" id="{71598940-035C-4699-AEEB-BA0E6C90D9A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75656" y="3486460"/>
              <a:ext cx="360000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eaLnBrk="0" hangingPunct="0"/>
              <a:r>
                <a:rPr lang="nl-NL" sz="1400" b="1" dirty="0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fended market share</a:t>
              </a:r>
            </a:p>
          </p:txBody>
        </p:sp>
        <p:sp>
          <p:nvSpPr>
            <p:cNvPr id="25" name="Text Box 12">
              <a:extLst>
                <a:ext uri="{FF2B5EF4-FFF2-40B4-BE49-F238E27FC236}">
                  <a16:creationId xmlns:a16="http://schemas.microsoft.com/office/drawing/2014/main" xmlns="" id="{399E7CB7-9C6F-4D03-82DE-6716B05A92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75656" y="2954486"/>
              <a:ext cx="360000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eaLnBrk="0" hangingPunct="0"/>
              <a:r>
                <a:rPr lang="nl-NL" sz="1400" b="1" dirty="0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oyalty bonus for regular buyers</a:t>
              </a:r>
            </a:p>
          </p:txBody>
        </p:sp>
        <p:sp>
          <p:nvSpPr>
            <p:cNvPr id="26" name="Text Box 13">
              <a:extLst>
                <a:ext uri="{FF2B5EF4-FFF2-40B4-BE49-F238E27FC236}">
                  <a16:creationId xmlns:a16="http://schemas.microsoft.com/office/drawing/2014/main" xmlns="" id="{FE041E31-CA1C-4C68-989B-60F99736C5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75656" y="4098127"/>
              <a:ext cx="360000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eaLnBrk="0" hangingPunct="0"/>
              <a:r>
                <a:rPr lang="nl-NL" sz="1400" b="1" dirty="0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Fast Euro</a:t>
              </a:r>
            </a:p>
          </p:txBody>
        </p:sp>
        <p:sp>
          <p:nvSpPr>
            <p:cNvPr id="27" name="Text Box 10">
              <a:extLst>
                <a:ext uri="{FF2B5EF4-FFF2-40B4-BE49-F238E27FC236}">
                  <a16:creationId xmlns:a16="http://schemas.microsoft.com/office/drawing/2014/main" xmlns="" id="{8A65D624-B3B3-4F27-804C-1014263765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75656" y="2517329"/>
              <a:ext cx="360000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eaLnBrk="0" hangingPunct="0"/>
              <a:r>
                <a:rPr lang="nl-NL" sz="1400" b="1" dirty="0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Brand investment </a:t>
              </a:r>
              <a:r>
                <a:rPr lang="nl-NL" sz="1400" b="1" dirty="0" err="1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within</a:t>
              </a:r>
              <a:r>
                <a:rPr lang="nl-NL" sz="1400" b="1" dirty="0">
                  <a:solidFill>
                    <a:schemeClr val="accent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brand</a:t>
              </a:r>
            </a:p>
          </p:txBody>
        </p:sp>
        <p:cxnSp>
          <p:nvCxnSpPr>
            <p:cNvPr id="39" name="Rechte verbindingslijn 38">
              <a:extLst>
                <a:ext uri="{FF2B5EF4-FFF2-40B4-BE49-F238E27FC236}">
                  <a16:creationId xmlns:a16="http://schemas.microsoft.com/office/drawing/2014/main" xmlns="" id="{1FF10127-644E-40D1-844B-2D745F280A9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8835" y="4582937"/>
              <a:ext cx="3365500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Rechte verbindingslijn 39">
              <a:extLst>
                <a:ext uri="{FF2B5EF4-FFF2-40B4-BE49-F238E27FC236}">
                  <a16:creationId xmlns:a16="http://schemas.microsoft.com/office/drawing/2014/main" xmlns="" id="{9673E26A-B86D-4F3D-824C-896C6C0227A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8835" y="4900571"/>
              <a:ext cx="3365500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Rechte verbindingslijn 40">
              <a:extLst>
                <a:ext uri="{FF2B5EF4-FFF2-40B4-BE49-F238E27FC236}">
                  <a16:creationId xmlns:a16="http://schemas.microsoft.com/office/drawing/2014/main" xmlns="" id="{2A9A22BB-ACAC-473F-8741-DB3C03B643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8835" y="3841792"/>
              <a:ext cx="3365500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Rechte verbindingslijn 41">
              <a:extLst>
                <a:ext uri="{FF2B5EF4-FFF2-40B4-BE49-F238E27FC236}">
                  <a16:creationId xmlns:a16="http://schemas.microsoft.com/office/drawing/2014/main" xmlns="" id="{C0912074-483F-432D-B7BA-A0D500A60CB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8835" y="3360529"/>
              <a:ext cx="3365500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Rechte verbindingslijn 42">
              <a:extLst>
                <a:ext uri="{FF2B5EF4-FFF2-40B4-BE49-F238E27FC236}">
                  <a16:creationId xmlns:a16="http://schemas.microsoft.com/office/drawing/2014/main" xmlns="" id="{1376F38A-858D-40D9-9002-088C566511D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8835" y="2763763"/>
              <a:ext cx="3365500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Rechte verbindingslijn 43">
              <a:extLst>
                <a:ext uri="{FF2B5EF4-FFF2-40B4-BE49-F238E27FC236}">
                  <a16:creationId xmlns:a16="http://schemas.microsoft.com/office/drawing/2014/main" xmlns="" id="{2BD5476C-946E-432E-AFA1-F5558739E56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8835" y="2484631"/>
              <a:ext cx="3365500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Rechte verbindingslijn 44">
              <a:extLst>
                <a:ext uri="{FF2B5EF4-FFF2-40B4-BE49-F238E27FC236}">
                  <a16:creationId xmlns:a16="http://schemas.microsoft.com/office/drawing/2014/main" xmlns="" id="{1D450F1F-AF18-4D24-8928-845FC96564E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8835" y="1868614"/>
              <a:ext cx="3365500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Rechte verbindingslijn 45">
              <a:extLst>
                <a:ext uri="{FF2B5EF4-FFF2-40B4-BE49-F238E27FC236}">
                  <a16:creationId xmlns:a16="http://schemas.microsoft.com/office/drawing/2014/main" xmlns="" id="{659DE7A4-F02C-4BA9-8927-5134B0AB063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38835" y="5624513"/>
              <a:ext cx="3365500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COVER">
            <a:extLst>
              <a:ext uri="{FF2B5EF4-FFF2-40B4-BE49-F238E27FC236}">
                <a16:creationId xmlns:a16="http://schemas.microsoft.com/office/drawing/2014/main" xmlns="" id="{1EB88778-B2BA-4F3F-9FA2-FA9E2110BAF1}"/>
              </a:ext>
            </a:extLst>
          </p:cNvPr>
          <p:cNvSpPr/>
          <p:nvPr/>
        </p:nvSpPr>
        <p:spPr>
          <a:xfrm>
            <a:off x="0" y="0"/>
            <a:ext cx="609600" cy="6858000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19" name="Text Box 7">
            <a:extLst>
              <a:ext uri="{FF2B5EF4-FFF2-40B4-BE49-F238E27FC236}">
                <a16:creationId xmlns:a16="http://schemas.microsoft.com/office/drawing/2014/main" xmlns="" id="{01167D16-7C83-4EDA-A204-27347F04C2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3004" y="1407802"/>
            <a:ext cx="31623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nl-NL" sz="1600" dirty="0">
                <a:ea typeface="Calibri" pitchFamily="34" charset="0"/>
                <a:cs typeface="Calibri" pitchFamily="34" charset="0"/>
              </a:rPr>
              <a:t>Did the promotion… </a:t>
            </a:r>
          </a:p>
        </p:txBody>
      </p:sp>
      <p:grpSp>
        <p:nvGrpSpPr>
          <p:cNvPr id="5" name="Groep 4">
            <a:extLst>
              <a:ext uri="{FF2B5EF4-FFF2-40B4-BE49-F238E27FC236}">
                <a16:creationId xmlns:a16="http://schemas.microsoft.com/office/drawing/2014/main" xmlns="" id="{6CD702B1-FA28-4941-9E23-A0D885387E73}"/>
              </a:ext>
            </a:extLst>
          </p:cNvPr>
          <p:cNvGrpSpPr/>
          <p:nvPr/>
        </p:nvGrpSpPr>
        <p:grpSpPr>
          <a:xfrm>
            <a:off x="368053" y="1883170"/>
            <a:ext cx="4051547" cy="3741343"/>
            <a:chOff x="368053" y="1883170"/>
            <a:chExt cx="4051547" cy="3741343"/>
          </a:xfrm>
        </p:grpSpPr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xmlns="" id="{47204C6E-9667-4F09-91D6-95197BE71A48}"/>
                </a:ext>
              </a:extLst>
            </p:cNvPr>
            <p:cNvSpPr/>
            <p:nvPr/>
          </p:nvSpPr>
          <p:spPr>
            <a:xfrm>
              <a:off x="543004" y="1883170"/>
              <a:ext cx="3876596" cy="374134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/>
            </a:p>
          </p:txBody>
        </p:sp>
        <p:cxnSp>
          <p:nvCxnSpPr>
            <p:cNvPr id="29" name="Rechte verbindingslijn 28">
              <a:extLst>
                <a:ext uri="{FF2B5EF4-FFF2-40B4-BE49-F238E27FC236}">
                  <a16:creationId xmlns:a16="http://schemas.microsoft.com/office/drawing/2014/main" xmlns="" id="{F87B967B-E282-4EE6-ADEA-FE648097B1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2000" y="2754137"/>
              <a:ext cx="3365500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Rechte verbindingslijn 31">
              <a:extLst>
                <a:ext uri="{FF2B5EF4-FFF2-40B4-BE49-F238E27FC236}">
                  <a16:creationId xmlns:a16="http://schemas.microsoft.com/office/drawing/2014/main" xmlns="" id="{912522A2-0490-4E69-B01F-9F39FB0DB89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2000" y="4582937"/>
              <a:ext cx="3365500" cy="0"/>
            </a:xfrm>
            <a:prstGeom prst="line">
              <a:avLst/>
            </a:prstGeom>
            <a:ln>
              <a:solidFill>
                <a:schemeClr val="bg2">
                  <a:lumMod val="9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 Box 7">
              <a:extLst>
                <a:ext uri="{FF2B5EF4-FFF2-40B4-BE49-F238E27FC236}">
                  <a16:creationId xmlns:a16="http://schemas.microsoft.com/office/drawing/2014/main" xmlns="" id="{59293DE8-8066-42EB-8572-3CED8CEB73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2024" y="2060676"/>
              <a:ext cx="3165475" cy="5521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nl-NL" sz="1600" dirty="0">
                  <a:ea typeface="Calibri" pitchFamily="34" charset="0"/>
                  <a:cs typeface="Calibri" pitchFamily="34" charset="0"/>
                </a:rPr>
                <a:t>… </a:t>
              </a:r>
              <a:r>
                <a:rPr lang="nl-NL" sz="1600" dirty="0" err="1">
                  <a:ea typeface="Calibri" pitchFamily="34" charset="0"/>
                  <a:cs typeface="Calibri" pitchFamily="34" charset="0"/>
                </a:rPr>
                <a:t>attract</a:t>
              </a:r>
              <a:r>
                <a:rPr lang="nl-NL" sz="1600" dirty="0">
                  <a:ea typeface="Calibri" pitchFamily="34" charset="0"/>
                  <a:cs typeface="Calibri" pitchFamily="34" charset="0"/>
                </a:rPr>
                <a:t> new </a:t>
              </a:r>
              <a:r>
                <a:rPr lang="nl-NL" sz="1600" dirty="0" err="1">
                  <a:ea typeface="Calibri" pitchFamily="34" charset="0"/>
                  <a:cs typeface="Calibri" pitchFamily="34" charset="0"/>
                </a:rPr>
                <a:t>loyal</a:t>
              </a:r>
              <a:r>
                <a:rPr lang="nl-NL" sz="1600" dirty="0">
                  <a:ea typeface="Calibri" pitchFamily="34" charset="0"/>
                  <a:cs typeface="Calibri" pitchFamily="34" charset="0"/>
                </a:rPr>
                <a:t> </a:t>
              </a:r>
              <a:r>
                <a:rPr lang="nl-NL" sz="1600" dirty="0" err="1">
                  <a:ea typeface="Calibri" pitchFamily="34" charset="0"/>
                  <a:cs typeface="Calibri" pitchFamily="34" charset="0"/>
                </a:rPr>
                <a:t>customers</a:t>
              </a:r>
              <a:endParaRPr lang="nl-NL" sz="1600" dirty="0"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4" name="Text Box 7">
              <a:extLst>
                <a:ext uri="{FF2B5EF4-FFF2-40B4-BE49-F238E27FC236}">
                  <a16:creationId xmlns:a16="http://schemas.microsoft.com/office/drawing/2014/main" xmlns="" id="{277C2CC1-B443-495B-88CE-8ACF76E5B5F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2024" y="2966126"/>
              <a:ext cx="3165475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nl-NL" sz="1600" dirty="0">
                  <a:ea typeface="Calibri" pitchFamily="34" charset="0"/>
                  <a:cs typeface="Calibri" pitchFamily="34" charset="0"/>
                </a:rPr>
                <a:t>… </a:t>
              </a:r>
              <a:r>
                <a:rPr lang="nl-NL" sz="1600" dirty="0" err="1">
                  <a:ea typeface="Calibri" pitchFamily="34" charset="0"/>
                  <a:cs typeface="Calibri" pitchFamily="34" charset="0"/>
                </a:rPr>
                <a:t>sponsored</a:t>
              </a:r>
              <a:r>
                <a:rPr lang="nl-NL" sz="1600" dirty="0">
                  <a:ea typeface="Calibri" pitchFamily="34" charset="0"/>
                  <a:cs typeface="Calibri" pitchFamily="34" charset="0"/>
                </a:rPr>
                <a:t> </a:t>
              </a:r>
              <a:r>
                <a:rPr lang="nl-NL" sz="1600" dirty="0" err="1">
                  <a:ea typeface="Calibri" pitchFamily="34" charset="0"/>
                  <a:cs typeface="Calibri" pitchFamily="34" charset="0"/>
                </a:rPr>
                <a:t>loyals</a:t>
              </a:r>
              <a:r>
                <a:rPr lang="nl-NL" sz="1600" dirty="0">
                  <a:ea typeface="Calibri" pitchFamily="34" charset="0"/>
                  <a:cs typeface="Calibri" pitchFamily="34" charset="0"/>
                </a:rPr>
                <a:t>?</a:t>
              </a:r>
            </a:p>
          </p:txBody>
        </p:sp>
        <p:sp>
          <p:nvSpPr>
            <p:cNvPr id="35" name="Text Box 7">
              <a:extLst>
                <a:ext uri="{FF2B5EF4-FFF2-40B4-BE49-F238E27FC236}">
                  <a16:creationId xmlns:a16="http://schemas.microsoft.com/office/drawing/2014/main" xmlns="" id="{0081DD19-32AF-471D-9B6A-29BFFE7619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2024" y="3461783"/>
              <a:ext cx="3165475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nl-NL" sz="1600" dirty="0">
                  <a:ea typeface="Calibri" pitchFamily="34" charset="0"/>
                  <a:cs typeface="Calibri" pitchFamily="34" charset="0"/>
                </a:rPr>
                <a:t>… </a:t>
              </a:r>
              <a:r>
                <a:rPr lang="nl-NL" sz="1600" dirty="0" err="1">
                  <a:ea typeface="Calibri" pitchFamily="34" charset="0"/>
                  <a:cs typeface="Calibri" pitchFamily="34" charset="0"/>
                </a:rPr>
                <a:t>attract</a:t>
              </a:r>
              <a:r>
                <a:rPr lang="nl-NL" sz="1600" dirty="0">
                  <a:ea typeface="Calibri" pitchFamily="34" charset="0"/>
                  <a:cs typeface="Calibri" pitchFamily="34" charset="0"/>
                </a:rPr>
                <a:t> promo junks?</a:t>
              </a:r>
            </a:p>
          </p:txBody>
        </p:sp>
        <p:sp>
          <p:nvSpPr>
            <p:cNvPr id="36" name="Text Box 7">
              <a:extLst>
                <a:ext uri="{FF2B5EF4-FFF2-40B4-BE49-F238E27FC236}">
                  <a16:creationId xmlns:a16="http://schemas.microsoft.com/office/drawing/2014/main" xmlns="" id="{C38F1B73-E76D-4BE8-8F0F-7D793C62FD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2024" y="3957440"/>
              <a:ext cx="3165475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en-US" sz="1600" dirty="0">
                  <a:ea typeface="Calibri" pitchFamily="34" charset="0"/>
                  <a:cs typeface="Calibri" pitchFamily="34" charset="0"/>
                </a:rPr>
                <a:t>… short term only attract </a:t>
              </a:r>
              <a:br>
                <a:rPr lang="en-US" sz="1600" dirty="0">
                  <a:ea typeface="Calibri" pitchFamily="34" charset="0"/>
                  <a:cs typeface="Calibri" pitchFamily="34" charset="0"/>
                </a:rPr>
              </a:br>
              <a:r>
                <a:rPr lang="en-US" sz="1600" dirty="0">
                  <a:ea typeface="Calibri" pitchFamily="34" charset="0"/>
                  <a:cs typeface="Calibri" pitchFamily="34" charset="0"/>
                </a:rPr>
                <a:t>competitive users?</a:t>
              </a:r>
            </a:p>
          </p:txBody>
        </p:sp>
        <p:sp>
          <p:nvSpPr>
            <p:cNvPr id="37" name="Text Box 7">
              <a:extLst>
                <a:ext uri="{FF2B5EF4-FFF2-40B4-BE49-F238E27FC236}">
                  <a16:creationId xmlns:a16="http://schemas.microsoft.com/office/drawing/2014/main" xmlns="" id="{ED358FB0-4706-4F6E-A037-1F59D980DEE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2024" y="4803876"/>
              <a:ext cx="3165475" cy="5521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nl-NL" sz="1600" dirty="0">
                  <a:ea typeface="Calibri" pitchFamily="34" charset="0"/>
                  <a:cs typeface="Calibri" pitchFamily="34" charset="0"/>
                </a:rPr>
                <a:t>… </a:t>
              </a:r>
              <a:r>
                <a:rPr lang="nl-NL" sz="1600" dirty="0" err="1">
                  <a:ea typeface="Calibri" pitchFamily="34" charset="0"/>
                  <a:cs typeface="Calibri" pitchFamily="34" charset="0"/>
                </a:rPr>
                <a:t>damage</a:t>
              </a:r>
              <a:r>
                <a:rPr lang="nl-NL" sz="1600" dirty="0">
                  <a:ea typeface="Calibri" pitchFamily="34" charset="0"/>
                  <a:cs typeface="Calibri" pitchFamily="34" charset="0"/>
                </a:rPr>
                <a:t> the brand?</a:t>
              </a:r>
            </a:p>
          </p:txBody>
        </p:sp>
        <p:grpSp>
          <p:nvGrpSpPr>
            <p:cNvPr id="50" name="Groep 49">
              <a:extLst>
                <a:ext uri="{FF2B5EF4-FFF2-40B4-BE49-F238E27FC236}">
                  <a16:creationId xmlns:a16="http://schemas.microsoft.com/office/drawing/2014/main" xmlns="" id="{2D22F4B5-0082-4F21-921A-CDECD6C6E16D}"/>
                </a:ext>
              </a:extLst>
            </p:cNvPr>
            <p:cNvGrpSpPr/>
            <p:nvPr/>
          </p:nvGrpSpPr>
          <p:grpSpPr>
            <a:xfrm rot="10800000">
              <a:off x="368053" y="2156544"/>
              <a:ext cx="360434" cy="360434"/>
              <a:chOff x="9662248" y="2142858"/>
              <a:chExt cx="1800000" cy="1800000"/>
            </a:xfrm>
          </p:grpSpPr>
          <p:sp>
            <p:nvSpPr>
              <p:cNvPr id="48" name="Ovaal 47">
                <a:extLst>
                  <a:ext uri="{FF2B5EF4-FFF2-40B4-BE49-F238E27FC236}">
                    <a16:creationId xmlns:a16="http://schemas.microsoft.com/office/drawing/2014/main" xmlns="" id="{C15E452B-C684-498E-A00F-5C6F8C0E8A1A}"/>
                  </a:ext>
                </a:extLst>
              </p:cNvPr>
              <p:cNvSpPr/>
              <p:nvPr/>
            </p:nvSpPr>
            <p:spPr>
              <a:xfrm>
                <a:off x="9662248" y="2142858"/>
                <a:ext cx="1800000" cy="1800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9" name="Pijl: omlaag 48">
                <a:extLst>
                  <a:ext uri="{FF2B5EF4-FFF2-40B4-BE49-F238E27FC236}">
                    <a16:creationId xmlns:a16="http://schemas.microsoft.com/office/drawing/2014/main" xmlns="" id="{01C458AA-53CD-4C13-BFD9-94C27C711D88}"/>
                  </a:ext>
                </a:extLst>
              </p:cNvPr>
              <p:cNvSpPr/>
              <p:nvPr/>
            </p:nvSpPr>
            <p:spPr>
              <a:xfrm>
                <a:off x="10160042" y="2616081"/>
                <a:ext cx="804411" cy="853554"/>
              </a:xfrm>
              <a:prstGeom prst="downArrow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nl-NL"/>
              </a:p>
            </p:txBody>
          </p:sp>
        </p:grpSp>
        <p:grpSp>
          <p:nvGrpSpPr>
            <p:cNvPr id="51" name="Groep 50">
              <a:extLst>
                <a:ext uri="{FF2B5EF4-FFF2-40B4-BE49-F238E27FC236}">
                  <a16:creationId xmlns:a16="http://schemas.microsoft.com/office/drawing/2014/main" xmlns="" id="{B336F97E-D880-471B-886D-D91EC3E90D20}"/>
                </a:ext>
              </a:extLst>
            </p:cNvPr>
            <p:cNvGrpSpPr/>
            <p:nvPr/>
          </p:nvGrpSpPr>
          <p:grpSpPr>
            <a:xfrm rot="16200000">
              <a:off x="368053" y="3447182"/>
              <a:ext cx="360434" cy="360434"/>
              <a:chOff x="9662248" y="2142858"/>
              <a:chExt cx="1800000" cy="1800000"/>
            </a:xfrm>
          </p:grpSpPr>
          <p:sp>
            <p:nvSpPr>
              <p:cNvPr id="52" name="Ovaal 51">
                <a:extLst>
                  <a:ext uri="{FF2B5EF4-FFF2-40B4-BE49-F238E27FC236}">
                    <a16:creationId xmlns:a16="http://schemas.microsoft.com/office/drawing/2014/main" xmlns="" id="{2CD83907-7AE8-42B4-AE86-1AC23A78E2FA}"/>
                  </a:ext>
                </a:extLst>
              </p:cNvPr>
              <p:cNvSpPr/>
              <p:nvPr/>
            </p:nvSpPr>
            <p:spPr>
              <a:xfrm>
                <a:off x="9662248" y="2142858"/>
                <a:ext cx="1800000" cy="1800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53" name="Pijl: omlaag 52">
                <a:extLst>
                  <a:ext uri="{FF2B5EF4-FFF2-40B4-BE49-F238E27FC236}">
                    <a16:creationId xmlns:a16="http://schemas.microsoft.com/office/drawing/2014/main" xmlns="" id="{48A36ADE-2CBE-43F3-8595-C242741C8338}"/>
                  </a:ext>
                </a:extLst>
              </p:cNvPr>
              <p:cNvSpPr/>
              <p:nvPr/>
            </p:nvSpPr>
            <p:spPr>
              <a:xfrm>
                <a:off x="10160042" y="2616081"/>
                <a:ext cx="804411" cy="853554"/>
              </a:xfrm>
              <a:prstGeom prst="downArrow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nl-NL"/>
              </a:p>
            </p:txBody>
          </p:sp>
        </p:grpSp>
        <p:grpSp>
          <p:nvGrpSpPr>
            <p:cNvPr id="54" name="Groep 53">
              <a:extLst>
                <a:ext uri="{FF2B5EF4-FFF2-40B4-BE49-F238E27FC236}">
                  <a16:creationId xmlns:a16="http://schemas.microsoft.com/office/drawing/2014/main" xmlns="" id="{69F00AD4-5203-4C2B-B487-629965D6A749}"/>
                </a:ext>
              </a:extLst>
            </p:cNvPr>
            <p:cNvGrpSpPr/>
            <p:nvPr/>
          </p:nvGrpSpPr>
          <p:grpSpPr>
            <a:xfrm>
              <a:off x="368053" y="4894983"/>
              <a:ext cx="360434" cy="360434"/>
              <a:chOff x="9662248" y="2142858"/>
              <a:chExt cx="1800000" cy="1800000"/>
            </a:xfrm>
          </p:grpSpPr>
          <p:sp>
            <p:nvSpPr>
              <p:cNvPr id="55" name="Ovaal 54">
                <a:extLst>
                  <a:ext uri="{FF2B5EF4-FFF2-40B4-BE49-F238E27FC236}">
                    <a16:creationId xmlns:a16="http://schemas.microsoft.com/office/drawing/2014/main" xmlns="" id="{A05F2886-4C8D-448B-ACEE-CE3903330E5B}"/>
                  </a:ext>
                </a:extLst>
              </p:cNvPr>
              <p:cNvSpPr/>
              <p:nvPr/>
            </p:nvSpPr>
            <p:spPr>
              <a:xfrm>
                <a:off x="9662248" y="2142858"/>
                <a:ext cx="1800000" cy="18000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56" name="Pijl: omlaag 55">
                <a:extLst>
                  <a:ext uri="{FF2B5EF4-FFF2-40B4-BE49-F238E27FC236}">
                    <a16:creationId xmlns:a16="http://schemas.microsoft.com/office/drawing/2014/main" xmlns="" id="{0897EA29-E5A6-48FA-8E1B-2CD2CB45E30B}"/>
                  </a:ext>
                </a:extLst>
              </p:cNvPr>
              <p:cNvSpPr/>
              <p:nvPr/>
            </p:nvSpPr>
            <p:spPr>
              <a:xfrm>
                <a:off x="10160042" y="2616081"/>
                <a:ext cx="804411" cy="853554"/>
              </a:xfrm>
              <a:prstGeom prst="downArrow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nl-NL"/>
              </a:p>
            </p:txBody>
          </p:sp>
        </p:grpSp>
      </p:grpSp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xmlns="" id="{A4AE840C-3D19-4931-BA9A-1B52B1C5C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omotion Optimization Institute | European Summit 2018 | Budapest, Hungary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7141DA4F-7887-4C81-B089-B479BDA0E6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ea typeface="Calibri" pitchFamily="34" charset="0"/>
                <a:cs typeface="Calibri" pitchFamily="34" charset="0"/>
              </a:rPr>
              <a:t>what the impact of the promotional activity had on the... 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F069A465-CC08-4CB2-A71F-8267E4AA0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ea typeface="Calibri" pitchFamily="34" charset="0"/>
                <a:cs typeface="Calibri" pitchFamily="34" charset="0"/>
              </a:rPr>
              <a:t>Insights generation</a:t>
            </a:r>
            <a:endParaRPr lang="nl-NL" dirty="0"/>
          </a:p>
        </p:txBody>
      </p:sp>
      <p:sp>
        <p:nvSpPr>
          <p:cNvPr id="57" name="Tijdelijke aanduiding voor voettekst 3">
            <a:extLst>
              <a:ext uri="{FF2B5EF4-FFF2-40B4-BE49-F238E27FC236}">
                <a16:creationId xmlns:a16="http://schemas.microsoft.com/office/drawing/2014/main" xmlns="" id="{EC7B9C08-0F78-45D6-BDF2-3A832A4CF000}"/>
              </a:ext>
            </a:extLst>
          </p:cNvPr>
          <p:cNvSpPr txBox="1">
            <a:spLocks/>
          </p:cNvSpPr>
          <p:nvPr/>
        </p:nvSpPr>
        <p:spPr>
          <a:xfrm>
            <a:off x="543004" y="5924317"/>
            <a:ext cx="5683625" cy="2440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i="1" dirty="0"/>
              <a:t>Source: GFK®</a:t>
            </a:r>
          </a:p>
        </p:txBody>
      </p:sp>
    </p:spTree>
    <p:extLst>
      <p:ext uri="{BB962C8B-B14F-4D97-AF65-F5344CB8AC3E}">
        <p14:creationId xmlns:p14="http://schemas.microsoft.com/office/powerpoint/2010/main" val="311508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2" presetClass="entr" presetSubtype="2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1" grpId="0">
        <p:bldAsOne/>
      </p:bldGraphic>
      <p:bldP spid="1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hoek 53">
            <a:extLst>
              <a:ext uri="{FF2B5EF4-FFF2-40B4-BE49-F238E27FC236}">
                <a16:creationId xmlns:a16="http://schemas.microsoft.com/office/drawing/2014/main" xmlns="" id="{8DE81FFC-554D-4E6C-AD26-4CBD1285EF0A}"/>
              </a:ext>
            </a:extLst>
          </p:cNvPr>
          <p:cNvSpPr/>
          <p:nvPr/>
        </p:nvSpPr>
        <p:spPr>
          <a:xfrm>
            <a:off x="0" y="3303"/>
            <a:ext cx="12208496" cy="6850065"/>
          </a:xfrm>
          <a:prstGeom prst="rect">
            <a:avLst/>
          </a:prstGeom>
          <a:blipFill dpi="0" rotWithShape="1">
            <a:blip r:embed="rId2" cstate="email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55" name="Rechthoek 54">
            <a:extLst>
              <a:ext uri="{FF2B5EF4-FFF2-40B4-BE49-F238E27FC236}">
                <a16:creationId xmlns:a16="http://schemas.microsoft.com/office/drawing/2014/main" xmlns="" id="{0C13BF40-CB68-4325-A104-F560F6985A21}"/>
              </a:ext>
            </a:extLst>
          </p:cNvPr>
          <p:cNvSpPr/>
          <p:nvPr/>
        </p:nvSpPr>
        <p:spPr>
          <a:xfrm>
            <a:off x="0" y="0"/>
            <a:ext cx="12190309" cy="2696353"/>
          </a:xfrm>
          <a:prstGeom prst="rect">
            <a:avLst/>
          </a:prstGeom>
          <a:gradFill>
            <a:gsLst>
              <a:gs pos="0">
                <a:schemeClr val="bg1"/>
              </a:gs>
              <a:gs pos="66000">
                <a:srgbClr val="FFFFFF">
                  <a:alpha val="78000"/>
                </a:srgbClr>
              </a:gs>
              <a:gs pos="43000">
                <a:srgbClr val="FFFFFF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60CD64B2-1D88-4A3B-A4F5-F2965BAB1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ea typeface="Calibri" pitchFamily="34" charset="0"/>
                <a:cs typeface="Calibri" pitchFamily="34" charset="0"/>
              </a:rPr>
              <a:t>Fragile balance between short and longer term</a:t>
            </a:r>
            <a:endParaRPr lang="nl-NL" dirty="0"/>
          </a:p>
        </p:txBody>
      </p:sp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xmlns="" id="{4A887833-F84F-477E-9BD6-BBAD635EC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xmlns="" id="{BCD569E1-4C7F-4CF7-A841-FC666B54E841}"/>
              </a:ext>
            </a:extLst>
          </p:cNvPr>
          <p:cNvSpPr txBox="1"/>
          <p:nvPr/>
        </p:nvSpPr>
        <p:spPr>
          <a:xfrm>
            <a:off x="542261" y="1447798"/>
            <a:ext cx="5281238" cy="324000"/>
          </a:xfrm>
          <a:prstGeom prst="roundRect">
            <a:avLst/>
          </a:prstGeom>
          <a:solidFill>
            <a:schemeClr val="accent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Short term</a:t>
            </a:r>
          </a:p>
        </p:txBody>
      </p:sp>
      <p:sp>
        <p:nvSpPr>
          <p:cNvPr id="23" name="Tekstvak 22">
            <a:extLst>
              <a:ext uri="{FF2B5EF4-FFF2-40B4-BE49-F238E27FC236}">
                <a16:creationId xmlns:a16="http://schemas.microsoft.com/office/drawing/2014/main" xmlns="" id="{4A4BA9D2-390B-4DF5-9291-7F8EFFDC395E}"/>
              </a:ext>
            </a:extLst>
          </p:cNvPr>
          <p:cNvSpPr txBox="1"/>
          <p:nvPr/>
        </p:nvSpPr>
        <p:spPr>
          <a:xfrm>
            <a:off x="6338460" y="1447798"/>
            <a:ext cx="5281238" cy="324000"/>
          </a:xfrm>
          <a:prstGeom prst="roundRect">
            <a:avLst/>
          </a:prstGeom>
          <a:solidFill>
            <a:schemeClr val="accent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Long term</a:t>
            </a:r>
          </a:p>
        </p:txBody>
      </p:sp>
      <p:pic>
        <p:nvPicPr>
          <p:cNvPr id="48" name="Bloem1">
            <a:extLst>
              <a:ext uri="{FF2B5EF4-FFF2-40B4-BE49-F238E27FC236}">
                <a16:creationId xmlns:a16="http://schemas.microsoft.com/office/drawing/2014/main" xmlns="" id="{5916EE9E-7B2F-4660-9277-879DDD1C4B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0" y="4838701"/>
            <a:ext cx="1371448" cy="2019299"/>
          </a:xfrm>
          <a:prstGeom prst="rect">
            <a:avLst/>
          </a:prstGeom>
        </p:spPr>
      </p:pic>
      <p:grpSp>
        <p:nvGrpSpPr>
          <p:cNvPr id="63" name="S1">
            <a:extLst>
              <a:ext uri="{FF2B5EF4-FFF2-40B4-BE49-F238E27FC236}">
                <a16:creationId xmlns:a16="http://schemas.microsoft.com/office/drawing/2014/main" xmlns="" id="{847F434D-45CE-49E4-925E-2A7FC64427FC}"/>
              </a:ext>
            </a:extLst>
          </p:cNvPr>
          <p:cNvGrpSpPr/>
          <p:nvPr/>
        </p:nvGrpSpPr>
        <p:grpSpPr>
          <a:xfrm>
            <a:off x="567957" y="2037319"/>
            <a:ext cx="2016000" cy="4820681"/>
            <a:chOff x="567957" y="2037319"/>
            <a:chExt cx="2016000" cy="4820681"/>
          </a:xfrm>
        </p:grpSpPr>
        <p:pic>
          <p:nvPicPr>
            <p:cNvPr id="33" name="Afbeelding 32">
              <a:extLst>
                <a:ext uri="{FF2B5EF4-FFF2-40B4-BE49-F238E27FC236}">
                  <a16:creationId xmlns:a16="http://schemas.microsoft.com/office/drawing/2014/main" xmlns="" id="{4A58B8DC-BD45-41C7-9698-55C3CF590C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6416"/>
            <a:stretch/>
          </p:blipFill>
          <p:spPr>
            <a:xfrm>
              <a:off x="1361800" y="4648201"/>
              <a:ext cx="428314" cy="2209799"/>
            </a:xfrm>
            <a:prstGeom prst="rect">
              <a:avLst/>
            </a:prstGeom>
          </p:spPr>
        </p:pic>
        <p:sp>
          <p:nvSpPr>
            <p:cNvPr id="28" name="Text Box 12">
              <a:extLst>
                <a:ext uri="{FF2B5EF4-FFF2-40B4-BE49-F238E27FC236}">
                  <a16:creationId xmlns:a16="http://schemas.microsoft.com/office/drawing/2014/main" xmlns="" id="{50DE7C1D-1DB7-465B-AAE7-401C16E690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7957" y="2037319"/>
              <a:ext cx="2016000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ctr" eaLnBrk="0" hangingPunct="0"/>
              <a: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Loyalty bonus </a:t>
              </a:r>
              <a:b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for regular buyers</a:t>
              </a:r>
            </a:p>
          </p:txBody>
        </p:sp>
        <p:pic>
          <p:nvPicPr>
            <p:cNvPr id="44" name="EMPTY">
              <a:extLst>
                <a:ext uri="{FF2B5EF4-FFF2-40B4-BE49-F238E27FC236}">
                  <a16:creationId xmlns:a16="http://schemas.microsoft.com/office/drawing/2014/main" xmlns="" id="{6D3E5D02-E90B-4A89-B581-7E889898546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7087" y="2635406"/>
              <a:ext cx="1497740" cy="2254094"/>
            </a:xfrm>
            <a:prstGeom prst="rect">
              <a:avLst/>
            </a:prstGeom>
          </p:spPr>
        </p:pic>
      </p:grpSp>
      <p:sp>
        <p:nvSpPr>
          <p:cNvPr id="47" name="Tijdelijke aanduiding voor voettekst 1">
            <a:extLst>
              <a:ext uri="{FF2B5EF4-FFF2-40B4-BE49-F238E27FC236}">
                <a16:creationId xmlns:a16="http://schemas.microsoft.com/office/drawing/2014/main" xmlns="" id="{81E7A9D5-B13B-4DC5-BB70-DDED69EB5EB8}"/>
              </a:ext>
            </a:extLst>
          </p:cNvPr>
          <p:cNvSpPr txBox="1">
            <a:spLocks/>
          </p:cNvSpPr>
          <p:nvPr/>
        </p:nvSpPr>
        <p:spPr>
          <a:xfrm>
            <a:off x="543004" y="6071253"/>
            <a:ext cx="56836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romotion Optimization Institute | European Summit 2018 | Budapest, Hungary</a:t>
            </a:r>
          </a:p>
        </p:txBody>
      </p:sp>
      <p:grpSp>
        <p:nvGrpSpPr>
          <p:cNvPr id="64" name="S2">
            <a:extLst>
              <a:ext uri="{FF2B5EF4-FFF2-40B4-BE49-F238E27FC236}">
                <a16:creationId xmlns:a16="http://schemas.microsoft.com/office/drawing/2014/main" xmlns="" id="{F2FB72EA-326D-4D13-8D36-07C0EEB12FCC}"/>
              </a:ext>
            </a:extLst>
          </p:cNvPr>
          <p:cNvGrpSpPr/>
          <p:nvPr/>
        </p:nvGrpSpPr>
        <p:grpSpPr>
          <a:xfrm>
            <a:off x="2211728" y="2677417"/>
            <a:ext cx="2016000" cy="4175950"/>
            <a:chOff x="2211728" y="2677417"/>
            <a:chExt cx="2016000" cy="4175950"/>
          </a:xfrm>
        </p:grpSpPr>
        <p:pic>
          <p:nvPicPr>
            <p:cNvPr id="18" name="Afbeelding 17">
              <a:extLst>
                <a:ext uri="{FF2B5EF4-FFF2-40B4-BE49-F238E27FC236}">
                  <a16:creationId xmlns:a16="http://schemas.microsoft.com/office/drawing/2014/main" xmlns="" id="{73204FC8-88D4-46A8-845D-9E6A83CC7C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6416"/>
            <a:stretch/>
          </p:blipFill>
          <p:spPr>
            <a:xfrm>
              <a:off x="2981636" y="5014712"/>
              <a:ext cx="428314" cy="1838655"/>
            </a:xfrm>
            <a:prstGeom prst="rect">
              <a:avLst/>
            </a:prstGeom>
          </p:spPr>
        </p:pic>
        <p:sp>
          <p:nvSpPr>
            <p:cNvPr id="29" name="Text Box 13">
              <a:extLst>
                <a:ext uri="{FF2B5EF4-FFF2-40B4-BE49-F238E27FC236}">
                  <a16:creationId xmlns:a16="http://schemas.microsoft.com/office/drawing/2014/main" xmlns="" id="{D8A126CF-22EA-4E0E-A5D3-3BC7C332E70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11728" y="2677417"/>
              <a:ext cx="201600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ctr" eaLnBrk="0" hangingPunct="0"/>
              <a: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Fast Euro</a:t>
              </a:r>
            </a:p>
          </p:txBody>
        </p:sp>
        <p:pic>
          <p:nvPicPr>
            <p:cNvPr id="56" name="EMPTY">
              <a:extLst>
                <a:ext uri="{FF2B5EF4-FFF2-40B4-BE49-F238E27FC236}">
                  <a16:creationId xmlns:a16="http://schemas.microsoft.com/office/drawing/2014/main" xmlns="" id="{C3598DCC-311A-472F-BA18-1B0D4D40878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34010" y="3106053"/>
              <a:ext cx="1497740" cy="2254094"/>
            </a:xfrm>
            <a:prstGeom prst="rect">
              <a:avLst/>
            </a:prstGeom>
          </p:spPr>
        </p:pic>
      </p:grpSp>
      <p:grpSp>
        <p:nvGrpSpPr>
          <p:cNvPr id="65" name="S3">
            <a:extLst>
              <a:ext uri="{FF2B5EF4-FFF2-40B4-BE49-F238E27FC236}">
                <a16:creationId xmlns:a16="http://schemas.microsoft.com/office/drawing/2014/main" xmlns="" id="{2F86E6AF-D31B-4E17-8728-7779D881DE94}"/>
              </a:ext>
            </a:extLst>
          </p:cNvPr>
          <p:cNvGrpSpPr/>
          <p:nvPr/>
        </p:nvGrpSpPr>
        <p:grpSpPr>
          <a:xfrm>
            <a:off x="3796385" y="2037319"/>
            <a:ext cx="2016000" cy="4820681"/>
            <a:chOff x="3796385" y="2037319"/>
            <a:chExt cx="2016000" cy="4820681"/>
          </a:xfrm>
        </p:grpSpPr>
        <p:pic>
          <p:nvPicPr>
            <p:cNvPr id="32" name="Afbeelding 31">
              <a:extLst>
                <a:ext uri="{FF2B5EF4-FFF2-40B4-BE49-F238E27FC236}">
                  <a16:creationId xmlns:a16="http://schemas.microsoft.com/office/drawing/2014/main" xmlns="" id="{7A11B6C0-6030-4B5F-9953-C1BD404FC1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6416"/>
            <a:stretch/>
          </p:blipFill>
          <p:spPr>
            <a:xfrm>
              <a:off x="4575647" y="4648201"/>
              <a:ext cx="428314" cy="2209799"/>
            </a:xfrm>
            <a:prstGeom prst="rect">
              <a:avLst/>
            </a:prstGeom>
          </p:spPr>
        </p:pic>
        <p:sp>
          <p:nvSpPr>
            <p:cNvPr id="27" name="Text Box 11">
              <a:extLst>
                <a:ext uri="{FF2B5EF4-FFF2-40B4-BE49-F238E27FC236}">
                  <a16:creationId xmlns:a16="http://schemas.microsoft.com/office/drawing/2014/main" xmlns="" id="{A8ABD48E-61D2-41B6-9A79-73753A9D098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96385" y="2037319"/>
              <a:ext cx="2016000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ctr" eaLnBrk="0" hangingPunct="0"/>
              <a:r>
                <a:rPr lang="nl-NL" sz="1400" dirty="0" err="1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Defended</a:t>
              </a:r>
              <a: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 </a:t>
              </a:r>
              <a:b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market share</a:t>
              </a:r>
            </a:p>
          </p:txBody>
        </p:sp>
        <p:pic>
          <p:nvPicPr>
            <p:cNvPr id="57" name="EMPTY">
              <a:extLst>
                <a:ext uri="{FF2B5EF4-FFF2-40B4-BE49-F238E27FC236}">
                  <a16:creationId xmlns:a16="http://schemas.microsoft.com/office/drawing/2014/main" xmlns="" id="{8906D572-CDD0-4823-9F0F-36356B3D72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40934" y="2635406"/>
              <a:ext cx="1497740" cy="2254094"/>
            </a:xfrm>
            <a:prstGeom prst="rect">
              <a:avLst/>
            </a:prstGeom>
          </p:spPr>
        </p:pic>
      </p:grpSp>
      <p:grpSp>
        <p:nvGrpSpPr>
          <p:cNvPr id="66" name="S4">
            <a:extLst>
              <a:ext uri="{FF2B5EF4-FFF2-40B4-BE49-F238E27FC236}">
                <a16:creationId xmlns:a16="http://schemas.microsoft.com/office/drawing/2014/main" xmlns="" id="{C9C40D8D-516B-4AB4-AE86-75D471FF431C}"/>
              </a:ext>
            </a:extLst>
          </p:cNvPr>
          <p:cNvGrpSpPr/>
          <p:nvPr/>
        </p:nvGrpSpPr>
        <p:grpSpPr>
          <a:xfrm>
            <a:off x="6735204" y="2037319"/>
            <a:ext cx="2016000" cy="4820681"/>
            <a:chOff x="6735204" y="2037319"/>
            <a:chExt cx="2016000" cy="4820681"/>
          </a:xfrm>
        </p:grpSpPr>
        <p:pic>
          <p:nvPicPr>
            <p:cNvPr id="39" name="Afbeelding 38">
              <a:extLst>
                <a:ext uri="{FF2B5EF4-FFF2-40B4-BE49-F238E27FC236}">
                  <a16:creationId xmlns:a16="http://schemas.microsoft.com/office/drawing/2014/main" xmlns="" id="{D24EF299-E55B-4C42-9A02-BB5450F365B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6416"/>
            <a:stretch/>
          </p:blipFill>
          <p:spPr>
            <a:xfrm>
              <a:off x="7528113" y="4648201"/>
              <a:ext cx="428314" cy="2209799"/>
            </a:xfrm>
            <a:prstGeom prst="rect">
              <a:avLst/>
            </a:prstGeom>
          </p:spPr>
        </p:pic>
        <p:sp>
          <p:nvSpPr>
            <p:cNvPr id="46" name="Text Box 12">
              <a:extLst>
                <a:ext uri="{FF2B5EF4-FFF2-40B4-BE49-F238E27FC236}">
                  <a16:creationId xmlns:a16="http://schemas.microsoft.com/office/drawing/2014/main" xmlns="" id="{40842A5A-B52B-49D6-867C-D7DFD2AB48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35204" y="2037319"/>
              <a:ext cx="2016000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ctr" eaLnBrk="0" hangingPunct="0"/>
              <a: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Brand </a:t>
              </a:r>
              <a:b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nl-NL" sz="1400" dirty="0" err="1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erosion</a:t>
              </a:r>
              <a:endParaRPr lang="nl-NL" sz="1400" dirty="0">
                <a:solidFill>
                  <a:schemeClr val="tx2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0" name="ORANJE">
              <a:extLst>
                <a:ext uri="{FF2B5EF4-FFF2-40B4-BE49-F238E27FC236}">
                  <a16:creationId xmlns:a16="http://schemas.microsoft.com/office/drawing/2014/main" xmlns="" id="{9145A3A1-E17B-44D0-AB95-9C92F3402B3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90606" y="2635170"/>
              <a:ext cx="1497740" cy="2254330"/>
            </a:xfrm>
            <a:prstGeom prst="rect">
              <a:avLst/>
            </a:prstGeom>
          </p:spPr>
        </p:pic>
        <p:pic>
          <p:nvPicPr>
            <p:cNvPr id="61" name="EMPTY">
              <a:extLst>
                <a:ext uri="{FF2B5EF4-FFF2-40B4-BE49-F238E27FC236}">
                  <a16:creationId xmlns:a16="http://schemas.microsoft.com/office/drawing/2014/main" xmlns="" id="{10186825-80A3-4360-B8E3-A37D3E22F7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90606" y="2635406"/>
              <a:ext cx="1497740" cy="2254094"/>
            </a:xfrm>
            <a:prstGeom prst="rect">
              <a:avLst/>
            </a:prstGeom>
          </p:spPr>
        </p:pic>
      </p:grpSp>
      <p:grpSp>
        <p:nvGrpSpPr>
          <p:cNvPr id="67" name="S5">
            <a:extLst>
              <a:ext uri="{FF2B5EF4-FFF2-40B4-BE49-F238E27FC236}">
                <a16:creationId xmlns:a16="http://schemas.microsoft.com/office/drawing/2014/main" xmlns="" id="{25CD8C40-CDD5-4322-923F-7A2BBE6D6EBB}"/>
              </a:ext>
            </a:extLst>
          </p:cNvPr>
          <p:cNvGrpSpPr/>
          <p:nvPr/>
        </p:nvGrpSpPr>
        <p:grpSpPr>
          <a:xfrm>
            <a:off x="9214332" y="2037319"/>
            <a:ext cx="2016000" cy="4820681"/>
            <a:chOff x="9214332" y="2037319"/>
            <a:chExt cx="2016000" cy="4820681"/>
          </a:xfrm>
        </p:grpSpPr>
        <p:pic>
          <p:nvPicPr>
            <p:cNvPr id="38" name="Afbeelding 37">
              <a:extLst>
                <a:ext uri="{FF2B5EF4-FFF2-40B4-BE49-F238E27FC236}">
                  <a16:creationId xmlns:a16="http://schemas.microsoft.com/office/drawing/2014/main" xmlns="" id="{CFAB8FC4-6F93-43D1-AE88-81D84B2D05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6416"/>
            <a:stretch/>
          </p:blipFill>
          <p:spPr>
            <a:xfrm>
              <a:off x="10001732" y="4648201"/>
              <a:ext cx="428314" cy="2209799"/>
            </a:xfrm>
            <a:prstGeom prst="rect">
              <a:avLst/>
            </a:prstGeom>
          </p:spPr>
        </p:pic>
        <p:sp>
          <p:nvSpPr>
            <p:cNvPr id="45" name="Text Box 11">
              <a:extLst>
                <a:ext uri="{FF2B5EF4-FFF2-40B4-BE49-F238E27FC236}">
                  <a16:creationId xmlns:a16="http://schemas.microsoft.com/office/drawing/2014/main" xmlns="" id="{AB6AB301-22BD-4633-A73A-0C355BAD07A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214332" y="2037319"/>
              <a:ext cx="2016000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>
              <a:spAutoFit/>
            </a:bodyPr>
            <a:lstStyle/>
            <a:p>
              <a:pPr algn="ctr" eaLnBrk="0" hangingPunct="0"/>
              <a: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Brand </a:t>
              </a:r>
              <a:b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</a:br>
              <a:r>
                <a:rPr lang="nl-NL" sz="1400" dirty="0">
                  <a:solidFill>
                    <a:schemeClr val="tx2"/>
                  </a:solidFill>
                  <a:latin typeface="Arial" panose="020B0604020202020204" pitchFamily="34" charset="0"/>
                  <a:ea typeface="Calibri" pitchFamily="34" charset="0"/>
                  <a:cs typeface="Arial" panose="020B0604020202020204" pitchFamily="34" charset="0"/>
                </a:rPr>
                <a:t>investment</a:t>
              </a:r>
            </a:p>
          </p:txBody>
        </p:sp>
        <p:pic>
          <p:nvPicPr>
            <p:cNvPr id="62" name="EMPTY">
              <a:extLst>
                <a:ext uri="{FF2B5EF4-FFF2-40B4-BE49-F238E27FC236}">
                  <a16:creationId xmlns:a16="http://schemas.microsoft.com/office/drawing/2014/main" xmlns="" id="{5704D251-1FA6-40E9-A0B7-78029A6CC63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66909" y="2635406"/>
              <a:ext cx="1497740" cy="2254094"/>
            </a:xfrm>
            <a:prstGeom prst="rect">
              <a:avLst/>
            </a:prstGeom>
          </p:spPr>
        </p:pic>
      </p:grpSp>
      <p:pic>
        <p:nvPicPr>
          <p:cNvPr id="49" name="Bloem 2">
            <a:extLst>
              <a:ext uri="{FF2B5EF4-FFF2-40B4-BE49-F238E27FC236}">
                <a16:creationId xmlns:a16="http://schemas.microsoft.com/office/drawing/2014/main" xmlns="" id="{99865AF2-0CD2-4E89-B301-226D8723BD5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6050" y="5546816"/>
            <a:ext cx="1268102" cy="1311184"/>
          </a:xfrm>
          <a:prstGeom prst="rect">
            <a:avLst/>
          </a:prstGeom>
        </p:spPr>
      </p:pic>
      <p:pic>
        <p:nvPicPr>
          <p:cNvPr id="50" name="Gras_voor">
            <a:extLst>
              <a:ext uri="{FF2B5EF4-FFF2-40B4-BE49-F238E27FC236}">
                <a16:creationId xmlns:a16="http://schemas.microsoft.com/office/drawing/2014/main" xmlns="" id="{7F57D43F-7241-48CF-A59A-7E9A52989BD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5287367"/>
            <a:ext cx="12208496" cy="1570633"/>
          </a:xfrm>
          <a:prstGeom prst="rect">
            <a:avLst/>
          </a:prstGeom>
        </p:spPr>
      </p:pic>
      <p:pic>
        <p:nvPicPr>
          <p:cNvPr id="51" name="Bloem_blur">
            <a:extLst>
              <a:ext uri="{FF2B5EF4-FFF2-40B4-BE49-F238E27FC236}">
                <a16:creationId xmlns:a16="http://schemas.microsoft.com/office/drawing/2014/main" xmlns="" id="{CE9345D0-B1CE-4328-B2C7-286B778BEA8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4957904"/>
            <a:ext cx="12208496" cy="1900096"/>
          </a:xfrm>
          <a:prstGeom prst="rect">
            <a:avLst/>
          </a:prstGeom>
        </p:spPr>
      </p:pic>
      <p:pic>
        <p:nvPicPr>
          <p:cNvPr id="31" name="1ORANJE">
            <a:extLst>
              <a:ext uri="{FF2B5EF4-FFF2-40B4-BE49-F238E27FC236}">
                <a16:creationId xmlns:a16="http://schemas.microsoft.com/office/drawing/2014/main" xmlns="" id="{CC5B4CEC-83C9-4869-A4C1-E6096371777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087" y="2635170"/>
            <a:ext cx="1497740" cy="2254330"/>
          </a:xfrm>
          <a:prstGeom prst="rect">
            <a:avLst/>
          </a:prstGeom>
        </p:spPr>
      </p:pic>
      <p:pic>
        <p:nvPicPr>
          <p:cNvPr id="16" name="2ORANJE">
            <a:extLst>
              <a:ext uri="{FF2B5EF4-FFF2-40B4-BE49-F238E27FC236}">
                <a16:creationId xmlns:a16="http://schemas.microsoft.com/office/drawing/2014/main" xmlns="" id="{3FCD8FB0-7805-49D9-A361-90E106F8654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4010" y="3105817"/>
            <a:ext cx="1497740" cy="2254330"/>
          </a:xfrm>
          <a:prstGeom prst="rect">
            <a:avLst/>
          </a:prstGeom>
        </p:spPr>
      </p:pic>
      <p:pic>
        <p:nvPicPr>
          <p:cNvPr id="30" name="3ORANJE">
            <a:extLst>
              <a:ext uri="{FF2B5EF4-FFF2-40B4-BE49-F238E27FC236}">
                <a16:creationId xmlns:a16="http://schemas.microsoft.com/office/drawing/2014/main" xmlns="" id="{10FA47E8-96E1-4D47-B8A2-BA7F1F45B63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0934" y="2635170"/>
            <a:ext cx="1497740" cy="2254330"/>
          </a:xfrm>
          <a:prstGeom prst="rect">
            <a:avLst/>
          </a:prstGeom>
        </p:spPr>
      </p:pic>
      <p:pic>
        <p:nvPicPr>
          <p:cNvPr id="41" name="4GROEN">
            <a:extLst>
              <a:ext uri="{FF2B5EF4-FFF2-40B4-BE49-F238E27FC236}">
                <a16:creationId xmlns:a16="http://schemas.microsoft.com/office/drawing/2014/main" xmlns="" id="{1C2A4B13-9392-4952-B9CF-BDED15DCD9D5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6194" y="2635170"/>
            <a:ext cx="1492152" cy="2254330"/>
          </a:xfrm>
          <a:prstGeom prst="rect">
            <a:avLst/>
          </a:prstGeom>
        </p:spPr>
      </p:pic>
      <p:pic>
        <p:nvPicPr>
          <p:cNvPr id="40" name="5ROOD">
            <a:extLst>
              <a:ext uri="{FF2B5EF4-FFF2-40B4-BE49-F238E27FC236}">
                <a16:creationId xmlns:a16="http://schemas.microsoft.com/office/drawing/2014/main" xmlns="" id="{714F85E3-FBBE-4921-8116-2706D8250FD5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7129" y="2635170"/>
            <a:ext cx="1497520" cy="2254330"/>
          </a:xfrm>
          <a:prstGeom prst="rect">
            <a:avLst/>
          </a:prstGeom>
        </p:spPr>
      </p:pic>
      <p:sp>
        <p:nvSpPr>
          <p:cNvPr id="42" name="Tijdelijke aanduiding voor voettekst 3">
            <a:extLst>
              <a:ext uri="{FF2B5EF4-FFF2-40B4-BE49-F238E27FC236}">
                <a16:creationId xmlns:a16="http://schemas.microsoft.com/office/drawing/2014/main" xmlns="" id="{EC1E3672-BA05-4E93-9F20-F595623970A6}"/>
              </a:ext>
            </a:extLst>
          </p:cNvPr>
          <p:cNvSpPr txBox="1">
            <a:spLocks/>
          </p:cNvSpPr>
          <p:nvPr/>
        </p:nvSpPr>
        <p:spPr>
          <a:xfrm>
            <a:off x="543004" y="6471432"/>
            <a:ext cx="5683625" cy="2440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i="1" dirty="0">
                <a:solidFill>
                  <a:schemeClr val="tx1"/>
                </a:solidFill>
              </a:rPr>
              <a:t>Source: GFK®</a:t>
            </a:r>
          </a:p>
        </p:txBody>
      </p:sp>
      <p:sp>
        <p:nvSpPr>
          <p:cNvPr id="5" name="Plusteken 4">
            <a:extLst>
              <a:ext uri="{FF2B5EF4-FFF2-40B4-BE49-F238E27FC236}">
                <a16:creationId xmlns:a16="http://schemas.microsoft.com/office/drawing/2014/main" xmlns="" id="{E7BDBD09-D70C-43FE-93CD-C61277469C67}"/>
              </a:ext>
            </a:extLst>
          </p:cNvPr>
          <p:cNvSpPr/>
          <p:nvPr/>
        </p:nvSpPr>
        <p:spPr>
          <a:xfrm>
            <a:off x="2134195" y="3478663"/>
            <a:ext cx="490447" cy="491095"/>
          </a:xfrm>
          <a:prstGeom prst="mathPlus">
            <a:avLst>
              <a:gd name="adj1" fmla="val 19636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xmlns="" id="{05135313-799C-49A9-A397-AE019848057C}"/>
              </a:ext>
            </a:extLst>
          </p:cNvPr>
          <p:cNvSpPr/>
          <p:nvPr/>
        </p:nvSpPr>
        <p:spPr>
          <a:xfrm>
            <a:off x="3842933" y="3668263"/>
            <a:ext cx="396000" cy="9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43" name="Rechthoek 42">
            <a:extLst>
              <a:ext uri="{FF2B5EF4-FFF2-40B4-BE49-F238E27FC236}">
                <a16:creationId xmlns:a16="http://schemas.microsoft.com/office/drawing/2014/main" xmlns="" id="{FDB081DD-3FF6-4261-88E3-1AEE4B0DA284}"/>
              </a:ext>
            </a:extLst>
          </p:cNvPr>
          <p:cNvSpPr/>
          <p:nvPr/>
        </p:nvSpPr>
        <p:spPr>
          <a:xfrm>
            <a:off x="8779518" y="3668263"/>
            <a:ext cx="396000" cy="90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547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250"/>
                            </p:stCondLst>
                            <p:childTnLst>
                              <p:par>
                                <p:cTn id="38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250"/>
                            </p:stCondLst>
                            <p:childTnLst>
                              <p:par>
                                <p:cTn id="43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5" grpId="0" animBg="1"/>
      <p:bldP spid="6" grpId="0" animBg="1"/>
      <p:bldP spid="4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xmlns="" id="{4A887833-F84F-477E-9BD6-BBAD635EC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60CD64B2-1D88-4A3B-A4F5-F2965BAB1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ea typeface="Calibri" pitchFamily="34" charset="0"/>
                <a:cs typeface="Calibri" pitchFamily="34" charset="0"/>
              </a:rPr>
              <a:t>For brand X</a:t>
            </a:r>
            <a:endParaRPr lang="nl-NL" dirty="0"/>
          </a:p>
        </p:txBody>
      </p:sp>
      <p:grpSp>
        <p:nvGrpSpPr>
          <p:cNvPr id="5" name="GRID" hidden="1">
            <a:extLst>
              <a:ext uri="{FF2B5EF4-FFF2-40B4-BE49-F238E27FC236}">
                <a16:creationId xmlns:a16="http://schemas.microsoft.com/office/drawing/2014/main" xmlns="" id="{FFD5C318-99CD-4338-AC22-93A4234FA812}"/>
              </a:ext>
            </a:extLst>
          </p:cNvPr>
          <p:cNvGrpSpPr/>
          <p:nvPr/>
        </p:nvGrpSpPr>
        <p:grpSpPr>
          <a:xfrm>
            <a:off x="0" y="0"/>
            <a:ext cx="12192000" cy="6854697"/>
            <a:chOff x="0" y="-1"/>
            <a:chExt cx="12192000" cy="6854697"/>
          </a:xfrm>
          <a:solidFill>
            <a:schemeClr val="accent4">
              <a:alpha val="60000"/>
            </a:schemeClr>
          </a:solidFill>
        </p:grpSpPr>
        <p:sp>
          <p:nvSpPr>
            <p:cNvPr id="6" name="Rechthoek 5">
              <a:extLst>
                <a:ext uri="{FF2B5EF4-FFF2-40B4-BE49-F238E27FC236}">
                  <a16:creationId xmlns:a16="http://schemas.microsoft.com/office/drawing/2014/main" xmlns="" id="{7C9ED361-C16B-45DF-A1E8-1FD593A34CB3}"/>
                </a:ext>
              </a:extLst>
            </p:cNvPr>
            <p:cNvSpPr/>
            <p:nvPr userDrawn="1"/>
          </p:nvSpPr>
          <p:spPr>
            <a:xfrm>
              <a:off x="0" y="-1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hoek 6">
              <a:extLst>
                <a:ext uri="{FF2B5EF4-FFF2-40B4-BE49-F238E27FC236}">
                  <a16:creationId xmlns:a16="http://schemas.microsoft.com/office/drawing/2014/main" xmlns="" id="{D05E46D7-A417-4DAB-8E84-56DF01C2947D}"/>
                </a:ext>
              </a:extLst>
            </p:cNvPr>
            <p:cNvSpPr/>
            <p:nvPr userDrawn="1"/>
          </p:nvSpPr>
          <p:spPr>
            <a:xfrm rot="16200000">
              <a:off x="-3154413" y="3155951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xmlns="" id="{BCB22465-7BC9-4FEF-8E7D-BFBA6F2547AD}"/>
                </a:ext>
              </a:extLst>
            </p:cNvPr>
            <p:cNvSpPr/>
            <p:nvPr userDrawn="1"/>
          </p:nvSpPr>
          <p:spPr>
            <a:xfrm rot="16200000">
              <a:off x="8492891" y="3155952"/>
              <a:ext cx="6853368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xmlns="" id="{2FE3732E-87B1-475C-AA76-BA20B7DDBA13}"/>
                </a:ext>
              </a:extLst>
            </p:cNvPr>
            <p:cNvSpPr/>
            <p:nvPr userDrawn="1"/>
          </p:nvSpPr>
          <p:spPr>
            <a:xfrm>
              <a:off x="0" y="6313229"/>
              <a:ext cx="12192000" cy="5414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xmlns="" id="{AA5122F1-E0DC-4922-8BA0-2D751EB935DA}"/>
                </a:ext>
              </a:extLst>
            </p:cNvPr>
            <p:cNvSpPr/>
            <p:nvPr userDrawn="1"/>
          </p:nvSpPr>
          <p:spPr>
            <a:xfrm>
              <a:off x="0" y="5609570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xmlns="" id="{24C61CCF-D537-41AF-8294-C75CE2804F20}"/>
                </a:ext>
              </a:extLst>
            </p:cNvPr>
            <p:cNvSpPr/>
            <p:nvPr userDrawn="1"/>
          </p:nvSpPr>
          <p:spPr>
            <a:xfrm>
              <a:off x="0" y="1053569"/>
              <a:ext cx="12192000" cy="39493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20" name="Content Placeholder 8">
            <a:extLst>
              <a:ext uri="{FF2B5EF4-FFF2-40B4-BE49-F238E27FC236}">
                <a16:creationId xmlns:a16="http://schemas.microsoft.com/office/drawing/2014/main" xmlns="" id="{FEA21009-9228-4E64-AEE1-F7FFFF43793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998733"/>
              </p:ext>
            </p:extLst>
          </p:nvPr>
        </p:nvGraphicFramePr>
        <p:xfrm>
          <a:off x="225505" y="1348717"/>
          <a:ext cx="8165566" cy="3820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2" name="Groep 11">
            <a:extLst>
              <a:ext uri="{FF2B5EF4-FFF2-40B4-BE49-F238E27FC236}">
                <a16:creationId xmlns:a16="http://schemas.microsoft.com/office/drawing/2014/main" xmlns="" id="{ECE031BC-0D35-4C16-A152-29C37CC984C4}"/>
              </a:ext>
            </a:extLst>
          </p:cNvPr>
          <p:cNvGrpSpPr/>
          <p:nvPr/>
        </p:nvGrpSpPr>
        <p:grpSpPr>
          <a:xfrm>
            <a:off x="9315450" y="1345134"/>
            <a:ext cx="2329971" cy="2690158"/>
            <a:chOff x="9315450" y="1345134"/>
            <a:chExt cx="2329971" cy="2690158"/>
          </a:xfrm>
        </p:grpSpPr>
        <p:sp>
          <p:nvSpPr>
            <p:cNvPr id="24" name="Rectangle 6">
              <a:extLst>
                <a:ext uri="{FF2B5EF4-FFF2-40B4-BE49-F238E27FC236}">
                  <a16:creationId xmlns:a16="http://schemas.microsoft.com/office/drawing/2014/main" xmlns="" id="{3F952EBB-88C9-440A-9E55-8E76AA53E619}"/>
                </a:ext>
              </a:extLst>
            </p:cNvPr>
            <p:cNvSpPr/>
            <p:nvPr/>
          </p:nvSpPr>
          <p:spPr>
            <a:xfrm>
              <a:off x="9612443" y="1345134"/>
              <a:ext cx="2032978" cy="396000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Brand Investment </a:t>
              </a:r>
              <a:r>
                <a:rPr lang="nl-NL" sz="1200" dirty="0" err="1">
                  <a:solidFill>
                    <a:srgbClr val="4B4037"/>
                  </a:solidFill>
                  <a:cs typeface="Calibri" pitchFamily="34" charset="0"/>
                </a:rPr>
                <a:t>other</a:t>
              </a:r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 Brands</a:t>
              </a:r>
            </a:p>
          </p:txBody>
        </p:sp>
        <p:sp>
          <p:nvSpPr>
            <p:cNvPr id="30" name="Rectangle 7">
              <a:extLst>
                <a:ext uri="{FF2B5EF4-FFF2-40B4-BE49-F238E27FC236}">
                  <a16:creationId xmlns:a16="http://schemas.microsoft.com/office/drawing/2014/main" xmlns="" id="{425AA73E-4CAA-4E3E-9674-AFA025306603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auto">
            <a:xfrm>
              <a:off x="9315450" y="1449592"/>
              <a:ext cx="187084" cy="18708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nl-NL" sz="1200" kern="0" dirty="0">
                <a:solidFill>
                  <a:srgbClr val="EBEEEE"/>
                </a:solidFill>
                <a:cs typeface="Calibri" pitchFamily="34" charset="0"/>
              </a:endParaRPr>
            </a:p>
          </p:txBody>
        </p:sp>
        <p:sp>
          <p:nvSpPr>
            <p:cNvPr id="31" name="Rectangle 8">
              <a:extLst>
                <a:ext uri="{FF2B5EF4-FFF2-40B4-BE49-F238E27FC236}">
                  <a16:creationId xmlns:a16="http://schemas.microsoft.com/office/drawing/2014/main" xmlns="" id="{151CDF40-760E-4E99-9AFF-0F4DE67A1F98}"/>
                </a:ext>
              </a:extLst>
            </p:cNvPr>
            <p:cNvSpPr/>
            <p:nvPr/>
          </p:nvSpPr>
          <p:spPr>
            <a:xfrm>
              <a:off x="9610725" y="1727494"/>
              <a:ext cx="2032978" cy="396000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Brand Investment </a:t>
              </a:r>
              <a:r>
                <a:rPr lang="nl-NL" sz="1200" dirty="0" err="1">
                  <a:solidFill>
                    <a:srgbClr val="4B4037"/>
                  </a:solidFill>
                  <a:cs typeface="Calibri" pitchFamily="34" charset="0"/>
                </a:rPr>
                <a:t>within</a:t>
              </a:r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 Brand</a:t>
              </a: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xmlns="" id="{6F9B0E42-5B1B-446A-B3FA-3199319E3C6F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9315450" y="2214312"/>
              <a:ext cx="187084" cy="187084"/>
            </a:xfrm>
            <a:prstGeom prst="rect">
              <a:avLst/>
            </a:prstGeom>
            <a:solidFill>
              <a:srgbClr val="F6F600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nl-NL" sz="1200" kern="0">
                <a:solidFill>
                  <a:srgbClr val="EBEEEE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xmlns="" id="{6D1BC7BE-19E6-49EE-B30E-83F31F4C89B0}"/>
                </a:ext>
              </a:extLst>
            </p:cNvPr>
            <p:cNvSpPr/>
            <p:nvPr/>
          </p:nvSpPr>
          <p:spPr>
            <a:xfrm>
              <a:off x="9610725" y="2109854"/>
              <a:ext cx="2032978" cy="396000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Loyalty Bonus</a:t>
              </a:r>
            </a:p>
          </p:txBody>
        </p:sp>
        <p:sp>
          <p:nvSpPr>
            <p:cNvPr id="34" name="Rectangle 11">
              <a:extLst>
                <a:ext uri="{FF2B5EF4-FFF2-40B4-BE49-F238E27FC236}">
                  <a16:creationId xmlns:a16="http://schemas.microsoft.com/office/drawing/2014/main" xmlns="" id="{9218A216-2910-432E-AB8D-D03DD264270C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9315450" y="1831952"/>
              <a:ext cx="187084" cy="187084"/>
            </a:xfrm>
            <a:prstGeom prst="rect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nl-NL" sz="1200" kern="0" dirty="0">
                <a:solidFill>
                  <a:srgbClr val="EBEEEE"/>
                </a:solidFill>
                <a:cs typeface="Calibri" pitchFamily="34" charset="0"/>
              </a:endParaRPr>
            </a:p>
          </p:txBody>
        </p:sp>
        <p:sp>
          <p:nvSpPr>
            <p:cNvPr id="35" name="Rectangle 12">
              <a:extLst>
                <a:ext uri="{FF2B5EF4-FFF2-40B4-BE49-F238E27FC236}">
                  <a16:creationId xmlns:a16="http://schemas.microsoft.com/office/drawing/2014/main" xmlns="" id="{D6EF7BED-CC25-4011-A145-165325DA2E53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9315450" y="2596672"/>
              <a:ext cx="187084" cy="187084"/>
            </a:xfrm>
            <a:prstGeom prst="rect">
              <a:avLst/>
            </a:prstGeom>
            <a:solidFill>
              <a:srgbClr val="F4C000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nl-NL" sz="1200" kern="0">
                <a:solidFill>
                  <a:srgbClr val="EBEEEE"/>
                </a:solidFill>
              </a:endParaRPr>
            </a:p>
          </p:txBody>
        </p:sp>
        <p:sp>
          <p:nvSpPr>
            <p:cNvPr id="36" name="Rectangle 13">
              <a:extLst>
                <a:ext uri="{FF2B5EF4-FFF2-40B4-BE49-F238E27FC236}">
                  <a16:creationId xmlns:a16="http://schemas.microsoft.com/office/drawing/2014/main" xmlns="" id="{09477AB2-0848-48F1-BEAD-26F68DA27D7D}"/>
                </a:ext>
              </a:extLst>
            </p:cNvPr>
            <p:cNvSpPr/>
            <p:nvPr/>
          </p:nvSpPr>
          <p:spPr>
            <a:xfrm>
              <a:off x="9610725" y="2492214"/>
              <a:ext cx="2032978" cy="396000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r>
                <a:rPr lang="nl-NL" sz="1200" dirty="0" err="1">
                  <a:solidFill>
                    <a:srgbClr val="4B4037"/>
                  </a:solidFill>
                  <a:cs typeface="Calibri" pitchFamily="34" charset="0"/>
                </a:rPr>
                <a:t>Defended</a:t>
              </a:r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 Market Share</a:t>
              </a:r>
            </a:p>
          </p:txBody>
        </p:sp>
        <p:sp>
          <p:nvSpPr>
            <p:cNvPr id="37" name="Rectangle 14">
              <a:extLst>
                <a:ext uri="{FF2B5EF4-FFF2-40B4-BE49-F238E27FC236}">
                  <a16:creationId xmlns:a16="http://schemas.microsoft.com/office/drawing/2014/main" xmlns="" id="{24BED2DD-59A4-4661-BBFC-025DB23DDFD6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auto">
            <a:xfrm>
              <a:off x="9315450" y="2979032"/>
              <a:ext cx="187084" cy="187084"/>
            </a:xfrm>
            <a:prstGeom prst="rect">
              <a:avLst/>
            </a:prstGeom>
            <a:solidFill>
              <a:schemeClr val="accent5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nl-NL" sz="1200" kern="0">
                <a:solidFill>
                  <a:srgbClr val="EBEEEE"/>
                </a:solidFill>
              </a:endParaRPr>
            </a:p>
          </p:txBody>
        </p:sp>
        <p:sp>
          <p:nvSpPr>
            <p:cNvPr id="38" name="Rectangle 15">
              <a:extLst>
                <a:ext uri="{FF2B5EF4-FFF2-40B4-BE49-F238E27FC236}">
                  <a16:creationId xmlns:a16="http://schemas.microsoft.com/office/drawing/2014/main" xmlns="" id="{B00DA078-639E-49C0-BE21-145461957C2B}"/>
                </a:ext>
              </a:extLst>
            </p:cNvPr>
            <p:cNvSpPr/>
            <p:nvPr/>
          </p:nvSpPr>
          <p:spPr>
            <a:xfrm>
              <a:off x="9610725" y="2874574"/>
              <a:ext cx="2032978" cy="396000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Fast Euro</a:t>
              </a:r>
            </a:p>
          </p:txBody>
        </p:sp>
        <p:sp>
          <p:nvSpPr>
            <p:cNvPr id="39" name="Rectangle 16">
              <a:extLst>
                <a:ext uri="{FF2B5EF4-FFF2-40B4-BE49-F238E27FC236}">
                  <a16:creationId xmlns:a16="http://schemas.microsoft.com/office/drawing/2014/main" xmlns="" id="{F059F9FA-1768-423D-8E90-F1FDC08F2C98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9315450" y="3361392"/>
              <a:ext cx="187084" cy="187084"/>
            </a:xfrm>
            <a:prstGeom prst="rect">
              <a:avLst/>
            </a:prstGeom>
            <a:solidFill>
              <a:schemeClr val="accent4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nl-NL" sz="1200" kern="0">
                <a:solidFill>
                  <a:srgbClr val="EBEEEE"/>
                </a:solidFill>
              </a:endParaRPr>
            </a:p>
          </p:txBody>
        </p:sp>
        <p:sp>
          <p:nvSpPr>
            <p:cNvPr id="40" name="Rectangle 17">
              <a:extLst>
                <a:ext uri="{FF2B5EF4-FFF2-40B4-BE49-F238E27FC236}">
                  <a16:creationId xmlns:a16="http://schemas.microsoft.com/office/drawing/2014/main" xmlns="" id="{36FDD255-AECB-4764-9D82-C92CF1EEE532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auto">
            <a:xfrm>
              <a:off x="9315450" y="3743750"/>
              <a:ext cx="187084" cy="187084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nl-NL" sz="1200" kern="0" dirty="0">
                <a:solidFill>
                  <a:srgbClr val="EBEEEE"/>
                </a:solidFill>
              </a:endParaRPr>
            </a:p>
          </p:txBody>
        </p:sp>
        <p:sp>
          <p:nvSpPr>
            <p:cNvPr id="41" name="Rectangle 18">
              <a:extLst>
                <a:ext uri="{FF2B5EF4-FFF2-40B4-BE49-F238E27FC236}">
                  <a16:creationId xmlns:a16="http://schemas.microsoft.com/office/drawing/2014/main" xmlns="" id="{F64D5CE3-1550-49FF-A852-72F1CE76CAFC}"/>
                </a:ext>
              </a:extLst>
            </p:cNvPr>
            <p:cNvSpPr/>
            <p:nvPr/>
          </p:nvSpPr>
          <p:spPr>
            <a:xfrm>
              <a:off x="9610725" y="3256934"/>
              <a:ext cx="2032978" cy="396000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Brand  </a:t>
              </a:r>
              <a:r>
                <a:rPr lang="nl-NL" sz="1200" dirty="0" err="1">
                  <a:solidFill>
                    <a:srgbClr val="4B4037"/>
                  </a:solidFill>
                  <a:cs typeface="Calibri" pitchFamily="34" charset="0"/>
                </a:rPr>
                <a:t>Erosion</a:t>
              </a:r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 </a:t>
              </a:r>
              <a:r>
                <a:rPr lang="nl-NL" sz="1200" dirty="0" err="1">
                  <a:solidFill>
                    <a:srgbClr val="4B4037"/>
                  </a:solidFill>
                  <a:cs typeface="Calibri" pitchFamily="34" charset="0"/>
                </a:rPr>
                <a:t>within</a:t>
              </a:r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 Brand</a:t>
              </a:r>
            </a:p>
          </p:txBody>
        </p:sp>
        <p:sp>
          <p:nvSpPr>
            <p:cNvPr id="42" name="Rectangle 19">
              <a:extLst>
                <a:ext uri="{FF2B5EF4-FFF2-40B4-BE49-F238E27FC236}">
                  <a16:creationId xmlns:a16="http://schemas.microsoft.com/office/drawing/2014/main" xmlns="" id="{8CD2CF0E-3A00-4414-85CC-60235A08D785}"/>
                </a:ext>
              </a:extLst>
            </p:cNvPr>
            <p:cNvSpPr/>
            <p:nvPr/>
          </p:nvSpPr>
          <p:spPr>
            <a:xfrm>
              <a:off x="9610725" y="3639292"/>
              <a:ext cx="2032978" cy="396000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Brand  </a:t>
              </a:r>
              <a:r>
                <a:rPr lang="nl-NL" sz="1200" dirty="0" err="1">
                  <a:solidFill>
                    <a:srgbClr val="4B4037"/>
                  </a:solidFill>
                  <a:cs typeface="Calibri" pitchFamily="34" charset="0"/>
                </a:rPr>
                <a:t>Erosion</a:t>
              </a:r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 </a:t>
              </a:r>
              <a:r>
                <a:rPr lang="nl-NL" sz="1200" dirty="0" err="1">
                  <a:solidFill>
                    <a:srgbClr val="4B4037"/>
                  </a:solidFill>
                  <a:cs typeface="Calibri" pitchFamily="34" charset="0"/>
                </a:rPr>
                <a:t>other</a:t>
              </a:r>
              <a:r>
                <a:rPr lang="nl-NL" sz="1200" dirty="0">
                  <a:solidFill>
                    <a:srgbClr val="4B4037"/>
                  </a:solidFill>
                  <a:cs typeface="Calibri" pitchFamily="34" charset="0"/>
                </a:rPr>
                <a:t> Brands</a:t>
              </a:r>
            </a:p>
          </p:txBody>
        </p:sp>
      </p:grpSp>
      <p:grpSp>
        <p:nvGrpSpPr>
          <p:cNvPr id="15" name="Groep 14">
            <a:extLst>
              <a:ext uri="{FF2B5EF4-FFF2-40B4-BE49-F238E27FC236}">
                <a16:creationId xmlns:a16="http://schemas.microsoft.com/office/drawing/2014/main" xmlns="" id="{95BD87B4-1670-4424-835A-20B00F08FFFD}"/>
              </a:ext>
            </a:extLst>
          </p:cNvPr>
          <p:cNvGrpSpPr/>
          <p:nvPr/>
        </p:nvGrpSpPr>
        <p:grpSpPr>
          <a:xfrm>
            <a:off x="466353" y="5169597"/>
            <a:ext cx="7666994" cy="382518"/>
            <a:chOff x="466353" y="5169597"/>
            <a:chExt cx="7666994" cy="382518"/>
          </a:xfrm>
        </p:grpSpPr>
        <p:sp>
          <p:nvSpPr>
            <p:cNvPr id="43" name="Rectangle 4">
              <a:extLst>
                <a:ext uri="{FF2B5EF4-FFF2-40B4-BE49-F238E27FC236}">
                  <a16:creationId xmlns:a16="http://schemas.microsoft.com/office/drawing/2014/main" xmlns="" id="{3094E9E4-6E77-41DC-8337-DDC3224CFCFF}"/>
                </a:ext>
              </a:extLst>
            </p:cNvPr>
            <p:cNvSpPr/>
            <p:nvPr/>
          </p:nvSpPr>
          <p:spPr>
            <a:xfrm>
              <a:off x="1923693" y="5267860"/>
              <a:ext cx="687632" cy="2824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</a:rPr>
                <a:t>SPO</a:t>
              </a:r>
            </a:p>
          </p:txBody>
        </p:sp>
        <p:sp>
          <p:nvSpPr>
            <p:cNvPr id="44" name="Rectangle 20">
              <a:extLst>
                <a:ext uri="{FF2B5EF4-FFF2-40B4-BE49-F238E27FC236}">
                  <a16:creationId xmlns:a16="http://schemas.microsoft.com/office/drawing/2014/main" xmlns="" id="{AA1E588F-9961-4174-A47F-74617FCB08B2}"/>
                </a:ext>
              </a:extLst>
            </p:cNvPr>
            <p:cNvSpPr/>
            <p:nvPr/>
          </p:nvSpPr>
          <p:spPr>
            <a:xfrm>
              <a:off x="3283734" y="5267860"/>
              <a:ext cx="687632" cy="2824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pPr algn="ctr"/>
              <a:r>
                <a:rPr lang="nl-NL" sz="1400" dirty="0">
                  <a:solidFill>
                    <a:srgbClr val="000000"/>
                  </a:solidFill>
                </a:rPr>
                <a:t>2</a:t>
              </a:r>
              <a:r>
                <a:rPr lang="nl-NL" sz="1400" baseline="30000" dirty="0">
                  <a:solidFill>
                    <a:srgbClr val="000000"/>
                  </a:solidFill>
                </a:rPr>
                <a:t>e</a:t>
              </a:r>
              <a:r>
                <a:rPr lang="nl-NL" sz="1400" dirty="0">
                  <a:solidFill>
                    <a:srgbClr val="000000"/>
                  </a:solidFill>
                </a:rPr>
                <a:t> HP*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5" name="Rectangle 21">
              <a:extLst>
                <a:ext uri="{FF2B5EF4-FFF2-40B4-BE49-F238E27FC236}">
                  <a16:creationId xmlns:a16="http://schemas.microsoft.com/office/drawing/2014/main" xmlns="" id="{F56C22EA-2156-41B2-8A39-3A875FE38390}"/>
                </a:ext>
              </a:extLst>
            </p:cNvPr>
            <p:cNvSpPr/>
            <p:nvPr/>
          </p:nvSpPr>
          <p:spPr>
            <a:xfrm>
              <a:off x="543004" y="5269638"/>
              <a:ext cx="708280" cy="2824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pPr algn="ctr"/>
              <a:r>
                <a:rPr lang="nl-NL" sz="1400" dirty="0">
                  <a:solidFill>
                    <a:srgbClr val="000000"/>
                  </a:solidFill>
                </a:rPr>
                <a:t>Totaal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6" name="Rectangle 22">
              <a:extLst>
                <a:ext uri="{FF2B5EF4-FFF2-40B4-BE49-F238E27FC236}">
                  <a16:creationId xmlns:a16="http://schemas.microsoft.com/office/drawing/2014/main" xmlns="" id="{45635C6B-F1F8-4317-8F88-62DDE34FCC2F}"/>
                </a:ext>
              </a:extLst>
            </p:cNvPr>
            <p:cNvSpPr/>
            <p:nvPr/>
          </p:nvSpPr>
          <p:spPr>
            <a:xfrm>
              <a:off x="4643775" y="5267860"/>
              <a:ext cx="687632" cy="2824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pPr algn="ctr"/>
              <a:r>
                <a:rPr lang="nl-NL" sz="1400" dirty="0">
                  <a:solidFill>
                    <a:srgbClr val="000000"/>
                  </a:solidFill>
                </a:rPr>
                <a:t>1+1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23">
              <a:extLst>
                <a:ext uri="{FF2B5EF4-FFF2-40B4-BE49-F238E27FC236}">
                  <a16:creationId xmlns:a16="http://schemas.microsoft.com/office/drawing/2014/main" xmlns="" id="{6A9C9DEE-04B4-4C71-A77E-E103B837AD8A}"/>
                </a:ext>
              </a:extLst>
            </p:cNvPr>
            <p:cNvSpPr/>
            <p:nvPr/>
          </p:nvSpPr>
          <p:spPr>
            <a:xfrm>
              <a:off x="6003816" y="5267860"/>
              <a:ext cx="687632" cy="2824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pPr algn="ctr"/>
              <a:r>
                <a:rPr lang="nl-NL" sz="1400" dirty="0">
                  <a:solidFill>
                    <a:srgbClr val="000000"/>
                  </a:solidFill>
                </a:rPr>
                <a:t>2 voor Y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24">
              <a:extLst>
                <a:ext uri="{FF2B5EF4-FFF2-40B4-BE49-F238E27FC236}">
                  <a16:creationId xmlns:a16="http://schemas.microsoft.com/office/drawing/2014/main" xmlns="" id="{AC850567-B2F7-41A8-B061-FE04E90F81B3}"/>
                </a:ext>
              </a:extLst>
            </p:cNvPr>
            <p:cNvSpPr/>
            <p:nvPr/>
          </p:nvSpPr>
          <p:spPr>
            <a:xfrm>
              <a:off x="7363858" y="5267860"/>
              <a:ext cx="687632" cy="2824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rgbClr val="000000"/>
                  </a:solidFill>
                </a:rPr>
                <a:t>3 </a:t>
              </a:r>
              <a:r>
                <a:rPr lang="en-US" sz="1400" dirty="0" err="1">
                  <a:solidFill>
                    <a:srgbClr val="000000"/>
                  </a:solidFill>
                </a:rPr>
                <a:t>voor</a:t>
              </a:r>
              <a:r>
                <a:rPr lang="en-US" sz="1400" dirty="0">
                  <a:solidFill>
                    <a:srgbClr val="000000"/>
                  </a:solidFill>
                </a:rPr>
                <a:t> Y</a:t>
              </a:r>
            </a:p>
          </p:txBody>
        </p:sp>
        <p:cxnSp>
          <p:nvCxnSpPr>
            <p:cNvPr id="49" name="Rechte verbindingslijn 48">
              <a:extLst>
                <a:ext uri="{FF2B5EF4-FFF2-40B4-BE49-F238E27FC236}">
                  <a16:creationId xmlns:a16="http://schemas.microsoft.com/office/drawing/2014/main" xmlns="" id="{09A8E124-C6EF-4F9F-B746-B033938D53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6353" y="5169597"/>
              <a:ext cx="7666994" cy="0"/>
            </a:xfrm>
            <a:prstGeom prst="line">
              <a:avLst/>
            </a:prstGeom>
            <a:ln w="15875" cap="rnd">
              <a:solidFill>
                <a:schemeClr val="tx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ep 13">
            <a:extLst>
              <a:ext uri="{FF2B5EF4-FFF2-40B4-BE49-F238E27FC236}">
                <a16:creationId xmlns:a16="http://schemas.microsoft.com/office/drawing/2014/main" xmlns="" id="{41D36E61-2A50-43C6-AA0A-7D9946B4FCEC}"/>
              </a:ext>
            </a:extLst>
          </p:cNvPr>
          <p:cNvGrpSpPr/>
          <p:nvPr/>
        </p:nvGrpSpPr>
        <p:grpSpPr>
          <a:xfrm>
            <a:off x="1263650" y="1520793"/>
            <a:ext cx="7467836" cy="3589005"/>
            <a:chOff x="1263650" y="1520793"/>
            <a:chExt cx="7467836" cy="3589005"/>
          </a:xfrm>
        </p:grpSpPr>
        <p:sp>
          <p:nvSpPr>
            <p:cNvPr id="50" name="Right Brace 37">
              <a:extLst>
                <a:ext uri="{FF2B5EF4-FFF2-40B4-BE49-F238E27FC236}">
                  <a16:creationId xmlns:a16="http://schemas.microsoft.com/office/drawing/2014/main" xmlns="" id="{42484757-9BAA-43FB-83C5-1B98F6584318}"/>
                </a:ext>
              </a:extLst>
            </p:cNvPr>
            <p:cNvSpPr/>
            <p:nvPr/>
          </p:nvSpPr>
          <p:spPr>
            <a:xfrm>
              <a:off x="1263650" y="4452095"/>
              <a:ext cx="131312" cy="657703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  <p:sp>
          <p:nvSpPr>
            <p:cNvPr id="51" name="TextBox 38">
              <a:extLst>
                <a:ext uri="{FF2B5EF4-FFF2-40B4-BE49-F238E27FC236}">
                  <a16:creationId xmlns:a16="http://schemas.microsoft.com/office/drawing/2014/main" xmlns="" id="{82334EEC-1720-485A-B017-B1F0AAA4073B}"/>
                </a:ext>
              </a:extLst>
            </p:cNvPr>
            <p:cNvSpPr txBox="1"/>
            <p:nvPr/>
          </p:nvSpPr>
          <p:spPr bwMode="gray">
            <a:xfrm>
              <a:off x="1509715" y="4727085"/>
              <a:ext cx="36067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dirty="0">
                  <a:latin typeface="Arial" pitchFamily="34" charset="0"/>
                  <a:cs typeface="Arial" pitchFamily="34" charset="0"/>
                </a:rPr>
                <a:t>22.7%</a:t>
              </a:r>
              <a:endParaRPr lang="nl-NL" sz="10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TextBox 40">
              <a:extLst>
                <a:ext uri="{FF2B5EF4-FFF2-40B4-BE49-F238E27FC236}">
                  <a16:creationId xmlns:a16="http://schemas.microsoft.com/office/drawing/2014/main" xmlns="" id="{319F45DB-1021-4B51-9B48-5C28C47AA77D}"/>
                </a:ext>
              </a:extLst>
            </p:cNvPr>
            <p:cNvSpPr txBox="1"/>
            <p:nvPr/>
          </p:nvSpPr>
          <p:spPr bwMode="gray">
            <a:xfrm>
              <a:off x="2879954" y="4727085"/>
              <a:ext cx="36067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dirty="0">
                  <a:latin typeface="Arial" pitchFamily="34" charset="0"/>
                  <a:cs typeface="Arial" pitchFamily="34" charset="0"/>
                </a:rPr>
                <a:t>23.3%</a:t>
              </a:r>
              <a:endParaRPr lang="nl-NL" sz="10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TextBox 42">
              <a:extLst>
                <a:ext uri="{FF2B5EF4-FFF2-40B4-BE49-F238E27FC236}">
                  <a16:creationId xmlns:a16="http://schemas.microsoft.com/office/drawing/2014/main" xmlns="" id="{4E117E34-636F-4C78-9C04-373F5B173F02}"/>
                </a:ext>
              </a:extLst>
            </p:cNvPr>
            <p:cNvSpPr txBox="1"/>
            <p:nvPr/>
          </p:nvSpPr>
          <p:spPr bwMode="gray">
            <a:xfrm>
              <a:off x="4250193" y="4784836"/>
              <a:ext cx="36067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b="1" dirty="0">
                  <a:latin typeface="Arial" pitchFamily="34" charset="0"/>
                  <a:cs typeface="Arial" pitchFamily="34" charset="0"/>
                </a:rPr>
                <a:t>14.7%</a:t>
              </a:r>
              <a:endParaRPr lang="nl-NL" sz="1000" b="1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TextBox 44">
              <a:extLst>
                <a:ext uri="{FF2B5EF4-FFF2-40B4-BE49-F238E27FC236}">
                  <a16:creationId xmlns:a16="http://schemas.microsoft.com/office/drawing/2014/main" xmlns="" id="{039391DC-4D7C-4954-AA9C-A363B511E3ED}"/>
                </a:ext>
              </a:extLst>
            </p:cNvPr>
            <p:cNvSpPr txBox="1"/>
            <p:nvPr/>
          </p:nvSpPr>
          <p:spPr bwMode="gray">
            <a:xfrm>
              <a:off x="5620432" y="4727085"/>
              <a:ext cx="36067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dirty="0">
                  <a:latin typeface="Arial" pitchFamily="34" charset="0"/>
                  <a:cs typeface="Arial" pitchFamily="34" charset="0"/>
                </a:rPr>
                <a:t>19.6%</a:t>
              </a:r>
              <a:endParaRPr lang="nl-NL" sz="10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TextBox 46">
              <a:extLst>
                <a:ext uri="{FF2B5EF4-FFF2-40B4-BE49-F238E27FC236}">
                  <a16:creationId xmlns:a16="http://schemas.microsoft.com/office/drawing/2014/main" xmlns="" id="{0E00EBB5-4E26-4797-88FE-5D36CCC51A71}"/>
                </a:ext>
              </a:extLst>
            </p:cNvPr>
            <p:cNvSpPr txBox="1"/>
            <p:nvPr/>
          </p:nvSpPr>
          <p:spPr bwMode="gray">
            <a:xfrm>
              <a:off x="6990671" y="4727085"/>
              <a:ext cx="36067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dirty="0">
                  <a:latin typeface="Arial" pitchFamily="34" charset="0"/>
                  <a:cs typeface="Arial" pitchFamily="34" charset="0"/>
                </a:rPr>
                <a:t>22.1%</a:t>
              </a:r>
              <a:endParaRPr lang="nl-NL" sz="10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TextBox 48">
              <a:extLst>
                <a:ext uri="{FF2B5EF4-FFF2-40B4-BE49-F238E27FC236}">
                  <a16:creationId xmlns:a16="http://schemas.microsoft.com/office/drawing/2014/main" xmlns="" id="{4175FE0D-ACD2-46D7-A264-53D6FBF179B0}"/>
                </a:ext>
              </a:extLst>
            </p:cNvPr>
            <p:cNvSpPr txBox="1"/>
            <p:nvPr/>
          </p:nvSpPr>
          <p:spPr bwMode="gray">
            <a:xfrm>
              <a:off x="8360910" y="4727085"/>
              <a:ext cx="37057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dirty="0">
                  <a:latin typeface="Arial" pitchFamily="34" charset="0"/>
                  <a:cs typeface="Arial" pitchFamily="34" charset="0"/>
                </a:rPr>
                <a:t>25.2%</a:t>
              </a:r>
              <a:endParaRPr lang="nl-NL" sz="10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Right Brace 37">
              <a:extLst>
                <a:ext uri="{FF2B5EF4-FFF2-40B4-BE49-F238E27FC236}">
                  <a16:creationId xmlns:a16="http://schemas.microsoft.com/office/drawing/2014/main" xmlns="" id="{5AE8444E-24AA-4FFB-9248-93E5B2BB960D}"/>
                </a:ext>
              </a:extLst>
            </p:cNvPr>
            <p:cNvSpPr/>
            <p:nvPr/>
          </p:nvSpPr>
          <p:spPr>
            <a:xfrm>
              <a:off x="2620010" y="4452095"/>
              <a:ext cx="131312" cy="657703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  <p:sp>
          <p:nvSpPr>
            <p:cNvPr id="63" name="Right Brace 37">
              <a:extLst>
                <a:ext uri="{FF2B5EF4-FFF2-40B4-BE49-F238E27FC236}">
                  <a16:creationId xmlns:a16="http://schemas.microsoft.com/office/drawing/2014/main" xmlns="" id="{169B2F4E-84E6-40AA-8556-F6D9015B2DED}"/>
                </a:ext>
              </a:extLst>
            </p:cNvPr>
            <p:cNvSpPr/>
            <p:nvPr/>
          </p:nvSpPr>
          <p:spPr>
            <a:xfrm>
              <a:off x="3983990" y="4610501"/>
              <a:ext cx="145248" cy="499297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  <p:sp>
          <p:nvSpPr>
            <p:cNvPr id="64" name="Right Brace 37">
              <a:extLst>
                <a:ext uri="{FF2B5EF4-FFF2-40B4-BE49-F238E27FC236}">
                  <a16:creationId xmlns:a16="http://schemas.microsoft.com/office/drawing/2014/main" xmlns="" id="{FFFE9FD6-AF86-491E-A77D-5688AC0BA99F}"/>
                </a:ext>
              </a:extLst>
            </p:cNvPr>
            <p:cNvSpPr/>
            <p:nvPr/>
          </p:nvSpPr>
          <p:spPr>
            <a:xfrm>
              <a:off x="5355589" y="4466122"/>
              <a:ext cx="169311" cy="643676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  <p:sp>
          <p:nvSpPr>
            <p:cNvPr id="65" name="Right Brace 37">
              <a:extLst>
                <a:ext uri="{FF2B5EF4-FFF2-40B4-BE49-F238E27FC236}">
                  <a16:creationId xmlns:a16="http://schemas.microsoft.com/office/drawing/2014/main" xmlns="" id="{0DE9DE25-7A43-4362-B34A-E4BD38A8FC6A}"/>
                </a:ext>
              </a:extLst>
            </p:cNvPr>
            <p:cNvSpPr/>
            <p:nvPr/>
          </p:nvSpPr>
          <p:spPr>
            <a:xfrm>
              <a:off x="6704330" y="4452095"/>
              <a:ext cx="131312" cy="657703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  <p:sp>
          <p:nvSpPr>
            <p:cNvPr id="66" name="Right Brace 37">
              <a:extLst>
                <a:ext uri="{FF2B5EF4-FFF2-40B4-BE49-F238E27FC236}">
                  <a16:creationId xmlns:a16="http://schemas.microsoft.com/office/drawing/2014/main" xmlns="" id="{72BBD35E-83DF-4AF8-BB74-FFF18AE6CD20}"/>
                </a:ext>
              </a:extLst>
            </p:cNvPr>
            <p:cNvSpPr/>
            <p:nvPr/>
          </p:nvSpPr>
          <p:spPr>
            <a:xfrm>
              <a:off x="8083550" y="4452095"/>
              <a:ext cx="131312" cy="657703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  <p:sp>
          <p:nvSpPr>
            <p:cNvPr id="67" name="TextBox 26">
              <a:extLst>
                <a:ext uri="{FF2B5EF4-FFF2-40B4-BE49-F238E27FC236}">
                  <a16:creationId xmlns:a16="http://schemas.microsoft.com/office/drawing/2014/main" xmlns="" id="{3B26D3DD-4D20-4187-9697-991BD327F294}"/>
                </a:ext>
              </a:extLst>
            </p:cNvPr>
            <p:cNvSpPr txBox="1"/>
            <p:nvPr/>
          </p:nvSpPr>
          <p:spPr bwMode="gray">
            <a:xfrm>
              <a:off x="1509715" y="1777796"/>
              <a:ext cx="36067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dirty="0">
                  <a:latin typeface="Arial" pitchFamily="34" charset="0"/>
                  <a:cs typeface="Arial" pitchFamily="34" charset="0"/>
                </a:rPr>
                <a:t>23.2%</a:t>
              </a:r>
              <a:endParaRPr lang="nl-NL" sz="10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TextBox 28">
              <a:extLst>
                <a:ext uri="{FF2B5EF4-FFF2-40B4-BE49-F238E27FC236}">
                  <a16:creationId xmlns:a16="http://schemas.microsoft.com/office/drawing/2014/main" xmlns="" id="{52F2FF64-E875-42E5-9FE9-D816570F33C3}"/>
                </a:ext>
              </a:extLst>
            </p:cNvPr>
            <p:cNvSpPr txBox="1"/>
            <p:nvPr/>
          </p:nvSpPr>
          <p:spPr bwMode="gray">
            <a:xfrm>
              <a:off x="2879954" y="1777796"/>
              <a:ext cx="36067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dirty="0">
                  <a:latin typeface="Arial" pitchFamily="34" charset="0"/>
                  <a:cs typeface="Arial" pitchFamily="34" charset="0"/>
                </a:rPr>
                <a:t>23.4%</a:t>
              </a:r>
              <a:endParaRPr lang="nl-NL" sz="10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TextBox 30">
              <a:extLst>
                <a:ext uri="{FF2B5EF4-FFF2-40B4-BE49-F238E27FC236}">
                  <a16:creationId xmlns:a16="http://schemas.microsoft.com/office/drawing/2014/main" xmlns="" id="{A833DD5A-CFED-4422-88EE-158DDC0F0D0A}"/>
                </a:ext>
              </a:extLst>
            </p:cNvPr>
            <p:cNvSpPr txBox="1"/>
            <p:nvPr/>
          </p:nvSpPr>
          <p:spPr bwMode="gray">
            <a:xfrm>
              <a:off x="4196041" y="1777796"/>
              <a:ext cx="4279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b="1" dirty="0">
                  <a:latin typeface="Arial" pitchFamily="34" charset="0"/>
                  <a:cs typeface="Arial" pitchFamily="34" charset="0"/>
                </a:rPr>
                <a:t>43.4%</a:t>
              </a:r>
              <a:endParaRPr lang="nl-NL" sz="1000" b="1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TextBox 32">
              <a:extLst>
                <a:ext uri="{FF2B5EF4-FFF2-40B4-BE49-F238E27FC236}">
                  <a16:creationId xmlns:a16="http://schemas.microsoft.com/office/drawing/2014/main" xmlns="" id="{E9A15329-8B5E-45E5-9CCE-C9083C7EB099}"/>
                </a:ext>
              </a:extLst>
            </p:cNvPr>
            <p:cNvSpPr txBox="1"/>
            <p:nvPr/>
          </p:nvSpPr>
          <p:spPr bwMode="gray">
            <a:xfrm>
              <a:off x="5576188" y="1777796"/>
              <a:ext cx="360676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dirty="0">
                  <a:latin typeface="Arial" pitchFamily="34" charset="0"/>
                  <a:cs typeface="Arial" pitchFamily="34" charset="0"/>
                </a:rPr>
                <a:t>29.7%</a:t>
              </a:r>
              <a:endParaRPr lang="nl-NL" sz="10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TextBox 34">
              <a:extLst>
                <a:ext uri="{FF2B5EF4-FFF2-40B4-BE49-F238E27FC236}">
                  <a16:creationId xmlns:a16="http://schemas.microsoft.com/office/drawing/2014/main" xmlns="" id="{996AB69B-8F03-480E-925E-79AF779CD42C}"/>
                </a:ext>
              </a:extLst>
            </p:cNvPr>
            <p:cNvSpPr txBox="1"/>
            <p:nvPr/>
          </p:nvSpPr>
          <p:spPr bwMode="gray">
            <a:xfrm>
              <a:off x="8325854" y="1777796"/>
              <a:ext cx="40563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dirty="0">
                  <a:latin typeface="Arial" pitchFamily="34" charset="0"/>
                  <a:cs typeface="Arial" pitchFamily="34" charset="0"/>
                </a:rPr>
                <a:t>21.5%</a:t>
              </a:r>
              <a:endParaRPr lang="nl-NL" sz="10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TextBox 36">
              <a:extLst>
                <a:ext uri="{FF2B5EF4-FFF2-40B4-BE49-F238E27FC236}">
                  <a16:creationId xmlns:a16="http://schemas.microsoft.com/office/drawing/2014/main" xmlns="" id="{1DCB7EEA-57BB-4B98-99EC-59AC08568D9C}"/>
                </a:ext>
              </a:extLst>
            </p:cNvPr>
            <p:cNvSpPr txBox="1"/>
            <p:nvPr/>
          </p:nvSpPr>
          <p:spPr bwMode="gray">
            <a:xfrm>
              <a:off x="6971858" y="1777796"/>
              <a:ext cx="40563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000" dirty="0">
                  <a:latin typeface="Arial" pitchFamily="34" charset="0"/>
                  <a:cs typeface="Arial" pitchFamily="34" charset="0"/>
                </a:rPr>
                <a:t>22.6%</a:t>
              </a:r>
              <a:endParaRPr lang="nl-NL" sz="10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3" name="Right Brace 37">
              <a:extLst>
                <a:ext uri="{FF2B5EF4-FFF2-40B4-BE49-F238E27FC236}">
                  <a16:creationId xmlns:a16="http://schemas.microsoft.com/office/drawing/2014/main" xmlns="" id="{880097DC-5CD6-487E-9C15-5A6EAE5C2D7F}"/>
                </a:ext>
              </a:extLst>
            </p:cNvPr>
            <p:cNvSpPr/>
            <p:nvPr/>
          </p:nvSpPr>
          <p:spPr>
            <a:xfrm>
              <a:off x="1263650" y="1526015"/>
              <a:ext cx="131312" cy="657703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  <p:sp>
          <p:nvSpPr>
            <p:cNvPr id="74" name="Right Brace 37">
              <a:extLst>
                <a:ext uri="{FF2B5EF4-FFF2-40B4-BE49-F238E27FC236}">
                  <a16:creationId xmlns:a16="http://schemas.microsoft.com/office/drawing/2014/main" xmlns="" id="{6B1548D7-180D-4953-A464-8E29CC210AD8}"/>
                </a:ext>
              </a:extLst>
            </p:cNvPr>
            <p:cNvSpPr/>
            <p:nvPr/>
          </p:nvSpPr>
          <p:spPr>
            <a:xfrm>
              <a:off x="2620010" y="1526015"/>
              <a:ext cx="131312" cy="657703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  <p:sp>
          <p:nvSpPr>
            <p:cNvPr id="75" name="Right Brace 37">
              <a:extLst>
                <a:ext uri="{FF2B5EF4-FFF2-40B4-BE49-F238E27FC236}">
                  <a16:creationId xmlns:a16="http://schemas.microsoft.com/office/drawing/2014/main" xmlns="" id="{1A9FC04F-300D-423F-8783-A8F7DCD259B1}"/>
                </a:ext>
              </a:extLst>
            </p:cNvPr>
            <p:cNvSpPr/>
            <p:nvPr/>
          </p:nvSpPr>
          <p:spPr>
            <a:xfrm>
              <a:off x="3983989" y="1520793"/>
              <a:ext cx="154873" cy="662926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  <p:sp>
          <p:nvSpPr>
            <p:cNvPr id="76" name="Right Brace 37">
              <a:extLst>
                <a:ext uri="{FF2B5EF4-FFF2-40B4-BE49-F238E27FC236}">
                  <a16:creationId xmlns:a16="http://schemas.microsoft.com/office/drawing/2014/main" xmlns="" id="{EA57B06D-01F3-4276-A3E6-5D22336D536E}"/>
                </a:ext>
              </a:extLst>
            </p:cNvPr>
            <p:cNvSpPr/>
            <p:nvPr/>
          </p:nvSpPr>
          <p:spPr>
            <a:xfrm>
              <a:off x="5355589" y="1540042"/>
              <a:ext cx="169311" cy="643676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  <p:sp>
          <p:nvSpPr>
            <p:cNvPr id="77" name="Right Brace 37">
              <a:extLst>
                <a:ext uri="{FF2B5EF4-FFF2-40B4-BE49-F238E27FC236}">
                  <a16:creationId xmlns:a16="http://schemas.microsoft.com/office/drawing/2014/main" xmlns="" id="{CBC9ED86-02E8-4D50-9458-534D5C406965}"/>
                </a:ext>
              </a:extLst>
            </p:cNvPr>
            <p:cNvSpPr/>
            <p:nvPr/>
          </p:nvSpPr>
          <p:spPr>
            <a:xfrm>
              <a:off x="6704330" y="1526015"/>
              <a:ext cx="131312" cy="657703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  <p:sp>
          <p:nvSpPr>
            <p:cNvPr id="78" name="Right Brace 37">
              <a:extLst>
                <a:ext uri="{FF2B5EF4-FFF2-40B4-BE49-F238E27FC236}">
                  <a16:creationId xmlns:a16="http://schemas.microsoft.com/office/drawing/2014/main" xmlns="" id="{8D5426C4-CF1B-4579-89B0-702623F976B9}"/>
                </a:ext>
              </a:extLst>
            </p:cNvPr>
            <p:cNvSpPr/>
            <p:nvPr/>
          </p:nvSpPr>
          <p:spPr>
            <a:xfrm>
              <a:off x="8083550" y="1526015"/>
              <a:ext cx="131312" cy="657703"/>
            </a:xfrm>
            <a:prstGeom prst="rightBrace">
              <a:avLst/>
            </a:prstGeom>
            <a:ln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l-NL" sz="1000" dirty="0"/>
            </a:p>
          </p:txBody>
        </p:sp>
      </p:grpSp>
    </p:spTree>
    <p:extLst>
      <p:ext uri="{BB962C8B-B14F-4D97-AF65-F5344CB8AC3E}">
        <p14:creationId xmlns:p14="http://schemas.microsoft.com/office/powerpoint/2010/main" val="639965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0" grpId="0">
        <p:bldAsOne/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>
            <a:extLst>
              <a:ext uri="{FF2B5EF4-FFF2-40B4-BE49-F238E27FC236}">
                <a16:creationId xmlns:a16="http://schemas.microsoft.com/office/drawing/2014/main" xmlns="" id="{FD816963-D6D2-47DC-BF61-B29F6A269989}"/>
              </a:ext>
            </a:extLst>
          </p:cNvPr>
          <p:cNvSpPr/>
          <p:nvPr/>
        </p:nvSpPr>
        <p:spPr>
          <a:xfrm>
            <a:off x="0" y="3303"/>
            <a:ext cx="12208496" cy="6850065"/>
          </a:xfrm>
          <a:prstGeom prst="rect">
            <a:avLst/>
          </a:prstGeom>
          <a:blipFill dpi="0" rotWithShape="1">
            <a:blip r:embed="rId2" cstate="email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xmlns="" id="{014A0692-B5AE-4825-B57F-42503697224D}"/>
              </a:ext>
            </a:extLst>
          </p:cNvPr>
          <p:cNvSpPr/>
          <p:nvPr/>
        </p:nvSpPr>
        <p:spPr>
          <a:xfrm>
            <a:off x="0" y="0"/>
            <a:ext cx="12190309" cy="2696353"/>
          </a:xfrm>
          <a:prstGeom prst="rect">
            <a:avLst/>
          </a:prstGeom>
          <a:gradFill>
            <a:gsLst>
              <a:gs pos="0">
                <a:schemeClr val="bg1"/>
              </a:gs>
              <a:gs pos="66000">
                <a:srgbClr val="FFFFFF">
                  <a:alpha val="78000"/>
                </a:srgbClr>
              </a:gs>
              <a:gs pos="43000">
                <a:srgbClr val="FFFFFF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43" name="Vrije vorm: vorm 42">
            <a:extLst>
              <a:ext uri="{FF2B5EF4-FFF2-40B4-BE49-F238E27FC236}">
                <a16:creationId xmlns:a16="http://schemas.microsoft.com/office/drawing/2014/main" xmlns="" id="{E12C44EE-E02A-4B4A-A9FA-062A5A17220B}"/>
              </a:ext>
            </a:extLst>
          </p:cNvPr>
          <p:cNvSpPr/>
          <p:nvPr/>
        </p:nvSpPr>
        <p:spPr>
          <a:xfrm>
            <a:off x="543005" y="3842888"/>
            <a:ext cx="2365909" cy="2674026"/>
          </a:xfrm>
          <a:custGeom>
            <a:avLst/>
            <a:gdLst>
              <a:gd name="connsiteX0" fmla="*/ 2240765 w 2365909"/>
              <a:gd name="connsiteY0" fmla="*/ 0 h 2422364"/>
              <a:gd name="connsiteX1" fmla="*/ 2304963 w 2365909"/>
              <a:gd name="connsiteY1" fmla="*/ 0 h 2422364"/>
              <a:gd name="connsiteX2" fmla="*/ 2365909 w 2365909"/>
              <a:gd name="connsiteY2" fmla="*/ 60946 h 2422364"/>
              <a:gd name="connsiteX3" fmla="*/ 2365909 w 2365909"/>
              <a:gd name="connsiteY3" fmla="*/ 2388971 h 2422364"/>
              <a:gd name="connsiteX4" fmla="*/ 2356937 w 2365909"/>
              <a:gd name="connsiteY4" fmla="*/ 2410633 h 2422364"/>
              <a:gd name="connsiteX5" fmla="*/ 2328614 w 2365909"/>
              <a:gd name="connsiteY5" fmla="*/ 2422364 h 2422364"/>
              <a:gd name="connsiteX6" fmla="*/ 40054 w 2365909"/>
              <a:gd name="connsiteY6" fmla="*/ 2422364 h 2422364"/>
              <a:gd name="connsiteX7" fmla="*/ 0 w 2365909"/>
              <a:gd name="connsiteY7" fmla="*/ 2382310 h 2422364"/>
              <a:gd name="connsiteX8" fmla="*/ 0 w 2365909"/>
              <a:gd name="connsiteY8" fmla="*/ 167504 h 2422364"/>
              <a:gd name="connsiteX9" fmla="*/ 3868 w 2365909"/>
              <a:gd name="connsiteY9" fmla="*/ 148348 h 2422364"/>
              <a:gd name="connsiteX10" fmla="*/ 36301 w 2365909"/>
              <a:gd name="connsiteY10" fmla="*/ 115915 h 2422364"/>
              <a:gd name="connsiteX11" fmla="*/ 52075 w 2365909"/>
              <a:gd name="connsiteY11" fmla="*/ 112730 h 2422364"/>
              <a:gd name="connsiteX12" fmla="*/ 528662 w 2365909"/>
              <a:gd name="connsiteY12" fmla="*/ 105589 h 2422364"/>
              <a:gd name="connsiteX13" fmla="*/ 2180565 w 2365909"/>
              <a:gd name="connsiteY13" fmla="*/ 6370 h 2422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365909" h="2422364">
                <a:moveTo>
                  <a:pt x="2240765" y="0"/>
                </a:moveTo>
                <a:lnTo>
                  <a:pt x="2304963" y="0"/>
                </a:lnTo>
                <a:cubicBezTo>
                  <a:pt x="2338623" y="0"/>
                  <a:pt x="2365909" y="27286"/>
                  <a:pt x="2365909" y="60946"/>
                </a:cubicBezTo>
                <a:lnTo>
                  <a:pt x="2365909" y="2388971"/>
                </a:lnTo>
                <a:lnTo>
                  <a:pt x="2356937" y="2410633"/>
                </a:lnTo>
                <a:cubicBezTo>
                  <a:pt x="2349688" y="2417881"/>
                  <a:pt x="2339675" y="2422364"/>
                  <a:pt x="2328614" y="2422364"/>
                </a:cubicBezTo>
                <a:lnTo>
                  <a:pt x="40054" y="2422364"/>
                </a:lnTo>
                <a:cubicBezTo>
                  <a:pt x="17933" y="2422364"/>
                  <a:pt x="0" y="2404431"/>
                  <a:pt x="0" y="2382310"/>
                </a:cubicBezTo>
                <a:lnTo>
                  <a:pt x="0" y="167504"/>
                </a:lnTo>
                <a:lnTo>
                  <a:pt x="3868" y="148348"/>
                </a:lnTo>
                <a:cubicBezTo>
                  <a:pt x="10036" y="133765"/>
                  <a:pt x="21718" y="122083"/>
                  <a:pt x="36301" y="115915"/>
                </a:cubicBezTo>
                <a:lnTo>
                  <a:pt x="52075" y="112730"/>
                </a:lnTo>
                <a:lnTo>
                  <a:pt x="528662" y="105589"/>
                </a:lnTo>
                <a:cubicBezTo>
                  <a:pt x="1087132" y="88815"/>
                  <a:pt x="1638224" y="55471"/>
                  <a:pt x="2180565" y="6370"/>
                </a:cubicBezTo>
                <a:close/>
              </a:path>
            </a:pathLst>
          </a:custGeom>
          <a:solidFill>
            <a:schemeClr val="accent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0" rIns="288000" bIns="1908000" rtlCol="0" anchor="b" anchorCtr="0">
            <a:noAutofit/>
          </a:bodyPr>
          <a:lstStyle/>
          <a:p>
            <a:pPr algn="ctr"/>
            <a:r>
              <a:rPr lang="en-US" sz="2000" b="1" cap="all" baseline="0" dirty="0"/>
              <a:t>control</a:t>
            </a:r>
          </a:p>
        </p:txBody>
      </p:sp>
      <p:sp>
        <p:nvSpPr>
          <p:cNvPr id="50" name="Vrije vorm: vorm 49">
            <a:extLst>
              <a:ext uri="{FF2B5EF4-FFF2-40B4-BE49-F238E27FC236}">
                <a16:creationId xmlns:a16="http://schemas.microsoft.com/office/drawing/2014/main" xmlns="" id="{D0EF1AE2-CE6F-4613-97FF-F48D4754D324}"/>
              </a:ext>
            </a:extLst>
          </p:cNvPr>
          <p:cNvSpPr/>
          <p:nvPr/>
        </p:nvSpPr>
        <p:spPr>
          <a:xfrm>
            <a:off x="3455537" y="3359240"/>
            <a:ext cx="2368668" cy="3157675"/>
          </a:xfrm>
          <a:custGeom>
            <a:avLst/>
            <a:gdLst>
              <a:gd name="connsiteX0" fmla="*/ 2243050 w 2368668"/>
              <a:gd name="connsiteY0" fmla="*/ 0 h 2860495"/>
              <a:gd name="connsiteX1" fmla="*/ 2306222 w 2368668"/>
              <a:gd name="connsiteY1" fmla="*/ 0 h 2860495"/>
              <a:gd name="connsiteX2" fmla="*/ 2367168 w 2368668"/>
              <a:gd name="connsiteY2" fmla="*/ 60946 h 2860495"/>
              <a:gd name="connsiteX3" fmla="*/ 2367168 w 2368668"/>
              <a:gd name="connsiteY3" fmla="*/ 2582315 h 2860495"/>
              <a:gd name="connsiteX4" fmla="*/ 2368668 w 2368668"/>
              <a:gd name="connsiteY4" fmla="*/ 2582315 h 2860495"/>
              <a:gd name="connsiteX5" fmla="*/ 2368668 w 2368668"/>
              <a:gd name="connsiteY5" fmla="*/ 2820441 h 2860495"/>
              <a:gd name="connsiteX6" fmla="*/ 2328614 w 2368668"/>
              <a:gd name="connsiteY6" fmla="*/ 2860495 h 2860495"/>
              <a:gd name="connsiteX7" fmla="*/ 40054 w 2368668"/>
              <a:gd name="connsiteY7" fmla="*/ 2860495 h 2860495"/>
              <a:gd name="connsiteX8" fmla="*/ 0 w 2368668"/>
              <a:gd name="connsiteY8" fmla="*/ 2820441 h 2860495"/>
              <a:gd name="connsiteX9" fmla="*/ 0 w 2368668"/>
              <a:gd name="connsiteY9" fmla="*/ 412806 h 2860495"/>
              <a:gd name="connsiteX10" fmla="*/ 2917 w 2368668"/>
              <a:gd name="connsiteY10" fmla="*/ 398360 h 2860495"/>
              <a:gd name="connsiteX11" fmla="*/ 59073 w 2368668"/>
              <a:gd name="connsiteY11" fmla="*/ 361137 h 2860495"/>
              <a:gd name="connsiteX12" fmla="*/ 125222 w 2368668"/>
              <a:gd name="connsiteY12" fmla="*/ 352239 h 2860495"/>
              <a:gd name="connsiteX13" fmla="*/ 867430 w 2368668"/>
              <a:gd name="connsiteY13" fmla="*/ 250739 h 2860495"/>
              <a:gd name="connsiteX14" fmla="*/ 1644866 w 2368668"/>
              <a:gd name="connsiteY14" fmla="*/ 119929 h 2860495"/>
              <a:gd name="connsiteX0" fmla="*/ 1644866 w 2368668"/>
              <a:gd name="connsiteY0" fmla="*/ 119929 h 2860495"/>
              <a:gd name="connsiteX1" fmla="*/ 2306222 w 2368668"/>
              <a:gd name="connsiteY1" fmla="*/ 0 h 2860495"/>
              <a:gd name="connsiteX2" fmla="*/ 2367168 w 2368668"/>
              <a:gd name="connsiteY2" fmla="*/ 60946 h 2860495"/>
              <a:gd name="connsiteX3" fmla="*/ 2367168 w 2368668"/>
              <a:gd name="connsiteY3" fmla="*/ 2582315 h 2860495"/>
              <a:gd name="connsiteX4" fmla="*/ 2368668 w 2368668"/>
              <a:gd name="connsiteY4" fmla="*/ 2582315 h 2860495"/>
              <a:gd name="connsiteX5" fmla="*/ 2368668 w 2368668"/>
              <a:gd name="connsiteY5" fmla="*/ 2820441 h 2860495"/>
              <a:gd name="connsiteX6" fmla="*/ 2328614 w 2368668"/>
              <a:gd name="connsiteY6" fmla="*/ 2860495 h 2860495"/>
              <a:gd name="connsiteX7" fmla="*/ 40054 w 2368668"/>
              <a:gd name="connsiteY7" fmla="*/ 2860495 h 2860495"/>
              <a:gd name="connsiteX8" fmla="*/ 0 w 2368668"/>
              <a:gd name="connsiteY8" fmla="*/ 2820441 h 2860495"/>
              <a:gd name="connsiteX9" fmla="*/ 0 w 2368668"/>
              <a:gd name="connsiteY9" fmla="*/ 412806 h 2860495"/>
              <a:gd name="connsiteX10" fmla="*/ 2917 w 2368668"/>
              <a:gd name="connsiteY10" fmla="*/ 398360 h 2860495"/>
              <a:gd name="connsiteX11" fmla="*/ 59073 w 2368668"/>
              <a:gd name="connsiteY11" fmla="*/ 361137 h 2860495"/>
              <a:gd name="connsiteX12" fmla="*/ 125222 w 2368668"/>
              <a:gd name="connsiteY12" fmla="*/ 352239 h 2860495"/>
              <a:gd name="connsiteX13" fmla="*/ 867430 w 2368668"/>
              <a:gd name="connsiteY13" fmla="*/ 250739 h 2860495"/>
              <a:gd name="connsiteX14" fmla="*/ 1644866 w 2368668"/>
              <a:gd name="connsiteY14" fmla="*/ 119929 h 2860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368668" h="2860495">
                <a:moveTo>
                  <a:pt x="1644866" y="119929"/>
                </a:moveTo>
                <a:lnTo>
                  <a:pt x="2306222" y="0"/>
                </a:lnTo>
                <a:cubicBezTo>
                  <a:pt x="2339882" y="0"/>
                  <a:pt x="2367168" y="27286"/>
                  <a:pt x="2367168" y="60946"/>
                </a:cubicBezTo>
                <a:lnTo>
                  <a:pt x="2367168" y="2582315"/>
                </a:lnTo>
                <a:lnTo>
                  <a:pt x="2368668" y="2582315"/>
                </a:lnTo>
                <a:lnTo>
                  <a:pt x="2368668" y="2820441"/>
                </a:lnTo>
                <a:cubicBezTo>
                  <a:pt x="2368668" y="2842562"/>
                  <a:pt x="2350735" y="2860495"/>
                  <a:pt x="2328614" y="2860495"/>
                </a:cubicBezTo>
                <a:lnTo>
                  <a:pt x="40054" y="2860495"/>
                </a:lnTo>
                <a:cubicBezTo>
                  <a:pt x="17933" y="2860495"/>
                  <a:pt x="0" y="2842562"/>
                  <a:pt x="0" y="2820441"/>
                </a:cubicBezTo>
                <a:lnTo>
                  <a:pt x="0" y="412806"/>
                </a:lnTo>
                <a:lnTo>
                  <a:pt x="2917" y="398360"/>
                </a:lnTo>
                <a:cubicBezTo>
                  <a:pt x="12169" y="376486"/>
                  <a:pt x="33828" y="361137"/>
                  <a:pt x="59073" y="361137"/>
                </a:cubicBezTo>
                <a:lnTo>
                  <a:pt x="125222" y="352239"/>
                </a:lnTo>
                <a:lnTo>
                  <a:pt x="867430" y="250739"/>
                </a:lnTo>
                <a:cubicBezTo>
                  <a:pt x="1129164" y="210838"/>
                  <a:pt x="1388366" y="167201"/>
                  <a:pt x="1644866" y="119929"/>
                </a:cubicBezTo>
                <a:close/>
              </a:path>
            </a:pathLst>
          </a:cu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0" rIns="288000" bIns="1908000" rtlCol="0" anchor="b" anchorCtr="0">
            <a:noAutofit/>
          </a:bodyPr>
          <a:lstStyle/>
          <a:p>
            <a:pPr algn="ctr"/>
            <a:r>
              <a:rPr lang="en-US" sz="2000" b="1" cap="all" baseline="0" dirty="0"/>
              <a:t>Insights</a:t>
            </a:r>
          </a:p>
        </p:txBody>
      </p:sp>
      <p:sp>
        <p:nvSpPr>
          <p:cNvPr id="52" name="Vrije vorm: vorm 51">
            <a:extLst>
              <a:ext uri="{FF2B5EF4-FFF2-40B4-BE49-F238E27FC236}">
                <a16:creationId xmlns:a16="http://schemas.microsoft.com/office/drawing/2014/main" xmlns="" id="{F114587F-0E61-4FD6-86CC-5631F5C8B756}"/>
              </a:ext>
            </a:extLst>
          </p:cNvPr>
          <p:cNvSpPr/>
          <p:nvPr/>
        </p:nvSpPr>
        <p:spPr>
          <a:xfrm>
            <a:off x="6368070" y="2471182"/>
            <a:ext cx="2368668" cy="4045734"/>
          </a:xfrm>
          <a:custGeom>
            <a:avLst/>
            <a:gdLst>
              <a:gd name="connsiteX0" fmla="*/ 2235665 w 2368668"/>
              <a:gd name="connsiteY0" fmla="*/ 0 h 3668033"/>
              <a:gd name="connsiteX1" fmla="*/ 2235665 w 2368668"/>
              <a:gd name="connsiteY1" fmla="*/ 3057 h 3668033"/>
              <a:gd name="connsiteX2" fmla="*/ 2301814 w 2368668"/>
              <a:gd name="connsiteY2" fmla="*/ 3057 h 3668033"/>
              <a:gd name="connsiteX3" fmla="*/ 2362760 w 2368668"/>
              <a:gd name="connsiteY3" fmla="*/ 64003 h 3668033"/>
              <a:gd name="connsiteX4" fmla="*/ 2362760 w 2368668"/>
              <a:gd name="connsiteY4" fmla="*/ 2585372 h 3668033"/>
              <a:gd name="connsiteX5" fmla="*/ 2368668 w 2368668"/>
              <a:gd name="connsiteY5" fmla="*/ 2585372 h 3668033"/>
              <a:gd name="connsiteX6" fmla="*/ 2368668 w 2368668"/>
              <a:gd name="connsiteY6" fmla="*/ 3627979 h 3668033"/>
              <a:gd name="connsiteX7" fmla="*/ 2328614 w 2368668"/>
              <a:gd name="connsiteY7" fmla="*/ 3668033 h 3668033"/>
              <a:gd name="connsiteX8" fmla="*/ 40054 w 2368668"/>
              <a:gd name="connsiteY8" fmla="*/ 3668033 h 3668033"/>
              <a:gd name="connsiteX9" fmla="*/ 0 w 2368668"/>
              <a:gd name="connsiteY9" fmla="*/ 3627979 h 3668033"/>
              <a:gd name="connsiteX10" fmla="*/ 0 w 2368668"/>
              <a:gd name="connsiteY10" fmla="*/ 700312 h 3668033"/>
              <a:gd name="connsiteX11" fmla="*/ 3932 w 2368668"/>
              <a:gd name="connsiteY11" fmla="*/ 680839 h 3668033"/>
              <a:gd name="connsiteX12" fmla="*/ 60088 w 2368668"/>
              <a:gd name="connsiteY12" fmla="*/ 643616 h 3668033"/>
              <a:gd name="connsiteX13" fmla="*/ 126237 w 2368668"/>
              <a:gd name="connsiteY13" fmla="*/ 627040 h 3668033"/>
              <a:gd name="connsiteX14" fmla="*/ 237533 w 2368668"/>
              <a:gd name="connsiteY14" fmla="*/ 601039 h 3668033"/>
              <a:gd name="connsiteX15" fmla="*/ 1843105 w 2368668"/>
              <a:gd name="connsiteY15" fmla="*/ 135623 h 3668033"/>
              <a:gd name="connsiteX0" fmla="*/ 1843105 w 2368668"/>
              <a:gd name="connsiteY0" fmla="*/ 132566 h 3664976"/>
              <a:gd name="connsiteX1" fmla="*/ 2235665 w 2368668"/>
              <a:gd name="connsiteY1" fmla="*/ 0 h 3664976"/>
              <a:gd name="connsiteX2" fmla="*/ 2301814 w 2368668"/>
              <a:gd name="connsiteY2" fmla="*/ 0 h 3664976"/>
              <a:gd name="connsiteX3" fmla="*/ 2362760 w 2368668"/>
              <a:gd name="connsiteY3" fmla="*/ 60946 h 3664976"/>
              <a:gd name="connsiteX4" fmla="*/ 2362760 w 2368668"/>
              <a:gd name="connsiteY4" fmla="*/ 2582315 h 3664976"/>
              <a:gd name="connsiteX5" fmla="*/ 2368668 w 2368668"/>
              <a:gd name="connsiteY5" fmla="*/ 2582315 h 3664976"/>
              <a:gd name="connsiteX6" fmla="*/ 2368668 w 2368668"/>
              <a:gd name="connsiteY6" fmla="*/ 3624922 h 3664976"/>
              <a:gd name="connsiteX7" fmla="*/ 2328614 w 2368668"/>
              <a:gd name="connsiteY7" fmla="*/ 3664976 h 3664976"/>
              <a:gd name="connsiteX8" fmla="*/ 40054 w 2368668"/>
              <a:gd name="connsiteY8" fmla="*/ 3664976 h 3664976"/>
              <a:gd name="connsiteX9" fmla="*/ 0 w 2368668"/>
              <a:gd name="connsiteY9" fmla="*/ 3624922 h 3664976"/>
              <a:gd name="connsiteX10" fmla="*/ 0 w 2368668"/>
              <a:gd name="connsiteY10" fmla="*/ 697255 h 3664976"/>
              <a:gd name="connsiteX11" fmla="*/ 3932 w 2368668"/>
              <a:gd name="connsiteY11" fmla="*/ 677782 h 3664976"/>
              <a:gd name="connsiteX12" fmla="*/ 60088 w 2368668"/>
              <a:gd name="connsiteY12" fmla="*/ 640559 h 3664976"/>
              <a:gd name="connsiteX13" fmla="*/ 126237 w 2368668"/>
              <a:gd name="connsiteY13" fmla="*/ 623983 h 3664976"/>
              <a:gd name="connsiteX14" fmla="*/ 237533 w 2368668"/>
              <a:gd name="connsiteY14" fmla="*/ 597982 h 3664976"/>
              <a:gd name="connsiteX15" fmla="*/ 1843105 w 2368668"/>
              <a:gd name="connsiteY15" fmla="*/ 132566 h 3664976"/>
              <a:gd name="connsiteX0" fmla="*/ 1843105 w 2368668"/>
              <a:gd name="connsiteY0" fmla="*/ 132566 h 3664976"/>
              <a:gd name="connsiteX1" fmla="*/ 2301814 w 2368668"/>
              <a:gd name="connsiteY1" fmla="*/ 0 h 3664976"/>
              <a:gd name="connsiteX2" fmla="*/ 2362760 w 2368668"/>
              <a:gd name="connsiteY2" fmla="*/ 60946 h 3664976"/>
              <a:gd name="connsiteX3" fmla="*/ 2362760 w 2368668"/>
              <a:gd name="connsiteY3" fmla="*/ 2582315 h 3664976"/>
              <a:gd name="connsiteX4" fmla="*/ 2368668 w 2368668"/>
              <a:gd name="connsiteY4" fmla="*/ 2582315 h 3664976"/>
              <a:gd name="connsiteX5" fmla="*/ 2368668 w 2368668"/>
              <a:gd name="connsiteY5" fmla="*/ 3624922 h 3664976"/>
              <a:gd name="connsiteX6" fmla="*/ 2328614 w 2368668"/>
              <a:gd name="connsiteY6" fmla="*/ 3664976 h 3664976"/>
              <a:gd name="connsiteX7" fmla="*/ 40054 w 2368668"/>
              <a:gd name="connsiteY7" fmla="*/ 3664976 h 3664976"/>
              <a:gd name="connsiteX8" fmla="*/ 0 w 2368668"/>
              <a:gd name="connsiteY8" fmla="*/ 3624922 h 3664976"/>
              <a:gd name="connsiteX9" fmla="*/ 0 w 2368668"/>
              <a:gd name="connsiteY9" fmla="*/ 697255 h 3664976"/>
              <a:gd name="connsiteX10" fmla="*/ 3932 w 2368668"/>
              <a:gd name="connsiteY10" fmla="*/ 677782 h 3664976"/>
              <a:gd name="connsiteX11" fmla="*/ 60088 w 2368668"/>
              <a:gd name="connsiteY11" fmla="*/ 640559 h 3664976"/>
              <a:gd name="connsiteX12" fmla="*/ 126237 w 2368668"/>
              <a:gd name="connsiteY12" fmla="*/ 623983 h 3664976"/>
              <a:gd name="connsiteX13" fmla="*/ 237533 w 2368668"/>
              <a:gd name="connsiteY13" fmla="*/ 597982 h 3664976"/>
              <a:gd name="connsiteX14" fmla="*/ 1843105 w 2368668"/>
              <a:gd name="connsiteY14" fmla="*/ 132566 h 3664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368668" h="3664976">
                <a:moveTo>
                  <a:pt x="1843105" y="132566"/>
                </a:moveTo>
                <a:lnTo>
                  <a:pt x="2301814" y="0"/>
                </a:lnTo>
                <a:cubicBezTo>
                  <a:pt x="2335474" y="0"/>
                  <a:pt x="2362760" y="27286"/>
                  <a:pt x="2362760" y="60946"/>
                </a:cubicBezTo>
                <a:lnTo>
                  <a:pt x="2362760" y="2582315"/>
                </a:lnTo>
                <a:lnTo>
                  <a:pt x="2368668" y="2582315"/>
                </a:lnTo>
                <a:lnTo>
                  <a:pt x="2368668" y="3624922"/>
                </a:lnTo>
                <a:cubicBezTo>
                  <a:pt x="2368668" y="3647043"/>
                  <a:pt x="2350735" y="3664976"/>
                  <a:pt x="2328614" y="3664976"/>
                </a:cubicBezTo>
                <a:lnTo>
                  <a:pt x="40054" y="3664976"/>
                </a:lnTo>
                <a:cubicBezTo>
                  <a:pt x="17933" y="3664976"/>
                  <a:pt x="0" y="3647043"/>
                  <a:pt x="0" y="3624922"/>
                </a:cubicBezTo>
                <a:lnTo>
                  <a:pt x="0" y="697255"/>
                </a:lnTo>
                <a:lnTo>
                  <a:pt x="3932" y="677782"/>
                </a:lnTo>
                <a:cubicBezTo>
                  <a:pt x="13184" y="655908"/>
                  <a:pt x="34843" y="640559"/>
                  <a:pt x="60088" y="640559"/>
                </a:cubicBezTo>
                <a:lnTo>
                  <a:pt x="126237" y="623983"/>
                </a:lnTo>
                <a:lnTo>
                  <a:pt x="237533" y="597982"/>
                </a:lnTo>
                <a:cubicBezTo>
                  <a:pt x="788793" y="459827"/>
                  <a:pt x="1324635" y="304302"/>
                  <a:pt x="1843105" y="132566"/>
                </a:cubicBezTo>
                <a:close/>
              </a:path>
            </a:pathLst>
          </a:custGeom>
          <a:solidFill>
            <a:schemeClr val="accent6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0" rIns="288000" bIns="1908000" rtlCol="0" anchor="b" anchorCtr="0">
            <a:noAutofit/>
          </a:bodyPr>
          <a:lstStyle/>
          <a:p>
            <a:pPr algn="ctr"/>
            <a:r>
              <a:rPr lang="en-US" sz="2000" b="1" cap="all" baseline="0" dirty="0"/>
              <a:t>Optimization</a:t>
            </a:r>
          </a:p>
        </p:txBody>
      </p:sp>
      <p:sp>
        <p:nvSpPr>
          <p:cNvPr id="54" name="Vrije vorm: vorm 53">
            <a:extLst>
              <a:ext uri="{FF2B5EF4-FFF2-40B4-BE49-F238E27FC236}">
                <a16:creationId xmlns:a16="http://schemas.microsoft.com/office/drawing/2014/main" xmlns="" id="{DA1DFC32-DAB5-4995-9681-DC3D12CB7481}"/>
              </a:ext>
            </a:extLst>
          </p:cNvPr>
          <p:cNvSpPr/>
          <p:nvPr/>
        </p:nvSpPr>
        <p:spPr>
          <a:xfrm>
            <a:off x="9280604" y="1003300"/>
            <a:ext cx="2368668" cy="5513614"/>
          </a:xfrm>
          <a:custGeom>
            <a:avLst/>
            <a:gdLst>
              <a:gd name="connsiteX0" fmla="*/ 2262313 w 2368668"/>
              <a:gd name="connsiteY0" fmla="*/ 0 h 4994708"/>
              <a:gd name="connsiteX1" fmla="*/ 2308612 w 2368668"/>
              <a:gd name="connsiteY1" fmla="*/ 0 h 4994708"/>
              <a:gd name="connsiteX2" fmla="*/ 2364769 w 2368668"/>
              <a:gd name="connsiteY2" fmla="*/ 37223 h 4994708"/>
              <a:gd name="connsiteX3" fmla="*/ 2368668 w 2368668"/>
              <a:gd name="connsiteY3" fmla="*/ 56538 h 4994708"/>
              <a:gd name="connsiteX4" fmla="*/ 2368668 w 2368668"/>
              <a:gd name="connsiteY4" fmla="*/ 4954654 h 4994708"/>
              <a:gd name="connsiteX5" fmla="*/ 2328614 w 2368668"/>
              <a:gd name="connsiteY5" fmla="*/ 4994708 h 4994708"/>
              <a:gd name="connsiteX6" fmla="*/ 40054 w 2368668"/>
              <a:gd name="connsiteY6" fmla="*/ 4994708 h 4994708"/>
              <a:gd name="connsiteX7" fmla="*/ 0 w 2368668"/>
              <a:gd name="connsiteY7" fmla="*/ 4954654 h 4994708"/>
              <a:gd name="connsiteX8" fmla="*/ 0 w 2368668"/>
              <a:gd name="connsiteY8" fmla="*/ 1107073 h 4994708"/>
              <a:gd name="connsiteX9" fmla="*/ 2126 w 2368668"/>
              <a:gd name="connsiteY9" fmla="*/ 1096540 h 4994708"/>
              <a:gd name="connsiteX10" fmla="*/ 58283 w 2368668"/>
              <a:gd name="connsiteY10" fmla="*/ 1059317 h 4994708"/>
              <a:gd name="connsiteX11" fmla="*/ 591782 w 2368668"/>
              <a:gd name="connsiteY11" fmla="*/ 831390 h 4994708"/>
              <a:gd name="connsiteX12" fmla="*/ 1963555 w 2368668"/>
              <a:gd name="connsiteY12" fmla="*/ 168774 h 4994708"/>
              <a:gd name="connsiteX0" fmla="*/ 1963555 w 2368668"/>
              <a:gd name="connsiteY0" fmla="*/ 168774 h 4994708"/>
              <a:gd name="connsiteX1" fmla="*/ 2308612 w 2368668"/>
              <a:gd name="connsiteY1" fmla="*/ 0 h 4994708"/>
              <a:gd name="connsiteX2" fmla="*/ 2364769 w 2368668"/>
              <a:gd name="connsiteY2" fmla="*/ 37223 h 4994708"/>
              <a:gd name="connsiteX3" fmla="*/ 2368668 w 2368668"/>
              <a:gd name="connsiteY3" fmla="*/ 56538 h 4994708"/>
              <a:gd name="connsiteX4" fmla="*/ 2368668 w 2368668"/>
              <a:gd name="connsiteY4" fmla="*/ 4954654 h 4994708"/>
              <a:gd name="connsiteX5" fmla="*/ 2328614 w 2368668"/>
              <a:gd name="connsiteY5" fmla="*/ 4994708 h 4994708"/>
              <a:gd name="connsiteX6" fmla="*/ 40054 w 2368668"/>
              <a:gd name="connsiteY6" fmla="*/ 4994708 h 4994708"/>
              <a:gd name="connsiteX7" fmla="*/ 0 w 2368668"/>
              <a:gd name="connsiteY7" fmla="*/ 4954654 h 4994708"/>
              <a:gd name="connsiteX8" fmla="*/ 0 w 2368668"/>
              <a:gd name="connsiteY8" fmla="*/ 1107073 h 4994708"/>
              <a:gd name="connsiteX9" fmla="*/ 2126 w 2368668"/>
              <a:gd name="connsiteY9" fmla="*/ 1096540 h 4994708"/>
              <a:gd name="connsiteX10" fmla="*/ 58283 w 2368668"/>
              <a:gd name="connsiteY10" fmla="*/ 1059317 h 4994708"/>
              <a:gd name="connsiteX11" fmla="*/ 591782 w 2368668"/>
              <a:gd name="connsiteY11" fmla="*/ 831390 h 4994708"/>
              <a:gd name="connsiteX12" fmla="*/ 1963555 w 2368668"/>
              <a:gd name="connsiteY12" fmla="*/ 168774 h 4994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68668" h="4994708">
                <a:moveTo>
                  <a:pt x="1963555" y="168774"/>
                </a:moveTo>
                <a:lnTo>
                  <a:pt x="2308612" y="0"/>
                </a:lnTo>
                <a:cubicBezTo>
                  <a:pt x="2333857" y="0"/>
                  <a:pt x="2355517" y="15349"/>
                  <a:pt x="2364769" y="37223"/>
                </a:cubicBezTo>
                <a:lnTo>
                  <a:pt x="2368668" y="56538"/>
                </a:lnTo>
                <a:lnTo>
                  <a:pt x="2368668" y="4954654"/>
                </a:lnTo>
                <a:cubicBezTo>
                  <a:pt x="2368668" y="4976775"/>
                  <a:pt x="2350735" y="4994708"/>
                  <a:pt x="2328614" y="4994708"/>
                </a:cubicBezTo>
                <a:lnTo>
                  <a:pt x="40054" y="4994708"/>
                </a:lnTo>
                <a:cubicBezTo>
                  <a:pt x="17933" y="4994708"/>
                  <a:pt x="0" y="4976775"/>
                  <a:pt x="0" y="4954654"/>
                </a:cubicBezTo>
                <a:lnTo>
                  <a:pt x="0" y="1107073"/>
                </a:lnTo>
                <a:lnTo>
                  <a:pt x="2126" y="1096540"/>
                </a:lnTo>
                <a:cubicBezTo>
                  <a:pt x="11378" y="1074666"/>
                  <a:pt x="33038" y="1059317"/>
                  <a:pt x="58283" y="1059317"/>
                </a:cubicBezTo>
                <a:lnTo>
                  <a:pt x="591782" y="831390"/>
                </a:lnTo>
                <a:cubicBezTo>
                  <a:pt x="1069234" y="625057"/>
                  <a:pt x="1527143" y="403799"/>
                  <a:pt x="1963555" y="168774"/>
                </a:cubicBezTo>
                <a:close/>
              </a:path>
            </a:pathLst>
          </a:custGeom>
          <a:solidFill>
            <a:schemeClr val="accent4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24000" tIns="0" rIns="288000" bIns="1908000" rtlCol="0" anchor="b" anchorCtr="0">
            <a:noAutofit/>
          </a:bodyPr>
          <a:lstStyle/>
          <a:p>
            <a:pPr algn="ctr"/>
            <a:r>
              <a:rPr lang="en-US" sz="2000" b="1" cap="all" baseline="0" dirty="0"/>
              <a:t>Automation</a:t>
            </a:r>
          </a:p>
        </p:txBody>
      </p:sp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xmlns="" id="{0025DC97-CB5B-440B-BBFD-53F6AAC372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3CAF3428-2C80-4A6E-B527-B396C0F6F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ext step was to anchor way of working</a:t>
            </a:r>
          </a:p>
        </p:txBody>
      </p:sp>
      <p:pic>
        <p:nvPicPr>
          <p:cNvPr id="12" name="Bloem1">
            <a:extLst>
              <a:ext uri="{FF2B5EF4-FFF2-40B4-BE49-F238E27FC236}">
                <a16:creationId xmlns:a16="http://schemas.microsoft.com/office/drawing/2014/main" xmlns="" id="{895199FB-6D26-41EF-BC50-5E6FC55D83D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0" y="4838701"/>
            <a:ext cx="1371448" cy="2019299"/>
          </a:xfrm>
          <a:prstGeom prst="rect">
            <a:avLst/>
          </a:prstGeom>
        </p:spPr>
      </p:pic>
      <p:pic>
        <p:nvPicPr>
          <p:cNvPr id="13" name="Bloem 2">
            <a:extLst>
              <a:ext uri="{FF2B5EF4-FFF2-40B4-BE49-F238E27FC236}">
                <a16:creationId xmlns:a16="http://schemas.microsoft.com/office/drawing/2014/main" xmlns="" id="{3C49B63C-8E1B-40E6-85D0-DF9DC3D113E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6050" y="5546816"/>
            <a:ext cx="1268102" cy="1311184"/>
          </a:xfrm>
          <a:prstGeom prst="rect">
            <a:avLst/>
          </a:prstGeom>
        </p:spPr>
      </p:pic>
      <p:pic>
        <p:nvPicPr>
          <p:cNvPr id="14" name="Gras_voor">
            <a:extLst>
              <a:ext uri="{FF2B5EF4-FFF2-40B4-BE49-F238E27FC236}">
                <a16:creationId xmlns:a16="http://schemas.microsoft.com/office/drawing/2014/main" xmlns="" id="{1229985B-36D7-4797-9A10-FDB66FC3682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5287367"/>
            <a:ext cx="12208496" cy="1570633"/>
          </a:xfrm>
          <a:prstGeom prst="rect">
            <a:avLst/>
          </a:prstGeom>
        </p:spPr>
      </p:pic>
      <p:pic>
        <p:nvPicPr>
          <p:cNvPr id="15" name="Bloem_blur">
            <a:extLst>
              <a:ext uri="{FF2B5EF4-FFF2-40B4-BE49-F238E27FC236}">
                <a16:creationId xmlns:a16="http://schemas.microsoft.com/office/drawing/2014/main" xmlns="" id="{4A897E4E-FE92-4121-B36B-77DAFF18E83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4957904"/>
            <a:ext cx="12208496" cy="1900096"/>
          </a:xfrm>
          <a:prstGeom prst="rect">
            <a:avLst/>
          </a:prstGeom>
        </p:spPr>
      </p:pic>
      <p:grpSp>
        <p:nvGrpSpPr>
          <p:cNvPr id="3" name="Groep 2">
            <a:extLst>
              <a:ext uri="{FF2B5EF4-FFF2-40B4-BE49-F238E27FC236}">
                <a16:creationId xmlns:a16="http://schemas.microsoft.com/office/drawing/2014/main" xmlns="" id="{EDA894B8-8692-439E-9788-618562286CF6}"/>
              </a:ext>
            </a:extLst>
          </p:cNvPr>
          <p:cNvGrpSpPr/>
          <p:nvPr/>
        </p:nvGrpSpPr>
        <p:grpSpPr>
          <a:xfrm>
            <a:off x="1712686" y="5154342"/>
            <a:ext cx="8756964" cy="2120562"/>
            <a:chOff x="1712686" y="4924352"/>
            <a:chExt cx="8756964" cy="2120562"/>
          </a:xfrm>
        </p:grpSpPr>
        <p:sp>
          <p:nvSpPr>
            <p:cNvPr id="26" name="Rechthoek: afgeronde hoeken 25">
              <a:extLst>
                <a:ext uri="{FF2B5EF4-FFF2-40B4-BE49-F238E27FC236}">
                  <a16:creationId xmlns:a16="http://schemas.microsoft.com/office/drawing/2014/main" xmlns="" id="{C316AFFE-03A0-4CCA-88D5-8C490DC7628B}"/>
                </a:ext>
              </a:extLst>
            </p:cNvPr>
            <p:cNvSpPr/>
            <p:nvPr/>
          </p:nvSpPr>
          <p:spPr>
            <a:xfrm>
              <a:off x="1712686" y="5021943"/>
              <a:ext cx="8756964" cy="1693153"/>
            </a:xfrm>
            <a:prstGeom prst="roundRect">
              <a:avLst>
                <a:gd name="adj" fmla="val 3171"/>
              </a:avLst>
            </a:prstGeom>
            <a:solidFill>
              <a:schemeClr val="accent5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24000" tIns="0" rIns="288000" bIns="1908000" rtlCol="0" anchor="b" anchorCtr="0">
              <a:noAutofit/>
            </a:bodyPr>
            <a:lstStyle/>
            <a:p>
              <a:pPr algn="ctr"/>
              <a:endParaRPr lang="en-US" sz="2000" b="1" cap="all" baseline="0" dirty="0"/>
            </a:p>
          </p:txBody>
        </p:sp>
        <p:pic>
          <p:nvPicPr>
            <p:cNvPr id="27" name="Afbeelding 26">
              <a:extLst>
                <a:ext uri="{FF2B5EF4-FFF2-40B4-BE49-F238E27FC236}">
                  <a16:creationId xmlns:a16="http://schemas.microsoft.com/office/drawing/2014/main" xmlns="" id="{02617EDD-8B9C-45DF-8D30-0BD771315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94679" y="4924352"/>
              <a:ext cx="4392978" cy="21205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761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ep 52">
            <a:extLst>
              <a:ext uri="{FF2B5EF4-FFF2-40B4-BE49-F238E27FC236}">
                <a16:creationId xmlns:a16="http://schemas.microsoft.com/office/drawing/2014/main" xmlns="" id="{650512D1-BE06-4F7E-AAF9-9CFF0966287F}"/>
              </a:ext>
            </a:extLst>
          </p:cNvPr>
          <p:cNvGrpSpPr/>
          <p:nvPr/>
        </p:nvGrpSpPr>
        <p:grpSpPr>
          <a:xfrm>
            <a:off x="543005" y="2416295"/>
            <a:ext cx="3666049" cy="3352766"/>
            <a:chOff x="543005" y="2416295"/>
            <a:chExt cx="3666049" cy="3352766"/>
          </a:xfrm>
        </p:grpSpPr>
        <p:cxnSp>
          <p:nvCxnSpPr>
            <p:cNvPr id="24" name="Rechte verbindingslijn 23">
              <a:extLst>
                <a:ext uri="{FF2B5EF4-FFF2-40B4-BE49-F238E27FC236}">
                  <a16:creationId xmlns:a16="http://schemas.microsoft.com/office/drawing/2014/main" xmlns="" id="{58902058-CDC4-4ECE-964A-CBD0BF014B06}"/>
                </a:ext>
              </a:extLst>
            </p:cNvPr>
            <p:cNvCxnSpPr/>
            <p:nvPr/>
          </p:nvCxnSpPr>
          <p:spPr>
            <a:xfrm>
              <a:off x="543005" y="57690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kstvak 25">
              <a:extLst>
                <a:ext uri="{FF2B5EF4-FFF2-40B4-BE49-F238E27FC236}">
                  <a16:creationId xmlns:a16="http://schemas.microsoft.com/office/drawing/2014/main" xmlns="" id="{7C247402-823F-4BF5-937F-D05D761A2E40}"/>
                </a:ext>
              </a:extLst>
            </p:cNvPr>
            <p:cNvSpPr txBox="1"/>
            <p:nvPr/>
          </p:nvSpPr>
          <p:spPr>
            <a:xfrm>
              <a:off x="678930" y="2416295"/>
              <a:ext cx="3530124" cy="3255456"/>
            </a:xfrm>
            <a:prstGeom prst="rect">
              <a:avLst/>
            </a:prstGeom>
            <a:noFill/>
          </p:spPr>
          <p:txBody>
            <a:bodyPr wrap="square" lIns="144000" tIns="0" rIns="0" bIns="0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oduct Master Data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SAP Native; excel; 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ustomer Master Data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SAP Native; excel; 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isplay BOM 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SAP Native; excel; 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icing Data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SAP Native; excel; 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x-Factory/Sell-In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excel; 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emand Forecast</a:t>
              </a:r>
              <a:b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excel; 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fr-FR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udgets/Les</a:t>
              </a:r>
              <a:r>
                <a:rPr lang="fr-FR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fr-FR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fr-FR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</a:t>
              </a:r>
              <a:r>
                <a:rPr lang="fr-FR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xcel</a:t>
              </a:r>
              <a:r>
                <a:rPr lang="fr-FR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; flat files)</a:t>
              </a:r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cxnSp>
          <p:nvCxnSpPr>
            <p:cNvPr id="28" name="Rechte verbindingslijn 27">
              <a:extLst>
                <a:ext uri="{FF2B5EF4-FFF2-40B4-BE49-F238E27FC236}">
                  <a16:creationId xmlns:a16="http://schemas.microsoft.com/office/drawing/2014/main" xmlns="" id="{59B94C0C-4BAC-4A26-A4DC-61B4605CFAC4}"/>
                </a:ext>
              </a:extLst>
            </p:cNvPr>
            <p:cNvCxnSpPr/>
            <p:nvPr/>
          </p:nvCxnSpPr>
          <p:spPr>
            <a:xfrm>
              <a:off x="543005" y="52737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Rechte verbindingslijn 28">
              <a:extLst>
                <a:ext uri="{FF2B5EF4-FFF2-40B4-BE49-F238E27FC236}">
                  <a16:creationId xmlns:a16="http://schemas.microsoft.com/office/drawing/2014/main" xmlns="" id="{8C526265-D1AA-48AF-AC1D-D7945CC14325}"/>
                </a:ext>
              </a:extLst>
            </p:cNvPr>
            <p:cNvCxnSpPr/>
            <p:nvPr/>
          </p:nvCxnSpPr>
          <p:spPr>
            <a:xfrm>
              <a:off x="543005" y="47911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Rechte verbindingslijn 29">
              <a:extLst>
                <a:ext uri="{FF2B5EF4-FFF2-40B4-BE49-F238E27FC236}">
                  <a16:creationId xmlns:a16="http://schemas.microsoft.com/office/drawing/2014/main" xmlns="" id="{3C626023-AEF4-4DC6-8785-F5AD083F01C7}"/>
                </a:ext>
              </a:extLst>
            </p:cNvPr>
            <p:cNvCxnSpPr/>
            <p:nvPr/>
          </p:nvCxnSpPr>
          <p:spPr>
            <a:xfrm>
              <a:off x="543005" y="43085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Rechte verbindingslijn 30">
              <a:extLst>
                <a:ext uri="{FF2B5EF4-FFF2-40B4-BE49-F238E27FC236}">
                  <a16:creationId xmlns:a16="http://schemas.microsoft.com/office/drawing/2014/main" xmlns="" id="{46526AE1-DC15-46B2-89E3-93814BE43723}"/>
                </a:ext>
              </a:extLst>
            </p:cNvPr>
            <p:cNvCxnSpPr/>
            <p:nvPr/>
          </p:nvCxnSpPr>
          <p:spPr>
            <a:xfrm>
              <a:off x="543005" y="38259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Rechte verbindingslijn 31">
              <a:extLst>
                <a:ext uri="{FF2B5EF4-FFF2-40B4-BE49-F238E27FC236}">
                  <a16:creationId xmlns:a16="http://schemas.microsoft.com/office/drawing/2014/main" xmlns="" id="{7624C9A1-4533-4411-8631-C76982549AB9}"/>
                </a:ext>
              </a:extLst>
            </p:cNvPr>
            <p:cNvCxnSpPr/>
            <p:nvPr/>
          </p:nvCxnSpPr>
          <p:spPr>
            <a:xfrm>
              <a:off x="543005" y="33306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xmlns="" id="{14A3C68E-0774-4EA3-BA62-FC072CDC7E59}"/>
                </a:ext>
              </a:extLst>
            </p:cNvPr>
            <p:cNvCxnSpPr/>
            <p:nvPr/>
          </p:nvCxnSpPr>
          <p:spPr>
            <a:xfrm>
              <a:off x="543005" y="284171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ep 54">
            <a:extLst>
              <a:ext uri="{FF2B5EF4-FFF2-40B4-BE49-F238E27FC236}">
                <a16:creationId xmlns:a16="http://schemas.microsoft.com/office/drawing/2014/main" xmlns="" id="{A4127947-026B-4CC2-9F83-5F0CEA0E74B4}"/>
              </a:ext>
            </a:extLst>
          </p:cNvPr>
          <p:cNvGrpSpPr/>
          <p:nvPr/>
        </p:nvGrpSpPr>
        <p:grpSpPr>
          <a:xfrm>
            <a:off x="8115297" y="2416124"/>
            <a:ext cx="3530124" cy="3357056"/>
            <a:chOff x="8115297" y="2416124"/>
            <a:chExt cx="3530124" cy="3357056"/>
          </a:xfrm>
        </p:grpSpPr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xmlns="" id="{77F063E5-DBFC-4904-8146-3DA3EC935A9D}"/>
                </a:ext>
              </a:extLst>
            </p:cNvPr>
            <p:cNvCxnSpPr/>
            <p:nvPr/>
          </p:nvCxnSpPr>
          <p:spPr>
            <a:xfrm>
              <a:off x="8115297" y="5773180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Rechte verbindingslijn 33">
              <a:extLst>
                <a:ext uri="{FF2B5EF4-FFF2-40B4-BE49-F238E27FC236}">
                  <a16:creationId xmlns:a16="http://schemas.microsoft.com/office/drawing/2014/main" xmlns="" id="{AF811266-21A9-4B11-AB55-3DD19ECB31A5}"/>
                </a:ext>
              </a:extLst>
            </p:cNvPr>
            <p:cNvCxnSpPr/>
            <p:nvPr/>
          </p:nvCxnSpPr>
          <p:spPr>
            <a:xfrm>
              <a:off x="8115297" y="57690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Rechte verbindingslijn 34">
              <a:extLst>
                <a:ext uri="{FF2B5EF4-FFF2-40B4-BE49-F238E27FC236}">
                  <a16:creationId xmlns:a16="http://schemas.microsoft.com/office/drawing/2014/main" xmlns="" id="{76608D15-8E99-4187-A748-702E8BA9DDAA}"/>
                </a:ext>
              </a:extLst>
            </p:cNvPr>
            <p:cNvCxnSpPr/>
            <p:nvPr/>
          </p:nvCxnSpPr>
          <p:spPr>
            <a:xfrm>
              <a:off x="8115297" y="52737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Rechte verbindingslijn 35">
              <a:extLst>
                <a:ext uri="{FF2B5EF4-FFF2-40B4-BE49-F238E27FC236}">
                  <a16:creationId xmlns:a16="http://schemas.microsoft.com/office/drawing/2014/main" xmlns="" id="{178529B3-47DA-4203-9142-08A08D33475A}"/>
                </a:ext>
              </a:extLst>
            </p:cNvPr>
            <p:cNvCxnSpPr/>
            <p:nvPr/>
          </p:nvCxnSpPr>
          <p:spPr>
            <a:xfrm>
              <a:off x="8115297" y="47911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Rechte verbindingslijn 36">
              <a:extLst>
                <a:ext uri="{FF2B5EF4-FFF2-40B4-BE49-F238E27FC236}">
                  <a16:creationId xmlns:a16="http://schemas.microsoft.com/office/drawing/2014/main" xmlns="" id="{D1EFB629-D4FC-4C43-9E1C-8FE7698937D3}"/>
                </a:ext>
              </a:extLst>
            </p:cNvPr>
            <p:cNvCxnSpPr/>
            <p:nvPr/>
          </p:nvCxnSpPr>
          <p:spPr>
            <a:xfrm>
              <a:off x="8115297" y="43085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Rechte verbindingslijn 37">
              <a:extLst>
                <a:ext uri="{FF2B5EF4-FFF2-40B4-BE49-F238E27FC236}">
                  <a16:creationId xmlns:a16="http://schemas.microsoft.com/office/drawing/2014/main" xmlns="" id="{C12E5574-2054-4EE0-B4B1-1A51D6A6C880}"/>
                </a:ext>
              </a:extLst>
            </p:cNvPr>
            <p:cNvCxnSpPr/>
            <p:nvPr/>
          </p:nvCxnSpPr>
          <p:spPr>
            <a:xfrm>
              <a:off x="8115297" y="38259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Rechte verbindingslijn 38">
              <a:extLst>
                <a:ext uri="{FF2B5EF4-FFF2-40B4-BE49-F238E27FC236}">
                  <a16:creationId xmlns:a16="http://schemas.microsoft.com/office/drawing/2014/main" xmlns="" id="{DB59EEEA-F97A-4512-A966-69FE4DD72089}"/>
                </a:ext>
              </a:extLst>
            </p:cNvPr>
            <p:cNvCxnSpPr/>
            <p:nvPr/>
          </p:nvCxnSpPr>
          <p:spPr>
            <a:xfrm>
              <a:off x="8115297" y="333066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Rechte verbindingslijn 39">
              <a:extLst>
                <a:ext uri="{FF2B5EF4-FFF2-40B4-BE49-F238E27FC236}">
                  <a16:creationId xmlns:a16="http://schemas.microsoft.com/office/drawing/2014/main" xmlns="" id="{9F071170-D2B7-4F6B-8800-F27D1BE75A95}"/>
                </a:ext>
              </a:extLst>
            </p:cNvPr>
            <p:cNvCxnSpPr/>
            <p:nvPr/>
          </p:nvCxnSpPr>
          <p:spPr>
            <a:xfrm>
              <a:off x="8115297" y="2841711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kstvak 40">
              <a:extLst>
                <a:ext uri="{FF2B5EF4-FFF2-40B4-BE49-F238E27FC236}">
                  <a16:creationId xmlns:a16="http://schemas.microsoft.com/office/drawing/2014/main" xmlns="" id="{FCE21A04-407E-467C-AED3-80169CD29EE1}"/>
                </a:ext>
              </a:extLst>
            </p:cNvPr>
            <p:cNvSpPr txBox="1"/>
            <p:nvPr/>
          </p:nvSpPr>
          <p:spPr>
            <a:xfrm>
              <a:off x="8251222" y="2420242"/>
              <a:ext cx="1671254" cy="3255456"/>
            </a:xfrm>
            <a:prstGeom prst="rect">
              <a:avLst/>
            </a:prstGeom>
            <a:noFill/>
          </p:spPr>
          <p:txBody>
            <a:bodyPr wrap="square" lIns="144000" tIns="0" rIns="0" bIns="0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ielsen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</a:t>
              </a:r>
              <a:r>
                <a:rPr lang="en-US" sz="14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reCha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; FF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RI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Tape II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e)POS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fK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nsumer Data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excel; 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rand Rating</a:t>
              </a: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/>
              </a:r>
              <a:b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excel; 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ampaign Data</a:t>
              </a:r>
              <a:b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excel; flat files)</a:t>
              </a:r>
            </a:p>
          </p:txBody>
        </p:sp>
        <p:sp>
          <p:nvSpPr>
            <p:cNvPr id="42" name="Tekstvak 41">
              <a:extLst>
                <a:ext uri="{FF2B5EF4-FFF2-40B4-BE49-F238E27FC236}">
                  <a16:creationId xmlns:a16="http://schemas.microsoft.com/office/drawing/2014/main" xmlns="" id="{5342D56E-4AE0-4AF1-9D3C-5FAEA4CB993B}"/>
                </a:ext>
              </a:extLst>
            </p:cNvPr>
            <p:cNvSpPr txBox="1"/>
            <p:nvPr/>
          </p:nvSpPr>
          <p:spPr>
            <a:xfrm>
              <a:off x="9974167" y="2416124"/>
              <a:ext cx="1671254" cy="3255456"/>
            </a:xfrm>
            <a:prstGeom prst="rect">
              <a:avLst/>
            </a:prstGeom>
            <a:noFill/>
          </p:spPr>
          <p:txBody>
            <a:bodyPr wrap="square" lIns="144000" tIns="0" rIns="0" bIns="0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Folder Data</a:t>
              </a:r>
              <a:b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excel; 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icing Scans</a:t>
              </a:r>
              <a:b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excel; 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eather</a:t>
              </a:r>
              <a:b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(excel; flat files)</a:t>
              </a:r>
            </a:p>
            <a:p>
              <a:pPr>
                <a:lnSpc>
                  <a:spcPct val="90000"/>
                </a:lnSpc>
                <a:spcAft>
                  <a:spcPts val="800"/>
                </a:spcAft>
              </a:pPr>
              <a:endParaRPr lang="en-US" sz="1400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54" name="Groep 53">
            <a:extLst>
              <a:ext uri="{FF2B5EF4-FFF2-40B4-BE49-F238E27FC236}">
                <a16:creationId xmlns:a16="http://schemas.microsoft.com/office/drawing/2014/main" xmlns="" id="{6210C99A-EE9A-43DB-BBAE-109B5A66BBB4}"/>
              </a:ext>
            </a:extLst>
          </p:cNvPr>
          <p:cNvGrpSpPr/>
          <p:nvPr/>
        </p:nvGrpSpPr>
        <p:grpSpPr>
          <a:xfrm>
            <a:off x="4329151" y="2420242"/>
            <a:ext cx="3666049" cy="3255456"/>
            <a:chOff x="4329151" y="2420242"/>
            <a:chExt cx="3666049" cy="3255456"/>
          </a:xfrm>
        </p:grpSpPr>
        <p:sp>
          <p:nvSpPr>
            <p:cNvPr id="46" name="Tekstvak 45">
              <a:extLst>
                <a:ext uri="{FF2B5EF4-FFF2-40B4-BE49-F238E27FC236}">
                  <a16:creationId xmlns:a16="http://schemas.microsoft.com/office/drawing/2014/main" xmlns="" id="{011CDFB6-9BDD-46AA-A291-F687FA1A25CF}"/>
                </a:ext>
              </a:extLst>
            </p:cNvPr>
            <p:cNvSpPr txBox="1"/>
            <p:nvPr/>
          </p:nvSpPr>
          <p:spPr>
            <a:xfrm>
              <a:off x="4465076" y="2420242"/>
              <a:ext cx="3530124" cy="3255456"/>
            </a:xfrm>
            <a:prstGeom prst="rect">
              <a:avLst/>
            </a:prstGeom>
            <a:noFill/>
          </p:spPr>
          <p:txBody>
            <a:bodyPr wrap="square" lIns="144000" tIns="0" rIns="0" bIns="0" rtlCol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23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redictive Analytics</a:t>
              </a:r>
            </a:p>
            <a:p>
              <a:pPr>
                <a:lnSpc>
                  <a:spcPct val="90000"/>
                </a:lnSpc>
                <a:spcAft>
                  <a:spcPts val="23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sights</a:t>
              </a:r>
            </a:p>
            <a:p>
              <a:pPr>
                <a:lnSpc>
                  <a:spcPct val="90000"/>
                </a:lnSpc>
                <a:spcAft>
                  <a:spcPts val="2300"/>
                </a:spcAft>
              </a:pPr>
              <a:r>
                <a:rPr lang="en-US" sz="1400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uthorization &amp; Security</a:t>
              </a:r>
            </a:p>
          </p:txBody>
        </p:sp>
        <p:cxnSp>
          <p:nvCxnSpPr>
            <p:cNvPr id="47" name="Rechte verbindingslijn 46">
              <a:extLst>
                <a:ext uri="{FF2B5EF4-FFF2-40B4-BE49-F238E27FC236}">
                  <a16:creationId xmlns:a16="http://schemas.microsoft.com/office/drawing/2014/main" xmlns="" id="{8A99531B-5F2B-4CB5-8A39-5D651B85FE7C}"/>
                </a:ext>
              </a:extLst>
            </p:cNvPr>
            <p:cNvCxnSpPr/>
            <p:nvPr/>
          </p:nvCxnSpPr>
          <p:spPr>
            <a:xfrm>
              <a:off x="4329151" y="3829908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Rechte verbindingslijn 47">
              <a:extLst>
                <a:ext uri="{FF2B5EF4-FFF2-40B4-BE49-F238E27FC236}">
                  <a16:creationId xmlns:a16="http://schemas.microsoft.com/office/drawing/2014/main" xmlns="" id="{B4BE1B53-4536-4E77-A103-8E05D5D22088}"/>
                </a:ext>
              </a:extLst>
            </p:cNvPr>
            <p:cNvCxnSpPr/>
            <p:nvPr/>
          </p:nvCxnSpPr>
          <p:spPr>
            <a:xfrm>
              <a:off x="4329151" y="3334608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Rechte verbindingslijn 48">
              <a:extLst>
                <a:ext uri="{FF2B5EF4-FFF2-40B4-BE49-F238E27FC236}">
                  <a16:creationId xmlns:a16="http://schemas.microsoft.com/office/drawing/2014/main" xmlns="" id="{D43F35AA-9C44-4520-9E65-652B1E6A28EC}"/>
                </a:ext>
              </a:extLst>
            </p:cNvPr>
            <p:cNvCxnSpPr/>
            <p:nvPr/>
          </p:nvCxnSpPr>
          <p:spPr>
            <a:xfrm>
              <a:off x="4329151" y="2845658"/>
              <a:ext cx="3530124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Rechthoek 55">
            <a:extLst>
              <a:ext uri="{FF2B5EF4-FFF2-40B4-BE49-F238E27FC236}">
                <a16:creationId xmlns:a16="http://schemas.microsoft.com/office/drawing/2014/main" xmlns="" id="{DA2B66E3-3CCA-4008-AA4D-1A834F05CFF8}"/>
              </a:ext>
            </a:extLst>
          </p:cNvPr>
          <p:cNvSpPr/>
          <p:nvPr/>
        </p:nvSpPr>
        <p:spPr>
          <a:xfrm>
            <a:off x="-19464" y="-9169"/>
            <a:ext cx="12209773" cy="2270456"/>
          </a:xfrm>
          <a:prstGeom prst="rect">
            <a:avLst/>
          </a:pr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34950169-1032-4255-81ED-56BE405ABB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en-US" dirty="0"/>
              <a:t>RFC has chosen a partner that can help us to, over time, </a:t>
            </a:r>
            <a:br>
              <a:rPr lang="en-US" dirty="0"/>
            </a:br>
            <a:r>
              <a:rPr lang="en-US" dirty="0"/>
              <a:t>create a learning system with increasing data input.</a:t>
            </a:r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xmlns="" id="{82790922-7651-49A3-8179-770107FA16B4}"/>
              </a:ext>
            </a:extLst>
          </p:cNvPr>
          <p:cNvSpPr txBox="1"/>
          <p:nvPr/>
        </p:nvSpPr>
        <p:spPr>
          <a:xfrm>
            <a:off x="543005" y="1895475"/>
            <a:ext cx="3530124" cy="2793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solidFill>
                  <a:schemeClr val="accent2"/>
                </a:solidFill>
              </a:rPr>
              <a:t>Internal data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xmlns="" id="{E095E4A1-687F-4318-BC8F-034B3E44176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037398" y="1444197"/>
            <a:ext cx="541337" cy="397063"/>
          </a:xfrm>
          <a:prstGeom prst="rect">
            <a:avLst/>
          </a:prstGeom>
        </p:spPr>
      </p:pic>
      <p:cxnSp>
        <p:nvCxnSpPr>
          <p:cNvPr id="22" name="Rechte verbindingslijn 21">
            <a:extLst>
              <a:ext uri="{FF2B5EF4-FFF2-40B4-BE49-F238E27FC236}">
                <a16:creationId xmlns:a16="http://schemas.microsoft.com/office/drawing/2014/main" xmlns="" id="{1FE6C8C4-01DA-4838-929F-B69FFBD4F929}"/>
              </a:ext>
            </a:extLst>
          </p:cNvPr>
          <p:cNvCxnSpPr/>
          <p:nvPr/>
        </p:nvCxnSpPr>
        <p:spPr>
          <a:xfrm>
            <a:off x="543005" y="2211860"/>
            <a:ext cx="3530124" cy="0"/>
          </a:xfrm>
          <a:prstGeom prst="line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kstvak 14">
            <a:extLst>
              <a:ext uri="{FF2B5EF4-FFF2-40B4-BE49-F238E27FC236}">
                <a16:creationId xmlns:a16="http://schemas.microsoft.com/office/drawing/2014/main" xmlns="" id="{D207CF4A-DD0F-45F0-8A17-70C501924B2E}"/>
              </a:ext>
            </a:extLst>
          </p:cNvPr>
          <p:cNvSpPr txBox="1"/>
          <p:nvPr/>
        </p:nvSpPr>
        <p:spPr>
          <a:xfrm>
            <a:off x="8115297" y="1895475"/>
            <a:ext cx="3530124" cy="2793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solidFill>
                  <a:schemeClr val="accent2"/>
                </a:solidFill>
              </a:rPr>
              <a:t>External data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xmlns="" id="{35997F2D-E383-43CF-88A8-A115E2AA912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9613265" y="1444197"/>
            <a:ext cx="541337" cy="397063"/>
          </a:xfrm>
          <a:prstGeom prst="rect">
            <a:avLst/>
          </a:prstGeom>
        </p:spPr>
      </p:pic>
      <p:cxnSp>
        <p:nvCxnSpPr>
          <p:cNvPr id="23" name="Rechte verbindingslijn 22">
            <a:extLst>
              <a:ext uri="{FF2B5EF4-FFF2-40B4-BE49-F238E27FC236}">
                <a16:creationId xmlns:a16="http://schemas.microsoft.com/office/drawing/2014/main" xmlns="" id="{C8E0AE3F-A186-46DC-A4E9-EE34B0E77282}"/>
              </a:ext>
            </a:extLst>
          </p:cNvPr>
          <p:cNvCxnSpPr/>
          <p:nvPr/>
        </p:nvCxnSpPr>
        <p:spPr>
          <a:xfrm>
            <a:off x="8115297" y="2215979"/>
            <a:ext cx="3530124" cy="0"/>
          </a:xfrm>
          <a:prstGeom prst="line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kstvak 42">
            <a:extLst>
              <a:ext uri="{FF2B5EF4-FFF2-40B4-BE49-F238E27FC236}">
                <a16:creationId xmlns:a16="http://schemas.microsoft.com/office/drawing/2014/main" xmlns="" id="{074EFD3E-71B8-4F68-8432-7727E66ADF5D}"/>
              </a:ext>
            </a:extLst>
          </p:cNvPr>
          <p:cNvSpPr txBox="1"/>
          <p:nvPr/>
        </p:nvSpPr>
        <p:spPr>
          <a:xfrm>
            <a:off x="4330938" y="1889579"/>
            <a:ext cx="3530124" cy="2793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solidFill>
                  <a:schemeClr val="accent2"/>
                </a:solidFill>
              </a:rPr>
              <a:t>Data platform</a:t>
            </a:r>
          </a:p>
        </p:txBody>
      </p:sp>
      <p:cxnSp>
        <p:nvCxnSpPr>
          <p:cNvPr id="44" name="Rechte verbindingslijn 43">
            <a:extLst>
              <a:ext uri="{FF2B5EF4-FFF2-40B4-BE49-F238E27FC236}">
                <a16:creationId xmlns:a16="http://schemas.microsoft.com/office/drawing/2014/main" xmlns="" id="{5EC2AC0F-A961-43B1-9514-D816754CDB01}"/>
              </a:ext>
            </a:extLst>
          </p:cNvPr>
          <p:cNvCxnSpPr/>
          <p:nvPr/>
        </p:nvCxnSpPr>
        <p:spPr>
          <a:xfrm>
            <a:off x="4330938" y="2205964"/>
            <a:ext cx="3530124" cy="0"/>
          </a:xfrm>
          <a:prstGeom prst="line">
            <a:avLst/>
          </a:prstGeom>
          <a:ln w="31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Afbeelding 44">
            <a:extLst>
              <a:ext uri="{FF2B5EF4-FFF2-40B4-BE49-F238E27FC236}">
                <a16:creationId xmlns:a16="http://schemas.microsoft.com/office/drawing/2014/main" xmlns="" id="{BB9C24A2-BC46-4423-AE84-186BB9E5AD9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825331" y="1444197"/>
            <a:ext cx="541338" cy="395389"/>
          </a:xfrm>
          <a:prstGeom prst="rect">
            <a:avLst/>
          </a:prstGeom>
        </p:spPr>
      </p:pic>
      <p:grpSp>
        <p:nvGrpSpPr>
          <p:cNvPr id="50" name="Groep 49">
            <a:extLst>
              <a:ext uri="{FF2B5EF4-FFF2-40B4-BE49-F238E27FC236}">
                <a16:creationId xmlns:a16="http://schemas.microsoft.com/office/drawing/2014/main" xmlns="" id="{7838E371-55B7-4F28-8C0E-F52C4E3271B5}"/>
              </a:ext>
            </a:extLst>
          </p:cNvPr>
          <p:cNvGrpSpPr/>
          <p:nvPr/>
        </p:nvGrpSpPr>
        <p:grpSpPr>
          <a:xfrm>
            <a:off x="4119732" y="1538514"/>
            <a:ext cx="166660" cy="426835"/>
            <a:chOff x="3880884" y="2041451"/>
            <a:chExt cx="340242" cy="871399"/>
          </a:xfrm>
        </p:grpSpPr>
        <p:cxnSp>
          <p:nvCxnSpPr>
            <p:cNvPr id="51" name="Rechte verbindingslijn 50">
              <a:extLst>
                <a:ext uri="{FF2B5EF4-FFF2-40B4-BE49-F238E27FC236}">
                  <a16:creationId xmlns:a16="http://schemas.microsoft.com/office/drawing/2014/main" xmlns="" id="{2D30CAF5-7A79-4CAD-B919-727317F54E6A}"/>
                </a:ext>
              </a:extLst>
            </p:cNvPr>
            <p:cNvCxnSpPr/>
            <p:nvPr/>
          </p:nvCxnSpPr>
          <p:spPr>
            <a:xfrm>
              <a:off x="3880884" y="2041451"/>
              <a:ext cx="340242" cy="435935"/>
            </a:xfrm>
            <a:prstGeom prst="line">
              <a:avLst/>
            </a:prstGeom>
            <a:ln w="1905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Rechte verbindingslijn 51">
              <a:extLst>
                <a:ext uri="{FF2B5EF4-FFF2-40B4-BE49-F238E27FC236}">
                  <a16:creationId xmlns:a16="http://schemas.microsoft.com/office/drawing/2014/main" xmlns="" id="{0B6734E4-5C02-4E16-9B1C-CCB046ADFC0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80884" y="2476915"/>
              <a:ext cx="340242" cy="435935"/>
            </a:xfrm>
            <a:prstGeom prst="line">
              <a:avLst/>
            </a:prstGeom>
            <a:ln w="1905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Groep 56">
            <a:extLst>
              <a:ext uri="{FF2B5EF4-FFF2-40B4-BE49-F238E27FC236}">
                <a16:creationId xmlns:a16="http://schemas.microsoft.com/office/drawing/2014/main" xmlns="" id="{E56BF9F5-91A8-4205-8E99-75F7145255A0}"/>
              </a:ext>
            </a:extLst>
          </p:cNvPr>
          <p:cNvGrpSpPr/>
          <p:nvPr/>
        </p:nvGrpSpPr>
        <p:grpSpPr>
          <a:xfrm rot="10800000">
            <a:off x="7907960" y="1538514"/>
            <a:ext cx="166660" cy="426835"/>
            <a:chOff x="3880884" y="2041451"/>
            <a:chExt cx="340242" cy="871399"/>
          </a:xfrm>
        </p:grpSpPr>
        <p:cxnSp>
          <p:nvCxnSpPr>
            <p:cNvPr id="58" name="Rechte verbindingslijn 57">
              <a:extLst>
                <a:ext uri="{FF2B5EF4-FFF2-40B4-BE49-F238E27FC236}">
                  <a16:creationId xmlns:a16="http://schemas.microsoft.com/office/drawing/2014/main" xmlns="" id="{08AA6F6B-E7BE-4998-9DF1-7B3E96208109}"/>
                </a:ext>
              </a:extLst>
            </p:cNvPr>
            <p:cNvCxnSpPr/>
            <p:nvPr/>
          </p:nvCxnSpPr>
          <p:spPr>
            <a:xfrm>
              <a:off x="3880884" y="2041451"/>
              <a:ext cx="340242" cy="435935"/>
            </a:xfrm>
            <a:prstGeom prst="line">
              <a:avLst/>
            </a:prstGeom>
            <a:ln w="1905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Rechte verbindingslijn 58">
              <a:extLst>
                <a:ext uri="{FF2B5EF4-FFF2-40B4-BE49-F238E27FC236}">
                  <a16:creationId xmlns:a16="http://schemas.microsoft.com/office/drawing/2014/main" xmlns="" id="{398C1666-B131-4354-B25C-8634FA75C46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80884" y="2476915"/>
              <a:ext cx="340242" cy="435935"/>
            </a:xfrm>
            <a:prstGeom prst="line">
              <a:avLst/>
            </a:prstGeom>
            <a:ln w="1905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xmlns="" id="{928875A3-8B9E-4890-8F03-FBF9163B3A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60" name="Tijdelijke aanduiding voor voettekst 3">
            <a:extLst>
              <a:ext uri="{FF2B5EF4-FFF2-40B4-BE49-F238E27FC236}">
                <a16:creationId xmlns:a16="http://schemas.microsoft.com/office/drawing/2014/main" xmlns="" id="{B767C8DA-D6BD-4CF9-9B8A-86FCFF553CCA}"/>
              </a:ext>
            </a:extLst>
          </p:cNvPr>
          <p:cNvSpPr txBox="1">
            <a:spLocks/>
          </p:cNvSpPr>
          <p:nvPr/>
        </p:nvSpPr>
        <p:spPr>
          <a:xfrm>
            <a:off x="543004" y="5924317"/>
            <a:ext cx="5683625" cy="2440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i="1" dirty="0"/>
              <a:t>Source: Visual fabric®</a:t>
            </a:r>
          </a:p>
        </p:txBody>
      </p:sp>
    </p:spTree>
    <p:extLst>
      <p:ext uri="{BB962C8B-B14F-4D97-AF65-F5344CB8AC3E}">
        <p14:creationId xmlns:p14="http://schemas.microsoft.com/office/powerpoint/2010/main" val="1418180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mph" presetSubtype="0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" presetClass="emp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7" dur="400" fill="hold"/>
                                        <p:tgtEl>
                                          <p:spTgt spid="50"/>
                                        </p:tgtEl>
                                      </p:cBhvr>
                                      <p:by x="103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50"/>
                            </p:stCondLst>
                            <p:childTnLst>
                              <p:par>
                                <p:cTn id="29" presetID="2" presetClass="entr" presetSubtype="1" decel="10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" presetClass="emph" presetSubtype="0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9" dur="500" fill="hold"/>
                                        <p:tgtEl>
                                          <p:spTgt spid="45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3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6" presetClass="emp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1" dur="400" fill="hold"/>
                                        <p:tgtEl>
                                          <p:spTgt spid="57"/>
                                        </p:tgtEl>
                                      </p:cBhvr>
                                      <p:by x="103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100"/>
                            </p:stCondLst>
                            <p:childTnLst>
                              <p:par>
                                <p:cTn id="53" presetID="2" presetClass="entr" presetSubtype="1" decel="10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" presetClass="emph" presetSubtype="0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3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4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xmlns="" id="{6A11F18D-7E34-4E46-AB83-00EFC14484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31373" y="-232229"/>
            <a:ext cx="13601716" cy="7322458"/>
          </a:xfrm>
          <a:prstGeom prst="rect">
            <a:avLst/>
          </a:prstGeom>
        </p:spPr>
      </p:pic>
      <p:pic>
        <p:nvPicPr>
          <p:cNvPr id="8" name="BOER">
            <a:extLst>
              <a:ext uri="{FF2B5EF4-FFF2-40B4-BE49-F238E27FC236}">
                <a16:creationId xmlns:a16="http://schemas.microsoft.com/office/drawing/2014/main" xmlns="" id="{7B265E71-73A1-4A32-AD14-85B70ADC0F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312"/>
          <a:stretch/>
        </p:blipFill>
        <p:spPr>
          <a:xfrm>
            <a:off x="638827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49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44000" decel="39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0 L -0.03256 0 " pathEditMode="relative" rAng="0" ptsTypes="AA">
                                      <p:cBhvr>
                                        <p:cTn id="6" dur="6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28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accel="44000" decel="39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6000" fill="hold"/>
                                        <p:tgtEl>
                                          <p:spTgt spid="8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35" presetClass="path" presetSubtype="0" accel="44000" decel="39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0 L -0.02057 0 " pathEditMode="relative" rAng="0" ptsTypes="AA">
                                      <p:cBhvr>
                                        <p:cTn id="10" dur="6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29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accel="44000" decel="39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6000" fill="hold"/>
                                        <p:tgtEl>
                                          <p:spTgt spid="6"/>
                                        </p:tgtEl>
                                      </p:cBhvr>
                                      <p:by x="97000" y="9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xmlns="" id="{425DE424-5FE7-43B1-A4A5-0F69CD81B9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A64A4BFB-5988-43CB-A3D2-54AF1410A35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teps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8B30311B-7C9E-49AA-970C-FD7207E46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Promo evaluation &amp; guideline</a:t>
            </a:r>
            <a:endParaRPr lang="nl-NL" dirty="0"/>
          </a:p>
        </p:txBody>
      </p:sp>
      <p:sp>
        <p:nvSpPr>
          <p:cNvPr id="29" name="Rechthoek: afgeronde hoeken 28">
            <a:extLst>
              <a:ext uri="{FF2B5EF4-FFF2-40B4-BE49-F238E27FC236}">
                <a16:creationId xmlns:a16="http://schemas.microsoft.com/office/drawing/2014/main" xmlns="" id="{D4087564-9085-4B8B-9259-4664DF9B50A2}"/>
              </a:ext>
            </a:extLst>
          </p:cNvPr>
          <p:cNvSpPr/>
          <p:nvPr/>
        </p:nvSpPr>
        <p:spPr>
          <a:xfrm>
            <a:off x="543004" y="2011279"/>
            <a:ext cx="1793795" cy="1341521"/>
          </a:xfrm>
          <a:prstGeom prst="roundRect">
            <a:avLst>
              <a:gd name="adj" fmla="val 3579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0" rIns="180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400" b="1" dirty="0">
                <a:solidFill>
                  <a:schemeClr val="bg1"/>
                </a:solidFill>
              </a:rPr>
              <a:t>Discipline on the workflow process</a:t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en-US" sz="14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0" name="Rechthoek: afgeronde hoeken 29">
            <a:extLst>
              <a:ext uri="{FF2B5EF4-FFF2-40B4-BE49-F238E27FC236}">
                <a16:creationId xmlns:a16="http://schemas.microsoft.com/office/drawing/2014/main" xmlns="" id="{08504243-D4A4-4CF8-8B2D-C9EE1ADE1AEB}"/>
              </a:ext>
            </a:extLst>
          </p:cNvPr>
          <p:cNvSpPr/>
          <p:nvPr/>
        </p:nvSpPr>
        <p:spPr>
          <a:xfrm>
            <a:off x="2868717" y="2011279"/>
            <a:ext cx="1793795" cy="1341521"/>
          </a:xfrm>
          <a:prstGeom prst="roundRect">
            <a:avLst>
              <a:gd name="adj" fmla="val 35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0" rIns="180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400" b="1" dirty="0">
                <a:solidFill>
                  <a:schemeClr val="bg1"/>
                </a:solidFill>
              </a:rPr>
              <a:t>Low </a:t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en-US" sz="1400" b="1" dirty="0">
                <a:solidFill>
                  <a:schemeClr val="bg1"/>
                </a:solidFill>
              </a:rPr>
              <a:t>hanging fruit</a:t>
            </a:r>
          </a:p>
        </p:txBody>
      </p:sp>
      <p:sp>
        <p:nvSpPr>
          <p:cNvPr id="31" name="Rechthoek: afgeronde hoeken 30">
            <a:extLst>
              <a:ext uri="{FF2B5EF4-FFF2-40B4-BE49-F238E27FC236}">
                <a16:creationId xmlns:a16="http://schemas.microsoft.com/office/drawing/2014/main" xmlns="" id="{5326AD4A-83A4-415C-BF6E-408C41298E3B}"/>
              </a:ext>
            </a:extLst>
          </p:cNvPr>
          <p:cNvSpPr/>
          <p:nvPr/>
        </p:nvSpPr>
        <p:spPr>
          <a:xfrm>
            <a:off x="5188015" y="2011279"/>
            <a:ext cx="1793795" cy="1341521"/>
          </a:xfrm>
          <a:prstGeom prst="roundRect">
            <a:avLst>
              <a:gd name="adj" fmla="val 3579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60000" rIns="108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400" b="1" dirty="0">
                <a:solidFill>
                  <a:schemeClr val="bg1"/>
                </a:solidFill>
              </a:rPr>
              <a:t>Check development </a:t>
            </a:r>
            <a:br>
              <a:rPr lang="en-US" sz="1400" b="1" dirty="0">
                <a:solidFill>
                  <a:schemeClr val="bg1"/>
                </a:solidFill>
              </a:rPr>
            </a:br>
            <a:r>
              <a:rPr lang="en-US" sz="1400" b="1" dirty="0">
                <a:solidFill>
                  <a:schemeClr val="bg1"/>
                </a:solidFill>
              </a:rPr>
              <a:t>and get insight on differences</a:t>
            </a:r>
          </a:p>
        </p:txBody>
      </p:sp>
      <p:sp>
        <p:nvSpPr>
          <p:cNvPr id="32" name="Rechthoek: afgeronde hoeken 31">
            <a:extLst>
              <a:ext uri="{FF2B5EF4-FFF2-40B4-BE49-F238E27FC236}">
                <a16:creationId xmlns:a16="http://schemas.microsoft.com/office/drawing/2014/main" xmlns="" id="{87FE37AA-E91F-4CD1-9D22-E71DB06A4D41}"/>
              </a:ext>
            </a:extLst>
          </p:cNvPr>
          <p:cNvSpPr/>
          <p:nvPr/>
        </p:nvSpPr>
        <p:spPr>
          <a:xfrm>
            <a:off x="7520143" y="2011279"/>
            <a:ext cx="1793795" cy="1341521"/>
          </a:xfrm>
          <a:prstGeom prst="roundRect">
            <a:avLst>
              <a:gd name="adj" fmla="val 35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0" rIns="180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400" b="1" dirty="0">
                <a:solidFill>
                  <a:schemeClr val="bg1"/>
                </a:solidFill>
              </a:rPr>
              <a:t>Start shifting small parts of the spend between</a:t>
            </a:r>
          </a:p>
        </p:txBody>
      </p:sp>
      <p:sp>
        <p:nvSpPr>
          <p:cNvPr id="38" name="Rechthoek: afgeronde hoeken 37">
            <a:extLst>
              <a:ext uri="{FF2B5EF4-FFF2-40B4-BE49-F238E27FC236}">
                <a16:creationId xmlns:a16="http://schemas.microsoft.com/office/drawing/2014/main" xmlns="" id="{43D23514-1546-48A1-A82A-F321FF9284AB}"/>
              </a:ext>
            </a:extLst>
          </p:cNvPr>
          <p:cNvSpPr/>
          <p:nvPr/>
        </p:nvSpPr>
        <p:spPr>
          <a:xfrm>
            <a:off x="9845856" y="2011279"/>
            <a:ext cx="1793795" cy="1341521"/>
          </a:xfrm>
          <a:prstGeom prst="roundRect">
            <a:avLst>
              <a:gd name="adj" fmla="val 357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0" rIns="180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400" b="1" dirty="0">
                <a:solidFill>
                  <a:schemeClr val="bg1"/>
                </a:solidFill>
              </a:rPr>
              <a:t>Guidelines</a:t>
            </a:r>
          </a:p>
        </p:txBody>
      </p:sp>
      <p:sp>
        <p:nvSpPr>
          <p:cNvPr id="39" name="Rechthoek: afgeronde hoeken 38">
            <a:extLst>
              <a:ext uri="{FF2B5EF4-FFF2-40B4-BE49-F238E27FC236}">
                <a16:creationId xmlns:a16="http://schemas.microsoft.com/office/drawing/2014/main" xmlns="" id="{C8FAAFEE-2616-4297-9EC3-72D7FF1078C5}"/>
              </a:ext>
            </a:extLst>
          </p:cNvPr>
          <p:cNvSpPr/>
          <p:nvPr/>
        </p:nvSpPr>
        <p:spPr>
          <a:xfrm>
            <a:off x="1041400" y="1586776"/>
            <a:ext cx="797002" cy="7970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25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2800" b="1" dirty="0">
                <a:solidFill>
                  <a:schemeClr val="accent1"/>
                </a:solidFill>
              </a:rPr>
              <a:t>1</a:t>
            </a:r>
          </a:p>
        </p:txBody>
      </p:sp>
      <p:sp>
        <p:nvSpPr>
          <p:cNvPr id="40" name="Rechthoek: afgeronde hoeken 39">
            <a:extLst>
              <a:ext uri="{FF2B5EF4-FFF2-40B4-BE49-F238E27FC236}">
                <a16:creationId xmlns:a16="http://schemas.microsoft.com/office/drawing/2014/main" xmlns="" id="{81514808-8A43-4CAF-AB91-1CB942722734}"/>
              </a:ext>
            </a:extLst>
          </p:cNvPr>
          <p:cNvSpPr/>
          <p:nvPr/>
        </p:nvSpPr>
        <p:spPr>
          <a:xfrm>
            <a:off x="3367113" y="1586776"/>
            <a:ext cx="797002" cy="7970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252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2800" b="1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41" name="Rechthoek: afgeronde hoeken 40">
            <a:extLst>
              <a:ext uri="{FF2B5EF4-FFF2-40B4-BE49-F238E27FC236}">
                <a16:creationId xmlns:a16="http://schemas.microsoft.com/office/drawing/2014/main" xmlns="" id="{55C9A4E4-89C4-4C2D-8005-FD02B4F6932B}"/>
              </a:ext>
            </a:extLst>
          </p:cNvPr>
          <p:cNvSpPr/>
          <p:nvPr/>
        </p:nvSpPr>
        <p:spPr>
          <a:xfrm>
            <a:off x="5686411" y="1586776"/>
            <a:ext cx="797002" cy="7970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28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2800" b="1" dirty="0">
                <a:solidFill>
                  <a:schemeClr val="accent3"/>
                </a:solidFill>
              </a:rPr>
              <a:t>3</a:t>
            </a:r>
          </a:p>
        </p:txBody>
      </p:sp>
      <p:sp>
        <p:nvSpPr>
          <p:cNvPr id="42" name="Rechthoek: afgeronde hoeken 41">
            <a:extLst>
              <a:ext uri="{FF2B5EF4-FFF2-40B4-BE49-F238E27FC236}">
                <a16:creationId xmlns:a16="http://schemas.microsoft.com/office/drawing/2014/main" xmlns="" id="{674A8625-E46B-4126-B54C-3723C6EC5382}"/>
              </a:ext>
            </a:extLst>
          </p:cNvPr>
          <p:cNvSpPr/>
          <p:nvPr/>
        </p:nvSpPr>
        <p:spPr>
          <a:xfrm>
            <a:off x="8018539" y="1586776"/>
            <a:ext cx="797002" cy="7970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28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2800" b="1" dirty="0">
                <a:solidFill>
                  <a:schemeClr val="accent3"/>
                </a:solidFill>
              </a:rPr>
              <a:t>4</a:t>
            </a:r>
          </a:p>
        </p:txBody>
      </p:sp>
      <p:sp>
        <p:nvSpPr>
          <p:cNvPr id="43" name="Rechthoek: afgeronde hoeken 42">
            <a:extLst>
              <a:ext uri="{FF2B5EF4-FFF2-40B4-BE49-F238E27FC236}">
                <a16:creationId xmlns:a16="http://schemas.microsoft.com/office/drawing/2014/main" xmlns="" id="{4BF6C128-6BEB-4453-96CF-16913EBAF201}"/>
              </a:ext>
            </a:extLst>
          </p:cNvPr>
          <p:cNvSpPr/>
          <p:nvPr/>
        </p:nvSpPr>
        <p:spPr>
          <a:xfrm>
            <a:off x="10344252" y="1586776"/>
            <a:ext cx="797002" cy="7970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28800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2800" b="1" dirty="0">
                <a:solidFill>
                  <a:schemeClr val="accent5"/>
                </a:solidFill>
              </a:rPr>
              <a:t>5</a:t>
            </a:r>
          </a:p>
        </p:txBody>
      </p:sp>
      <p:sp>
        <p:nvSpPr>
          <p:cNvPr id="44" name="Rechthoek: afgeronde hoeken 43">
            <a:extLst>
              <a:ext uri="{FF2B5EF4-FFF2-40B4-BE49-F238E27FC236}">
                <a16:creationId xmlns:a16="http://schemas.microsoft.com/office/drawing/2014/main" xmlns="" id="{CF728A1C-4A84-41EF-B8FD-28BDC274C86E}"/>
              </a:ext>
            </a:extLst>
          </p:cNvPr>
          <p:cNvSpPr/>
          <p:nvPr/>
        </p:nvSpPr>
        <p:spPr>
          <a:xfrm>
            <a:off x="2868717" y="3577612"/>
            <a:ext cx="1793795" cy="490621"/>
          </a:xfrm>
          <a:prstGeom prst="roundRect">
            <a:avLst>
              <a:gd name="adj" fmla="val 35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A&amp;P cost alignment</a:t>
            </a:r>
          </a:p>
        </p:txBody>
      </p:sp>
      <p:sp>
        <p:nvSpPr>
          <p:cNvPr id="45" name="Rechthoek: afgeronde hoeken 44">
            <a:extLst>
              <a:ext uri="{FF2B5EF4-FFF2-40B4-BE49-F238E27FC236}">
                <a16:creationId xmlns:a16="http://schemas.microsoft.com/office/drawing/2014/main" xmlns="" id="{A5CE11CB-A024-48B3-B2A6-FB6AF69DE972}"/>
              </a:ext>
            </a:extLst>
          </p:cNvPr>
          <p:cNvSpPr/>
          <p:nvPr/>
        </p:nvSpPr>
        <p:spPr>
          <a:xfrm>
            <a:off x="2868717" y="4293045"/>
            <a:ext cx="1793795" cy="490621"/>
          </a:xfrm>
          <a:prstGeom prst="roundRect">
            <a:avLst>
              <a:gd name="adj" fmla="val 357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Explore absolute 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top and tail</a:t>
            </a:r>
          </a:p>
        </p:txBody>
      </p:sp>
      <p:sp>
        <p:nvSpPr>
          <p:cNvPr id="47" name="Rechthoek: afgeronde hoeken 46">
            <a:extLst>
              <a:ext uri="{FF2B5EF4-FFF2-40B4-BE49-F238E27FC236}">
                <a16:creationId xmlns:a16="http://schemas.microsoft.com/office/drawing/2014/main" xmlns="" id="{715DDAF4-D697-4E97-868E-2E8FF7791E78}"/>
              </a:ext>
            </a:extLst>
          </p:cNvPr>
          <p:cNvSpPr/>
          <p:nvPr/>
        </p:nvSpPr>
        <p:spPr>
          <a:xfrm>
            <a:off x="7520143" y="3577612"/>
            <a:ext cx="1793795" cy="490621"/>
          </a:xfrm>
          <a:prstGeom prst="roundRect">
            <a:avLst>
              <a:gd name="adj" fmla="val 35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Accounts</a:t>
            </a:r>
          </a:p>
        </p:txBody>
      </p:sp>
      <p:sp>
        <p:nvSpPr>
          <p:cNvPr id="48" name="Rechthoek: afgeronde hoeken 47">
            <a:extLst>
              <a:ext uri="{FF2B5EF4-FFF2-40B4-BE49-F238E27FC236}">
                <a16:creationId xmlns:a16="http://schemas.microsoft.com/office/drawing/2014/main" xmlns="" id="{9E0D0670-C3F8-4E93-9548-833B5E55B58F}"/>
              </a:ext>
            </a:extLst>
          </p:cNvPr>
          <p:cNvSpPr/>
          <p:nvPr/>
        </p:nvSpPr>
        <p:spPr>
          <a:xfrm>
            <a:off x="7520143" y="4293045"/>
            <a:ext cx="1793795" cy="490621"/>
          </a:xfrm>
          <a:prstGeom prst="roundRect">
            <a:avLst>
              <a:gd name="adj" fmla="val 35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Brands</a:t>
            </a:r>
          </a:p>
        </p:txBody>
      </p:sp>
      <p:sp>
        <p:nvSpPr>
          <p:cNvPr id="49" name="Rechthoek: afgeronde hoeken 48">
            <a:extLst>
              <a:ext uri="{FF2B5EF4-FFF2-40B4-BE49-F238E27FC236}">
                <a16:creationId xmlns:a16="http://schemas.microsoft.com/office/drawing/2014/main" xmlns="" id="{29D79906-2768-46E6-8D6C-57B2E203CD34}"/>
              </a:ext>
            </a:extLst>
          </p:cNvPr>
          <p:cNvSpPr/>
          <p:nvPr/>
        </p:nvSpPr>
        <p:spPr>
          <a:xfrm>
            <a:off x="7520143" y="5008479"/>
            <a:ext cx="1793795" cy="490621"/>
          </a:xfrm>
          <a:prstGeom prst="roundRect">
            <a:avLst>
              <a:gd name="adj" fmla="val 357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Get into action</a:t>
            </a:r>
          </a:p>
        </p:txBody>
      </p:sp>
      <p:sp>
        <p:nvSpPr>
          <p:cNvPr id="50" name="Rechthoek: afgeronde hoeken 49">
            <a:extLst>
              <a:ext uri="{FF2B5EF4-FFF2-40B4-BE49-F238E27FC236}">
                <a16:creationId xmlns:a16="http://schemas.microsoft.com/office/drawing/2014/main" xmlns="" id="{F354E94D-FFD2-4A07-9311-7F051AB66B02}"/>
              </a:ext>
            </a:extLst>
          </p:cNvPr>
          <p:cNvSpPr/>
          <p:nvPr/>
        </p:nvSpPr>
        <p:spPr>
          <a:xfrm>
            <a:off x="9845856" y="3577612"/>
            <a:ext cx="1793795" cy="490621"/>
          </a:xfrm>
          <a:prstGeom prst="roundRect">
            <a:avLst>
              <a:gd name="adj" fmla="val 357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Number of promotions / promotional pressure</a:t>
            </a:r>
          </a:p>
        </p:txBody>
      </p:sp>
      <p:sp>
        <p:nvSpPr>
          <p:cNvPr id="51" name="Rechthoek: afgeronde hoeken 50">
            <a:extLst>
              <a:ext uri="{FF2B5EF4-FFF2-40B4-BE49-F238E27FC236}">
                <a16:creationId xmlns:a16="http://schemas.microsoft.com/office/drawing/2014/main" xmlns="" id="{67472FB5-F382-4E43-A49C-314DAD48B7AA}"/>
              </a:ext>
            </a:extLst>
          </p:cNvPr>
          <p:cNvSpPr/>
          <p:nvPr/>
        </p:nvSpPr>
        <p:spPr>
          <a:xfrm>
            <a:off x="9845856" y="4293045"/>
            <a:ext cx="1793795" cy="490621"/>
          </a:xfrm>
          <a:prstGeom prst="roundRect">
            <a:avLst>
              <a:gd name="adj" fmla="val 357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Promotion types 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and mechanisms</a:t>
            </a:r>
          </a:p>
        </p:txBody>
      </p:sp>
      <p:sp>
        <p:nvSpPr>
          <p:cNvPr id="52" name="Rechthoek: afgeronde hoeken 51">
            <a:extLst>
              <a:ext uri="{FF2B5EF4-FFF2-40B4-BE49-F238E27FC236}">
                <a16:creationId xmlns:a16="http://schemas.microsoft.com/office/drawing/2014/main" xmlns="" id="{9E779143-53BF-4224-9A52-1BA3EB5F4FD3}"/>
              </a:ext>
            </a:extLst>
          </p:cNvPr>
          <p:cNvSpPr/>
          <p:nvPr/>
        </p:nvSpPr>
        <p:spPr>
          <a:xfrm>
            <a:off x="9845856" y="5008479"/>
            <a:ext cx="1793795" cy="490621"/>
          </a:xfrm>
          <a:prstGeom prst="roundRect">
            <a:avLst>
              <a:gd name="adj" fmla="val 357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180000" bIns="0" rtlCol="0" anchor="ctr"/>
          <a:lstStyle/>
          <a:p>
            <a:pPr algn="ctr">
              <a:spcBef>
                <a:spcPts val="400"/>
              </a:spcBef>
              <a:spcAft>
                <a:spcPts val="400"/>
              </a:spcAft>
              <a:buClr>
                <a:schemeClr val="bg1"/>
              </a:buClr>
            </a:pPr>
            <a:r>
              <a:rPr lang="en-US" sz="1200" dirty="0">
                <a:solidFill>
                  <a:schemeClr val="bg1"/>
                </a:solidFill>
              </a:rPr>
              <a:t>Determine 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reasonable target</a:t>
            </a:r>
          </a:p>
        </p:txBody>
      </p:sp>
    </p:spTree>
    <p:extLst>
      <p:ext uri="{BB962C8B-B14F-4D97-AF65-F5344CB8AC3E}">
        <p14:creationId xmlns:p14="http://schemas.microsoft.com/office/powerpoint/2010/main" val="110590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400" fill="hold"/>
                                        <p:tgtEl>
                                          <p:spTgt spid="39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400" fill="hold"/>
                                        <p:tgtEl>
                                          <p:spTgt spid="40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75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mph" presetSubtype="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0" dur="400" fill="hold"/>
                                        <p:tgtEl>
                                          <p:spTgt spid="41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75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6" presetClass="emph" presetSubtype="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0" dur="400" fill="hold"/>
                                        <p:tgtEl>
                                          <p:spTgt spid="42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75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6" presetClass="emph" presetSubtype="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9" dur="400" fill="hold"/>
                                        <p:tgtEl>
                                          <p:spTgt spid="43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2" grpId="0" animBg="1"/>
      <p:bldP spid="38" grpId="0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5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xmlns="" id="{BF90D1FB-2E39-4968-B7AC-C847CAFCA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ea typeface="Calibri" pitchFamily="34" charset="0"/>
                <a:cs typeface="Calibri" pitchFamily="34" charset="0"/>
              </a:rPr>
              <a:t>TPM workflow makes evaluation possible at all stages of workflow</a:t>
            </a:r>
            <a:endParaRPr lang="nl-NL" dirty="0"/>
          </a:p>
        </p:txBody>
      </p:sp>
      <p:grpSp>
        <p:nvGrpSpPr>
          <p:cNvPr id="95" name="Groep 94">
            <a:extLst>
              <a:ext uri="{FF2B5EF4-FFF2-40B4-BE49-F238E27FC236}">
                <a16:creationId xmlns:a16="http://schemas.microsoft.com/office/drawing/2014/main" xmlns="" id="{0C2604F9-7768-4D82-9D5F-EEF1820AE213}"/>
              </a:ext>
            </a:extLst>
          </p:cNvPr>
          <p:cNvGrpSpPr/>
          <p:nvPr/>
        </p:nvGrpSpPr>
        <p:grpSpPr>
          <a:xfrm>
            <a:off x="893447" y="1760520"/>
            <a:ext cx="10398609" cy="432000"/>
            <a:chOff x="893447" y="1760520"/>
            <a:chExt cx="10398609" cy="432000"/>
          </a:xfrm>
        </p:grpSpPr>
        <p:sp>
          <p:nvSpPr>
            <p:cNvPr id="12" name="Rechthoek: afgeronde hoeken 11">
              <a:extLst>
                <a:ext uri="{FF2B5EF4-FFF2-40B4-BE49-F238E27FC236}">
                  <a16:creationId xmlns:a16="http://schemas.microsoft.com/office/drawing/2014/main" xmlns="" id="{B6F7B267-FFFB-4185-8F2C-54E031787C85}"/>
                </a:ext>
              </a:extLst>
            </p:cNvPr>
            <p:cNvSpPr/>
            <p:nvPr/>
          </p:nvSpPr>
          <p:spPr>
            <a:xfrm>
              <a:off x="893447" y="1760520"/>
              <a:ext cx="809229" cy="432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/>
              <a:r>
                <a:rPr lang="nl-NL" sz="1100" dirty="0" err="1"/>
                <a:t>Year</a:t>
              </a:r>
              <a:r>
                <a:rPr lang="nl-NL" sz="1100" dirty="0"/>
                <a:t> Plan</a:t>
              </a:r>
            </a:p>
          </p:txBody>
        </p:sp>
        <p:sp>
          <p:nvSpPr>
            <p:cNvPr id="14" name="Rechthoek: afgeronde hoeken 13">
              <a:extLst>
                <a:ext uri="{FF2B5EF4-FFF2-40B4-BE49-F238E27FC236}">
                  <a16:creationId xmlns:a16="http://schemas.microsoft.com/office/drawing/2014/main" xmlns="" id="{8D316585-7B94-443D-A177-F928FBC4B5F7}"/>
                </a:ext>
              </a:extLst>
            </p:cNvPr>
            <p:cNvSpPr/>
            <p:nvPr/>
          </p:nvSpPr>
          <p:spPr>
            <a:xfrm>
              <a:off x="1958934" y="1760520"/>
              <a:ext cx="809229" cy="432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/>
              <a:r>
                <a:rPr lang="nl-NL" sz="1100" dirty="0"/>
                <a:t>Promotion entry</a:t>
              </a:r>
            </a:p>
          </p:txBody>
        </p:sp>
        <p:sp>
          <p:nvSpPr>
            <p:cNvPr id="15" name="Rechthoek: afgeronde hoeken 14">
              <a:extLst>
                <a:ext uri="{FF2B5EF4-FFF2-40B4-BE49-F238E27FC236}">
                  <a16:creationId xmlns:a16="http://schemas.microsoft.com/office/drawing/2014/main" xmlns="" id="{51ADFEE3-E702-4A4D-8310-5AB734E273C7}"/>
                </a:ext>
              </a:extLst>
            </p:cNvPr>
            <p:cNvSpPr/>
            <p:nvPr/>
          </p:nvSpPr>
          <p:spPr>
            <a:xfrm>
              <a:off x="3024421" y="1760520"/>
              <a:ext cx="809229" cy="432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/>
              <a:r>
                <a:rPr lang="nl-NL" sz="1100" dirty="0" err="1"/>
                <a:t>Approval</a:t>
              </a:r>
              <a:endParaRPr lang="nl-NL" sz="1100" dirty="0"/>
            </a:p>
          </p:txBody>
        </p:sp>
        <p:sp>
          <p:nvSpPr>
            <p:cNvPr id="16" name="Rechthoek: afgeronde hoeken 15">
              <a:extLst>
                <a:ext uri="{FF2B5EF4-FFF2-40B4-BE49-F238E27FC236}">
                  <a16:creationId xmlns:a16="http://schemas.microsoft.com/office/drawing/2014/main" xmlns="" id="{7EECE8A4-1047-408F-A0EF-46EA95C5099F}"/>
                </a:ext>
              </a:extLst>
            </p:cNvPr>
            <p:cNvSpPr/>
            <p:nvPr/>
          </p:nvSpPr>
          <p:spPr>
            <a:xfrm>
              <a:off x="4089907" y="1760520"/>
              <a:ext cx="809229" cy="432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/>
              <a:r>
                <a:rPr lang="nl-NL" sz="1100" dirty="0"/>
                <a:t>Planning</a:t>
              </a:r>
            </a:p>
          </p:txBody>
        </p:sp>
        <p:sp>
          <p:nvSpPr>
            <p:cNvPr id="17" name="Rechthoek: afgeronde hoeken 16">
              <a:extLst>
                <a:ext uri="{FF2B5EF4-FFF2-40B4-BE49-F238E27FC236}">
                  <a16:creationId xmlns:a16="http://schemas.microsoft.com/office/drawing/2014/main" xmlns="" id="{00E5365F-C9E3-4BEB-B246-687E44AB40F8}"/>
                </a:ext>
              </a:extLst>
            </p:cNvPr>
            <p:cNvSpPr/>
            <p:nvPr/>
          </p:nvSpPr>
          <p:spPr>
            <a:xfrm>
              <a:off x="5155394" y="1760520"/>
              <a:ext cx="1874716" cy="432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/>
              <a:r>
                <a:rPr lang="nl-NL" sz="1100" dirty="0" err="1"/>
                <a:t>Negotiate</a:t>
              </a:r>
              <a:endParaRPr lang="nl-NL" sz="1100" dirty="0"/>
            </a:p>
          </p:txBody>
        </p:sp>
        <p:sp>
          <p:nvSpPr>
            <p:cNvPr id="19" name="Rechthoek: afgeronde hoeken 18">
              <a:extLst>
                <a:ext uri="{FF2B5EF4-FFF2-40B4-BE49-F238E27FC236}">
                  <a16:creationId xmlns:a16="http://schemas.microsoft.com/office/drawing/2014/main" xmlns="" id="{E004BBE8-3B35-46EE-9435-85CC1EC67B5D}"/>
                </a:ext>
              </a:extLst>
            </p:cNvPr>
            <p:cNvSpPr/>
            <p:nvPr/>
          </p:nvSpPr>
          <p:spPr>
            <a:xfrm>
              <a:off x="7286367" y="1760520"/>
              <a:ext cx="1874715" cy="432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/>
              <a:r>
                <a:rPr lang="nl-NL" sz="1100" dirty="0" err="1"/>
                <a:t>Finalised</a:t>
              </a:r>
              <a:endParaRPr lang="nl-NL" sz="1100" dirty="0"/>
            </a:p>
          </p:txBody>
        </p:sp>
        <p:sp>
          <p:nvSpPr>
            <p:cNvPr id="21" name="Rechthoek: afgeronde hoeken 20">
              <a:extLst>
                <a:ext uri="{FF2B5EF4-FFF2-40B4-BE49-F238E27FC236}">
                  <a16:creationId xmlns:a16="http://schemas.microsoft.com/office/drawing/2014/main" xmlns="" id="{1A38718D-F237-434A-A6AF-4AA657CDE5EC}"/>
                </a:ext>
              </a:extLst>
            </p:cNvPr>
            <p:cNvSpPr/>
            <p:nvPr/>
          </p:nvSpPr>
          <p:spPr>
            <a:xfrm>
              <a:off x="9417342" y="1760520"/>
              <a:ext cx="809229" cy="432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 anchorCtr="0"/>
            <a:lstStyle/>
            <a:p>
              <a:pPr algn="ctr"/>
              <a:r>
                <a:rPr lang="nl-NL" sz="1050" dirty="0" err="1"/>
                <a:t>Settlements</a:t>
              </a:r>
              <a:endParaRPr lang="nl-NL" sz="1050" dirty="0"/>
            </a:p>
          </p:txBody>
        </p:sp>
        <p:sp>
          <p:nvSpPr>
            <p:cNvPr id="22" name="Rechthoek: afgeronde hoeken 21">
              <a:extLst>
                <a:ext uri="{FF2B5EF4-FFF2-40B4-BE49-F238E27FC236}">
                  <a16:creationId xmlns:a16="http://schemas.microsoft.com/office/drawing/2014/main" xmlns="" id="{23E1EC28-82BE-4CC9-B47C-AB2D23F9BAC4}"/>
                </a:ext>
              </a:extLst>
            </p:cNvPr>
            <p:cNvSpPr/>
            <p:nvPr/>
          </p:nvSpPr>
          <p:spPr>
            <a:xfrm>
              <a:off x="10482827" y="1760520"/>
              <a:ext cx="809229" cy="432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/>
              <a:r>
                <a:rPr lang="nl-NL" sz="1100" dirty="0"/>
                <a:t>Evaluation</a:t>
              </a:r>
            </a:p>
          </p:txBody>
        </p:sp>
      </p:grpSp>
      <p:grpSp>
        <p:nvGrpSpPr>
          <p:cNvPr id="104" name="Groep 103">
            <a:extLst>
              <a:ext uri="{FF2B5EF4-FFF2-40B4-BE49-F238E27FC236}">
                <a16:creationId xmlns:a16="http://schemas.microsoft.com/office/drawing/2014/main" xmlns="" id="{51B481B9-D883-4E9A-B0B7-5A80B47B85F5}"/>
              </a:ext>
            </a:extLst>
          </p:cNvPr>
          <p:cNvGrpSpPr/>
          <p:nvPr/>
        </p:nvGrpSpPr>
        <p:grpSpPr>
          <a:xfrm>
            <a:off x="750633" y="2539719"/>
            <a:ext cx="10678661" cy="2534320"/>
            <a:chOff x="750633" y="2539719"/>
            <a:chExt cx="10678661" cy="2534320"/>
          </a:xfrm>
        </p:grpSpPr>
        <p:sp>
          <p:nvSpPr>
            <p:cNvPr id="35" name="Rechthoek 34">
              <a:extLst>
                <a:ext uri="{FF2B5EF4-FFF2-40B4-BE49-F238E27FC236}">
                  <a16:creationId xmlns:a16="http://schemas.microsoft.com/office/drawing/2014/main" xmlns="" id="{42C1B10E-D0DD-443D-A87F-9FD60E07FAE6}"/>
                </a:ext>
              </a:extLst>
            </p:cNvPr>
            <p:cNvSpPr/>
            <p:nvPr/>
          </p:nvSpPr>
          <p:spPr>
            <a:xfrm>
              <a:off x="750633" y="2539719"/>
              <a:ext cx="8537576" cy="2534320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30" name="Rechthoek: afgeronde hoeken 29">
              <a:extLst>
                <a:ext uri="{FF2B5EF4-FFF2-40B4-BE49-F238E27FC236}">
                  <a16:creationId xmlns:a16="http://schemas.microsoft.com/office/drawing/2014/main" xmlns="" id="{309EF1ED-41D0-462B-8081-F1C923A68BCC}"/>
                </a:ext>
              </a:extLst>
            </p:cNvPr>
            <p:cNvSpPr/>
            <p:nvPr/>
          </p:nvSpPr>
          <p:spPr>
            <a:xfrm>
              <a:off x="8351855" y="2965974"/>
              <a:ext cx="809229" cy="432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/>
              <a:r>
                <a:rPr lang="nl-NL" sz="1100" dirty="0"/>
                <a:t>In </a:t>
              </a:r>
              <a:r>
                <a:rPr lang="nl-NL" sz="1100" dirty="0" err="1"/>
                <a:t>progress</a:t>
              </a:r>
              <a:endParaRPr lang="nl-NL" sz="1100" dirty="0"/>
            </a:p>
          </p:txBody>
        </p:sp>
        <p:sp>
          <p:nvSpPr>
            <p:cNvPr id="36" name="Rechthoek 35">
              <a:extLst>
                <a:ext uri="{FF2B5EF4-FFF2-40B4-BE49-F238E27FC236}">
                  <a16:creationId xmlns:a16="http://schemas.microsoft.com/office/drawing/2014/main" xmlns="" id="{73635A23-0209-4945-AA83-F7F3A403C3F9}"/>
                </a:ext>
              </a:extLst>
            </p:cNvPr>
            <p:cNvSpPr/>
            <p:nvPr/>
          </p:nvSpPr>
          <p:spPr>
            <a:xfrm>
              <a:off x="9288209" y="2539719"/>
              <a:ext cx="2141085" cy="2534320"/>
            </a:xfrm>
            <a:prstGeom prst="rect">
              <a:avLst/>
            </a:prstGeom>
            <a:solidFill>
              <a:schemeClr val="bg1">
                <a:alpha val="73000"/>
              </a:schemeClr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31" name="Rechthoek: afgeronde hoeken 30">
              <a:extLst>
                <a:ext uri="{FF2B5EF4-FFF2-40B4-BE49-F238E27FC236}">
                  <a16:creationId xmlns:a16="http://schemas.microsoft.com/office/drawing/2014/main" xmlns="" id="{3018E29F-02F4-4BEF-A3D5-EA66B846C644}"/>
                </a:ext>
              </a:extLst>
            </p:cNvPr>
            <p:cNvSpPr/>
            <p:nvPr/>
          </p:nvSpPr>
          <p:spPr>
            <a:xfrm>
              <a:off x="9417342" y="2965974"/>
              <a:ext cx="809229" cy="432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/>
              <a:r>
                <a:rPr lang="nl-NL" sz="1100" dirty="0" err="1"/>
                <a:t>Rebates</a:t>
              </a:r>
              <a:r>
                <a:rPr lang="nl-NL" sz="1100" dirty="0"/>
                <a:t> &amp; </a:t>
              </a:r>
              <a:r>
                <a:rPr lang="nl-NL" sz="1100" dirty="0" err="1"/>
                <a:t>Payments</a:t>
              </a:r>
              <a:endParaRPr lang="nl-NL" sz="1100" dirty="0"/>
            </a:p>
          </p:txBody>
        </p:sp>
        <p:sp>
          <p:nvSpPr>
            <p:cNvPr id="32" name="Rechthoek: afgeronde hoeken 31">
              <a:extLst>
                <a:ext uri="{FF2B5EF4-FFF2-40B4-BE49-F238E27FC236}">
                  <a16:creationId xmlns:a16="http://schemas.microsoft.com/office/drawing/2014/main" xmlns="" id="{B63290F2-9026-4265-BFAE-83747192CE1C}"/>
                </a:ext>
              </a:extLst>
            </p:cNvPr>
            <p:cNvSpPr/>
            <p:nvPr/>
          </p:nvSpPr>
          <p:spPr>
            <a:xfrm>
              <a:off x="10482827" y="2965974"/>
              <a:ext cx="809229" cy="432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/>
              <a:r>
                <a:rPr lang="nl-NL" sz="1100" dirty="0" err="1"/>
                <a:t>Finished</a:t>
              </a:r>
              <a:endParaRPr lang="nl-NL" sz="1100" dirty="0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xmlns="" id="{2D6016B6-DA1E-4953-9C65-7E8DE41E96FC}"/>
                </a:ext>
              </a:extLst>
            </p:cNvPr>
            <p:cNvSpPr/>
            <p:nvPr/>
          </p:nvSpPr>
          <p:spPr>
            <a:xfrm>
              <a:off x="8297452" y="2628900"/>
              <a:ext cx="927195" cy="2709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44000" rIns="36000" bIns="144000" rtlCol="0" anchor="ctr"/>
            <a:lstStyle/>
            <a:p>
              <a:pPr algn="ctr"/>
              <a:r>
                <a:rPr lang="nl-NL" sz="800" dirty="0" err="1">
                  <a:solidFill>
                    <a:schemeClr val="tx2"/>
                  </a:solidFill>
                </a:rPr>
                <a:t>During</a:t>
              </a:r>
              <a:r>
                <a:rPr lang="nl-NL" sz="800" dirty="0">
                  <a:solidFill>
                    <a:schemeClr val="tx2"/>
                  </a:solidFill>
                </a:rPr>
                <a:t> </a:t>
              </a:r>
              <a:r>
                <a:rPr lang="nl-NL" sz="800" dirty="0" err="1">
                  <a:solidFill>
                    <a:schemeClr val="tx2"/>
                  </a:solidFill>
                </a:rPr>
                <a:t>buy</a:t>
              </a:r>
              <a:r>
                <a:rPr lang="nl-NL" sz="800" dirty="0">
                  <a:solidFill>
                    <a:schemeClr val="tx2"/>
                  </a:solidFill>
                </a:rPr>
                <a:t> in &amp; </a:t>
              </a:r>
              <a:r>
                <a:rPr lang="nl-NL" sz="800" dirty="0" err="1">
                  <a:solidFill>
                    <a:schemeClr val="tx2"/>
                  </a:solidFill>
                </a:rPr>
                <a:t>consumer</a:t>
              </a:r>
              <a:r>
                <a:rPr lang="nl-NL" sz="800" dirty="0">
                  <a:solidFill>
                    <a:schemeClr val="tx2"/>
                  </a:solidFill>
                </a:rPr>
                <a:t> </a:t>
              </a:r>
              <a:r>
                <a:rPr lang="nl-NL" sz="800" dirty="0" err="1">
                  <a:solidFill>
                    <a:schemeClr val="tx2"/>
                  </a:solidFill>
                </a:rPr>
                <a:t>period</a:t>
              </a:r>
              <a:endParaRPr lang="nl-NL" sz="800" dirty="0">
                <a:solidFill>
                  <a:schemeClr val="tx2"/>
                </a:solidFill>
              </a:endParaRPr>
            </a:p>
          </p:txBody>
        </p:sp>
        <p:sp>
          <p:nvSpPr>
            <p:cNvPr id="45" name="Rechthoek 44">
              <a:extLst>
                <a:ext uri="{FF2B5EF4-FFF2-40B4-BE49-F238E27FC236}">
                  <a16:creationId xmlns:a16="http://schemas.microsoft.com/office/drawing/2014/main" xmlns="" id="{EA2BACEA-FB30-4908-A230-B44F52E205FB}"/>
                </a:ext>
              </a:extLst>
            </p:cNvPr>
            <p:cNvSpPr/>
            <p:nvPr/>
          </p:nvSpPr>
          <p:spPr>
            <a:xfrm>
              <a:off x="9431854" y="2628900"/>
              <a:ext cx="780204" cy="2709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44000" rIns="36000" bIns="144000" rtlCol="0" anchor="ctr"/>
            <a:lstStyle/>
            <a:p>
              <a:pPr algn="ctr"/>
              <a:r>
                <a:rPr lang="nl-NL" sz="800" dirty="0">
                  <a:solidFill>
                    <a:schemeClr val="tx2"/>
                  </a:solidFill>
                </a:rPr>
                <a:t>Finance / Sales</a:t>
              </a:r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xmlns="" id="{2B9E685D-4AEF-4B9C-AD99-0280E8639C31}"/>
                </a:ext>
              </a:extLst>
            </p:cNvPr>
            <p:cNvSpPr/>
            <p:nvPr/>
          </p:nvSpPr>
          <p:spPr>
            <a:xfrm>
              <a:off x="10497339" y="2628900"/>
              <a:ext cx="780204" cy="2709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44000" rIns="36000" bIns="144000" rtlCol="0" anchor="ctr"/>
            <a:lstStyle/>
            <a:p>
              <a:pPr algn="ctr"/>
              <a:r>
                <a:rPr lang="nl-NL" sz="800" dirty="0">
                  <a:solidFill>
                    <a:schemeClr val="tx2"/>
                  </a:solidFill>
                </a:rPr>
                <a:t>Trade Marketing</a:t>
              </a:r>
            </a:p>
          </p:txBody>
        </p:sp>
        <p:sp>
          <p:nvSpPr>
            <p:cNvPr id="55" name="Rechthoek: afgeronde hoeken 54">
              <a:extLst>
                <a:ext uri="{FF2B5EF4-FFF2-40B4-BE49-F238E27FC236}">
                  <a16:creationId xmlns:a16="http://schemas.microsoft.com/office/drawing/2014/main" xmlns="" id="{86077B3B-7A04-42D6-83F8-8AB9A875EBFB}"/>
                </a:ext>
              </a:extLst>
            </p:cNvPr>
            <p:cNvSpPr/>
            <p:nvPr/>
          </p:nvSpPr>
          <p:spPr>
            <a:xfrm>
              <a:off x="8351855" y="3462887"/>
              <a:ext cx="236025" cy="216000"/>
            </a:xfrm>
            <a:prstGeom prst="roundRect">
              <a:avLst>
                <a:gd name="adj" fmla="val 833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72000" rtlCol="0" anchor="ctr" anchorCtr="0"/>
            <a:lstStyle/>
            <a:p>
              <a:pPr algn="ctr"/>
              <a:r>
                <a:rPr lang="nl-NL" sz="1100" dirty="0"/>
                <a:t>90</a:t>
              </a:r>
            </a:p>
          </p:txBody>
        </p:sp>
        <p:sp>
          <p:nvSpPr>
            <p:cNvPr id="56" name="Rechthoek: afgeronde hoeken 55">
              <a:extLst>
                <a:ext uri="{FF2B5EF4-FFF2-40B4-BE49-F238E27FC236}">
                  <a16:creationId xmlns:a16="http://schemas.microsoft.com/office/drawing/2014/main" xmlns="" id="{809F9086-F2BC-4CCF-8422-2180C5F3B093}"/>
                </a:ext>
              </a:extLst>
            </p:cNvPr>
            <p:cNvSpPr/>
            <p:nvPr/>
          </p:nvSpPr>
          <p:spPr>
            <a:xfrm>
              <a:off x="8925057" y="3462887"/>
              <a:ext cx="236025" cy="216000"/>
            </a:xfrm>
            <a:prstGeom prst="roundRect">
              <a:avLst>
                <a:gd name="adj" fmla="val 833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 anchorCtr="0"/>
            <a:lstStyle/>
            <a:p>
              <a:pPr algn="ctr"/>
              <a:r>
                <a:rPr lang="nl-NL" sz="1100" dirty="0"/>
                <a:t>100</a:t>
              </a:r>
            </a:p>
          </p:txBody>
        </p:sp>
        <p:sp>
          <p:nvSpPr>
            <p:cNvPr id="57" name="Rechthoek: afgeronde hoeken 56">
              <a:extLst>
                <a:ext uri="{FF2B5EF4-FFF2-40B4-BE49-F238E27FC236}">
                  <a16:creationId xmlns:a16="http://schemas.microsoft.com/office/drawing/2014/main" xmlns="" id="{452F37D1-B452-4919-9C5A-EA378A5296B6}"/>
                </a:ext>
              </a:extLst>
            </p:cNvPr>
            <p:cNvSpPr/>
            <p:nvPr/>
          </p:nvSpPr>
          <p:spPr>
            <a:xfrm>
              <a:off x="9417342" y="3462887"/>
              <a:ext cx="236025" cy="216000"/>
            </a:xfrm>
            <a:prstGeom prst="roundRect">
              <a:avLst>
                <a:gd name="adj" fmla="val 833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 anchorCtr="0"/>
            <a:lstStyle/>
            <a:p>
              <a:pPr algn="ctr"/>
              <a:r>
                <a:rPr lang="nl-NL" sz="1100" dirty="0"/>
                <a:t>110</a:t>
              </a:r>
            </a:p>
          </p:txBody>
        </p:sp>
        <p:sp>
          <p:nvSpPr>
            <p:cNvPr id="58" name="Rechthoek: afgeronde hoeken 57">
              <a:extLst>
                <a:ext uri="{FF2B5EF4-FFF2-40B4-BE49-F238E27FC236}">
                  <a16:creationId xmlns:a16="http://schemas.microsoft.com/office/drawing/2014/main" xmlns="" id="{2C67E501-0538-49F4-BA1F-284B8C072431}"/>
                </a:ext>
              </a:extLst>
            </p:cNvPr>
            <p:cNvSpPr/>
            <p:nvPr/>
          </p:nvSpPr>
          <p:spPr>
            <a:xfrm>
              <a:off x="10480820" y="3462887"/>
              <a:ext cx="236025" cy="216000"/>
            </a:xfrm>
            <a:prstGeom prst="roundRect">
              <a:avLst>
                <a:gd name="adj" fmla="val 833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 anchorCtr="0"/>
            <a:lstStyle/>
            <a:p>
              <a:pPr algn="ctr"/>
              <a:r>
                <a:rPr lang="nl-NL" sz="1100" dirty="0"/>
                <a:t>120</a:t>
              </a:r>
            </a:p>
          </p:txBody>
        </p:sp>
        <p:sp>
          <p:nvSpPr>
            <p:cNvPr id="59" name="Rechthoek: afgeronde hoeken 58">
              <a:extLst>
                <a:ext uri="{FF2B5EF4-FFF2-40B4-BE49-F238E27FC236}">
                  <a16:creationId xmlns:a16="http://schemas.microsoft.com/office/drawing/2014/main" xmlns="" id="{3B969705-A430-4A68-9A81-043BF36AF397}"/>
                </a:ext>
              </a:extLst>
            </p:cNvPr>
            <p:cNvSpPr/>
            <p:nvPr/>
          </p:nvSpPr>
          <p:spPr>
            <a:xfrm>
              <a:off x="11056030" y="3462887"/>
              <a:ext cx="236025" cy="216000"/>
            </a:xfrm>
            <a:prstGeom prst="roundRect">
              <a:avLst>
                <a:gd name="adj" fmla="val 833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0" bIns="72000" rtlCol="0" anchor="ctr" anchorCtr="0"/>
            <a:lstStyle/>
            <a:p>
              <a:pPr algn="ctr"/>
              <a:r>
                <a:rPr lang="nl-NL" sz="1100" dirty="0"/>
                <a:t>130</a:t>
              </a:r>
            </a:p>
          </p:txBody>
        </p:sp>
        <p:sp>
          <p:nvSpPr>
            <p:cNvPr id="61" name="Rechthoek 60">
              <a:extLst>
                <a:ext uri="{FF2B5EF4-FFF2-40B4-BE49-F238E27FC236}">
                  <a16:creationId xmlns:a16="http://schemas.microsoft.com/office/drawing/2014/main" xmlns="" id="{E568EB9F-333C-4FF8-9469-C766A876FC17}"/>
                </a:ext>
              </a:extLst>
            </p:cNvPr>
            <p:cNvSpPr/>
            <p:nvPr/>
          </p:nvSpPr>
          <p:spPr>
            <a:xfrm>
              <a:off x="3038933" y="4022138"/>
              <a:ext cx="780204" cy="2709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44000" rIns="36000" bIns="144000" rtlCol="0" anchor="ctr"/>
            <a:lstStyle/>
            <a:p>
              <a:pPr algn="ctr"/>
              <a:r>
                <a:rPr lang="nl-NL" sz="800" dirty="0" err="1">
                  <a:solidFill>
                    <a:schemeClr val="tx2"/>
                  </a:solidFill>
                </a:rPr>
                <a:t>Reject</a:t>
              </a:r>
              <a:endParaRPr lang="nl-NL" sz="800" dirty="0">
                <a:solidFill>
                  <a:schemeClr val="tx2"/>
                </a:solidFill>
              </a:endParaRPr>
            </a:p>
          </p:txBody>
        </p:sp>
        <p:sp>
          <p:nvSpPr>
            <p:cNvPr id="62" name="Rechthoek 61">
              <a:extLst>
                <a:ext uri="{FF2B5EF4-FFF2-40B4-BE49-F238E27FC236}">
                  <a16:creationId xmlns:a16="http://schemas.microsoft.com/office/drawing/2014/main" xmlns="" id="{1C29980D-96AB-4F63-B761-97395E95F9C8}"/>
                </a:ext>
              </a:extLst>
            </p:cNvPr>
            <p:cNvSpPr/>
            <p:nvPr/>
          </p:nvSpPr>
          <p:spPr>
            <a:xfrm>
              <a:off x="7351410" y="4731341"/>
              <a:ext cx="1936799" cy="2709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44000" rIns="36000" bIns="144000" rtlCol="0" anchor="ctr"/>
            <a:lstStyle/>
            <a:p>
              <a:pPr algn="ctr"/>
              <a:r>
                <a:rPr lang="nl-NL" sz="1100" dirty="0" err="1">
                  <a:solidFill>
                    <a:schemeClr val="tx2"/>
                  </a:solidFill>
                </a:rPr>
                <a:t>Create</a:t>
              </a:r>
              <a:r>
                <a:rPr lang="nl-NL" sz="1100" dirty="0">
                  <a:solidFill>
                    <a:schemeClr val="tx2"/>
                  </a:solidFill>
                </a:rPr>
                <a:t> </a:t>
              </a:r>
              <a:r>
                <a:rPr lang="nl-NL" sz="1100" dirty="0" err="1">
                  <a:solidFill>
                    <a:schemeClr val="tx2"/>
                  </a:solidFill>
                </a:rPr>
                <a:t>Rebates</a:t>
              </a:r>
              <a:r>
                <a:rPr lang="nl-NL" sz="1100" dirty="0">
                  <a:solidFill>
                    <a:schemeClr val="tx2"/>
                  </a:solidFill>
                </a:rPr>
                <a:t>/ </a:t>
              </a:r>
              <a:r>
                <a:rPr lang="nl-NL" sz="1100" dirty="0" err="1">
                  <a:solidFill>
                    <a:schemeClr val="tx2"/>
                  </a:solidFill>
                </a:rPr>
                <a:t>Accruals</a:t>
              </a:r>
              <a:endParaRPr lang="nl-NL" sz="1100" dirty="0">
                <a:solidFill>
                  <a:schemeClr val="tx2"/>
                </a:solidFill>
              </a:endParaRPr>
            </a:p>
          </p:txBody>
        </p:sp>
        <p:sp>
          <p:nvSpPr>
            <p:cNvPr id="63" name="Rechthoek 62">
              <a:extLst>
                <a:ext uri="{FF2B5EF4-FFF2-40B4-BE49-F238E27FC236}">
                  <a16:creationId xmlns:a16="http://schemas.microsoft.com/office/drawing/2014/main" xmlns="" id="{851BF973-6F29-4355-8C59-28C354918B60}"/>
                </a:ext>
              </a:extLst>
            </p:cNvPr>
            <p:cNvSpPr/>
            <p:nvPr/>
          </p:nvSpPr>
          <p:spPr>
            <a:xfrm>
              <a:off x="9385296" y="4731341"/>
              <a:ext cx="1936799" cy="2709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144000" rIns="36000" bIns="144000" rtlCol="0" anchor="ctr"/>
            <a:lstStyle/>
            <a:p>
              <a:pPr algn="ctr"/>
              <a:r>
                <a:rPr lang="nl-NL" sz="1100" dirty="0" err="1">
                  <a:solidFill>
                    <a:schemeClr val="tx2"/>
                  </a:solidFill>
                </a:rPr>
                <a:t>Book</a:t>
              </a:r>
              <a:r>
                <a:rPr lang="nl-NL" sz="1100" dirty="0">
                  <a:solidFill>
                    <a:schemeClr val="tx2"/>
                  </a:solidFill>
                </a:rPr>
                <a:t> </a:t>
              </a:r>
              <a:r>
                <a:rPr lang="nl-NL" sz="1100" dirty="0" err="1">
                  <a:solidFill>
                    <a:schemeClr val="tx2"/>
                  </a:solidFill>
                </a:rPr>
                <a:t>Costs</a:t>
              </a:r>
              <a:r>
                <a:rPr lang="nl-NL" sz="1100" dirty="0">
                  <a:solidFill>
                    <a:schemeClr val="tx2"/>
                  </a:solidFill>
                </a:rPr>
                <a:t> </a:t>
              </a:r>
              <a:r>
                <a:rPr lang="nl-NL" sz="1100" dirty="0" err="1">
                  <a:solidFill>
                    <a:schemeClr val="tx2"/>
                  </a:solidFill>
                </a:rPr>
                <a:t>against</a:t>
              </a:r>
              <a:r>
                <a:rPr lang="nl-NL" sz="1100" dirty="0">
                  <a:solidFill>
                    <a:schemeClr val="tx2"/>
                  </a:solidFill>
                </a:rPr>
                <a:t> </a:t>
              </a:r>
              <a:r>
                <a:rPr lang="nl-NL" sz="1100" dirty="0" err="1">
                  <a:solidFill>
                    <a:schemeClr val="tx2"/>
                  </a:solidFill>
                </a:rPr>
                <a:t>Accruals</a:t>
              </a:r>
              <a:endParaRPr lang="nl-NL" sz="1100" dirty="0">
                <a:solidFill>
                  <a:schemeClr val="tx2"/>
                </a:solidFill>
              </a:endParaRPr>
            </a:p>
          </p:txBody>
        </p:sp>
        <p:grpSp>
          <p:nvGrpSpPr>
            <p:cNvPr id="96" name="Groep 95">
              <a:extLst>
                <a:ext uri="{FF2B5EF4-FFF2-40B4-BE49-F238E27FC236}">
                  <a16:creationId xmlns:a16="http://schemas.microsoft.com/office/drawing/2014/main" xmlns="" id="{2B91CA3D-8324-48BE-8C49-0F822E72E0C0}"/>
                </a:ext>
              </a:extLst>
            </p:cNvPr>
            <p:cNvGrpSpPr/>
            <p:nvPr/>
          </p:nvGrpSpPr>
          <p:grpSpPr>
            <a:xfrm>
              <a:off x="893447" y="2628900"/>
              <a:ext cx="809229" cy="1049987"/>
              <a:chOff x="893447" y="2628900"/>
              <a:chExt cx="809229" cy="1049987"/>
            </a:xfrm>
          </p:grpSpPr>
          <p:sp>
            <p:nvSpPr>
              <p:cNvPr id="23" name="Rechthoek: afgeronde hoeken 22">
                <a:extLst>
                  <a:ext uri="{FF2B5EF4-FFF2-40B4-BE49-F238E27FC236}">
                    <a16:creationId xmlns:a16="http://schemas.microsoft.com/office/drawing/2014/main" xmlns="" id="{99683E21-C3D4-4547-BC8E-6296BAB78814}"/>
                  </a:ext>
                </a:extLst>
              </p:cNvPr>
              <p:cNvSpPr/>
              <p:nvPr/>
            </p:nvSpPr>
            <p:spPr>
              <a:xfrm>
                <a:off x="893447" y="2965974"/>
                <a:ext cx="809229" cy="432000"/>
              </a:xfrm>
              <a:prstGeom prst="roundRect">
                <a:avLst>
                  <a:gd name="adj" fmla="val 833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 anchorCtr="0"/>
              <a:lstStyle/>
              <a:p>
                <a:pPr algn="ctr"/>
                <a:r>
                  <a:rPr lang="nl-NL" sz="1100" dirty="0"/>
                  <a:t>Promotion </a:t>
                </a:r>
                <a:r>
                  <a:rPr lang="nl-NL" sz="1100" dirty="0" err="1"/>
                  <a:t>Year</a:t>
                </a:r>
                <a:r>
                  <a:rPr lang="nl-NL" sz="1100" dirty="0"/>
                  <a:t> Plan</a:t>
                </a:r>
              </a:p>
            </p:txBody>
          </p:sp>
          <p:sp>
            <p:nvSpPr>
              <p:cNvPr id="37" name="Rechthoek 36">
                <a:extLst>
                  <a:ext uri="{FF2B5EF4-FFF2-40B4-BE49-F238E27FC236}">
                    <a16:creationId xmlns:a16="http://schemas.microsoft.com/office/drawing/2014/main" xmlns="" id="{FBE79CF2-F379-4120-AE8C-0E8B9464B417}"/>
                  </a:ext>
                </a:extLst>
              </p:cNvPr>
              <p:cNvSpPr/>
              <p:nvPr/>
            </p:nvSpPr>
            <p:spPr>
              <a:xfrm>
                <a:off x="922472" y="2628900"/>
                <a:ext cx="780204" cy="2709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144000" rIns="36000" bIns="144000" rtlCol="0" anchor="ctr"/>
              <a:lstStyle/>
              <a:p>
                <a:pPr algn="ctr"/>
                <a:r>
                  <a:rPr lang="nl-NL" sz="800" dirty="0">
                    <a:solidFill>
                      <a:schemeClr val="tx2"/>
                    </a:solidFill>
                  </a:rPr>
                  <a:t>Account Manager</a:t>
                </a:r>
              </a:p>
            </p:txBody>
          </p:sp>
          <p:sp>
            <p:nvSpPr>
              <p:cNvPr id="47" name="Rechthoek: afgeronde hoeken 46">
                <a:extLst>
                  <a:ext uri="{FF2B5EF4-FFF2-40B4-BE49-F238E27FC236}">
                    <a16:creationId xmlns:a16="http://schemas.microsoft.com/office/drawing/2014/main" xmlns="" id="{0DDA1D98-1BC5-40CE-9ABD-8F0605305A61}"/>
                  </a:ext>
                </a:extLst>
              </p:cNvPr>
              <p:cNvSpPr/>
              <p:nvPr/>
            </p:nvSpPr>
            <p:spPr>
              <a:xfrm>
                <a:off x="893447" y="3462887"/>
                <a:ext cx="236025" cy="216000"/>
              </a:xfrm>
              <a:prstGeom prst="roundRect">
                <a:avLst>
                  <a:gd name="adj" fmla="val 8334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 anchorCtr="0"/>
              <a:lstStyle/>
              <a:p>
                <a:pPr algn="ctr"/>
                <a:r>
                  <a:rPr lang="nl-NL" sz="1100" dirty="0"/>
                  <a:t>10</a:t>
                </a:r>
              </a:p>
            </p:txBody>
          </p:sp>
        </p:grpSp>
        <p:grpSp>
          <p:nvGrpSpPr>
            <p:cNvPr id="98" name="Groep 97">
              <a:extLst>
                <a:ext uri="{FF2B5EF4-FFF2-40B4-BE49-F238E27FC236}">
                  <a16:creationId xmlns:a16="http://schemas.microsoft.com/office/drawing/2014/main" xmlns="" id="{3A25E040-252F-42F9-B33B-7F9B1EB28D59}"/>
                </a:ext>
              </a:extLst>
            </p:cNvPr>
            <p:cNvGrpSpPr/>
            <p:nvPr/>
          </p:nvGrpSpPr>
          <p:grpSpPr>
            <a:xfrm>
              <a:off x="3024421" y="2628900"/>
              <a:ext cx="809229" cy="1049987"/>
              <a:chOff x="3024421" y="2628900"/>
              <a:chExt cx="809229" cy="1049987"/>
            </a:xfrm>
          </p:grpSpPr>
          <p:sp>
            <p:nvSpPr>
              <p:cNvPr id="25" name="Rechthoek: afgeronde hoeken 24">
                <a:extLst>
                  <a:ext uri="{FF2B5EF4-FFF2-40B4-BE49-F238E27FC236}">
                    <a16:creationId xmlns:a16="http://schemas.microsoft.com/office/drawing/2014/main" xmlns="" id="{40C66219-5218-453A-A40B-8AC88291E273}"/>
                  </a:ext>
                </a:extLst>
              </p:cNvPr>
              <p:cNvSpPr/>
              <p:nvPr/>
            </p:nvSpPr>
            <p:spPr>
              <a:xfrm>
                <a:off x="3024421" y="2965974"/>
                <a:ext cx="809229" cy="432000"/>
              </a:xfrm>
              <a:prstGeom prst="roundRect">
                <a:avLst>
                  <a:gd name="adj" fmla="val 833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 anchorCtr="0"/>
              <a:lstStyle/>
              <a:p>
                <a:pPr algn="ctr"/>
                <a:r>
                  <a:rPr lang="nl-NL" sz="1100" dirty="0" err="1"/>
                  <a:t>Approval</a:t>
                </a:r>
                <a:r>
                  <a:rPr lang="nl-NL" sz="1100" dirty="0"/>
                  <a:t/>
                </a:r>
                <a:br>
                  <a:rPr lang="nl-NL" sz="1100" dirty="0"/>
                </a:br>
                <a:r>
                  <a:rPr lang="nl-NL" sz="1100" dirty="0" err="1"/>
                  <a:t>by</a:t>
                </a:r>
                <a:r>
                  <a:rPr lang="nl-NL" sz="1100" dirty="0"/>
                  <a:t> AM</a:t>
                </a:r>
              </a:p>
            </p:txBody>
          </p:sp>
          <p:sp>
            <p:nvSpPr>
              <p:cNvPr id="39" name="Rechthoek 38">
                <a:extLst>
                  <a:ext uri="{FF2B5EF4-FFF2-40B4-BE49-F238E27FC236}">
                    <a16:creationId xmlns:a16="http://schemas.microsoft.com/office/drawing/2014/main" xmlns="" id="{660BC881-82E7-47BD-8AE8-D0EAA1405D5D}"/>
                  </a:ext>
                </a:extLst>
              </p:cNvPr>
              <p:cNvSpPr/>
              <p:nvPr/>
            </p:nvSpPr>
            <p:spPr>
              <a:xfrm>
                <a:off x="3038933" y="2628900"/>
                <a:ext cx="780204" cy="2709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144000" rIns="36000" bIns="144000" rtlCol="0" anchor="ctr"/>
              <a:lstStyle/>
              <a:p>
                <a:pPr algn="ctr"/>
                <a:r>
                  <a:rPr lang="nl-NL" sz="800" dirty="0" err="1">
                    <a:solidFill>
                      <a:schemeClr val="tx2"/>
                    </a:solidFill>
                  </a:rPr>
                  <a:t>Responsible</a:t>
                </a:r>
                <a:endParaRPr lang="nl-NL" sz="8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0" name="Rechthoek: afgeronde hoeken 49">
                <a:extLst>
                  <a:ext uri="{FF2B5EF4-FFF2-40B4-BE49-F238E27FC236}">
                    <a16:creationId xmlns:a16="http://schemas.microsoft.com/office/drawing/2014/main" xmlns="" id="{D478D3FC-836C-494D-B7E9-7EFBE93D96D6}"/>
                  </a:ext>
                </a:extLst>
              </p:cNvPr>
              <p:cNvSpPr/>
              <p:nvPr/>
            </p:nvSpPr>
            <p:spPr>
              <a:xfrm>
                <a:off x="3024421" y="3462887"/>
                <a:ext cx="236025" cy="216000"/>
              </a:xfrm>
              <a:prstGeom prst="roundRect">
                <a:avLst>
                  <a:gd name="adj" fmla="val 8334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 anchorCtr="0"/>
              <a:lstStyle/>
              <a:p>
                <a:pPr algn="ctr"/>
                <a:r>
                  <a:rPr lang="nl-NL" sz="1100" dirty="0"/>
                  <a:t>40</a:t>
                </a:r>
              </a:p>
            </p:txBody>
          </p:sp>
        </p:grpSp>
        <p:grpSp>
          <p:nvGrpSpPr>
            <p:cNvPr id="99" name="Groep 98">
              <a:extLst>
                <a:ext uri="{FF2B5EF4-FFF2-40B4-BE49-F238E27FC236}">
                  <a16:creationId xmlns:a16="http://schemas.microsoft.com/office/drawing/2014/main" xmlns="" id="{81D68756-14FB-46AF-8BC1-041498B2848C}"/>
                </a:ext>
              </a:extLst>
            </p:cNvPr>
            <p:cNvGrpSpPr/>
            <p:nvPr/>
          </p:nvGrpSpPr>
          <p:grpSpPr>
            <a:xfrm>
              <a:off x="4084853" y="2628900"/>
              <a:ext cx="809229" cy="1049987"/>
              <a:chOff x="4084853" y="2628900"/>
              <a:chExt cx="809229" cy="1049987"/>
            </a:xfrm>
          </p:grpSpPr>
          <p:sp>
            <p:nvSpPr>
              <p:cNvPr id="26" name="Rechthoek: afgeronde hoeken 25">
                <a:extLst>
                  <a:ext uri="{FF2B5EF4-FFF2-40B4-BE49-F238E27FC236}">
                    <a16:creationId xmlns:a16="http://schemas.microsoft.com/office/drawing/2014/main" xmlns="" id="{7B177689-2B66-4C35-9F3D-213CC23314A2}"/>
                  </a:ext>
                </a:extLst>
              </p:cNvPr>
              <p:cNvSpPr/>
              <p:nvPr/>
            </p:nvSpPr>
            <p:spPr>
              <a:xfrm>
                <a:off x="4084853" y="2965974"/>
                <a:ext cx="809229" cy="432000"/>
              </a:xfrm>
              <a:prstGeom prst="roundRect">
                <a:avLst>
                  <a:gd name="adj" fmla="val 833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 anchorCtr="0"/>
              <a:lstStyle/>
              <a:p>
                <a:pPr algn="ctr"/>
                <a:r>
                  <a:rPr lang="nl-NL" sz="1100" dirty="0" err="1"/>
                  <a:t>Approval</a:t>
                </a:r>
                <a:r>
                  <a:rPr lang="nl-NL" sz="1100" dirty="0"/>
                  <a:t/>
                </a:r>
                <a:br>
                  <a:rPr lang="nl-NL" sz="1100" dirty="0"/>
                </a:br>
                <a:r>
                  <a:rPr lang="nl-NL" sz="1100" dirty="0" err="1"/>
                  <a:t>by</a:t>
                </a:r>
                <a:r>
                  <a:rPr lang="nl-NL" sz="1100" dirty="0"/>
                  <a:t> DP</a:t>
                </a:r>
              </a:p>
            </p:txBody>
          </p:sp>
          <p:sp>
            <p:nvSpPr>
              <p:cNvPr id="40" name="Rechthoek 39">
                <a:extLst>
                  <a:ext uri="{FF2B5EF4-FFF2-40B4-BE49-F238E27FC236}">
                    <a16:creationId xmlns:a16="http://schemas.microsoft.com/office/drawing/2014/main" xmlns="" id="{306CE8FF-205A-4578-A04F-90F5D81213EB}"/>
                  </a:ext>
                </a:extLst>
              </p:cNvPr>
              <p:cNvSpPr/>
              <p:nvPr/>
            </p:nvSpPr>
            <p:spPr>
              <a:xfrm>
                <a:off x="4104420" y="2628900"/>
                <a:ext cx="780204" cy="2709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144000" rIns="36000" bIns="144000" rtlCol="0" anchor="ctr"/>
              <a:lstStyle/>
              <a:p>
                <a:pPr algn="ctr"/>
                <a:r>
                  <a:rPr lang="nl-NL" sz="800" dirty="0" err="1">
                    <a:solidFill>
                      <a:schemeClr val="tx2"/>
                    </a:solidFill>
                  </a:rPr>
                  <a:t>Demand</a:t>
                </a:r>
                <a:r>
                  <a:rPr lang="nl-NL" sz="800" dirty="0">
                    <a:solidFill>
                      <a:schemeClr val="tx2"/>
                    </a:solidFill>
                  </a:rPr>
                  <a:t> Planning</a:t>
                </a:r>
              </a:p>
            </p:txBody>
          </p:sp>
          <p:sp>
            <p:nvSpPr>
              <p:cNvPr id="51" name="Rechthoek: afgeronde hoeken 50">
                <a:extLst>
                  <a:ext uri="{FF2B5EF4-FFF2-40B4-BE49-F238E27FC236}">
                    <a16:creationId xmlns:a16="http://schemas.microsoft.com/office/drawing/2014/main" xmlns="" id="{840E5117-8A64-4E3D-839C-607036B638B3}"/>
                  </a:ext>
                </a:extLst>
              </p:cNvPr>
              <p:cNvSpPr/>
              <p:nvPr/>
            </p:nvSpPr>
            <p:spPr>
              <a:xfrm>
                <a:off x="4084853" y="3462887"/>
                <a:ext cx="236025" cy="216000"/>
              </a:xfrm>
              <a:prstGeom prst="roundRect">
                <a:avLst>
                  <a:gd name="adj" fmla="val 8334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 anchorCtr="0"/>
              <a:lstStyle/>
              <a:p>
                <a:pPr algn="ctr"/>
                <a:r>
                  <a:rPr lang="nl-NL" sz="1100" dirty="0"/>
                  <a:t>50</a:t>
                </a:r>
              </a:p>
            </p:txBody>
          </p:sp>
        </p:grpSp>
        <p:grpSp>
          <p:nvGrpSpPr>
            <p:cNvPr id="100" name="Groep 99">
              <a:extLst>
                <a:ext uri="{FF2B5EF4-FFF2-40B4-BE49-F238E27FC236}">
                  <a16:creationId xmlns:a16="http://schemas.microsoft.com/office/drawing/2014/main" xmlns="" id="{67451805-17A7-4FB1-B74C-B87423AF8216}"/>
                </a:ext>
              </a:extLst>
            </p:cNvPr>
            <p:cNvGrpSpPr/>
            <p:nvPr/>
          </p:nvGrpSpPr>
          <p:grpSpPr>
            <a:xfrm>
              <a:off x="5155394" y="2628900"/>
              <a:ext cx="809229" cy="1049987"/>
              <a:chOff x="5155394" y="2628900"/>
              <a:chExt cx="809229" cy="1049987"/>
            </a:xfrm>
          </p:grpSpPr>
          <p:sp>
            <p:nvSpPr>
              <p:cNvPr id="27" name="Rechthoek: afgeronde hoeken 26">
                <a:extLst>
                  <a:ext uri="{FF2B5EF4-FFF2-40B4-BE49-F238E27FC236}">
                    <a16:creationId xmlns:a16="http://schemas.microsoft.com/office/drawing/2014/main" xmlns="" id="{082997C5-2ACB-4FFC-A64B-0DE02E01B598}"/>
                  </a:ext>
                </a:extLst>
              </p:cNvPr>
              <p:cNvSpPr/>
              <p:nvPr/>
            </p:nvSpPr>
            <p:spPr>
              <a:xfrm>
                <a:off x="5155394" y="2965974"/>
                <a:ext cx="809229" cy="432000"/>
              </a:xfrm>
              <a:prstGeom prst="roundRect">
                <a:avLst>
                  <a:gd name="adj" fmla="val 833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 anchorCtr="0"/>
              <a:lstStyle/>
              <a:p>
                <a:pPr algn="ctr"/>
                <a:r>
                  <a:rPr lang="nl-NL" sz="1100" dirty="0" err="1"/>
                  <a:t>Proposal</a:t>
                </a:r>
                <a:r>
                  <a:rPr lang="nl-NL" sz="1100" dirty="0"/>
                  <a:t/>
                </a:r>
                <a:br>
                  <a:rPr lang="nl-NL" sz="1100" dirty="0"/>
                </a:br>
                <a:r>
                  <a:rPr lang="nl-NL" sz="1100" dirty="0" err="1"/>
                  <a:t>finalised</a:t>
                </a:r>
                <a:endParaRPr lang="nl-NL" sz="1100" dirty="0"/>
              </a:p>
            </p:txBody>
          </p:sp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xmlns="" id="{19B71F8C-6F8C-464F-8720-F7BBA40CC3E2}"/>
                  </a:ext>
                </a:extLst>
              </p:cNvPr>
              <p:cNvSpPr/>
              <p:nvPr/>
            </p:nvSpPr>
            <p:spPr>
              <a:xfrm>
                <a:off x="5169907" y="2628900"/>
                <a:ext cx="780204" cy="2709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144000" rIns="36000" bIns="144000" rtlCol="0" anchor="ctr"/>
              <a:lstStyle/>
              <a:p>
                <a:pPr algn="ctr"/>
                <a:r>
                  <a:rPr lang="nl-NL" sz="800" dirty="0">
                    <a:solidFill>
                      <a:schemeClr val="tx2"/>
                    </a:solidFill>
                  </a:rPr>
                  <a:t>Account Manager</a:t>
                </a:r>
              </a:p>
            </p:txBody>
          </p:sp>
          <p:sp>
            <p:nvSpPr>
              <p:cNvPr id="52" name="Rechthoek: afgeronde hoeken 51">
                <a:extLst>
                  <a:ext uri="{FF2B5EF4-FFF2-40B4-BE49-F238E27FC236}">
                    <a16:creationId xmlns:a16="http://schemas.microsoft.com/office/drawing/2014/main" xmlns="" id="{09A98DB0-267F-433C-8BDD-6FAA7EEC63EC}"/>
                  </a:ext>
                </a:extLst>
              </p:cNvPr>
              <p:cNvSpPr/>
              <p:nvPr/>
            </p:nvSpPr>
            <p:spPr>
              <a:xfrm>
                <a:off x="5155394" y="3462887"/>
                <a:ext cx="236025" cy="216000"/>
              </a:xfrm>
              <a:prstGeom prst="roundRect">
                <a:avLst>
                  <a:gd name="adj" fmla="val 8334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 anchorCtr="0"/>
              <a:lstStyle/>
              <a:p>
                <a:pPr algn="ctr"/>
                <a:r>
                  <a:rPr lang="nl-NL" sz="1100" dirty="0"/>
                  <a:t>60</a:t>
                </a:r>
              </a:p>
            </p:txBody>
          </p:sp>
        </p:grpSp>
        <p:grpSp>
          <p:nvGrpSpPr>
            <p:cNvPr id="101" name="Groep 100">
              <a:extLst>
                <a:ext uri="{FF2B5EF4-FFF2-40B4-BE49-F238E27FC236}">
                  <a16:creationId xmlns:a16="http://schemas.microsoft.com/office/drawing/2014/main" xmlns="" id="{5A4A7DD9-72DF-4CDB-A2EA-C09C6C6DCDDF}"/>
                </a:ext>
              </a:extLst>
            </p:cNvPr>
            <p:cNvGrpSpPr/>
            <p:nvPr/>
          </p:nvGrpSpPr>
          <p:grpSpPr>
            <a:xfrm>
              <a:off x="6220881" y="2628900"/>
              <a:ext cx="809229" cy="1049987"/>
              <a:chOff x="6220881" y="2628900"/>
              <a:chExt cx="809229" cy="1049987"/>
            </a:xfrm>
          </p:grpSpPr>
          <p:sp>
            <p:nvSpPr>
              <p:cNvPr id="28" name="Rechthoek: afgeronde hoeken 27">
                <a:extLst>
                  <a:ext uri="{FF2B5EF4-FFF2-40B4-BE49-F238E27FC236}">
                    <a16:creationId xmlns:a16="http://schemas.microsoft.com/office/drawing/2014/main" xmlns="" id="{2FE63D6A-D652-4151-823A-AB4847A04277}"/>
                  </a:ext>
                </a:extLst>
              </p:cNvPr>
              <p:cNvSpPr/>
              <p:nvPr/>
            </p:nvSpPr>
            <p:spPr>
              <a:xfrm>
                <a:off x="6220881" y="2965974"/>
                <a:ext cx="809229" cy="432000"/>
              </a:xfrm>
              <a:prstGeom prst="roundRect">
                <a:avLst>
                  <a:gd name="adj" fmla="val 833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 anchorCtr="0"/>
              <a:lstStyle/>
              <a:p>
                <a:pPr algn="ctr"/>
                <a:r>
                  <a:rPr lang="nl-NL" sz="1100" dirty="0" err="1"/>
                  <a:t>Approve</a:t>
                </a:r>
                <a:r>
                  <a:rPr lang="nl-NL" sz="1100" dirty="0"/>
                  <a:t> </a:t>
                </a:r>
                <a:r>
                  <a:rPr lang="nl-NL" sz="1100" dirty="0" err="1"/>
                  <a:t>by</a:t>
                </a:r>
                <a:r>
                  <a:rPr lang="nl-NL" sz="1100" dirty="0"/>
                  <a:t> customer</a:t>
                </a:r>
              </a:p>
            </p:txBody>
          </p: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xmlns="" id="{5F7A1338-5109-40A7-938B-C1AFA185E155}"/>
                  </a:ext>
                </a:extLst>
              </p:cNvPr>
              <p:cNvSpPr/>
              <p:nvPr/>
            </p:nvSpPr>
            <p:spPr>
              <a:xfrm>
                <a:off x="6235394" y="2628900"/>
                <a:ext cx="780204" cy="2709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144000" rIns="36000" bIns="144000" rtlCol="0" anchor="ctr"/>
              <a:lstStyle/>
              <a:p>
                <a:pPr algn="ctr"/>
                <a:r>
                  <a:rPr lang="nl-NL" sz="800" dirty="0">
                    <a:solidFill>
                      <a:schemeClr val="tx2"/>
                    </a:solidFill>
                  </a:rPr>
                  <a:t>Customer</a:t>
                </a:r>
              </a:p>
            </p:txBody>
          </p:sp>
          <p:sp>
            <p:nvSpPr>
              <p:cNvPr id="53" name="Rechthoek: afgeronde hoeken 52">
                <a:extLst>
                  <a:ext uri="{FF2B5EF4-FFF2-40B4-BE49-F238E27FC236}">
                    <a16:creationId xmlns:a16="http://schemas.microsoft.com/office/drawing/2014/main" xmlns="" id="{7A6F5F28-C4D8-46C0-9674-A4699F565D66}"/>
                  </a:ext>
                </a:extLst>
              </p:cNvPr>
              <p:cNvSpPr/>
              <p:nvPr/>
            </p:nvSpPr>
            <p:spPr>
              <a:xfrm>
                <a:off x="6220881" y="3462887"/>
                <a:ext cx="236025" cy="216000"/>
              </a:xfrm>
              <a:prstGeom prst="roundRect">
                <a:avLst>
                  <a:gd name="adj" fmla="val 8334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 anchorCtr="0"/>
              <a:lstStyle/>
              <a:p>
                <a:pPr algn="ctr"/>
                <a:r>
                  <a:rPr lang="nl-NL" sz="1100" dirty="0"/>
                  <a:t>70</a:t>
                </a:r>
              </a:p>
            </p:txBody>
          </p:sp>
        </p:grpSp>
        <p:grpSp>
          <p:nvGrpSpPr>
            <p:cNvPr id="102" name="Groep 101">
              <a:extLst>
                <a:ext uri="{FF2B5EF4-FFF2-40B4-BE49-F238E27FC236}">
                  <a16:creationId xmlns:a16="http://schemas.microsoft.com/office/drawing/2014/main" xmlns="" id="{A8F5AA04-42BA-4041-A0F9-4CF2EDBB2308}"/>
                </a:ext>
              </a:extLst>
            </p:cNvPr>
            <p:cNvGrpSpPr/>
            <p:nvPr/>
          </p:nvGrpSpPr>
          <p:grpSpPr>
            <a:xfrm>
              <a:off x="7261996" y="2628900"/>
              <a:ext cx="833601" cy="1049987"/>
              <a:chOff x="7261996" y="2628900"/>
              <a:chExt cx="833601" cy="1049987"/>
            </a:xfrm>
          </p:grpSpPr>
          <p:sp>
            <p:nvSpPr>
              <p:cNvPr id="29" name="Rechthoek: afgeronde hoeken 28">
                <a:extLst>
                  <a:ext uri="{FF2B5EF4-FFF2-40B4-BE49-F238E27FC236}">
                    <a16:creationId xmlns:a16="http://schemas.microsoft.com/office/drawing/2014/main" xmlns="" id="{8A2332BB-6FFD-4477-A383-232A1C02CA0F}"/>
                  </a:ext>
                </a:extLst>
              </p:cNvPr>
              <p:cNvSpPr/>
              <p:nvPr/>
            </p:nvSpPr>
            <p:spPr>
              <a:xfrm>
                <a:off x="7286368" y="2965974"/>
                <a:ext cx="809229" cy="432000"/>
              </a:xfrm>
              <a:prstGeom prst="roundRect">
                <a:avLst>
                  <a:gd name="adj" fmla="val 833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 anchorCtr="0"/>
              <a:lstStyle/>
              <a:p>
                <a:pPr algn="ctr"/>
                <a:r>
                  <a:rPr lang="nl-NL" sz="1100" dirty="0" err="1"/>
                  <a:t>Planned</a:t>
                </a:r>
                <a:endParaRPr lang="nl-NL" sz="1100" dirty="0"/>
              </a:p>
            </p:txBody>
          </p:sp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xmlns="" id="{2AD371A0-AF79-4360-B686-0D1063F6F52B}"/>
                  </a:ext>
                </a:extLst>
              </p:cNvPr>
              <p:cNvSpPr/>
              <p:nvPr/>
            </p:nvSpPr>
            <p:spPr>
              <a:xfrm>
                <a:off x="7261996" y="2628900"/>
                <a:ext cx="780204" cy="2709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144000" rIns="36000" bIns="144000" rtlCol="0" anchor="ctr"/>
              <a:lstStyle/>
              <a:p>
                <a:pPr algn="ctr"/>
                <a:r>
                  <a:rPr lang="nl-NL" sz="800" dirty="0" err="1">
                    <a:solidFill>
                      <a:schemeClr val="tx2"/>
                    </a:solidFill>
                  </a:rPr>
                  <a:t>Before</a:t>
                </a:r>
                <a:r>
                  <a:rPr lang="nl-NL" sz="800" dirty="0">
                    <a:solidFill>
                      <a:schemeClr val="tx2"/>
                    </a:solidFill>
                  </a:rPr>
                  <a:t> </a:t>
                </a:r>
                <a:r>
                  <a:rPr lang="nl-NL" sz="800" dirty="0" err="1">
                    <a:solidFill>
                      <a:schemeClr val="tx2"/>
                    </a:solidFill>
                  </a:rPr>
                  <a:t>buy</a:t>
                </a:r>
                <a:r>
                  <a:rPr lang="nl-NL" sz="800" dirty="0">
                    <a:solidFill>
                      <a:schemeClr val="tx2"/>
                    </a:solidFill>
                  </a:rPr>
                  <a:t> </a:t>
                </a:r>
                <a:br>
                  <a:rPr lang="nl-NL" sz="800" dirty="0">
                    <a:solidFill>
                      <a:schemeClr val="tx2"/>
                    </a:solidFill>
                  </a:rPr>
                </a:br>
                <a:r>
                  <a:rPr lang="nl-NL" sz="800" dirty="0">
                    <a:solidFill>
                      <a:schemeClr val="tx2"/>
                    </a:solidFill>
                  </a:rPr>
                  <a:t>in </a:t>
                </a:r>
                <a:r>
                  <a:rPr lang="nl-NL" sz="800" dirty="0" err="1">
                    <a:solidFill>
                      <a:schemeClr val="tx2"/>
                    </a:solidFill>
                  </a:rPr>
                  <a:t>period</a:t>
                </a:r>
                <a:endParaRPr lang="nl-NL" sz="80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54" name="Rechthoek: afgeronde hoeken 53">
                <a:extLst>
                  <a:ext uri="{FF2B5EF4-FFF2-40B4-BE49-F238E27FC236}">
                    <a16:creationId xmlns:a16="http://schemas.microsoft.com/office/drawing/2014/main" xmlns="" id="{E01A0027-C1E3-4F52-8627-94FDE131BA4B}"/>
                  </a:ext>
                </a:extLst>
              </p:cNvPr>
              <p:cNvSpPr/>
              <p:nvPr/>
            </p:nvSpPr>
            <p:spPr>
              <a:xfrm>
                <a:off x="7291424" y="3462887"/>
                <a:ext cx="236025" cy="216000"/>
              </a:xfrm>
              <a:prstGeom prst="roundRect">
                <a:avLst>
                  <a:gd name="adj" fmla="val 8334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 anchorCtr="0"/>
              <a:lstStyle/>
              <a:p>
                <a:pPr algn="ctr"/>
                <a:r>
                  <a:rPr lang="nl-NL" sz="1100" dirty="0"/>
                  <a:t>80</a:t>
                </a:r>
              </a:p>
            </p:txBody>
          </p:sp>
        </p:grpSp>
        <p:grpSp>
          <p:nvGrpSpPr>
            <p:cNvPr id="97" name="Groep 96">
              <a:extLst>
                <a:ext uri="{FF2B5EF4-FFF2-40B4-BE49-F238E27FC236}">
                  <a16:creationId xmlns:a16="http://schemas.microsoft.com/office/drawing/2014/main" xmlns="" id="{D629FD2C-C2EB-4977-969B-C7406160D771}"/>
                </a:ext>
              </a:extLst>
            </p:cNvPr>
            <p:cNvGrpSpPr/>
            <p:nvPr/>
          </p:nvGrpSpPr>
          <p:grpSpPr>
            <a:xfrm>
              <a:off x="1911323" y="2628900"/>
              <a:ext cx="1106578" cy="2279059"/>
              <a:chOff x="1911323" y="2628900"/>
              <a:chExt cx="1106578" cy="2279059"/>
            </a:xfrm>
          </p:grpSpPr>
          <p:sp>
            <p:nvSpPr>
              <p:cNvPr id="24" name="Rechthoek: afgeronde hoeken 23">
                <a:extLst>
                  <a:ext uri="{FF2B5EF4-FFF2-40B4-BE49-F238E27FC236}">
                    <a16:creationId xmlns:a16="http://schemas.microsoft.com/office/drawing/2014/main" xmlns="" id="{8DB865D5-DDF3-4BC1-9FB4-2208982FC20D}"/>
                  </a:ext>
                </a:extLst>
              </p:cNvPr>
              <p:cNvSpPr/>
              <p:nvPr/>
            </p:nvSpPr>
            <p:spPr>
              <a:xfrm>
                <a:off x="1958934" y="2965974"/>
                <a:ext cx="809229" cy="432000"/>
              </a:xfrm>
              <a:prstGeom prst="roundRect">
                <a:avLst>
                  <a:gd name="adj" fmla="val 833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 anchorCtr="0"/>
              <a:lstStyle/>
              <a:p>
                <a:pPr algn="ctr"/>
                <a:r>
                  <a:rPr lang="nl-NL" sz="1100" dirty="0"/>
                  <a:t>Promotion entry</a:t>
                </a:r>
              </a:p>
            </p:txBody>
          </p:sp>
          <p:sp>
            <p:nvSpPr>
              <p:cNvPr id="33" name="Rechthoek: afgeronde hoeken 32">
                <a:extLst>
                  <a:ext uri="{FF2B5EF4-FFF2-40B4-BE49-F238E27FC236}">
                    <a16:creationId xmlns:a16="http://schemas.microsoft.com/office/drawing/2014/main" xmlns="" id="{5D7E6CF0-CA77-4F2A-8586-5500B0D5B67A}"/>
                  </a:ext>
                </a:extLst>
              </p:cNvPr>
              <p:cNvSpPr/>
              <p:nvPr/>
            </p:nvSpPr>
            <p:spPr>
              <a:xfrm>
                <a:off x="1958934" y="3720966"/>
                <a:ext cx="809229" cy="432000"/>
              </a:xfrm>
              <a:prstGeom prst="roundRect">
                <a:avLst>
                  <a:gd name="adj" fmla="val 833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 anchorCtr="0"/>
              <a:lstStyle/>
              <a:p>
                <a:pPr algn="ctr"/>
                <a:r>
                  <a:rPr lang="nl-NL" sz="1100" dirty="0" err="1"/>
                  <a:t>Rejected</a:t>
                </a:r>
                <a:endParaRPr lang="nl-NL" sz="1100" dirty="0"/>
              </a:p>
            </p:txBody>
          </p:sp>
          <p:sp>
            <p:nvSpPr>
              <p:cNvPr id="34" name="Rechthoek: afgeronde hoeken 33">
                <a:extLst>
                  <a:ext uri="{FF2B5EF4-FFF2-40B4-BE49-F238E27FC236}">
                    <a16:creationId xmlns:a16="http://schemas.microsoft.com/office/drawing/2014/main" xmlns="" id="{5B04C26B-4451-4362-AB3C-F91E3F1BF84D}"/>
                  </a:ext>
                </a:extLst>
              </p:cNvPr>
              <p:cNvSpPr/>
              <p:nvPr/>
            </p:nvSpPr>
            <p:spPr>
              <a:xfrm>
                <a:off x="1958934" y="4475959"/>
                <a:ext cx="809229" cy="432000"/>
              </a:xfrm>
              <a:prstGeom prst="roundRect">
                <a:avLst>
                  <a:gd name="adj" fmla="val 8334"/>
                </a:avLst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 anchorCtr="0"/>
              <a:lstStyle/>
              <a:p>
                <a:pPr algn="ctr"/>
                <a:r>
                  <a:rPr lang="nl-NL" sz="1100" dirty="0" err="1"/>
                  <a:t>Deleted</a:t>
                </a:r>
                <a:endParaRPr lang="nl-NL" sz="1100" dirty="0"/>
              </a:p>
            </p:txBody>
          </p:sp>
          <p:sp>
            <p:nvSpPr>
              <p:cNvPr id="38" name="Rechthoek 37">
                <a:extLst>
                  <a:ext uri="{FF2B5EF4-FFF2-40B4-BE49-F238E27FC236}">
                    <a16:creationId xmlns:a16="http://schemas.microsoft.com/office/drawing/2014/main" xmlns="" id="{9882491B-0DA1-4414-9948-F044AE8973AA}"/>
                  </a:ext>
                </a:extLst>
              </p:cNvPr>
              <p:cNvSpPr/>
              <p:nvPr/>
            </p:nvSpPr>
            <p:spPr>
              <a:xfrm>
                <a:off x="1911323" y="2628900"/>
                <a:ext cx="913736" cy="2709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144000" rIns="36000" bIns="144000" rtlCol="0" anchor="ctr"/>
              <a:lstStyle/>
              <a:p>
                <a:pPr algn="ctr"/>
                <a:r>
                  <a:rPr lang="nl-NL" sz="800" dirty="0">
                    <a:solidFill>
                      <a:schemeClr val="tx2"/>
                    </a:solidFill>
                  </a:rPr>
                  <a:t>Account manager/ Assistant</a:t>
                </a:r>
              </a:p>
            </p:txBody>
          </p:sp>
          <p:sp>
            <p:nvSpPr>
              <p:cNvPr id="48" name="Rechthoek: afgeronde hoeken 47">
                <a:extLst>
                  <a:ext uri="{FF2B5EF4-FFF2-40B4-BE49-F238E27FC236}">
                    <a16:creationId xmlns:a16="http://schemas.microsoft.com/office/drawing/2014/main" xmlns="" id="{0C0EABA2-43C4-4FDC-A470-77C947454A68}"/>
                  </a:ext>
                </a:extLst>
              </p:cNvPr>
              <p:cNvSpPr/>
              <p:nvPr/>
            </p:nvSpPr>
            <p:spPr>
              <a:xfrm>
                <a:off x="1963989" y="3462887"/>
                <a:ext cx="236025" cy="216000"/>
              </a:xfrm>
              <a:prstGeom prst="roundRect">
                <a:avLst>
                  <a:gd name="adj" fmla="val 8334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 anchorCtr="0"/>
              <a:lstStyle/>
              <a:p>
                <a:pPr algn="ctr"/>
                <a:r>
                  <a:rPr lang="nl-NL" sz="1100" dirty="0"/>
                  <a:t>20</a:t>
                </a:r>
              </a:p>
            </p:txBody>
          </p:sp>
          <p:sp>
            <p:nvSpPr>
              <p:cNvPr id="49" name="Rechthoek: afgeronde hoeken 48">
                <a:extLst>
                  <a:ext uri="{FF2B5EF4-FFF2-40B4-BE49-F238E27FC236}">
                    <a16:creationId xmlns:a16="http://schemas.microsoft.com/office/drawing/2014/main" xmlns="" id="{FF7803AE-2EA0-42C0-BDAF-C26817B86866}"/>
                  </a:ext>
                </a:extLst>
              </p:cNvPr>
              <p:cNvSpPr/>
              <p:nvPr/>
            </p:nvSpPr>
            <p:spPr>
              <a:xfrm>
                <a:off x="1963989" y="4197029"/>
                <a:ext cx="236025" cy="216000"/>
              </a:xfrm>
              <a:prstGeom prst="roundRect">
                <a:avLst>
                  <a:gd name="adj" fmla="val 8334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72000" rtlCol="0" anchor="ctr" anchorCtr="0"/>
              <a:lstStyle/>
              <a:p>
                <a:pPr algn="ctr"/>
                <a:r>
                  <a:rPr lang="nl-NL" sz="1100" dirty="0"/>
                  <a:t>30</a:t>
                </a:r>
              </a:p>
            </p:txBody>
          </p:sp>
          <p:sp>
            <p:nvSpPr>
              <p:cNvPr id="60" name="Rechthoek 59">
                <a:extLst>
                  <a:ext uri="{FF2B5EF4-FFF2-40B4-BE49-F238E27FC236}">
                    <a16:creationId xmlns:a16="http://schemas.microsoft.com/office/drawing/2014/main" xmlns="" id="{83F8ADEE-F7AD-4312-B263-C1E5BC3BFB5B}"/>
                  </a:ext>
                </a:extLst>
              </p:cNvPr>
              <p:cNvSpPr/>
              <p:nvPr/>
            </p:nvSpPr>
            <p:spPr>
              <a:xfrm>
                <a:off x="2530601" y="3425806"/>
                <a:ext cx="487300" cy="27091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144000" rIns="36000" bIns="144000" rtlCol="0" anchor="ctr"/>
              <a:lstStyle/>
              <a:p>
                <a:pPr algn="ctr"/>
                <a:r>
                  <a:rPr lang="nl-NL" sz="800" dirty="0">
                    <a:solidFill>
                      <a:schemeClr val="tx2"/>
                    </a:solidFill>
                  </a:rPr>
                  <a:t>New Version</a:t>
                </a:r>
              </a:p>
            </p:txBody>
          </p:sp>
        </p:grpSp>
      </p:grpSp>
      <p:sp>
        <p:nvSpPr>
          <p:cNvPr id="92" name="Tijdelijke aanduiding voor voettekst 91">
            <a:extLst>
              <a:ext uri="{FF2B5EF4-FFF2-40B4-BE49-F238E27FC236}">
                <a16:creationId xmlns:a16="http://schemas.microsoft.com/office/drawing/2014/main" xmlns="" id="{3C4B68A4-D4B7-4431-ADDB-93C00149C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grpSp>
        <p:nvGrpSpPr>
          <p:cNvPr id="127" name="Groep 126">
            <a:extLst>
              <a:ext uri="{FF2B5EF4-FFF2-40B4-BE49-F238E27FC236}">
                <a16:creationId xmlns:a16="http://schemas.microsoft.com/office/drawing/2014/main" xmlns="" id="{3B67E523-48F2-4B58-8BA2-72D5EF5EA598}"/>
              </a:ext>
            </a:extLst>
          </p:cNvPr>
          <p:cNvGrpSpPr/>
          <p:nvPr/>
        </p:nvGrpSpPr>
        <p:grpSpPr>
          <a:xfrm>
            <a:off x="543004" y="3025366"/>
            <a:ext cx="11056302" cy="2322322"/>
            <a:chOff x="543004" y="3025366"/>
            <a:chExt cx="11056302" cy="2322322"/>
          </a:xfrm>
        </p:grpSpPr>
        <p:sp>
          <p:nvSpPr>
            <p:cNvPr id="105" name="Pijl: rechts 104">
              <a:extLst>
                <a:ext uri="{FF2B5EF4-FFF2-40B4-BE49-F238E27FC236}">
                  <a16:creationId xmlns:a16="http://schemas.microsoft.com/office/drawing/2014/main" xmlns="" id="{962A2820-FEF1-43E6-950F-3B0BB7CE3822}"/>
                </a:ext>
              </a:extLst>
            </p:cNvPr>
            <p:cNvSpPr/>
            <p:nvPr/>
          </p:nvSpPr>
          <p:spPr>
            <a:xfrm>
              <a:off x="1729271" y="3025366"/>
              <a:ext cx="208647" cy="321399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06" name="Pijl: rechts 105">
              <a:extLst>
                <a:ext uri="{FF2B5EF4-FFF2-40B4-BE49-F238E27FC236}">
                  <a16:creationId xmlns:a16="http://schemas.microsoft.com/office/drawing/2014/main" xmlns="" id="{C77E8888-214C-493D-B95A-B9962734DB12}"/>
                </a:ext>
              </a:extLst>
            </p:cNvPr>
            <p:cNvSpPr/>
            <p:nvPr/>
          </p:nvSpPr>
          <p:spPr>
            <a:xfrm>
              <a:off x="3852059" y="3025366"/>
              <a:ext cx="208647" cy="321399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07" name="Pijl: rechts 106">
              <a:extLst>
                <a:ext uri="{FF2B5EF4-FFF2-40B4-BE49-F238E27FC236}">
                  <a16:creationId xmlns:a16="http://schemas.microsoft.com/office/drawing/2014/main" xmlns="" id="{ED668D41-A53E-4C29-9ECE-9424C070A0C8}"/>
                </a:ext>
              </a:extLst>
            </p:cNvPr>
            <p:cNvSpPr/>
            <p:nvPr/>
          </p:nvSpPr>
          <p:spPr>
            <a:xfrm>
              <a:off x="4915097" y="3025366"/>
              <a:ext cx="208647" cy="321399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08" name="Pijl: rechts 107">
              <a:extLst>
                <a:ext uri="{FF2B5EF4-FFF2-40B4-BE49-F238E27FC236}">
                  <a16:creationId xmlns:a16="http://schemas.microsoft.com/office/drawing/2014/main" xmlns="" id="{971EE8BD-82D9-406D-BDFC-D2208A0A25F2}"/>
                </a:ext>
              </a:extLst>
            </p:cNvPr>
            <p:cNvSpPr/>
            <p:nvPr/>
          </p:nvSpPr>
          <p:spPr>
            <a:xfrm>
              <a:off x="5985639" y="3025366"/>
              <a:ext cx="208647" cy="321399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09" name="Pijl: rechts 108">
              <a:extLst>
                <a:ext uri="{FF2B5EF4-FFF2-40B4-BE49-F238E27FC236}">
                  <a16:creationId xmlns:a16="http://schemas.microsoft.com/office/drawing/2014/main" xmlns="" id="{8BE6CF12-28BF-4656-B856-1328ED345518}"/>
                </a:ext>
              </a:extLst>
            </p:cNvPr>
            <p:cNvSpPr/>
            <p:nvPr/>
          </p:nvSpPr>
          <p:spPr>
            <a:xfrm>
              <a:off x="7052911" y="3025366"/>
              <a:ext cx="208647" cy="321399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10" name="Pijl: rechts 109">
              <a:extLst>
                <a:ext uri="{FF2B5EF4-FFF2-40B4-BE49-F238E27FC236}">
                  <a16:creationId xmlns:a16="http://schemas.microsoft.com/office/drawing/2014/main" xmlns="" id="{BBF15456-29C9-42AC-80BE-330900A55767}"/>
                </a:ext>
              </a:extLst>
            </p:cNvPr>
            <p:cNvSpPr/>
            <p:nvPr/>
          </p:nvSpPr>
          <p:spPr>
            <a:xfrm>
              <a:off x="8118398" y="3025366"/>
              <a:ext cx="208647" cy="321399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11" name="Pijl: rechts 110">
              <a:extLst>
                <a:ext uri="{FF2B5EF4-FFF2-40B4-BE49-F238E27FC236}">
                  <a16:creationId xmlns:a16="http://schemas.microsoft.com/office/drawing/2014/main" xmlns="" id="{D31721E8-EC51-4138-B357-C9E26FD43F4D}"/>
                </a:ext>
              </a:extLst>
            </p:cNvPr>
            <p:cNvSpPr/>
            <p:nvPr/>
          </p:nvSpPr>
          <p:spPr>
            <a:xfrm>
              <a:off x="10247323" y="3025366"/>
              <a:ext cx="208647" cy="321399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xmlns="" id="{7E544180-4C55-490A-A78B-3C9B61781283}"/>
                </a:ext>
              </a:extLst>
            </p:cNvPr>
            <p:cNvSpPr/>
            <p:nvPr/>
          </p:nvSpPr>
          <p:spPr>
            <a:xfrm>
              <a:off x="11498152" y="3115688"/>
              <a:ext cx="101154" cy="2232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13" name="Pijl: rechts 112">
              <a:extLst>
                <a:ext uri="{FF2B5EF4-FFF2-40B4-BE49-F238E27FC236}">
                  <a16:creationId xmlns:a16="http://schemas.microsoft.com/office/drawing/2014/main" xmlns="" id="{6C95FD0F-8CE6-45CE-A564-975698263379}"/>
                </a:ext>
              </a:extLst>
            </p:cNvPr>
            <p:cNvSpPr/>
            <p:nvPr/>
          </p:nvSpPr>
          <p:spPr>
            <a:xfrm>
              <a:off x="606987" y="3025366"/>
              <a:ext cx="270040" cy="321399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14" name="Rechthoek 113">
              <a:extLst>
                <a:ext uri="{FF2B5EF4-FFF2-40B4-BE49-F238E27FC236}">
                  <a16:creationId xmlns:a16="http://schemas.microsoft.com/office/drawing/2014/main" xmlns="" id="{D37873DA-7E92-43CB-B74E-4CB65A8C1EC2}"/>
                </a:ext>
              </a:extLst>
            </p:cNvPr>
            <p:cNvSpPr/>
            <p:nvPr/>
          </p:nvSpPr>
          <p:spPr>
            <a:xfrm>
              <a:off x="555826" y="5239688"/>
              <a:ext cx="11043480" cy="108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15" name="Rechthoek 114">
              <a:extLst>
                <a:ext uri="{FF2B5EF4-FFF2-40B4-BE49-F238E27FC236}">
                  <a16:creationId xmlns:a16="http://schemas.microsoft.com/office/drawing/2014/main" xmlns="" id="{EF68BB87-C07E-45B6-A791-F67241D97065}"/>
                </a:ext>
              </a:extLst>
            </p:cNvPr>
            <p:cNvSpPr/>
            <p:nvPr/>
          </p:nvSpPr>
          <p:spPr>
            <a:xfrm>
              <a:off x="543004" y="3106165"/>
              <a:ext cx="101154" cy="223866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16" name="Pijl: rechts 115">
              <a:extLst>
                <a:ext uri="{FF2B5EF4-FFF2-40B4-BE49-F238E27FC236}">
                  <a16:creationId xmlns:a16="http://schemas.microsoft.com/office/drawing/2014/main" xmlns="" id="{0AFC3DD0-B068-4226-BDF0-0B82C7F6D372}"/>
                </a:ext>
              </a:extLst>
            </p:cNvPr>
            <p:cNvSpPr/>
            <p:nvPr/>
          </p:nvSpPr>
          <p:spPr>
            <a:xfrm flipH="1">
              <a:off x="2904424" y="3805751"/>
              <a:ext cx="5900629" cy="288000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17" name="Rechthoek 116">
              <a:extLst>
                <a:ext uri="{FF2B5EF4-FFF2-40B4-BE49-F238E27FC236}">
                  <a16:creationId xmlns:a16="http://schemas.microsoft.com/office/drawing/2014/main" xmlns="" id="{BAADAADF-E177-42C6-9E50-EC97105E4559}"/>
                </a:ext>
              </a:extLst>
            </p:cNvPr>
            <p:cNvSpPr/>
            <p:nvPr/>
          </p:nvSpPr>
          <p:spPr>
            <a:xfrm>
              <a:off x="6555849" y="3400408"/>
              <a:ext cx="101154" cy="6191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18" name="Rechthoek 117">
              <a:extLst>
                <a:ext uri="{FF2B5EF4-FFF2-40B4-BE49-F238E27FC236}">
                  <a16:creationId xmlns:a16="http://schemas.microsoft.com/office/drawing/2014/main" xmlns="" id="{DBD95293-C0BD-44C0-8DA0-D08198128F68}"/>
                </a:ext>
              </a:extLst>
            </p:cNvPr>
            <p:cNvSpPr/>
            <p:nvPr/>
          </p:nvSpPr>
          <p:spPr>
            <a:xfrm>
              <a:off x="4424217" y="3400408"/>
              <a:ext cx="101154" cy="6191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19" name="Rechthoek 118">
              <a:extLst>
                <a:ext uri="{FF2B5EF4-FFF2-40B4-BE49-F238E27FC236}">
                  <a16:creationId xmlns:a16="http://schemas.microsoft.com/office/drawing/2014/main" xmlns="" id="{402BAACF-C4E1-4C2E-A6CD-771B8105AFF5}"/>
                </a:ext>
              </a:extLst>
            </p:cNvPr>
            <p:cNvSpPr/>
            <p:nvPr/>
          </p:nvSpPr>
          <p:spPr>
            <a:xfrm>
              <a:off x="3362899" y="3400408"/>
              <a:ext cx="101154" cy="6191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20" name="Rechthoek 119">
              <a:extLst>
                <a:ext uri="{FF2B5EF4-FFF2-40B4-BE49-F238E27FC236}">
                  <a16:creationId xmlns:a16="http://schemas.microsoft.com/office/drawing/2014/main" xmlns="" id="{57C1E58E-BA7C-4E4E-AAF2-AE08D8BC9B70}"/>
                </a:ext>
              </a:extLst>
            </p:cNvPr>
            <p:cNvSpPr/>
            <p:nvPr/>
          </p:nvSpPr>
          <p:spPr>
            <a:xfrm>
              <a:off x="7626392" y="3400408"/>
              <a:ext cx="101154" cy="6191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xmlns="" id="{1B193026-0113-45E8-A323-7B343655A231}"/>
                </a:ext>
              </a:extLst>
            </p:cNvPr>
            <p:cNvSpPr/>
            <p:nvPr/>
          </p:nvSpPr>
          <p:spPr>
            <a:xfrm>
              <a:off x="8705892" y="3400408"/>
              <a:ext cx="101154" cy="6191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22" name="Pijl: rechts 121">
              <a:extLst>
                <a:ext uri="{FF2B5EF4-FFF2-40B4-BE49-F238E27FC236}">
                  <a16:creationId xmlns:a16="http://schemas.microsoft.com/office/drawing/2014/main" xmlns="" id="{3978302F-D563-467A-89BE-F237174C7E76}"/>
                </a:ext>
              </a:extLst>
            </p:cNvPr>
            <p:cNvSpPr/>
            <p:nvPr/>
          </p:nvSpPr>
          <p:spPr>
            <a:xfrm>
              <a:off x="2793458" y="3025366"/>
              <a:ext cx="208647" cy="321399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23" name="Pijl: rechts 122">
              <a:extLst>
                <a:ext uri="{FF2B5EF4-FFF2-40B4-BE49-F238E27FC236}">
                  <a16:creationId xmlns:a16="http://schemas.microsoft.com/office/drawing/2014/main" xmlns="" id="{B1CE3612-9490-4E04-AE6D-6D39D273D3C5}"/>
                </a:ext>
              </a:extLst>
            </p:cNvPr>
            <p:cNvSpPr/>
            <p:nvPr/>
          </p:nvSpPr>
          <p:spPr>
            <a:xfrm rot="5400000">
              <a:off x="2252163" y="4186370"/>
              <a:ext cx="222769" cy="301025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24" name="Pijl: rechts 123">
              <a:extLst>
                <a:ext uri="{FF2B5EF4-FFF2-40B4-BE49-F238E27FC236}">
                  <a16:creationId xmlns:a16="http://schemas.microsoft.com/office/drawing/2014/main" xmlns="" id="{4BC24648-A960-4DCE-B086-F294FDCC017D}"/>
                </a:ext>
              </a:extLst>
            </p:cNvPr>
            <p:cNvSpPr/>
            <p:nvPr/>
          </p:nvSpPr>
          <p:spPr>
            <a:xfrm rot="16200000" flipV="1">
              <a:off x="2252163" y="3414980"/>
              <a:ext cx="222769" cy="301025"/>
            </a:xfrm>
            <a:prstGeom prst="right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  <p:sp>
          <p:nvSpPr>
            <p:cNvPr id="126" name="Rechthoek 125">
              <a:extLst>
                <a:ext uri="{FF2B5EF4-FFF2-40B4-BE49-F238E27FC236}">
                  <a16:creationId xmlns:a16="http://schemas.microsoft.com/office/drawing/2014/main" xmlns="" id="{584059F8-1D02-42C0-990D-BD92C4448A0C}"/>
                </a:ext>
              </a:extLst>
            </p:cNvPr>
            <p:cNvSpPr/>
            <p:nvPr/>
          </p:nvSpPr>
          <p:spPr>
            <a:xfrm>
              <a:off x="11295845" y="3115688"/>
              <a:ext cx="269743" cy="108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/>
            </a:p>
          </p:txBody>
        </p:sp>
      </p:grpSp>
    </p:spTree>
    <p:extLst>
      <p:ext uri="{BB962C8B-B14F-4D97-AF65-F5344CB8AC3E}">
        <p14:creationId xmlns:p14="http://schemas.microsoft.com/office/powerpoint/2010/main" val="171150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afbeelding 20">
            <a:extLst>
              <a:ext uri="{FF2B5EF4-FFF2-40B4-BE49-F238E27FC236}">
                <a16:creationId xmlns:a16="http://schemas.microsoft.com/office/drawing/2014/main" xmlns="" id="{1FEB3A29-1F72-424E-96E3-749E0006BF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0908" y="1301503"/>
            <a:ext cx="7830184" cy="4476998"/>
          </a:xfrm>
          <a:prstGeom prst="roundRect">
            <a:avLst>
              <a:gd name="adj" fmla="val 1577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xmlns="" id="{8602EC69-C956-420A-9F01-173D3C86A3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OI per promotion in account plan possible</a:t>
            </a:r>
          </a:p>
        </p:txBody>
      </p:sp>
      <p:pic>
        <p:nvPicPr>
          <p:cNvPr id="26" name="Picture 10">
            <a:extLst>
              <a:ext uri="{FF2B5EF4-FFF2-40B4-BE49-F238E27FC236}">
                <a16:creationId xmlns:a16="http://schemas.microsoft.com/office/drawing/2014/main" xmlns="" id="{C3E48BF7-5580-4230-A2FF-721DC5750A5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7401" y="2384503"/>
            <a:ext cx="5537199" cy="1928623"/>
          </a:xfrm>
          <a:prstGeom prst="rect">
            <a:avLst/>
          </a:prstGeom>
        </p:spPr>
      </p:pic>
      <p:sp>
        <p:nvSpPr>
          <p:cNvPr id="9" name="Tijdelijke aanduiding voor voettekst 8">
            <a:extLst>
              <a:ext uri="{FF2B5EF4-FFF2-40B4-BE49-F238E27FC236}">
                <a16:creationId xmlns:a16="http://schemas.microsoft.com/office/drawing/2014/main" xmlns="" id="{9AF8E200-9904-4034-A90E-5A3F685A0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</p:spTree>
    <p:extLst>
      <p:ext uri="{BB962C8B-B14F-4D97-AF65-F5344CB8AC3E}">
        <p14:creationId xmlns:p14="http://schemas.microsoft.com/office/powerpoint/2010/main" val="253702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>
            <a:extLst>
              <a:ext uri="{FF2B5EF4-FFF2-40B4-BE49-F238E27FC236}">
                <a16:creationId xmlns:a16="http://schemas.microsoft.com/office/drawing/2014/main" xmlns="" id="{8602EC69-C956-420A-9F01-173D3C86A3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OI classification triggers action and is part of approval flow</a:t>
            </a:r>
          </a:p>
        </p:txBody>
      </p:sp>
      <p:pic>
        <p:nvPicPr>
          <p:cNvPr id="26" name="Tijdelijke aanduiding voor afbeelding 20">
            <a:extLst>
              <a:ext uri="{FF2B5EF4-FFF2-40B4-BE49-F238E27FC236}">
                <a16:creationId xmlns:a16="http://schemas.microsoft.com/office/drawing/2014/main" xmlns="" id="{EC04E1A7-7990-4BFD-9B93-9611D7B2361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0908" y="1301503"/>
            <a:ext cx="7830184" cy="4476998"/>
          </a:xfrm>
          <a:prstGeom prst="roundRect">
            <a:avLst>
              <a:gd name="adj" fmla="val 1577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xmlns="" id="{0B90AEA6-D26A-40ED-A9AA-6FBE67664CD1}"/>
              </a:ext>
            </a:extLst>
          </p:cNvPr>
          <p:cNvSpPr/>
          <p:nvPr/>
        </p:nvSpPr>
        <p:spPr>
          <a:xfrm>
            <a:off x="3696194" y="2016746"/>
            <a:ext cx="2373437" cy="1357682"/>
          </a:xfrm>
          <a:prstGeom prst="rect">
            <a:avLst/>
          </a:prstGeom>
          <a:solidFill>
            <a:schemeClr val="bg1">
              <a:lumMod val="5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xmlns="" id="{FCEB60C4-621F-4A80-857A-7D75180A88CD}"/>
              </a:ext>
            </a:extLst>
          </p:cNvPr>
          <p:cNvSpPr/>
          <p:nvPr/>
        </p:nvSpPr>
        <p:spPr>
          <a:xfrm>
            <a:off x="6103813" y="2016746"/>
            <a:ext cx="2373437" cy="1357682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xmlns="" id="{23036279-AD85-4791-B3A8-CBD9CBE9FEC1}"/>
              </a:ext>
            </a:extLst>
          </p:cNvPr>
          <p:cNvSpPr/>
          <p:nvPr/>
        </p:nvSpPr>
        <p:spPr>
          <a:xfrm>
            <a:off x="3696194" y="3423869"/>
            <a:ext cx="2373437" cy="1357682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xmlns="" id="{566CDA3D-56BE-4291-AD97-2F034A8BC88C}"/>
              </a:ext>
            </a:extLst>
          </p:cNvPr>
          <p:cNvSpPr/>
          <p:nvPr/>
        </p:nvSpPr>
        <p:spPr>
          <a:xfrm>
            <a:off x="6103813" y="3423869"/>
            <a:ext cx="2373437" cy="1357682"/>
          </a:xfrm>
          <a:prstGeom prst="rect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xmlns="" id="{C3C77DB1-FDD2-4245-9380-58CF44E39C31}"/>
              </a:ext>
            </a:extLst>
          </p:cNvPr>
          <p:cNvSpPr/>
          <p:nvPr/>
        </p:nvSpPr>
        <p:spPr>
          <a:xfrm>
            <a:off x="6071632" y="2016125"/>
            <a:ext cx="48737" cy="27654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xmlns="" id="{7B978E69-6811-45B7-A4F2-CD6406E41A9F}"/>
              </a:ext>
            </a:extLst>
          </p:cNvPr>
          <p:cNvSpPr/>
          <p:nvPr/>
        </p:nvSpPr>
        <p:spPr>
          <a:xfrm>
            <a:off x="3696195" y="3371850"/>
            <a:ext cx="4781055" cy="50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22" name="Rechthoek 21">
            <a:extLst>
              <a:ext uri="{FF2B5EF4-FFF2-40B4-BE49-F238E27FC236}">
                <a16:creationId xmlns:a16="http://schemas.microsoft.com/office/drawing/2014/main" xmlns="" id="{BEDDD6E9-ECE6-4DB9-9C4A-E6B61A0F90FF}"/>
              </a:ext>
            </a:extLst>
          </p:cNvPr>
          <p:cNvSpPr/>
          <p:nvPr/>
        </p:nvSpPr>
        <p:spPr>
          <a:xfrm>
            <a:off x="4787067" y="1660525"/>
            <a:ext cx="2617866" cy="259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nl-NL" b="1" dirty="0">
                <a:solidFill>
                  <a:schemeClr val="tx2"/>
                </a:solidFill>
              </a:rPr>
              <a:t>ROI </a:t>
            </a:r>
            <a:r>
              <a:rPr lang="nl-NL" b="1" dirty="0" err="1">
                <a:solidFill>
                  <a:schemeClr val="tx2"/>
                </a:solidFill>
              </a:rPr>
              <a:t>classification</a:t>
            </a:r>
            <a:endParaRPr lang="nl-NL" b="1" dirty="0">
              <a:solidFill>
                <a:schemeClr val="tx2"/>
              </a:solidFill>
            </a:endParaRPr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xmlns="" id="{19414764-6AFF-495B-AE0F-853D82D9EC63}"/>
              </a:ext>
            </a:extLst>
          </p:cNvPr>
          <p:cNvSpPr/>
          <p:nvPr/>
        </p:nvSpPr>
        <p:spPr>
          <a:xfrm>
            <a:off x="4787067" y="4870951"/>
            <a:ext cx="2617866" cy="259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nl-NL" sz="1400" dirty="0" err="1">
                <a:solidFill>
                  <a:schemeClr val="tx2"/>
                </a:solidFill>
              </a:rPr>
              <a:t>Incr</a:t>
            </a:r>
            <a:r>
              <a:rPr lang="nl-NL" sz="1400" dirty="0">
                <a:solidFill>
                  <a:schemeClr val="tx2"/>
                </a:solidFill>
              </a:rPr>
              <a:t>. NSV / € </a:t>
            </a:r>
            <a:r>
              <a:rPr lang="nl-NL" sz="1400" dirty="0" err="1">
                <a:solidFill>
                  <a:schemeClr val="tx2"/>
                </a:solidFill>
              </a:rPr>
              <a:t>invested</a:t>
            </a:r>
            <a:endParaRPr lang="nl-NL" sz="1400" dirty="0">
              <a:solidFill>
                <a:schemeClr val="tx2"/>
              </a:solidFill>
            </a:endParaRPr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xmlns="" id="{AF4B0A1B-E471-4D17-B067-6BF00D6CD96F}"/>
              </a:ext>
            </a:extLst>
          </p:cNvPr>
          <p:cNvSpPr/>
          <p:nvPr/>
        </p:nvSpPr>
        <p:spPr>
          <a:xfrm rot="5400000">
            <a:off x="2145373" y="3269284"/>
            <a:ext cx="2617866" cy="259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nl-NL" sz="1400" dirty="0" err="1">
                <a:solidFill>
                  <a:schemeClr val="tx2"/>
                </a:solidFill>
              </a:rPr>
              <a:t>Incr</a:t>
            </a:r>
            <a:r>
              <a:rPr lang="nl-NL" sz="1400" dirty="0">
                <a:solidFill>
                  <a:schemeClr val="tx2"/>
                </a:solidFill>
              </a:rPr>
              <a:t>. GP / € </a:t>
            </a:r>
            <a:r>
              <a:rPr lang="nl-NL" sz="1400" dirty="0" err="1">
                <a:solidFill>
                  <a:schemeClr val="tx2"/>
                </a:solidFill>
              </a:rPr>
              <a:t>invested</a:t>
            </a:r>
            <a:endParaRPr lang="nl-NL" sz="1400" dirty="0">
              <a:solidFill>
                <a:schemeClr val="tx2"/>
              </a:solidFill>
            </a:endParaRPr>
          </a:p>
        </p:txBody>
      </p:sp>
      <p:sp>
        <p:nvSpPr>
          <p:cNvPr id="25" name="Rechthoek 24">
            <a:extLst>
              <a:ext uri="{FF2B5EF4-FFF2-40B4-BE49-F238E27FC236}">
                <a16:creationId xmlns:a16="http://schemas.microsoft.com/office/drawing/2014/main" xmlns="" id="{ADAD0E1F-40D0-42CB-B920-B28EFFF81C96}"/>
              </a:ext>
            </a:extLst>
          </p:cNvPr>
          <p:cNvSpPr/>
          <p:nvPr/>
        </p:nvSpPr>
        <p:spPr>
          <a:xfrm>
            <a:off x="4482862" y="2466987"/>
            <a:ext cx="800100" cy="457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nl-NL" sz="2800" i="1" dirty="0">
                <a:solidFill>
                  <a:schemeClr val="tx2"/>
                </a:solidFill>
              </a:rPr>
              <a:t>NA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524A6608-E36B-4732-939D-ED9131E744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</p:spTree>
    <p:extLst>
      <p:ext uri="{BB962C8B-B14F-4D97-AF65-F5344CB8AC3E}">
        <p14:creationId xmlns:p14="http://schemas.microsoft.com/office/powerpoint/2010/main" val="325174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7" grpId="0" animBg="1"/>
      <p:bldP spid="18" grpId="0" animBg="1"/>
      <p:bldP spid="19" grpId="0" animBg="1"/>
      <p:bldP spid="7" grpId="0" animBg="1"/>
      <p:bldP spid="8" grpId="0" animBg="1"/>
      <p:bldP spid="22" grpId="0"/>
      <p:bldP spid="23" grpId="0"/>
      <p:bldP spid="24" grpId="0"/>
      <p:bldP spid="2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Tijdelijke aanduiding voor afbeelding 20">
            <a:extLst>
              <a:ext uri="{FF2B5EF4-FFF2-40B4-BE49-F238E27FC236}">
                <a16:creationId xmlns:a16="http://schemas.microsoft.com/office/drawing/2014/main" xmlns="" id="{C5520927-C55D-4E3B-B39E-477AA7ECD8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0908" y="1301503"/>
            <a:ext cx="7830184" cy="4476998"/>
          </a:xfrm>
          <a:prstGeom prst="roundRect">
            <a:avLst>
              <a:gd name="adj" fmla="val 1577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DA95DF1D-D150-4A5D-B3CC-BCB0409B4BB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0100" y="2264650"/>
            <a:ext cx="5499100" cy="2207477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xmlns="" id="{FA9040F5-8C78-46ED-91E5-55483C705C0C}"/>
              </a:ext>
            </a:extLst>
          </p:cNvPr>
          <p:cNvSpPr/>
          <p:nvPr/>
        </p:nvSpPr>
        <p:spPr>
          <a:xfrm>
            <a:off x="6283200" y="3315741"/>
            <a:ext cx="2556000" cy="824459"/>
          </a:xfrm>
          <a:prstGeom prst="rect">
            <a:avLst/>
          </a:prstGeom>
          <a:solidFill>
            <a:schemeClr val="accent5">
              <a:alpha val="3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xmlns="" id="{B8BD8BE8-AD65-4F94-8E2C-8223570124EF}"/>
              </a:ext>
            </a:extLst>
          </p:cNvPr>
          <p:cNvSpPr/>
          <p:nvPr/>
        </p:nvSpPr>
        <p:spPr>
          <a:xfrm>
            <a:off x="6283200" y="2548941"/>
            <a:ext cx="2556000" cy="766800"/>
          </a:xfrm>
          <a:prstGeom prst="rect">
            <a:avLst/>
          </a:prstGeom>
          <a:solidFill>
            <a:schemeClr val="accent1">
              <a:alpha val="30000"/>
            </a:schemeClr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xmlns="" id="{1D79C30F-B5B5-44A0-A31E-1AFF39CFF06A}"/>
              </a:ext>
            </a:extLst>
          </p:cNvPr>
          <p:cNvSpPr/>
          <p:nvPr/>
        </p:nvSpPr>
        <p:spPr>
          <a:xfrm>
            <a:off x="3729103" y="3315741"/>
            <a:ext cx="2556000" cy="824459"/>
          </a:xfrm>
          <a:prstGeom prst="rect">
            <a:avLst/>
          </a:prstGeom>
          <a:solidFill>
            <a:schemeClr val="accent4">
              <a:alpha val="30000"/>
            </a:schemeClr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grpSp>
        <p:nvGrpSpPr>
          <p:cNvPr id="15" name="Groep 14">
            <a:extLst>
              <a:ext uri="{FF2B5EF4-FFF2-40B4-BE49-F238E27FC236}">
                <a16:creationId xmlns:a16="http://schemas.microsoft.com/office/drawing/2014/main" xmlns="" id="{6663041D-4669-4676-8C35-63EB22B40F31}"/>
              </a:ext>
            </a:extLst>
          </p:cNvPr>
          <p:cNvGrpSpPr/>
          <p:nvPr/>
        </p:nvGrpSpPr>
        <p:grpSpPr>
          <a:xfrm>
            <a:off x="3729103" y="2548941"/>
            <a:ext cx="5110097" cy="1591259"/>
            <a:chOff x="4567026" y="2796539"/>
            <a:chExt cx="5907590" cy="1801112"/>
          </a:xfrm>
        </p:grpSpPr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xmlns="" id="{91F909D1-BBA4-4059-AD5B-142DF6EF8909}"/>
                </a:ext>
              </a:extLst>
            </p:cNvPr>
            <p:cNvSpPr/>
            <p:nvPr/>
          </p:nvSpPr>
          <p:spPr>
            <a:xfrm>
              <a:off x="7521921" y="3665145"/>
              <a:ext cx="2952695" cy="932506"/>
            </a:xfrm>
            <a:prstGeom prst="rect">
              <a:avLst/>
            </a:prstGeom>
            <a:solidFill>
              <a:schemeClr val="accent5">
                <a:alpha val="0"/>
              </a:schemeClr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xmlns="" id="{84C96224-ACDD-4484-A896-48BD2EBB42A3}"/>
                </a:ext>
              </a:extLst>
            </p:cNvPr>
            <p:cNvSpPr/>
            <p:nvPr/>
          </p:nvSpPr>
          <p:spPr>
            <a:xfrm>
              <a:off x="7521921" y="2796539"/>
              <a:ext cx="2952695" cy="868605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xmlns="" id="{ECD2965B-DCE2-436F-BC16-A94A42BA09B4}"/>
                </a:ext>
              </a:extLst>
            </p:cNvPr>
            <p:cNvSpPr/>
            <p:nvPr/>
          </p:nvSpPr>
          <p:spPr>
            <a:xfrm>
              <a:off x="4567026" y="3665145"/>
              <a:ext cx="2954895" cy="932506"/>
            </a:xfrm>
            <a:prstGeom prst="rect">
              <a:avLst/>
            </a:prstGeom>
            <a:solidFill>
              <a:schemeClr val="accent4">
                <a:alpha val="0"/>
              </a:schemeClr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/>
            </a:p>
          </p:txBody>
        </p:sp>
      </p:grpSp>
      <p:sp>
        <p:nvSpPr>
          <p:cNvPr id="20" name="Titel 19">
            <a:extLst>
              <a:ext uri="{FF2B5EF4-FFF2-40B4-BE49-F238E27FC236}">
                <a16:creationId xmlns:a16="http://schemas.microsoft.com/office/drawing/2014/main" xmlns="" id="{8602EC69-C956-420A-9F01-173D3C86A3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ccount X 2018 promo plan allows for improvements</a:t>
            </a:r>
            <a:endParaRPr lang="nl-NL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="" id="{E47256C7-F5D1-4D27-A599-0FE5032F73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</p:spTree>
    <p:extLst>
      <p:ext uri="{BB962C8B-B14F-4D97-AF65-F5344CB8AC3E}">
        <p14:creationId xmlns:p14="http://schemas.microsoft.com/office/powerpoint/2010/main" val="386073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7" presetClass="emph" presetSubtype="0" repeatCount="200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3" dur="50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4" dur="50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5" dur="50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" dur="500" autoRev="1" fill="remove"/>
                                        <p:tgtEl>
                                          <p:spTgt spid="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3000"/>
                            </p:stCondLst>
                            <p:childTnLst>
                              <p:par>
                                <p:cTn id="18" presetID="10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7" presetClass="emph" presetSubtype="0" repeatCount="200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500" autoRev="1" fill="remov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3" dur="500" autoRev="1" fill="remove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4" dur="500" autoRev="1" fill="remove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500" autoRev="1" fill="remove"/>
                                        <p:tgtEl>
                                          <p:spTgt spid="1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0"/>
                            </p:stCondLst>
                            <p:childTnLst>
                              <p:par>
                                <p:cTn id="27" presetID="10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7" presetClass="emph" presetSubtype="0" repeatCount="200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500" autoRev="1" fill="remove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2" dur="500" autoRev="1" fill="remove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3" dur="500" autoRev="1" fill="remove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4" dur="500" autoRev="1" fill="remove"/>
                                        <p:tgtEl>
                                          <p:spTgt spid="1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700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0" grpId="2" animBg="1"/>
      <p:bldP spid="11" grpId="0" animBg="1"/>
      <p:bldP spid="11" grpId="1" animBg="1"/>
      <p:bldP spid="11" grpId="2" animBg="1"/>
      <p:bldP spid="9" grpId="0" animBg="1"/>
      <p:bldP spid="9" grpId="1" animBg="1"/>
      <p:bldP spid="9" grpId="2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erticale tekst 1">
            <a:extLst>
              <a:ext uri="{FF2B5EF4-FFF2-40B4-BE49-F238E27FC236}">
                <a16:creationId xmlns:a16="http://schemas.microsoft.com/office/drawing/2014/main" xmlns="" id="{93A002B7-5AD4-4EBB-AFE3-DE9F1D7B70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marL="214313" indent="-214313"/>
            <a:r>
              <a:rPr lang="en-GB" dirty="0"/>
              <a:t>Create a simple report (list) with:</a:t>
            </a:r>
          </a:p>
          <a:p>
            <a:pPr marL="481013" lvl="2" indent="-214313">
              <a:buFontTx/>
              <a:buChar char="-"/>
            </a:pPr>
            <a:r>
              <a:rPr lang="en-GB" dirty="0"/>
              <a:t>Promotion ID</a:t>
            </a:r>
          </a:p>
          <a:p>
            <a:pPr marL="481013" lvl="2" indent="-214313">
              <a:buFontTx/>
              <a:buChar char="-"/>
            </a:pPr>
            <a:r>
              <a:rPr lang="en-GB" dirty="0"/>
              <a:t>Promotion Name</a:t>
            </a:r>
          </a:p>
          <a:p>
            <a:pPr marL="481013" lvl="2" indent="-214313">
              <a:buFontTx/>
              <a:buChar char="-"/>
            </a:pPr>
            <a:r>
              <a:rPr lang="en-GB" dirty="0"/>
              <a:t>Plan account</a:t>
            </a:r>
          </a:p>
          <a:p>
            <a:pPr marL="481013" lvl="2" indent="-214313">
              <a:buFontTx/>
              <a:buChar char="-"/>
            </a:pPr>
            <a:r>
              <a:rPr lang="en-GB" dirty="0"/>
              <a:t>Category / business unit (split on buyers at retailers)</a:t>
            </a:r>
          </a:p>
          <a:p>
            <a:pPr marL="481013" lvl="2" indent="-214313">
              <a:buFontTx/>
              <a:buChar char="-"/>
            </a:pPr>
            <a:r>
              <a:rPr lang="en-GB" dirty="0"/>
              <a:t>Media</a:t>
            </a:r>
          </a:p>
          <a:p>
            <a:pPr marL="481013" lvl="2" indent="-214313">
              <a:buFontTx/>
              <a:buChar char="-"/>
            </a:pPr>
            <a:r>
              <a:rPr lang="en-GB" dirty="0"/>
              <a:t>Media Spend</a:t>
            </a:r>
          </a:p>
          <a:p>
            <a:pPr marL="214313" indent="-214313"/>
            <a:r>
              <a:rPr lang="en-GB" dirty="0"/>
              <a:t>Compare spends and negotiate with the retailers towards the lower spends</a:t>
            </a:r>
            <a:endParaRPr lang="nl-NL" dirty="0"/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xmlns="" id="{6857EA30-E27A-440A-9975-1A97D7E0EF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08851"/>
            <a:ext cx="12192000" cy="6966851"/>
          </a:xfrm>
          <a:prstGeom prst="rect">
            <a:avLst/>
          </a:prstGeom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xmlns="" id="{C229669E-76F8-47A2-8FC0-F35C4BFDB65F}"/>
              </a:ext>
            </a:extLst>
          </p:cNvPr>
          <p:cNvSpPr/>
          <p:nvPr/>
        </p:nvSpPr>
        <p:spPr>
          <a:xfrm rot="16200000">
            <a:off x="2612573" y="-2721428"/>
            <a:ext cx="6966853" cy="12191998"/>
          </a:xfrm>
          <a:prstGeom prst="rect">
            <a:avLst/>
          </a:prstGeom>
          <a:gradFill>
            <a:gsLst>
              <a:gs pos="57000">
                <a:srgbClr val="FFFFFF">
                  <a:alpha val="78000"/>
                </a:srgbClr>
              </a:gs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17" name="Tijdelijke aanduiding voor tekst 23">
            <a:extLst>
              <a:ext uri="{FF2B5EF4-FFF2-40B4-BE49-F238E27FC236}">
                <a16:creationId xmlns:a16="http://schemas.microsoft.com/office/drawing/2014/main" xmlns="" id="{B8743967-D25C-4054-8327-9786D1AC3D64}"/>
              </a:ext>
            </a:extLst>
          </p:cNvPr>
          <p:cNvSpPr txBox="1">
            <a:spLocks/>
          </p:cNvSpPr>
          <p:nvPr/>
        </p:nvSpPr>
        <p:spPr>
          <a:xfrm>
            <a:off x="543005" y="1448501"/>
            <a:ext cx="6888309" cy="4537250"/>
          </a:xfrm>
          <a:prstGeom prst="roundRect">
            <a:avLst>
              <a:gd name="adj" fmla="val 2870"/>
            </a:avLst>
          </a:prstGeom>
          <a:solidFill>
            <a:schemeClr val="accent2">
              <a:alpha val="90000"/>
            </a:schemeClr>
          </a:solidFill>
        </p:spPr>
        <p:txBody>
          <a:bodyPr lIns="324000" tIns="252000" rIns="1728000" bIns="10800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/>
              <a:t>Create a simple report (list) with:</a:t>
            </a:r>
            <a:br>
              <a:rPr lang="en-US" sz="1800" dirty="0"/>
            </a:br>
            <a:endParaRPr lang="en-US" sz="1800" dirty="0"/>
          </a:p>
          <a:p>
            <a:pPr marL="285750" indent="-285750" algn="l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b="0" dirty="0"/>
              <a:t>Promotion ID</a:t>
            </a:r>
          </a:p>
          <a:p>
            <a:pPr marL="285750" indent="-285750" algn="l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b="0" dirty="0"/>
              <a:t>Promotion Name</a:t>
            </a:r>
          </a:p>
          <a:p>
            <a:pPr marL="285750" indent="-285750" algn="l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b="0" dirty="0"/>
              <a:t>Plan account</a:t>
            </a:r>
          </a:p>
          <a:p>
            <a:pPr marL="285750" indent="-285750" algn="l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b="0" dirty="0"/>
              <a:t>Category / business unit (split on buyers at retailers)</a:t>
            </a:r>
          </a:p>
          <a:p>
            <a:pPr marL="285750" indent="-285750" algn="l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b="0" dirty="0"/>
              <a:t>Media</a:t>
            </a:r>
          </a:p>
          <a:p>
            <a:pPr marL="285750" indent="-285750" algn="l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b="0" dirty="0"/>
              <a:t>Media Spend</a:t>
            </a:r>
          </a:p>
          <a:p>
            <a:pPr algn="l"/>
            <a:r>
              <a:rPr lang="en-US" dirty="0"/>
              <a:t>Compare spends and negotiate with the retailers towards the lower spends</a:t>
            </a:r>
          </a:p>
          <a:p>
            <a:pPr algn="l"/>
            <a:r>
              <a:rPr lang="en-US" dirty="0"/>
              <a:t>Extra quantum discount possible based on the total spend at this retailer? 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xmlns="" id="{4200FDA4-25D0-433C-A7D6-68D287E4CBF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5312229" y="-121223"/>
            <a:ext cx="7980382" cy="7639623"/>
          </a:xfrm>
          <a:prstGeom prst="rect">
            <a:avLst/>
          </a:prstGeom>
        </p:spPr>
      </p:pic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DA2DD25F-B56C-4BED-89C3-61299421FF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dirty="0"/>
              <a:t>a. Are all categories or Brands paying the same for a broadsheet?</a:t>
            </a:r>
            <a:endParaRPr lang="x-non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xmlns="" id="{5CF02EB8-BE01-4F7D-9F56-58CADAB78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2. The low hanging fruit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BF2815AB-77B3-4CDB-885E-235650AD4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</p:spTree>
    <p:extLst>
      <p:ext uri="{BB962C8B-B14F-4D97-AF65-F5344CB8AC3E}">
        <p14:creationId xmlns:p14="http://schemas.microsoft.com/office/powerpoint/2010/main" val="3522358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>
        <p:tmplLst>
          <p:tmpl>
            <p:tnLst>
              <p:par>
                <p:cTn xmlns:p14="http://schemas.microsoft.com/office/powerpoint/2010/main"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xmlns="" id="{02395C23-99BB-4283-821A-3DFE69F39F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b. What are those few big loss generating promotions?</a:t>
            </a:r>
            <a:endParaRPr lang="x-non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12643685-0710-4A25-B5BF-1AB3C1D5D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2. The low hanging fruit</a:t>
            </a:r>
            <a:endParaRPr lang="x-none" dirty="0"/>
          </a:p>
        </p:txBody>
      </p:sp>
      <p:grpSp>
        <p:nvGrpSpPr>
          <p:cNvPr id="21" name="Groep 20">
            <a:extLst>
              <a:ext uri="{FF2B5EF4-FFF2-40B4-BE49-F238E27FC236}">
                <a16:creationId xmlns:a16="http://schemas.microsoft.com/office/drawing/2014/main" xmlns="" id="{59CBF654-1C08-44B2-8251-695193FD2610}"/>
              </a:ext>
            </a:extLst>
          </p:cNvPr>
          <p:cNvGrpSpPr/>
          <p:nvPr/>
        </p:nvGrpSpPr>
        <p:grpSpPr>
          <a:xfrm>
            <a:off x="543005" y="1824682"/>
            <a:ext cx="5653644" cy="3589636"/>
            <a:chOff x="543005" y="1824682"/>
            <a:chExt cx="5653644" cy="3589636"/>
          </a:xfrm>
        </p:grpSpPr>
        <p:grpSp>
          <p:nvGrpSpPr>
            <p:cNvPr id="4" name="Groep 3">
              <a:extLst>
                <a:ext uri="{FF2B5EF4-FFF2-40B4-BE49-F238E27FC236}">
                  <a16:creationId xmlns:a16="http://schemas.microsoft.com/office/drawing/2014/main" xmlns="" id="{D8A7A2B5-29F0-4F0C-9697-770EF2DA9110}"/>
                </a:ext>
              </a:extLst>
            </p:cNvPr>
            <p:cNvGrpSpPr/>
            <p:nvPr/>
          </p:nvGrpSpPr>
          <p:grpSpPr>
            <a:xfrm>
              <a:off x="543005" y="1824682"/>
              <a:ext cx="5653644" cy="3589636"/>
              <a:chOff x="5585769" y="1824682"/>
              <a:chExt cx="5653644" cy="3589636"/>
            </a:xfrm>
          </p:grpSpPr>
          <p:pic>
            <p:nvPicPr>
              <p:cNvPr id="5" name="Afbeelding 4">
                <a:extLst>
                  <a:ext uri="{FF2B5EF4-FFF2-40B4-BE49-F238E27FC236}">
                    <a16:creationId xmlns:a16="http://schemas.microsoft.com/office/drawing/2014/main" xmlns="" id="{36655E16-1E0C-4F67-B10D-31452D42B9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5400000">
                <a:off x="6617773" y="792678"/>
                <a:ext cx="3589636" cy="5653644"/>
              </a:xfrm>
              <a:prstGeom prst="rect">
                <a:avLst/>
              </a:prstGeom>
            </p:spPr>
          </p:pic>
          <p:sp>
            <p:nvSpPr>
              <p:cNvPr id="6" name="Rechthoek 5">
                <a:extLst>
                  <a:ext uri="{FF2B5EF4-FFF2-40B4-BE49-F238E27FC236}">
                    <a16:creationId xmlns:a16="http://schemas.microsoft.com/office/drawing/2014/main" xmlns="" id="{724BCCAA-07A5-4D50-8813-BEEF44854B0B}"/>
                  </a:ext>
                </a:extLst>
              </p:cNvPr>
              <p:cNvSpPr/>
              <p:nvPr/>
            </p:nvSpPr>
            <p:spPr>
              <a:xfrm>
                <a:off x="6184900" y="2012949"/>
                <a:ext cx="4454525" cy="32131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nl-NL"/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xmlns="" id="{13167267-9670-4390-A4E7-E2A7851DF6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42136" y="2445645"/>
              <a:ext cx="4448388" cy="2347708"/>
            </a:xfrm>
            <a:prstGeom prst="rect">
              <a:avLst/>
            </a:prstGeom>
          </p:spPr>
        </p:pic>
      </p:grpSp>
      <p:cxnSp>
        <p:nvCxnSpPr>
          <p:cNvPr id="10" name="Straight Connector 29">
            <a:extLst>
              <a:ext uri="{FF2B5EF4-FFF2-40B4-BE49-F238E27FC236}">
                <a16:creationId xmlns:a16="http://schemas.microsoft.com/office/drawing/2014/main" xmlns="" id="{A582EA4E-E00F-41D8-9A23-EADF2E269A79}"/>
              </a:ext>
            </a:extLst>
          </p:cNvPr>
          <p:cNvCxnSpPr>
            <a:cxnSpLocks/>
          </p:cNvCxnSpPr>
          <p:nvPr/>
        </p:nvCxnSpPr>
        <p:spPr>
          <a:xfrm flipV="1">
            <a:off x="1475322" y="2547938"/>
            <a:ext cx="708284" cy="324574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30">
            <a:extLst>
              <a:ext uri="{FF2B5EF4-FFF2-40B4-BE49-F238E27FC236}">
                <a16:creationId xmlns:a16="http://schemas.microsoft.com/office/drawing/2014/main" xmlns="" id="{1AE0292C-26DB-44EE-A9D1-B0AC4B6316CD}"/>
              </a:ext>
            </a:extLst>
          </p:cNvPr>
          <p:cNvCxnSpPr>
            <a:cxnSpLocks/>
          </p:cNvCxnSpPr>
          <p:nvPr/>
        </p:nvCxnSpPr>
        <p:spPr>
          <a:xfrm flipV="1">
            <a:off x="1475322" y="2756573"/>
            <a:ext cx="798772" cy="136723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1">
            <a:extLst>
              <a:ext uri="{FF2B5EF4-FFF2-40B4-BE49-F238E27FC236}">
                <a16:creationId xmlns:a16="http://schemas.microsoft.com/office/drawing/2014/main" xmlns="" id="{BAB604F3-E6D1-4595-9634-A7C94EAB3743}"/>
              </a:ext>
            </a:extLst>
          </p:cNvPr>
          <p:cNvCxnSpPr>
            <a:cxnSpLocks/>
          </p:cNvCxnSpPr>
          <p:nvPr/>
        </p:nvCxnSpPr>
        <p:spPr>
          <a:xfrm>
            <a:off x="1475322" y="2916400"/>
            <a:ext cx="708284" cy="33686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6">
            <a:extLst>
              <a:ext uri="{FF2B5EF4-FFF2-40B4-BE49-F238E27FC236}">
                <a16:creationId xmlns:a16="http://schemas.microsoft.com/office/drawing/2014/main" xmlns="" id="{24C35BC3-87FF-41D6-ABA5-E1EA81B244C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1218" y="2399877"/>
            <a:ext cx="476062" cy="676349"/>
          </a:xfrm>
          <a:prstGeom prst="rect">
            <a:avLst/>
          </a:prstGeom>
        </p:spPr>
      </p:pic>
      <p:sp>
        <p:nvSpPr>
          <p:cNvPr id="20" name="Tijdelijke aanduiding voor tekst 23">
            <a:extLst>
              <a:ext uri="{FF2B5EF4-FFF2-40B4-BE49-F238E27FC236}">
                <a16:creationId xmlns:a16="http://schemas.microsoft.com/office/drawing/2014/main" xmlns="" id="{16726A4D-6107-4438-95A7-C0F3D0FA0458}"/>
              </a:ext>
            </a:extLst>
          </p:cNvPr>
          <p:cNvSpPr txBox="1">
            <a:spLocks/>
          </p:cNvSpPr>
          <p:nvPr/>
        </p:nvSpPr>
        <p:spPr>
          <a:xfrm>
            <a:off x="7581900" y="2161526"/>
            <a:ext cx="4103589" cy="2740674"/>
          </a:xfrm>
          <a:prstGeom prst="roundRect">
            <a:avLst>
              <a:gd name="adj" fmla="val 2870"/>
            </a:avLst>
          </a:prstGeom>
          <a:solidFill>
            <a:schemeClr val="accent5">
              <a:alpha val="90000"/>
            </a:schemeClr>
          </a:solidFill>
        </p:spPr>
        <p:txBody>
          <a:bodyPr lIns="144000" tIns="252000" rIns="144000" bIns="10800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reate the ranking for promotions based on the incremental GP</a:t>
            </a:r>
          </a:p>
          <a:p>
            <a:r>
              <a:rPr lang="en-US" dirty="0"/>
              <a:t>Find the Loss makers</a:t>
            </a:r>
          </a:p>
          <a:p>
            <a:r>
              <a:rPr lang="en-US" dirty="0"/>
              <a:t>Decide directly what to do with these promotions (status below 70 can be stopped, higher statuses shouldn’t be repeated)</a:t>
            </a:r>
          </a:p>
          <a:p>
            <a:r>
              <a:rPr lang="en-US" dirty="0"/>
              <a:t>Repeat this for the 3-5 best promotions</a:t>
            </a:r>
          </a:p>
        </p:txBody>
      </p:sp>
      <p:cxnSp>
        <p:nvCxnSpPr>
          <p:cNvPr id="23" name="Straight Connector 29">
            <a:extLst>
              <a:ext uri="{FF2B5EF4-FFF2-40B4-BE49-F238E27FC236}">
                <a16:creationId xmlns:a16="http://schemas.microsoft.com/office/drawing/2014/main" xmlns="" id="{68C5E2C1-3E4B-460D-9E19-CD1536B3C680}"/>
              </a:ext>
            </a:extLst>
          </p:cNvPr>
          <p:cNvCxnSpPr>
            <a:cxnSpLocks/>
          </p:cNvCxnSpPr>
          <p:nvPr/>
        </p:nvCxnSpPr>
        <p:spPr>
          <a:xfrm flipV="1">
            <a:off x="5531727" y="3584885"/>
            <a:ext cx="708284" cy="324574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30">
            <a:extLst>
              <a:ext uri="{FF2B5EF4-FFF2-40B4-BE49-F238E27FC236}">
                <a16:creationId xmlns:a16="http://schemas.microsoft.com/office/drawing/2014/main" xmlns="" id="{6AA47F82-FD7F-4A1A-B03D-C8F4E31AF006}"/>
              </a:ext>
            </a:extLst>
          </p:cNvPr>
          <p:cNvCxnSpPr>
            <a:cxnSpLocks/>
          </p:cNvCxnSpPr>
          <p:nvPr/>
        </p:nvCxnSpPr>
        <p:spPr>
          <a:xfrm flipV="1">
            <a:off x="5531727" y="3793520"/>
            <a:ext cx="798772" cy="136723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1">
            <a:extLst>
              <a:ext uri="{FF2B5EF4-FFF2-40B4-BE49-F238E27FC236}">
                <a16:creationId xmlns:a16="http://schemas.microsoft.com/office/drawing/2014/main" xmlns="" id="{A0010CB3-1604-43A1-B73F-64CAA51B55D7}"/>
              </a:ext>
            </a:extLst>
          </p:cNvPr>
          <p:cNvCxnSpPr>
            <a:cxnSpLocks/>
          </p:cNvCxnSpPr>
          <p:nvPr/>
        </p:nvCxnSpPr>
        <p:spPr>
          <a:xfrm>
            <a:off x="5531727" y="3953347"/>
            <a:ext cx="708284" cy="33686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8">
            <a:extLst>
              <a:ext uri="{FF2B5EF4-FFF2-40B4-BE49-F238E27FC236}">
                <a16:creationId xmlns:a16="http://schemas.microsoft.com/office/drawing/2014/main" xmlns="" id="{E5755E5F-914E-482A-BC2B-55B16250127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9309" y="3041723"/>
            <a:ext cx="1020612" cy="1436299"/>
          </a:xfrm>
          <a:prstGeom prst="roundRect">
            <a:avLst>
              <a:gd name="adj" fmla="val 5615"/>
            </a:avLst>
          </a:prstGeom>
        </p:spPr>
      </p:pic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xmlns="" id="{9BFAC0E0-DFC1-4249-8F25-A7ADFB430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22" name="Tijdelijke aanduiding voor voettekst 3">
            <a:extLst>
              <a:ext uri="{FF2B5EF4-FFF2-40B4-BE49-F238E27FC236}">
                <a16:creationId xmlns:a16="http://schemas.microsoft.com/office/drawing/2014/main" xmlns="" id="{869325BE-1EB3-4571-BBC3-82D48818AEA9}"/>
              </a:ext>
            </a:extLst>
          </p:cNvPr>
          <p:cNvSpPr txBox="1">
            <a:spLocks/>
          </p:cNvSpPr>
          <p:nvPr/>
        </p:nvSpPr>
        <p:spPr>
          <a:xfrm>
            <a:off x="543004" y="5924317"/>
            <a:ext cx="5683625" cy="2440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i="1" dirty="0"/>
              <a:t>Source: Visual fabric®</a:t>
            </a:r>
          </a:p>
        </p:txBody>
      </p:sp>
    </p:spTree>
    <p:extLst>
      <p:ext uri="{BB962C8B-B14F-4D97-AF65-F5344CB8AC3E}">
        <p14:creationId xmlns:p14="http://schemas.microsoft.com/office/powerpoint/2010/main" val="3199907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>
        <p:tmplLst>
          <p:tmpl>
            <p:tnLst>
              <p:par>
                <p:cTn xmlns:p14="http://schemas.microsoft.com/office/powerpoint/2010/main"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80BC5B0F-E25A-4665-9B2E-F5A4B2D45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3. What is the development of ROI on promotions?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2650388-A3D4-4C62-9591-71D90F223B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s ROI increasing or declining?</a:t>
            </a:r>
          </a:p>
        </p:txBody>
      </p:sp>
      <p:graphicFrame>
        <p:nvGraphicFramePr>
          <p:cNvPr id="11" name="Table 4">
            <a:extLst>
              <a:ext uri="{FF2B5EF4-FFF2-40B4-BE49-F238E27FC236}">
                <a16:creationId xmlns:a16="http://schemas.microsoft.com/office/drawing/2014/main" xmlns="" id="{9A91C155-3BE6-403B-BEA7-A92BDD6E866D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7658608" y="1448020"/>
          <a:ext cx="4005864" cy="13409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0887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292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292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292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2927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68180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Year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Total promo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ROI GP Ratio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ROI NSV Ratio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ROI Volume Ratio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81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201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614,633.1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-0.3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0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3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81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201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30,480,775.2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-0.2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2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800" b="0" dirty="0">
                          <a:solidFill>
                            <a:schemeClr val="tx2"/>
                          </a:solidFill>
                        </a:rPr>
                        <a:t>0.3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81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201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61,090,560.2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0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6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3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81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201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50,956,994.8</a:t>
                      </a:r>
                      <a:endParaRPr lang="en-GB" sz="8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-0.03</a:t>
                      </a:r>
                      <a:endParaRPr lang="en-GB" sz="8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4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2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23" name="Grafiek 22">
            <a:extLst>
              <a:ext uri="{FF2B5EF4-FFF2-40B4-BE49-F238E27FC236}">
                <a16:creationId xmlns:a16="http://schemas.microsoft.com/office/drawing/2014/main" xmlns="" id="{06BA6D6B-E3C7-4220-B7E4-A28C9C5FCF8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9635360"/>
              </p:ext>
            </p:extLst>
          </p:nvPr>
        </p:nvGraphicFramePr>
        <p:xfrm>
          <a:off x="7574310" y="2837410"/>
          <a:ext cx="4161760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Grafiek 23">
            <a:extLst>
              <a:ext uri="{FF2B5EF4-FFF2-40B4-BE49-F238E27FC236}">
                <a16:creationId xmlns:a16="http://schemas.microsoft.com/office/drawing/2014/main" xmlns="" id="{C5AB9379-3204-44A3-852F-A9A7B7D61D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2848804"/>
              </p:ext>
            </p:extLst>
          </p:nvPr>
        </p:nvGraphicFramePr>
        <p:xfrm>
          <a:off x="7580660" y="4267189"/>
          <a:ext cx="4161760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8" name="Groep 27">
            <a:extLst>
              <a:ext uri="{FF2B5EF4-FFF2-40B4-BE49-F238E27FC236}">
                <a16:creationId xmlns:a16="http://schemas.microsoft.com/office/drawing/2014/main" xmlns="" id="{32A9687F-8AC9-436F-A0C4-BA05BDE6250F}"/>
              </a:ext>
            </a:extLst>
          </p:cNvPr>
          <p:cNvGrpSpPr/>
          <p:nvPr/>
        </p:nvGrpSpPr>
        <p:grpSpPr>
          <a:xfrm>
            <a:off x="543005" y="1448503"/>
            <a:ext cx="6576084" cy="4175316"/>
            <a:chOff x="543005" y="1448503"/>
            <a:chExt cx="6576084" cy="4175316"/>
          </a:xfrm>
        </p:grpSpPr>
        <p:pic>
          <p:nvPicPr>
            <p:cNvPr id="5" name="Afbeelding 4">
              <a:extLst>
                <a:ext uri="{FF2B5EF4-FFF2-40B4-BE49-F238E27FC236}">
                  <a16:creationId xmlns:a16="http://schemas.microsoft.com/office/drawing/2014/main" xmlns="" id="{F4C84403-B667-4A0E-8C4C-D34ADEE8E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1743389" y="248119"/>
              <a:ext cx="4175316" cy="6576084"/>
            </a:xfrm>
            <a:prstGeom prst="rect">
              <a:avLst/>
            </a:prstGeom>
          </p:spPr>
        </p:pic>
        <p:grpSp>
          <p:nvGrpSpPr>
            <p:cNvPr id="27" name="Groep 26">
              <a:extLst>
                <a:ext uri="{FF2B5EF4-FFF2-40B4-BE49-F238E27FC236}">
                  <a16:creationId xmlns:a16="http://schemas.microsoft.com/office/drawing/2014/main" xmlns="" id="{ACBCEB2A-4944-40E5-B915-803D8C392066}"/>
                </a:ext>
              </a:extLst>
            </p:cNvPr>
            <p:cNvGrpSpPr/>
            <p:nvPr/>
          </p:nvGrpSpPr>
          <p:grpSpPr>
            <a:xfrm>
              <a:off x="1230977" y="1654364"/>
              <a:ext cx="5198397" cy="3755128"/>
              <a:chOff x="1230977" y="1654364"/>
              <a:chExt cx="5198397" cy="3755128"/>
            </a:xfrm>
          </p:grpSpPr>
          <p:grpSp>
            <p:nvGrpSpPr>
              <p:cNvPr id="6" name="Group 14">
                <a:extLst>
                  <a:ext uri="{FF2B5EF4-FFF2-40B4-BE49-F238E27FC236}">
                    <a16:creationId xmlns:a16="http://schemas.microsoft.com/office/drawing/2014/main" xmlns="" id="{AD84E171-618E-4551-8EB7-D75BAFCB4566}"/>
                  </a:ext>
                </a:extLst>
              </p:cNvPr>
              <p:cNvGrpSpPr/>
              <p:nvPr/>
            </p:nvGrpSpPr>
            <p:grpSpPr>
              <a:xfrm>
                <a:off x="1230977" y="1654365"/>
                <a:ext cx="5198397" cy="3755127"/>
                <a:chOff x="566928" y="1577513"/>
                <a:chExt cx="4175305" cy="3147219"/>
              </a:xfrm>
            </p:grpSpPr>
            <p:pic>
              <p:nvPicPr>
                <p:cNvPr id="7" name="Picture 7">
                  <a:extLst>
                    <a:ext uri="{FF2B5EF4-FFF2-40B4-BE49-F238E27FC236}">
                      <a16:creationId xmlns:a16="http://schemas.microsoft.com/office/drawing/2014/main" xmlns="" id="{16874DE4-7E4B-49FA-8E67-97DF658456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-3"/>
                <a:stretch/>
              </p:blipFill>
              <p:spPr>
                <a:xfrm>
                  <a:off x="566928" y="1577513"/>
                  <a:ext cx="4175305" cy="3147219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</p:spPr>
            </p:pic>
            <p:cxnSp>
              <p:nvCxnSpPr>
                <p:cNvPr id="8" name="Straight Arrow Connector 9">
                  <a:extLst>
                    <a:ext uri="{FF2B5EF4-FFF2-40B4-BE49-F238E27FC236}">
                      <a16:creationId xmlns:a16="http://schemas.microsoft.com/office/drawing/2014/main" xmlns="" id="{13C09DCF-5426-4160-9F6C-AEC258EB62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934540" y="2985027"/>
                  <a:ext cx="2153585" cy="558813"/>
                </a:xfrm>
                <a:prstGeom prst="straightConnector1">
                  <a:avLst/>
                </a:prstGeom>
                <a:ln w="41275"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" name="Straight Arrow Connector 13">
                  <a:extLst>
                    <a:ext uri="{FF2B5EF4-FFF2-40B4-BE49-F238E27FC236}">
                      <a16:creationId xmlns:a16="http://schemas.microsoft.com/office/drawing/2014/main" xmlns="" id="{F754D830-8DC2-49E1-8C34-03C99B9C23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827085" y="2909188"/>
                  <a:ext cx="1253391" cy="246143"/>
                </a:xfrm>
                <a:prstGeom prst="straightConnector1">
                  <a:avLst/>
                </a:prstGeom>
                <a:ln w="41275"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5" name="Rechthoek 24">
                <a:extLst>
                  <a:ext uri="{FF2B5EF4-FFF2-40B4-BE49-F238E27FC236}">
                    <a16:creationId xmlns:a16="http://schemas.microsoft.com/office/drawing/2014/main" xmlns="" id="{A402B26E-A84F-40A8-81A4-2EFA590C411F}"/>
                  </a:ext>
                </a:extLst>
              </p:cNvPr>
              <p:cNvSpPr/>
              <p:nvPr/>
            </p:nvSpPr>
            <p:spPr>
              <a:xfrm>
                <a:off x="1234152" y="1656825"/>
                <a:ext cx="982980" cy="100584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xmlns="" id="{2FF2D501-D257-4C5D-9F65-C8C9083D552E}"/>
                  </a:ext>
                </a:extLst>
              </p:cNvPr>
              <p:cNvSpPr/>
              <p:nvPr/>
            </p:nvSpPr>
            <p:spPr>
              <a:xfrm>
                <a:off x="6181724" y="1654364"/>
                <a:ext cx="247649" cy="366058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="" id="{21AC1486-AD8B-4CD5-9950-7A316B6DD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17" name="Tijdelijke aanduiding voor voettekst 3">
            <a:extLst>
              <a:ext uri="{FF2B5EF4-FFF2-40B4-BE49-F238E27FC236}">
                <a16:creationId xmlns:a16="http://schemas.microsoft.com/office/drawing/2014/main" xmlns="" id="{EBFE141C-D2B2-43AF-BB89-B69D8C9F9B7A}"/>
              </a:ext>
            </a:extLst>
          </p:cNvPr>
          <p:cNvSpPr txBox="1">
            <a:spLocks/>
          </p:cNvSpPr>
          <p:nvPr/>
        </p:nvSpPr>
        <p:spPr>
          <a:xfrm>
            <a:off x="543004" y="5924317"/>
            <a:ext cx="5683625" cy="2440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i="1" dirty="0"/>
              <a:t>Source: Visual fabric®</a:t>
            </a:r>
          </a:p>
        </p:txBody>
      </p:sp>
    </p:spTree>
    <p:extLst>
      <p:ext uri="{BB962C8B-B14F-4D97-AF65-F5344CB8AC3E}">
        <p14:creationId xmlns:p14="http://schemas.microsoft.com/office/powerpoint/2010/main" val="2499032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3" grpId="0">
        <p:bldAsOne/>
      </p:bldGraphic>
      <p:bldGraphic spid="24" grpId="0">
        <p:bldAsOne/>
      </p:bldGraphic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80BC5B0F-E25A-4665-9B2E-F5A4B2D45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3. What is the development of ROI on promotions?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2650388-A3D4-4C62-9591-71D90F223B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. Try to shift (small) parts of the spends between Accounts</a:t>
            </a:r>
          </a:p>
        </p:txBody>
      </p:sp>
      <p:graphicFrame>
        <p:nvGraphicFramePr>
          <p:cNvPr id="23" name="Grafiek 22">
            <a:extLst>
              <a:ext uri="{FF2B5EF4-FFF2-40B4-BE49-F238E27FC236}">
                <a16:creationId xmlns:a16="http://schemas.microsoft.com/office/drawing/2014/main" xmlns="" id="{06BA6D6B-E3C7-4220-B7E4-A28C9C5FCF8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599378"/>
              </p:ext>
            </p:extLst>
          </p:nvPr>
        </p:nvGraphicFramePr>
        <p:xfrm>
          <a:off x="7490460" y="2839968"/>
          <a:ext cx="4245610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Grafiek 23">
            <a:extLst>
              <a:ext uri="{FF2B5EF4-FFF2-40B4-BE49-F238E27FC236}">
                <a16:creationId xmlns:a16="http://schemas.microsoft.com/office/drawing/2014/main" xmlns="" id="{C5AB9379-3204-44A3-852F-A9A7B7D61D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32896294"/>
              </p:ext>
            </p:extLst>
          </p:nvPr>
        </p:nvGraphicFramePr>
        <p:xfrm>
          <a:off x="7580660" y="4267189"/>
          <a:ext cx="4161760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le 4">
            <a:extLst>
              <a:ext uri="{FF2B5EF4-FFF2-40B4-BE49-F238E27FC236}">
                <a16:creationId xmlns:a16="http://schemas.microsoft.com/office/drawing/2014/main" xmlns="" id="{9A91C155-3BE6-403B-BEA7-A92BDD6E86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108708"/>
              </p:ext>
            </p:extLst>
          </p:nvPr>
        </p:nvGraphicFramePr>
        <p:xfrm>
          <a:off x="7658609" y="1448020"/>
          <a:ext cx="4005865" cy="131423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310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15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9159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9159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68180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Plain accounts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Total promo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ROI GP Ratio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ROI NSV Ratio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A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28,505, 469.3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3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1.4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B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1,271,400.1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-0.2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2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C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1,884,152.6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-0.8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-0.7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D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8,700,789.3</a:t>
                      </a:r>
                      <a:endParaRPr lang="en-GB" sz="8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-0.26</a:t>
                      </a:r>
                      <a:endParaRPr lang="en-GB" sz="8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3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E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2,278,000.8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1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6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26870900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F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7,407,530.6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-0.2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2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09258264"/>
                  </a:ext>
                </a:extLst>
              </a:tr>
            </a:tbl>
          </a:graphicData>
        </a:graphic>
      </p:graphicFrame>
      <p:pic>
        <p:nvPicPr>
          <p:cNvPr id="5" name="Afbeelding 4">
            <a:extLst>
              <a:ext uri="{FF2B5EF4-FFF2-40B4-BE49-F238E27FC236}">
                <a16:creationId xmlns:a16="http://schemas.microsoft.com/office/drawing/2014/main" xmlns="" id="{F4C84403-B667-4A0E-8C4C-D34ADEE8E5D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743389" y="248119"/>
            <a:ext cx="4175316" cy="6576084"/>
          </a:xfrm>
          <a:prstGeom prst="rect">
            <a:avLst/>
          </a:prstGeom>
        </p:spPr>
      </p:pic>
      <p:grpSp>
        <p:nvGrpSpPr>
          <p:cNvPr id="3" name="Groep 2">
            <a:extLst>
              <a:ext uri="{FF2B5EF4-FFF2-40B4-BE49-F238E27FC236}">
                <a16:creationId xmlns:a16="http://schemas.microsoft.com/office/drawing/2014/main" xmlns="" id="{87E4F50E-5963-4E9D-96F6-215CF4358E27}"/>
              </a:ext>
            </a:extLst>
          </p:cNvPr>
          <p:cNvGrpSpPr/>
          <p:nvPr/>
        </p:nvGrpSpPr>
        <p:grpSpPr>
          <a:xfrm>
            <a:off x="1229084" y="1654364"/>
            <a:ext cx="5200289" cy="3759360"/>
            <a:chOff x="1229084" y="1654364"/>
            <a:chExt cx="5200289" cy="3759360"/>
          </a:xfrm>
        </p:grpSpPr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xmlns="" id="{E63CFCCF-C73A-4489-8D42-BF15BEC2C5BB}"/>
                </a:ext>
              </a:extLst>
            </p:cNvPr>
            <p:cNvGrpSpPr/>
            <p:nvPr/>
          </p:nvGrpSpPr>
          <p:grpSpPr>
            <a:xfrm>
              <a:off x="1229084" y="1658597"/>
              <a:ext cx="5198397" cy="3755127"/>
              <a:chOff x="1200151" y="1390651"/>
              <a:chExt cx="3867562" cy="2793781"/>
            </a:xfrm>
          </p:grpSpPr>
          <p:pic>
            <p:nvPicPr>
              <p:cNvPr id="22" name="Picture 10">
                <a:extLst>
                  <a:ext uri="{FF2B5EF4-FFF2-40B4-BE49-F238E27FC236}">
                    <a16:creationId xmlns:a16="http://schemas.microsoft.com/office/drawing/2014/main" xmlns="" id="{34D8E41A-EDC2-458C-BE5C-744E087C75E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-2887"/>
              <a:stretch/>
            </p:blipFill>
            <p:spPr>
              <a:xfrm>
                <a:off x="1200151" y="1390651"/>
                <a:ext cx="3867562" cy="2793781"/>
              </a:xfrm>
              <a:prstGeom prst="rect">
                <a:avLst/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</p:spPr>
          </p:pic>
          <p:sp>
            <p:nvSpPr>
              <p:cNvPr id="29" name="Arrow: Curved Up 11">
                <a:extLst>
                  <a:ext uri="{FF2B5EF4-FFF2-40B4-BE49-F238E27FC236}">
                    <a16:creationId xmlns:a16="http://schemas.microsoft.com/office/drawing/2014/main" xmlns="" id="{D79C5EA7-79B7-472D-B822-F0138CD5F777}"/>
                  </a:ext>
                </a:extLst>
              </p:cNvPr>
              <p:cNvSpPr/>
              <p:nvPr/>
            </p:nvSpPr>
            <p:spPr>
              <a:xfrm rot="20381785">
                <a:off x="3045844" y="2680730"/>
                <a:ext cx="1393838" cy="444147"/>
              </a:xfrm>
              <a:prstGeom prst="curvedUpArrow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x-none" sz="135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Arrow: Curved Up 15">
                <a:extLst>
                  <a:ext uri="{FF2B5EF4-FFF2-40B4-BE49-F238E27FC236}">
                    <a16:creationId xmlns:a16="http://schemas.microsoft.com/office/drawing/2014/main" xmlns="" id="{C1B44966-3FB0-4F57-8820-1C74D428B248}"/>
                  </a:ext>
                </a:extLst>
              </p:cNvPr>
              <p:cNvSpPr/>
              <p:nvPr/>
            </p:nvSpPr>
            <p:spPr>
              <a:xfrm rot="20381785">
                <a:off x="1781618" y="3223847"/>
                <a:ext cx="1393838" cy="444147"/>
              </a:xfrm>
              <a:prstGeom prst="curvedUpArrow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x-none" sz="135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1" name="Rechthoek 30">
              <a:extLst>
                <a:ext uri="{FF2B5EF4-FFF2-40B4-BE49-F238E27FC236}">
                  <a16:creationId xmlns:a16="http://schemas.microsoft.com/office/drawing/2014/main" xmlns="" id="{F185C179-5454-4B47-AF4C-3D97C50EAE1D}"/>
                </a:ext>
              </a:extLst>
            </p:cNvPr>
            <p:cNvSpPr/>
            <p:nvPr/>
          </p:nvSpPr>
          <p:spPr>
            <a:xfrm>
              <a:off x="5861050" y="1654364"/>
              <a:ext cx="568323" cy="36605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en-US"/>
            </a:p>
          </p:txBody>
        </p:sp>
        <p:sp>
          <p:nvSpPr>
            <p:cNvPr id="34" name="Vrije vorm: vorm 33">
              <a:extLst>
                <a:ext uri="{FF2B5EF4-FFF2-40B4-BE49-F238E27FC236}">
                  <a16:creationId xmlns:a16="http://schemas.microsoft.com/office/drawing/2014/main" xmlns="" id="{0F04DFCA-B51F-49B4-BE3B-D987244F8C34}"/>
                </a:ext>
              </a:extLst>
            </p:cNvPr>
            <p:cNvSpPr/>
            <p:nvPr/>
          </p:nvSpPr>
          <p:spPr>
            <a:xfrm>
              <a:off x="1229085" y="1658598"/>
              <a:ext cx="503844" cy="3753983"/>
            </a:xfrm>
            <a:custGeom>
              <a:avLst/>
              <a:gdLst>
                <a:gd name="connsiteX0" fmla="*/ 0 w 503844"/>
                <a:gd name="connsiteY0" fmla="*/ 0 h 3750899"/>
                <a:gd name="connsiteX1" fmla="*/ 503844 w 503844"/>
                <a:gd name="connsiteY1" fmla="*/ 0 h 3750899"/>
                <a:gd name="connsiteX2" fmla="*/ 503844 w 503844"/>
                <a:gd name="connsiteY2" fmla="*/ 3293856 h 3750899"/>
                <a:gd name="connsiteX3" fmla="*/ 196657 w 503844"/>
                <a:gd name="connsiteY3" fmla="*/ 3293856 h 3750899"/>
                <a:gd name="connsiteX4" fmla="*/ 196657 w 503844"/>
                <a:gd name="connsiteY4" fmla="*/ 3656351 h 3750899"/>
                <a:gd name="connsiteX5" fmla="*/ 503844 w 503844"/>
                <a:gd name="connsiteY5" fmla="*/ 3656351 h 3750899"/>
                <a:gd name="connsiteX6" fmla="*/ 503844 w 503844"/>
                <a:gd name="connsiteY6" fmla="*/ 3750899 h 3750899"/>
                <a:gd name="connsiteX7" fmla="*/ 0 w 503844"/>
                <a:gd name="connsiteY7" fmla="*/ 3750899 h 375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03844" h="3750899">
                  <a:moveTo>
                    <a:pt x="0" y="0"/>
                  </a:moveTo>
                  <a:lnTo>
                    <a:pt x="503844" y="0"/>
                  </a:lnTo>
                  <a:lnTo>
                    <a:pt x="503844" y="3293856"/>
                  </a:lnTo>
                  <a:lnTo>
                    <a:pt x="196657" y="3293856"/>
                  </a:lnTo>
                  <a:lnTo>
                    <a:pt x="196657" y="3656351"/>
                  </a:lnTo>
                  <a:lnTo>
                    <a:pt x="503844" y="3656351"/>
                  </a:lnTo>
                  <a:lnTo>
                    <a:pt x="503844" y="3750899"/>
                  </a:lnTo>
                  <a:lnTo>
                    <a:pt x="0" y="375089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xmlns="" id="{9BE7B523-10BE-4508-A1B2-D1C35FA962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xmlns="" id="{BCE13B5C-3F1B-4569-9390-6199EAB9B760}"/>
              </a:ext>
            </a:extLst>
          </p:cNvPr>
          <p:cNvSpPr/>
          <p:nvPr/>
        </p:nvSpPr>
        <p:spPr>
          <a:xfrm>
            <a:off x="1362075" y="5064173"/>
            <a:ext cx="2567393" cy="983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17" name="Tijdelijke aanduiding voor voettekst 3">
            <a:extLst>
              <a:ext uri="{FF2B5EF4-FFF2-40B4-BE49-F238E27FC236}">
                <a16:creationId xmlns:a16="http://schemas.microsoft.com/office/drawing/2014/main" xmlns="" id="{D9B4B1A6-0FCC-4D3B-AD43-182BF2E69A2D}"/>
              </a:ext>
            </a:extLst>
          </p:cNvPr>
          <p:cNvSpPr txBox="1">
            <a:spLocks/>
          </p:cNvSpPr>
          <p:nvPr/>
        </p:nvSpPr>
        <p:spPr>
          <a:xfrm>
            <a:off x="543004" y="5924317"/>
            <a:ext cx="5683625" cy="2440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i="1" dirty="0"/>
              <a:t>Source: Visual fabric®</a:t>
            </a:r>
          </a:p>
        </p:txBody>
      </p:sp>
    </p:spTree>
    <p:extLst>
      <p:ext uri="{BB962C8B-B14F-4D97-AF65-F5344CB8AC3E}">
        <p14:creationId xmlns:p14="http://schemas.microsoft.com/office/powerpoint/2010/main" val="390690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80BC5B0F-E25A-4665-9B2E-F5A4B2D45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4. What is the best place to spend your money?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2650388-A3D4-4C62-9591-71D90F223B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. Try to shift (small) parts of the spends between Brands</a:t>
            </a:r>
          </a:p>
        </p:txBody>
      </p:sp>
      <p:graphicFrame>
        <p:nvGraphicFramePr>
          <p:cNvPr id="11" name="Table 4">
            <a:extLst>
              <a:ext uri="{FF2B5EF4-FFF2-40B4-BE49-F238E27FC236}">
                <a16:creationId xmlns:a16="http://schemas.microsoft.com/office/drawing/2014/main" xmlns="" id="{9A91C155-3BE6-403B-BEA7-A92BDD6E866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5251211"/>
              </p:ext>
            </p:extLst>
          </p:nvPr>
        </p:nvGraphicFramePr>
        <p:xfrm>
          <a:off x="7658609" y="1448020"/>
          <a:ext cx="4005865" cy="1314232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310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15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9159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9159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68180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Nielsen - Brand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Total promo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ROI GP Ratio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bg1"/>
                          </a:solidFill>
                        </a:rPr>
                        <a:t>ROI NSV Ratio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A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525,987.0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0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1.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B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4,560,161.3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0.5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1.7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C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1,721,878.3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1.4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2.7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D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29,598,196.94</a:t>
                      </a:r>
                      <a:endParaRPr lang="en-GB" sz="8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-0.16</a:t>
                      </a:r>
                      <a:endParaRPr lang="en-GB" sz="8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-0.0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E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874,834.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-0.9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-0.9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26870900"/>
                  </a:ext>
                </a:extLst>
              </a:tr>
              <a:tr h="17434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b="1" dirty="0">
                          <a:solidFill>
                            <a:schemeClr val="tx2"/>
                          </a:solidFill>
                          <a:latin typeface="+mj-lt"/>
                        </a:rPr>
                        <a:t>Customer F 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10,601.5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1,4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800" dirty="0">
                          <a:solidFill>
                            <a:schemeClr val="tx2"/>
                          </a:solidFill>
                        </a:rPr>
                        <a:t>2.0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09258264"/>
                  </a:ext>
                </a:extLst>
              </a:tr>
            </a:tbl>
          </a:graphicData>
        </a:graphic>
      </p:graphicFrame>
      <p:grpSp>
        <p:nvGrpSpPr>
          <p:cNvPr id="10" name="Groep 9">
            <a:extLst>
              <a:ext uri="{FF2B5EF4-FFF2-40B4-BE49-F238E27FC236}">
                <a16:creationId xmlns:a16="http://schemas.microsoft.com/office/drawing/2014/main" xmlns="" id="{CC86C664-26EA-4971-A356-42A9C2A44E55}"/>
              </a:ext>
            </a:extLst>
          </p:cNvPr>
          <p:cNvGrpSpPr/>
          <p:nvPr/>
        </p:nvGrpSpPr>
        <p:grpSpPr>
          <a:xfrm>
            <a:off x="543005" y="1448503"/>
            <a:ext cx="6576084" cy="4175316"/>
            <a:chOff x="543005" y="1448503"/>
            <a:chExt cx="6576084" cy="4175316"/>
          </a:xfrm>
        </p:grpSpPr>
        <p:pic>
          <p:nvPicPr>
            <p:cNvPr id="5" name="Afbeelding 4">
              <a:extLst>
                <a:ext uri="{FF2B5EF4-FFF2-40B4-BE49-F238E27FC236}">
                  <a16:creationId xmlns:a16="http://schemas.microsoft.com/office/drawing/2014/main" xmlns="" id="{F4C84403-B667-4A0E-8C4C-D34ADEE8E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1743389" y="248119"/>
              <a:ext cx="4175316" cy="6576084"/>
            </a:xfrm>
            <a:prstGeom prst="rect">
              <a:avLst/>
            </a:prstGeom>
          </p:spPr>
        </p:pic>
        <p:grpSp>
          <p:nvGrpSpPr>
            <p:cNvPr id="3" name="Groep 2">
              <a:extLst>
                <a:ext uri="{FF2B5EF4-FFF2-40B4-BE49-F238E27FC236}">
                  <a16:creationId xmlns:a16="http://schemas.microsoft.com/office/drawing/2014/main" xmlns="" id="{87E4F50E-5963-4E9D-96F6-215CF4358E27}"/>
                </a:ext>
              </a:extLst>
            </p:cNvPr>
            <p:cNvGrpSpPr/>
            <p:nvPr/>
          </p:nvGrpSpPr>
          <p:grpSpPr>
            <a:xfrm>
              <a:off x="1229084" y="1654364"/>
              <a:ext cx="5200289" cy="3759362"/>
              <a:chOff x="1229084" y="1654364"/>
              <a:chExt cx="5200289" cy="3759362"/>
            </a:xfrm>
          </p:grpSpPr>
          <p:grpSp>
            <p:nvGrpSpPr>
              <p:cNvPr id="21" name="Groep 20">
                <a:extLst>
                  <a:ext uri="{FF2B5EF4-FFF2-40B4-BE49-F238E27FC236}">
                    <a16:creationId xmlns:a16="http://schemas.microsoft.com/office/drawing/2014/main" xmlns="" id="{E63CFCCF-C73A-4489-8D42-BF15BEC2C5BB}"/>
                  </a:ext>
                </a:extLst>
              </p:cNvPr>
              <p:cNvGrpSpPr/>
              <p:nvPr/>
            </p:nvGrpSpPr>
            <p:grpSpPr>
              <a:xfrm>
                <a:off x="1229084" y="1658598"/>
                <a:ext cx="5198398" cy="3755128"/>
                <a:chOff x="1200151" y="1390651"/>
                <a:chExt cx="3867562" cy="2793781"/>
              </a:xfrm>
            </p:grpSpPr>
            <p:pic>
              <p:nvPicPr>
                <p:cNvPr id="22" name="Picture 10">
                  <a:extLst>
                    <a:ext uri="{FF2B5EF4-FFF2-40B4-BE49-F238E27FC236}">
                      <a16:creationId xmlns:a16="http://schemas.microsoft.com/office/drawing/2014/main" xmlns="" id="{34D8E41A-EDC2-458C-BE5C-744E087C75E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-2887"/>
                <a:stretch/>
              </p:blipFill>
              <p:spPr>
                <a:xfrm>
                  <a:off x="1200151" y="1390651"/>
                  <a:ext cx="3867562" cy="2793781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75000"/>
                    </a:schemeClr>
                  </a:solidFill>
                </a:ln>
              </p:spPr>
            </p:pic>
            <p:sp>
              <p:nvSpPr>
                <p:cNvPr id="29" name="Arrow: Curved Up 11">
                  <a:extLst>
                    <a:ext uri="{FF2B5EF4-FFF2-40B4-BE49-F238E27FC236}">
                      <a16:creationId xmlns:a16="http://schemas.microsoft.com/office/drawing/2014/main" xmlns="" id="{D79C5EA7-79B7-472D-B822-F0138CD5F777}"/>
                    </a:ext>
                  </a:extLst>
                </p:cNvPr>
                <p:cNvSpPr/>
                <p:nvPr/>
              </p:nvSpPr>
              <p:spPr>
                <a:xfrm rot="20381785">
                  <a:off x="3045844" y="2680730"/>
                  <a:ext cx="1393838" cy="444147"/>
                </a:xfrm>
                <a:prstGeom prst="curvedUpArrow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x-none" sz="1350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0" name="Arrow: Curved Up 15">
                  <a:extLst>
                    <a:ext uri="{FF2B5EF4-FFF2-40B4-BE49-F238E27FC236}">
                      <a16:creationId xmlns:a16="http://schemas.microsoft.com/office/drawing/2014/main" xmlns="" id="{C1B44966-3FB0-4F57-8820-1C74D428B248}"/>
                    </a:ext>
                  </a:extLst>
                </p:cNvPr>
                <p:cNvSpPr/>
                <p:nvPr/>
              </p:nvSpPr>
              <p:spPr>
                <a:xfrm rot="20381785">
                  <a:off x="1781618" y="3223847"/>
                  <a:ext cx="1393838" cy="444147"/>
                </a:xfrm>
                <a:prstGeom prst="curvedUpArrow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x-none" sz="1350" dirty="0" err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xmlns="" id="{F185C179-5454-4B47-AF4C-3D97C50EAE1D}"/>
                  </a:ext>
                </a:extLst>
              </p:cNvPr>
              <p:cNvSpPr/>
              <p:nvPr/>
            </p:nvSpPr>
            <p:spPr>
              <a:xfrm>
                <a:off x="5861050" y="1654364"/>
                <a:ext cx="568323" cy="366058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Vrije vorm: vorm 33">
                <a:extLst>
                  <a:ext uri="{FF2B5EF4-FFF2-40B4-BE49-F238E27FC236}">
                    <a16:creationId xmlns:a16="http://schemas.microsoft.com/office/drawing/2014/main" xmlns="" id="{0F04DFCA-B51F-49B4-BE3B-D987244F8C34}"/>
                  </a:ext>
                </a:extLst>
              </p:cNvPr>
              <p:cNvSpPr/>
              <p:nvPr/>
            </p:nvSpPr>
            <p:spPr>
              <a:xfrm>
                <a:off x="1229085" y="1658598"/>
                <a:ext cx="503844" cy="3753983"/>
              </a:xfrm>
              <a:custGeom>
                <a:avLst/>
                <a:gdLst>
                  <a:gd name="connsiteX0" fmla="*/ 0 w 503844"/>
                  <a:gd name="connsiteY0" fmla="*/ 0 h 3750899"/>
                  <a:gd name="connsiteX1" fmla="*/ 503844 w 503844"/>
                  <a:gd name="connsiteY1" fmla="*/ 0 h 3750899"/>
                  <a:gd name="connsiteX2" fmla="*/ 503844 w 503844"/>
                  <a:gd name="connsiteY2" fmla="*/ 3293856 h 3750899"/>
                  <a:gd name="connsiteX3" fmla="*/ 196657 w 503844"/>
                  <a:gd name="connsiteY3" fmla="*/ 3293856 h 3750899"/>
                  <a:gd name="connsiteX4" fmla="*/ 196657 w 503844"/>
                  <a:gd name="connsiteY4" fmla="*/ 3656351 h 3750899"/>
                  <a:gd name="connsiteX5" fmla="*/ 503844 w 503844"/>
                  <a:gd name="connsiteY5" fmla="*/ 3656351 h 3750899"/>
                  <a:gd name="connsiteX6" fmla="*/ 503844 w 503844"/>
                  <a:gd name="connsiteY6" fmla="*/ 3750899 h 3750899"/>
                  <a:gd name="connsiteX7" fmla="*/ 0 w 503844"/>
                  <a:gd name="connsiteY7" fmla="*/ 3750899 h 37508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3844" h="3750899">
                    <a:moveTo>
                      <a:pt x="0" y="0"/>
                    </a:moveTo>
                    <a:lnTo>
                      <a:pt x="503844" y="0"/>
                    </a:lnTo>
                    <a:lnTo>
                      <a:pt x="503844" y="3293856"/>
                    </a:lnTo>
                    <a:lnTo>
                      <a:pt x="196657" y="3293856"/>
                    </a:lnTo>
                    <a:lnTo>
                      <a:pt x="196657" y="3656351"/>
                    </a:lnTo>
                    <a:lnTo>
                      <a:pt x="503844" y="3656351"/>
                    </a:lnTo>
                    <a:lnTo>
                      <a:pt x="503844" y="3750899"/>
                    </a:lnTo>
                    <a:lnTo>
                      <a:pt x="0" y="375089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en-US"/>
              </a:p>
            </p:txBody>
          </p:sp>
        </p:grpSp>
      </p:grpSp>
      <p:graphicFrame>
        <p:nvGraphicFramePr>
          <p:cNvPr id="17" name="Grafiek 16">
            <a:extLst>
              <a:ext uri="{FF2B5EF4-FFF2-40B4-BE49-F238E27FC236}">
                <a16:creationId xmlns:a16="http://schemas.microsoft.com/office/drawing/2014/main" xmlns="" id="{D26FC1D7-976D-461B-AE18-B23479CB39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901812"/>
              </p:ext>
            </p:extLst>
          </p:nvPr>
        </p:nvGraphicFramePr>
        <p:xfrm>
          <a:off x="7536180" y="4267189"/>
          <a:ext cx="4206240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Grafiek 17">
            <a:extLst>
              <a:ext uri="{FF2B5EF4-FFF2-40B4-BE49-F238E27FC236}">
                <a16:creationId xmlns:a16="http://schemas.microsoft.com/office/drawing/2014/main" xmlns="" id="{25FF6D99-AE17-4DAC-95A3-493054EB92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5384337"/>
              </p:ext>
            </p:extLst>
          </p:nvPr>
        </p:nvGraphicFramePr>
        <p:xfrm>
          <a:off x="7574310" y="2837410"/>
          <a:ext cx="4161760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6" name="Groep 5">
            <a:extLst>
              <a:ext uri="{FF2B5EF4-FFF2-40B4-BE49-F238E27FC236}">
                <a16:creationId xmlns:a16="http://schemas.microsoft.com/office/drawing/2014/main" xmlns="" id="{01207D4C-4569-4452-B59D-99751B1CBBB7}"/>
              </a:ext>
            </a:extLst>
          </p:cNvPr>
          <p:cNvGrpSpPr/>
          <p:nvPr/>
        </p:nvGrpSpPr>
        <p:grpSpPr>
          <a:xfrm>
            <a:off x="1229085" y="1654788"/>
            <a:ext cx="5198396" cy="3762026"/>
            <a:chOff x="1229085" y="1654788"/>
            <a:chExt cx="5198396" cy="3762026"/>
          </a:xfrm>
        </p:grpSpPr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xmlns="" id="{A4DDA4EB-78E7-4C75-A6A6-90EDFE81CC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29085" y="1654788"/>
              <a:ext cx="5198396" cy="3762026"/>
            </a:xfrm>
            <a:prstGeom prst="rect">
              <a:avLst/>
            </a:prstGeom>
          </p:spPr>
        </p:pic>
        <p:sp>
          <p:nvSpPr>
            <p:cNvPr id="20" name="Rechthoek 19">
              <a:extLst>
                <a:ext uri="{FF2B5EF4-FFF2-40B4-BE49-F238E27FC236}">
                  <a16:creationId xmlns:a16="http://schemas.microsoft.com/office/drawing/2014/main" xmlns="" id="{B07D384A-FDED-42C6-A0B9-C3161C6239CA}"/>
                </a:ext>
              </a:extLst>
            </p:cNvPr>
            <p:cNvSpPr/>
            <p:nvPr/>
          </p:nvSpPr>
          <p:spPr>
            <a:xfrm>
              <a:off x="5923637" y="1654788"/>
              <a:ext cx="503844" cy="37539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xmlns="" id="{86E62A69-33B4-4D6F-958F-B7579CE07E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23" name="Tijdelijke aanduiding voor voettekst 3">
            <a:extLst>
              <a:ext uri="{FF2B5EF4-FFF2-40B4-BE49-F238E27FC236}">
                <a16:creationId xmlns:a16="http://schemas.microsoft.com/office/drawing/2014/main" xmlns="" id="{248C05D8-05E6-4CAC-A047-4A6988CF0A83}"/>
              </a:ext>
            </a:extLst>
          </p:cNvPr>
          <p:cNvSpPr txBox="1">
            <a:spLocks/>
          </p:cNvSpPr>
          <p:nvPr/>
        </p:nvSpPr>
        <p:spPr>
          <a:xfrm>
            <a:off x="543004" y="5924317"/>
            <a:ext cx="5683625" cy="2440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i="1" dirty="0"/>
              <a:t>Source: Visual fabric®</a:t>
            </a:r>
          </a:p>
        </p:txBody>
      </p:sp>
    </p:spTree>
    <p:extLst>
      <p:ext uri="{BB962C8B-B14F-4D97-AF65-F5344CB8AC3E}">
        <p14:creationId xmlns:p14="http://schemas.microsoft.com/office/powerpoint/2010/main" val="121298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xmlns="" id="{C323B1BE-47F8-469E-9E5A-60D7B3AE5DA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27657" y="-122136"/>
            <a:ext cx="13193314" cy="7102273"/>
          </a:xfrm>
          <a:prstGeom prst="rect">
            <a:avLst/>
          </a:prstGeom>
        </p:spPr>
      </p:pic>
      <p:pic>
        <p:nvPicPr>
          <p:cNvPr id="7" name="BOER">
            <a:extLst>
              <a:ext uri="{FF2B5EF4-FFF2-40B4-BE49-F238E27FC236}">
                <a16:creationId xmlns:a16="http://schemas.microsoft.com/office/drawing/2014/main" xmlns="" id="{1D421772-BB97-4617-B4F3-05F001552B6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100457" y="2409371"/>
            <a:ext cx="3480711" cy="4570766"/>
          </a:xfrm>
          <a:prstGeom prst="rect">
            <a:avLst/>
          </a:prstGeom>
        </p:spPr>
      </p:pic>
      <p:pic>
        <p:nvPicPr>
          <p:cNvPr id="9" name="BOER">
            <a:extLst>
              <a:ext uri="{FF2B5EF4-FFF2-40B4-BE49-F238E27FC236}">
                <a16:creationId xmlns:a16="http://schemas.microsoft.com/office/drawing/2014/main" xmlns="" id="{9A1C8DC8-34A7-418A-82CE-15D9F091E76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312"/>
          <a:stretch/>
        </p:blipFill>
        <p:spPr>
          <a:xfrm>
            <a:off x="138367" y="-139700"/>
            <a:ext cx="12689681" cy="7140629"/>
          </a:xfrm>
          <a:prstGeom prst="rect">
            <a:avLst/>
          </a:prstGeom>
        </p:spPr>
      </p:pic>
      <p:pic>
        <p:nvPicPr>
          <p:cNvPr id="8" name="BOER">
            <a:extLst>
              <a:ext uri="{FF2B5EF4-FFF2-40B4-BE49-F238E27FC236}">
                <a16:creationId xmlns:a16="http://schemas.microsoft.com/office/drawing/2014/main" xmlns="" id="{E96410CD-2540-46D9-8F1F-1225B2AF694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115" y="1973943"/>
            <a:ext cx="3812296" cy="5006194"/>
          </a:xfrm>
          <a:prstGeom prst="rect">
            <a:avLst/>
          </a:prstGeom>
        </p:spPr>
      </p:pic>
      <p:pic>
        <p:nvPicPr>
          <p:cNvPr id="6" name="BOER">
            <a:extLst>
              <a:ext uri="{FF2B5EF4-FFF2-40B4-BE49-F238E27FC236}">
                <a16:creationId xmlns:a16="http://schemas.microsoft.com/office/drawing/2014/main" xmlns="" id="{9D0A60EA-131A-43BD-9E1F-1507B1EE07F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828799" y="1390874"/>
            <a:ext cx="4256313" cy="5589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626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6" presetClass="emph" presetSubtype="0" accel="44000" decel="39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18" dur="6000" fill="hold"/>
                                        <p:tgtEl>
                                          <p:spTgt spid="9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35" presetClass="path" presetSubtype="0" accel="44000" decel="39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3.75E-6 0 L -0.02057 0 " pathEditMode="relative" rAng="0" ptsTypes="AA">
                                      <p:cBhvr>
                                        <p:cTn id="20" dur="6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29" y="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6" presetClass="emph" presetSubtype="0" accel="44000" decel="39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22" dur="6000" fill="hold"/>
                                        <p:tgtEl>
                                          <p:spTgt spid="7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6" presetClass="emph" presetSubtype="0" accel="44000" decel="39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24" dur="6000" fill="hold"/>
                                        <p:tgtEl>
                                          <p:spTgt spid="6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6" presetClass="emph" presetSubtype="0" accel="44000" decel="39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26" dur="6000" fill="hold"/>
                                        <p:tgtEl>
                                          <p:spTgt spid="8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35" presetClass="path" presetSubtype="0" accel="44000" decel="39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4.58333E-6 2.22222E-6 L 0.01536 2.22222E-6 " pathEditMode="relative" rAng="0" ptsTypes="AA">
                                      <p:cBhvr>
                                        <p:cTn id="28" dur="6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6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80BC5B0F-E25A-4665-9B2E-F5A4B2D45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4. What do we change today?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2650388-A3D4-4C62-9591-71D90F223B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. Actively change planned promotions</a:t>
            </a:r>
          </a:p>
        </p:txBody>
      </p:sp>
      <p:graphicFrame>
        <p:nvGraphicFramePr>
          <p:cNvPr id="17" name="Grafiek 16">
            <a:extLst>
              <a:ext uri="{FF2B5EF4-FFF2-40B4-BE49-F238E27FC236}">
                <a16:creationId xmlns:a16="http://schemas.microsoft.com/office/drawing/2014/main" xmlns="" id="{D26FC1D7-976D-461B-AE18-B23479CB39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3831215"/>
              </p:ext>
            </p:extLst>
          </p:nvPr>
        </p:nvGraphicFramePr>
        <p:xfrm>
          <a:off x="7461731" y="4267189"/>
          <a:ext cx="4280689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Grafiek 17">
            <a:extLst>
              <a:ext uri="{FF2B5EF4-FFF2-40B4-BE49-F238E27FC236}">
                <a16:creationId xmlns:a16="http://schemas.microsoft.com/office/drawing/2014/main" xmlns="" id="{25FF6D99-AE17-4DAC-95A3-493054EB92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7355833"/>
              </p:ext>
            </p:extLst>
          </p:nvPr>
        </p:nvGraphicFramePr>
        <p:xfrm>
          <a:off x="7500649" y="2796019"/>
          <a:ext cx="4235421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Grafiek 22">
            <a:extLst>
              <a:ext uri="{FF2B5EF4-FFF2-40B4-BE49-F238E27FC236}">
                <a16:creationId xmlns:a16="http://schemas.microsoft.com/office/drawing/2014/main" xmlns="" id="{CCCD7C22-711A-4933-870F-319E12D544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3122384"/>
              </p:ext>
            </p:extLst>
          </p:nvPr>
        </p:nvGraphicFramePr>
        <p:xfrm>
          <a:off x="3047182" y="4267189"/>
          <a:ext cx="4280689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4" name="Grafiek 23">
            <a:extLst>
              <a:ext uri="{FF2B5EF4-FFF2-40B4-BE49-F238E27FC236}">
                <a16:creationId xmlns:a16="http://schemas.microsoft.com/office/drawing/2014/main" xmlns="" id="{706508EA-CD64-4327-9466-4AA3163130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5658016"/>
              </p:ext>
            </p:extLst>
          </p:nvPr>
        </p:nvGraphicFramePr>
        <p:xfrm>
          <a:off x="3086100" y="2796019"/>
          <a:ext cx="4235421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Grafiek 25">
            <a:extLst>
              <a:ext uri="{FF2B5EF4-FFF2-40B4-BE49-F238E27FC236}">
                <a16:creationId xmlns:a16="http://schemas.microsoft.com/office/drawing/2014/main" xmlns="" id="{FD9A3EEC-4743-452E-A123-2FBBEE7C64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60201866"/>
              </p:ext>
            </p:extLst>
          </p:nvPr>
        </p:nvGraphicFramePr>
        <p:xfrm>
          <a:off x="7500649" y="1324850"/>
          <a:ext cx="4235421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5" name="Grafiek 34">
            <a:extLst>
              <a:ext uri="{FF2B5EF4-FFF2-40B4-BE49-F238E27FC236}">
                <a16:creationId xmlns:a16="http://schemas.microsoft.com/office/drawing/2014/main" xmlns="" id="{44D44ADF-A5A4-4666-9E9E-22EB5FC410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9849001"/>
              </p:ext>
            </p:extLst>
          </p:nvPr>
        </p:nvGraphicFramePr>
        <p:xfrm>
          <a:off x="3080390" y="1324850"/>
          <a:ext cx="4280689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36" name="Picture 2" descr="https://thumbs.dreamstime.com/z/realistic-white-iphone-blank-screen-vector-design-bangkok-thailand-dec-developed-apple-inc-63807318.jpg">
            <a:extLst>
              <a:ext uri="{FF2B5EF4-FFF2-40B4-BE49-F238E27FC236}">
                <a16:creationId xmlns:a16="http://schemas.microsoft.com/office/drawing/2014/main" xmlns="" id="{0C9A1FBF-C2C5-4E46-87B3-01B344A70D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0060" y="1397000"/>
            <a:ext cx="2136140" cy="4272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Afbeelding 51">
            <a:extLst>
              <a:ext uri="{FF2B5EF4-FFF2-40B4-BE49-F238E27FC236}">
                <a16:creationId xmlns:a16="http://schemas.microsoft.com/office/drawing/2014/main" xmlns="" id="{0FF525AC-3338-4873-82D4-BF65620CF38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544" y="2024063"/>
            <a:ext cx="1814432" cy="3023878"/>
          </a:xfrm>
          <a:prstGeom prst="rect">
            <a:avLst/>
          </a:prstGeom>
        </p:spPr>
      </p:pic>
      <p:grpSp>
        <p:nvGrpSpPr>
          <p:cNvPr id="54" name="Groep 53">
            <a:extLst>
              <a:ext uri="{FF2B5EF4-FFF2-40B4-BE49-F238E27FC236}">
                <a16:creationId xmlns:a16="http://schemas.microsoft.com/office/drawing/2014/main" xmlns="" id="{1DDE1963-50B3-48E2-97F2-47861EBD7359}"/>
              </a:ext>
            </a:extLst>
          </p:cNvPr>
          <p:cNvGrpSpPr/>
          <p:nvPr/>
        </p:nvGrpSpPr>
        <p:grpSpPr>
          <a:xfrm>
            <a:off x="778710" y="3021362"/>
            <a:ext cx="1562100" cy="1092373"/>
            <a:chOff x="778710" y="2963690"/>
            <a:chExt cx="1562100" cy="1092373"/>
          </a:xfrm>
        </p:grpSpPr>
        <p:sp>
          <p:nvSpPr>
            <p:cNvPr id="51" name="Tekstvak 50">
              <a:extLst>
                <a:ext uri="{FF2B5EF4-FFF2-40B4-BE49-F238E27FC236}">
                  <a16:creationId xmlns:a16="http://schemas.microsoft.com/office/drawing/2014/main" xmlns="" id="{05AB9EB9-A8FF-404F-BF39-6284E5D0F0A3}"/>
                </a:ext>
              </a:extLst>
            </p:cNvPr>
            <p:cNvSpPr txBox="1"/>
            <p:nvPr/>
          </p:nvSpPr>
          <p:spPr>
            <a:xfrm>
              <a:off x="778710" y="3533140"/>
              <a:ext cx="1562100" cy="5229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50" dirty="0">
                  <a:solidFill>
                    <a:schemeClr val="accent2"/>
                  </a:solidFill>
                  <a:latin typeface="+mj-lt"/>
                </a:rPr>
                <a:t>GO TO</a:t>
              </a:r>
            </a:p>
            <a:p>
              <a:pPr algn="ctr">
                <a:lnSpc>
                  <a:spcPct val="90000"/>
                </a:lnSpc>
              </a:pPr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ROI CLASSIFICATION AND TOP &amp; FLOP</a:t>
              </a:r>
            </a:p>
          </p:txBody>
        </p:sp>
        <p:pic>
          <p:nvPicPr>
            <p:cNvPr id="53" name="Afbeelding 52">
              <a:extLst>
                <a:ext uri="{FF2B5EF4-FFF2-40B4-BE49-F238E27FC236}">
                  <a16:creationId xmlns:a16="http://schemas.microsoft.com/office/drawing/2014/main" xmlns="" id="{36622371-874F-474C-B219-603A7C19CF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327105" y="2963690"/>
              <a:ext cx="465310" cy="465310"/>
            </a:xfrm>
            <a:prstGeom prst="rect">
              <a:avLst/>
            </a:prstGeom>
          </p:spPr>
        </p:pic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="" id="{9A30D730-B56A-41D8-8911-79CAC4BB81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16" name="Tijdelijke aanduiding voor voettekst 3">
            <a:extLst>
              <a:ext uri="{FF2B5EF4-FFF2-40B4-BE49-F238E27FC236}">
                <a16:creationId xmlns:a16="http://schemas.microsoft.com/office/drawing/2014/main" xmlns="" id="{58E204B2-DF81-4C72-8AD0-DD6A2C0549B2}"/>
              </a:ext>
            </a:extLst>
          </p:cNvPr>
          <p:cNvSpPr txBox="1">
            <a:spLocks/>
          </p:cNvSpPr>
          <p:nvPr/>
        </p:nvSpPr>
        <p:spPr>
          <a:xfrm>
            <a:off x="543004" y="5924317"/>
            <a:ext cx="5683625" cy="2440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i="1" dirty="0"/>
              <a:t>Source: Visual fabric®</a:t>
            </a:r>
          </a:p>
        </p:txBody>
      </p:sp>
    </p:spTree>
    <p:extLst>
      <p:ext uri="{BB962C8B-B14F-4D97-AF65-F5344CB8AC3E}">
        <p14:creationId xmlns:p14="http://schemas.microsoft.com/office/powerpoint/2010/main" val="428401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Grafiek 24">
            <a:extLst>
              <a:ext uri="{FF2B5EF4-FFF2-40B4-BE49-F238E27FC236}">
                <a16:creationId xmlns:a16="http://schemas.microsoft.com/office/drawing/2014/main" xmlns="" id="{55FFB7C1-89EE-48B8-8398-8AC15D6912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0844170"/>
              </p:ext>
            </p:extLst>
          </p:nvPr>
        </p:nvGraphicFramePr>
        <p:xfrm>
          <a:off x="7461731" y="4267189"/>
          <a:ext cx="4280689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7" name="Grafiek 26">
            <a:extLst>
              <a:ext uri="{FF2B5EF4-FFF2-40B4-BE49-F238E27FC236}">
                <a16:creationId xmlns:a16="http://schemas.microsoft.com/office/drawing/2014/main" xmlns="" id="{4EFCC4C8-7444-494C-91A7-7B962C54F0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4965301"/>
              </p:ext>
            </p:extLst>
          </p:nvPr>
        </p:nvGraphicFramePr>
        <p:xfrm>
          <a:off x="7500649" y="2796019"/>
          <a:ext cx="4235421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Grafiek 27">
            <a:extLst>
              <a:ext uri="{FF2B5EF4-FFF2-40B4-BE49-F238E27FC236}">
                <a16:creationId xmlns:a16="http://schemas.microsoft.com/office/drawing/2014/main" xmlns="" id="{022D1EF2-8A63-4F9A-A447-7FEDA2D9EF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1612537"/>
              </p:ext>
            </p:extLst>
          </p:nvPr>
        </p:nvGraphicFramePr>
        <p:xfrm>
          <a:off x="3047182" y="4267189"/>
          <a:ext cx="4280689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9" name="Grafiek 28">
            <a:extLst>
              <a:ext uri="{FF2B5EF4-FFF2-40B4-BE49-F238E27FC236}">
                <a16:creationId xmlns:a16="http://schemas.microsoft.com/office/drawing/2014/main" xmlns="" id="{86EB95A9-3D92-4AE3-8CE9-6C2434661A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2532299"/>
              </p:ext>
            </p:extLst>
          </p:nvPr>
        </p:nvGraphicFramePr>
        <p:xfrm>
          <a:off x="3086100" y="2796019"/>
          <a:ext cx="4235421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0" name="Grafiek 29">
            <a:extLst>
              <a:ext uri="{FF2B5EF4-FFF2-40B4-BE49-F238E27FC236}">
                <a16:creationId xmlns:a16="http://schemas.microsoft.com/office/drawing/2014/main" xmlns="" id="{03BD6B94-12E9-470B-A7D1-4206CE7446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6817891"/>
              </p:ext>
            </p:extLst>
          </p:nvPr>
        </p:nvGraphicFramePr>
        <p:xfrm>
          <a:off x="7500649" y="1324850"/>
          <a:ext cx="4235421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1" name="Grafiek 30">
            <a:extLst>
              <a:ext uri="{FF2B5EF4-FFF2-40B4-BE49-F238E27FC236}">
                <a16:creationId xmlns:a16="http://schemas.microsoft.com/office/drawing/2014/main" xmlns="" id="{14413B39-711C-44A6-B2C2-CE5FBFAFD2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8335544"/>
              </p:ext>
            </p:extLst>
          </p:nvPr>
        </p:nvGraphicFramePr>
        <p:xfrm>
          <a:off x="3080390" y="1324850"/>
          <a:ext cx="4280689" cy="154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xmlns="" id="{80BC5B0F-E25A-4665-9B2E-F5A4B2D456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4. What do we change today?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B2650388-A3D4-4C62-9591-71D90F223B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. Actively change planned promotions</a:t>
            </a:r>
          </a:p>
        </p:txBody>
      </p:sp>
      <p:pic>
        <p:nvPicPr>
          <p:cNvPr id="36" name="Picture 2" descr="https://thumbs.dreamstime.com/z/realistic-white-iphone-blank-screen-vector-design-bangkok-thailand-dec-developed-apple-inc-63807318.jpg">
            <a:extLst>
              <a:ext uri="{FF2B5EF4-FFF2-40B4-BE49-F238E27FC236}">
                <a16:creationId xmlns:a16="http://schemas.microsoft.com/office/drawing/2014/main" xmlns="" id="{0C9A1FBF-C2C5-4E46-87B3-01B344A70D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0060" y="1397000"/>
            <a:ext cx="2136140" cy="4272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Afbeelding 51">
            <a:extLst>
              <a:ext uri="{FF2B5EF4-FFF2-40B4-BE49-F238E27FC236}">
                <a16:creationId xmlns:a16="http://schemas.microsoft.com/office/drawing/2014/main" xmlns="" id="{0FF525AC-3338-4873-82D4-BF65620CF38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544" y="2024063"/>
            <a:ext cx="1814432" cy="3023878"/>
          </a:xfrm>
          <a:prstGeom prst="rect">
            <a:avLst/>
          </a:prstGeom>
        </p:spPr>
      </p:pic>
      <p:grpSp>
        <p:nvGrpSpPr>
          <p:cNvPr id="54" name="Groep 53">
            <a:extLst>
              <a:ext uri="{FF2B5EF4-FFF2-40B4-BE49-F238E27FC236}">
                <a16:creationId xmlns:a16="http://schemas.microsoft.com/office/drawing/2014/main" xmlns="" id="{1DDE1963-50B3-48E2-97F2-47861EBD7359}"/>
              </a:ext>
            </a:extLst>
          </p:cNvPr>
          <p:cNvGrpSpPr/>
          <p:nvPr/>
        </p:nvGrpSpPr>
        <p:grpSpPr>
          <a:xfrm>
            <a:off x="778710" y="3021362"/>
            <a:ext cx="1562100" cy="1092373"/>
            <a:chOff x="778710" y="2963690"/>
            <a:chExt cx="1562100" cy="1092373"/>
          </a:xfrm>
        </p:grpSpPr>
        <p:sp>
          <p:nvSpPr>
            <p:cNvPr id="51" name="Tekstvak 50">
              <a:extLst>
                <a:ext uri="{FF2B5EF4-FFF2-40B4-BE49-F238E27FC236}">
                  <a16:creationId xmlns:a16="http://schemas.microsoft.com/office/drawing/2014/main" xmlns="" id="{05AB9EB9-A8FF-404F-BF39-6284E5D0F0A3}"/>
                </a:ext>
              </a:extLst>
            </p:cNvPr>
            <p:cNvSpPr txBox="1"/>
            <p:nvPr/>
          </p:nvSpPr>
          <p:spPr>
            <a:xfrm>
              <a:off x="778710" y="3533140"/>
              <a:ext cx="1562100" cy="5229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50" dirty="0">
                  <a:solidFill>
                    <a:schemeClr val="accent2"/>
                  </a:solidFill>
                  <a:latin typeface="+mj-lt"/>
                </a:rPr>
                <a:t>GO TO</a:t>
              </a:r>
            </a:p>
            <a:p>
              <a:pPr algn="ctr">
                <a:lnSpc>
                  <a:spcPct val="90000"/>
                </a:lnSpc>
              </a:pPr>
              <a:r>
                <a:rPr lang="en-US" sz="1200" b="1" dirty="0">
                  <a:solidFill>
                    <a:schemeClr val="accent2"/>
                  </a:solidFill>
                  <a:latin typeface="+mj-lt"/>
                </a:rPr>
                <a:t>ROI CLASSIFICATION AND TOP &amp; FLOP</a:t>
              </a:r>
            </a:p>
          </p:txBody>
        </p:sp>
        <p:pic>
          <p:nvPicPr>
            <p:cNvPr id="53" name="Afbeelding 52">
              <a:extLst>
                <a:ext uri="{FF2B5EF4-FFF2-40B4-BE49-F238E27FC236}">
                  <a16:creationId xmlns:a16="http://schemas.microsoft.com/office/drawing/2014/main" xmlns="" id="{36622371-874F-474C-B219-603A7C19CF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1327105" y="2963690"/>
              <a:ext cx="465310" cy="465310"/>
            </a:xfrm>
            <a:prstGeom prst="rect">
              <a:avLst/>
            </a:prstGeom>
          </p:spPr>
        </p:pic>
      </p:grpSp>
      <p:sp>
        <p:nvSpPr>
          <p:cNvPr id="62" name="Rechthoek 61">
            <a:extLst>
              <a:ext uri="{FF2B5EF4-FFF2-40B4-BE49-F238E27FC236}">
                <a16:creationId xmlns:a16="http://schemas.microsoft.com/office/drawing/2014/main" xmlns="" id="{E7482171-F908-4B73-B1E3-6BABD0B889B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/>
          </a:p>
        </p:txBody>
      </p:sp>
      <p:sp>
        <p:nvSpPr>
          <p:cNvPr id="55" name="(TRIGGER - OPENEN ROI)">
            <a:extLst>
              <a:ext uri="{FF2B5EF4-FFF2-40B4-BE49-F238E27FC236}">
                <a16:creationId xmlns:a16="http://schemas.microsoft.com/office/drawing/2014/main" xmlns="" id="{560CE393-EDB0-485C-A89A-D861D4A98657}"/>
              </a:ext>
            </a:extLst>
          </p:cNvPr>
          <p:cNvSpPr/>
          <p:nvPr/>
        </p:nvSpPr>
        <p:spPr>
          <a:xfrm>
            <a:off x="728744" y="2546350"/>
            <a:ext cx="1646156" cy="1985964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/>
          </a:p>
        </p:txBody>
      </p:sp>
      <p:sp>
        <p:nvSpPr>
          <p:cNvPr id="24" name="Tijdelijke aanduiding voor voettekst 3">
            <a:extLst>
              <a:ext uri="{FF2B5EF4-FFF2-40B4-BE49-F238E27FC236}">
                <a16:creationId xmlns:a16="http://schemas.microsoft.com/office/drawing/2014/main" xmlns="" id="{94288CAE-6688-4751-8B7E-1A972734B73C}"/>
              </a:ext>
            </a:extLst>
          </p:cNvPr>
          <p:cNvSpPr txBox="1">
            <a:spLocks/>
          </p:cNvSpPr>
          <p:nvPr/>
        </p:nvSpPr>
        <p:spPr>
          <a:xfrm>
            <a:off x="543004" y="5924317"/>
            <a:ext cx="5683625" cy="2440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i="1" dirty="0"/>
              <a:t>Source: Visual fabric®</a:t>
            </a:r>
          </a:p>
        </p:txBody>
      </p:sp>
      <p:grpSp>
        <p:nvGrpSpPr>
          <p:cNvPr id="61" name="Groep 60">
            <a:extLst>
              <a:ext uri="{FF2B5EF4-FFF2-40B4-BE49-F238E27FC236}">
                <a16:creationId xmlns:a16="http://schemas.microsoft.com/office/drawing/2014/main" xmlns="" id="{F7488624-2911-441C-A278-13EE035232E6}"/>
              </a:ext>
            </a:extLst>
          </p:cNvPr>
          <p:cNvGrpSpPr/>
          <p:nvPr/>
        </p:nvGrpSpPr>
        <p:grpSpPr>
          <a:xfrm>
            <a:off x="1987257" y="1085850"/>
            <a:ext cx="8217486" cy="4686300"/>
            <a:chOff x="1987257" y="1085850"/>
            <a:chExt cx="8217486" cy="4686300"/>
          </a:xfrm>
        </p:grpSpPr>
        <p:sp>
          <p:nvSpPr>
            <p:cNvPr id="56" name="Rechthoek 55">
              <a:extLst>
                <a:ext uri="{FF2B5EF4-FFF2-40B4-BE49-F238E27FC236}">
                  <a16:creationId xmlns:a16="http://schemas.microsoft.com/office/drawing/2014/main" xmlns="" id="{FF6F8495-7A1B-458B-95DC-2E90B69429A2}"/>
                </a:ext>
              </a:extLst>
            </p:cNvPr>
            <p:cNvSpPr/>
            <p:nvPr/>
          </p:nvSpPr>
          <p:spPr>
            <a:xfrm>
              <a:off x="1987257" y="1085850"/>
              <a:ext cx="8217486" cy="46863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50800" dir="2700000" algn="tl" rotWithShape="0">
                <a:prstClr val="black">
                  <a:alpha val="2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en-US"/>
            </a:p>
          </p:txBody>
        </p:sp>
        <p:pic>
          <p:nvPicPr>
            <p:cNvPr id="57" name="Picture 8">
              <a:extLst>
                <a:ext uri="{FF2B5EF4-FFF2-40B4-BE49-F238E27FC236}">
                  <a16:creationId xmlns:a16="http://schemas.microsoft.com/office/drawing/2014/main" xmlns="" id="{7BF950DB-A287-4D92-80B7-A848C61A4A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164651" y="1709578"/>
              <a:ext cx="7862698" cy="3438844"/>
            </a:xfrm>
            <a:prstGeom prst="rect">
              <a:avLst/>
            </a:prstGeom>
          </p:spPr>
        </p:pic>
      </p:grpSp>
      <p:grpSp>
        <p:nvGrpSpPr>
          <p:cNvPr id="60" name="Groep 59">
            <a:extLst>
              <a:ext uri="{FF2B5EF4-FFF2-40B4-BE49-F238E27FC236}">
                <a16:creationId xmlns:a16="http://schemas.microsoft.com/office/drawing/2014/main" xmlns="" id="{C7206E03-BBA6-43E5-8386-086C89D2BE3B}"/>
              </a:ext>
            </a:extLst>
          </p:cNvPr>
          <p:cNvGrpSpPr/>
          <p:nvPr/>
        </p:nvGrpSpPr>
        <p:grpSpPr>
          <a:xfrm>
            <a:off x="8648700" y="1080124"/>
            <a:ext cx="1573491" cy="4686300"/>
            <a:chOff x="8648700" y="1080124"/>
            <a:chExt cx="1573491" cy="4686300"/>
          </a:xfrm>
        </p:grpSpPr>
        <p:sp>
          <p:nvSpPr>
            <p:cNvPr id="58" name="Vermenigvuldigingsteken 57">
              <a:extLst>
                <a:ext uri="{FF2B5EF4-FFF2-40B4-BE49-F238E27FC236}">
                  <a16:creationId xmlns:a16="http://schemas.microsoft.com/office/drawing/2014/main" xmlns="" id="{48AD7670-57D6-4681-87D5-3834D202886F}"/>
                </a:ext>
              </a:extLst>
            </p:cNvPr>
            <p:cNvSpPr/>
            <p:nvPr/>
          </p:nvSpPr>
          <p:spPr>
            <a:xfrm>
              <a:off x="9410700" y="1265534"/>
              <a:ext cx="594856" cy="594856"/>
            </a:xfrm>
            <a:prstGeom prst="mathMultiply">
              <a:avLst>
                <a:gd name="adj1" fmla="val 0"/>
              </a:avLst>
            </a:prstGeom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en-US"/>
            </a:p>
          </p:txBody>
        </p:sp>
        <p:sp>
          <p:nvSpPr>
            <p:cNvPr id="59" name="Rechthoek 58">
              <a:extLst>
                <a:ext uri="{FF2B5EF4-FFF2-40B4-BE49-F238E27FC236}">
                  <a16:creationId xmlns:a16="http://schemas.microsoft.com/office/drawing/2014/main" xmlns="" id="{7C8B41AA-DD10-444F-B190-7F28A22BC0AB}"/>
                </a:ext>
              </a:extLst>
            </p:cNvPr>
            <p:cNvSpPr/>
            <p:nvPr/>
          </p:nvSpPr>
          <p:spPr>
            <a:xfrm>
              <a:off x="8648700" y="1080124"/>
              <a:ext cx="1573491" cy="4686300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="" id="{28941189-9902-40BA-B900-DFEA154989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omotion Optimization Institute | European Summit 2018 | Budapest, Hungary</a:t>
            </a:r>
          </a:p>
        </p:txBody>
      </p:sp>
    </p:spTree>
    <p:extLst>
      <p:ext uri="{BB962C8B-B14F-4D97-AF65-F5344CB8AC3E}">
        <p14:creationId xmlns:p14="http://schemas.microsoft.com/office/powerpoint/2010/main" val="276015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20000" decel="8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20000" decel="8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hoek 53">
            <a:extLst>
              <a:ext uri="{FF2B5EF4-FFF2-40B4-BE49-F238E27FC236}">
                <a16:creationId xmlns:a16="http://schemas.microsoft.com/office/drawing/2014/main" xmlns="" id="{8DE81FFC-554D-4E6C-AD26-4CBD1285EF0A}"/>
              </a:ext>
            </a:extLst>
          </p:cNvPr>
          <p:cNvSpPr/>
          <p:nvPr/>
        </p:nvSpPr>
        <p:spPr>
          <a:xfrm>
            <a:off x="0" y="3303"/>
            <a:ext cx="12208496" cy="6850065"/>
          </a:xfrm>
          <a:prstGeom prst="rect">
            <a:avLst/>
          </a:prstGeom>
          <a:blipFill dpi="0" rotWithShape="1">
            <a:blip r:embed="rId2" cstate="email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55" name="Rechthoek 54">
            <a:extLst>
              <a:ext uri="{FF2B5EF4-FFF2-40B4-BE49-F238E27FC236}">
                <a16:creationId xmlns:a16="http://schemas.microsoft.com/office/drawing/2014/main" xmlns="" id="{0C13BF40-CB68-4325-A104-F560F6985A21}"/>
              </a:ext>
            </a:extLst>
          </p:cNvPr>
          <p:cNvSpPr/>
          <p:nvPr/>
        </p:nvSpPr>
        <p:spPr>
          <a:xfrm>
            <a:off x="0" y="0"/>
            <a:ext cx="12190309" cy="2696353"/>
          </a:xfrm>
          <a:prstGeom prst="rect">
            <a:avLst/>
          </a:prstGeom>
          <a:gradFill>
            <a:gsLst>
              <a:gs pos="0">
                <a:schemeClr val="bg1"/>
              </a:gs>
              <a:gs pos="66000">
                <a:srgbClr val="FFFFFF">
                  <a:alpha val="78000"/>
                </a:srgbClr>
              </a:gs>
              <a:gs pos="43000">
                <a:srgbClr val="FFFFFF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 dirty="0"/>
          </a:p>
        </p:txBody>
      </p:sp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xmlns="" id="{4A887833-F84F-477E-9BD6-BBAD635EC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pic>
        <p:nvPicPr>
          <p:cNvPr id="48" name="Bloem1">
            <a:extLst>
              <a:ext uri="{FF2B5EF4-FFF2-40B4-BE49-F238E27FC236}">
                <a16:creationId xmlns:a16="http://schemas.microsoft.com/office/drawing/2014/main" xmlns="" id="{5916EE9E-7B2F-4660-9277-879DDD1C4B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0" y="4838701"/>
            <a:ext cx="1371448" cy="2019299"/>
          </a:xfrm>
          <a:prstGeom prst="rect">
            <a:avLst/>
          </a:prstGeom>
        </p:spPr>
      </p:pic>
      <p:sp>
        <p:nvSpPr>
          <p:cNvPr id="47" name="Tijdelijke aanduiding voor voettekst 1">
            <a:extLst>
              <a:ext uri="{FF2B5EF4-FFF2-40B4-BE49-F238E27FC236}">
                <a16:creationId xmlns:a16="http://schemas.microsoft.com/office/drawing/2014/main" xmlns="" id="{81E7A9D5-B13B-4DC5-BB70-DDED69EB5EB8}"/>
              </a:ext>
            </a:extLst>
          </p:cNvPr>
          <p:cNvSpPr txBox="1">
            <a:spLocks/>
          </p:cNvSpPr>
          <p:nvPr/>
        </p:nvSpPr>
        <p:spPr>
          <a:xfrm>
            <a:off x="543004" y="6071253"/>
            <a:ext cx="56836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42" name="Tijdelijke aanduiding voor tekst 23">
            <a:extLst>
              <a:ext uri="{FF2B5EF4-FFF2-40B4-BE49-F238E27FC236}">
                <a16:creationId xmlns:a16="http://schemas.microsoft.com/office/drawing/2014/main" xmlns="" id="{F4C553F6-0B46-46CB-9396-5D40E5A40D5D}"/>
              </a:ext>
            </a:extLst>
          </p:cNvPr>
          <p:cNvSpPr txBox="1">
            <a:spLocks/>
          </p:cNvSpPr>
          <p:nvPr/>
        </p:nvSpPr>
        <p:spPr>
          <a:xfrm>
            <a:off x="6171992" y="1657350"/>
            <a:ext cx="5513497" cy="5200650"/>
          </a:xfrm>
          <a:prstGeom prst="roundRect">
            <a:avLst>
              <a:gd name="adj" fmla="val 3260"/>
            </a:avLst>
          </a:prstGeom>
          <a:solidFill>
            <a:schemeClr val="accent5">
              <a:alpha val="90000"/>
            </a:schemeClr>
          </a:solidFill>
        </p:spPr>
        <p:txBody>
          <a:bodyPr lIns="144000" tIns="252000" rIns="144000" bIns="10800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cap="all" dirty="0">
                <a:solidFill>
                  <a:schemeClr val="lt1"/>
                </a:solidFill>
              </a:rPr>
              <a:t>Guiding the different Customer teams via </a:t>
            </a:r>
            <a:br>
              <a:rPr lang="en-GB" sz="2800" cap="all" dirty="0">
                <a:solidFill>
                  <a:schemeClr val="lt1"/>
                </a:solidFill>
              </a:rPr>
            </a:br>
            <a:r>
              <a:rPr lang="en-GB" sz="2800" cap="all" dirty="0">
                <a:solidFill>
                  <a:schemeClr val="lt1"/>
                </a:solidFill>
              </a:rPr>
              <a:t>support &amp; ROI targets</a:t>
            </a:r>
            <a:endParaRPr lang="nl-NL" sz="2800" cap="all" dirty="0">
              <a:solidFill>
                <a:schemeClr val="lt1"/>
              </a:solidFill>
            </a:endParaRPr>
          </a:p>
        </p:txBody>
      </p:sp>
      <p:pic>
        <p:nvPicPr>
          <p:cNvPr id="7" name="TARGET">
            <a:extLst>
              <a:ext uri="{FF2B5EF4-FFF2-40B4-BE49-F238E27FC236}">
                <a16:creationId xmlns:a16="http://schemas.microsoft.com/office/drawing/2014/main" xmlns="" id="{08047508-7025-4111-A536-D62818BC314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72272" y="1753725"/>
            <a:ext cx="4114885" cy="4866860"/>
          </a:xfrm>
          <a:prstGeom prst="rect">
            <a:avLst/>
          </a:prstGeom>
        </p:spPr>
      </p:pic>
      <p:pic>
        <p:nvPicPr>
          <p:cNvPr id="49" name="Bloem 2">
            <a:extLst>
              <a:ext uri="{FF2B5EF4-FFF2-40B4-BE49-F238E27FC236}">
                <a16:creationId xmlns:a16="http://schemas.microsoft.com/office/drawing/2014/main" xmlns="" id="{99865AF2-0CD2-4E89-B301-226D8723BD5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6050" y="5546816"/>
            <a:ext cx="1268102" cy="1311184"/>
          </a:xfrm>
          <a:prstGeom prst="rect">
            <a:avLst/>
          </a:prstGeom>
        </p:spPr>
      </p:pic>
      <p:pic>
        <p:nvPicPr>
          <p:cNvPr id="50" name="Gras_voor">
            <a:extLst>
              <a:ext uri="{FF2B5EF4-FFF2-40B4-BE49-F238E27FC236}">
                <a16:creationId xmlns:a16="http://schemas.microsoft.com/office/drawing/2014/main" xmlns="" id="{7F57D43F-7241-48CF-A59A-7E9A52989BD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5287367"/>
            <a:ext cx="12208496" cy="1570633"/>
          </a:xfrm>
          <a:prstGeom prst="rect">
            <a:avLst/>
          </a:prstGeom>
        </p:spPr>
      </p:pic>
      <p:pic>
        <p:nvPicPr>
          <p:cNvPr id="51" name="Bloem_blur">
            <a:extLst>
              <a:ext uri="{FF2B5EF4-FFF2-40B4-BE49-F238E27FC236}">
                <a16:creationId xmlns:a16="http://schemas.microsoft.com/office/drawing/2014/main" xmlns="" id="{CE9345D0-B1CE-4328-B2C7-286B778BEA8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247" y="4957904"/>
            <a:ext cx="12208496" cy="1900096"/>
          </a:xfrm>
          <a:prstGeom prst="rect">
            <a:avLst/>
          </a:prstGeom>
        </p:spPr>
      </p:pic>
      <p:pic>
        <p:nvPicPr>
          <p:cNvPr id="80" name="PIJL">
            <a:extLst>
              <a:ext uri="{FF2B5EF4-FFF2-40B4-BE49-F238E27FC236}">
                <a16:creationId xmlns:a16="http://schemas.microsoft.com/office/drawing/2014/main" xmlns="" id="{4E65C691-151C-4A04-9666-20FA2956AFE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76393">
            <a:off x="13011388" y="-487203"/>
            <a:ext cx="1980163" cy="1980163"/>
          </a:xfrm>
          <a:prstGeom prst="rect">
            <a:avLst/>
          </a:prstGeom>
        </p:spPr>
      </p:pic>
      <p:pic>
        <p:nvPicPr>
          <p:cNvPr id="81" name="PIJL">
            <a:extLst>
              <a:ext uri="{FF2B5EF4-FFF2-40B4-BE49-F238E27FC236}">
                <a16:creationId xmlns:a16="http://schemas.microsoft.com/office/drawing/2014/main" xmlns="" id="{4A7F4A19-5BFF-4F05-9915-AB0030AE9F6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910750">
            <a:off x="13324690" y="4003162"/>
            <a:ext cx="1980163" cy="1980163"/>
          </a:xfrm>
          <a:prstGeom prst="rect">
            <a:avLst/>
          </a:prstGeom>
        </p:spPr>
      </p:pic>
      <p:pic>
        <p:nvPicPr>
          <p:cNvPr id="82" name="PIJL">
            <a:extLst>
              <a:ext uri="{FF2B5EF4-FFF2-40B4-BE49-F238E27FC236}">
                <a16:creationId xmlns:a16="http://schemas.microsoft.com/office/drawing/2014/main" xmlns="" id="{D107DA6E-458D-425C-A2F5-A1AD9CD2C00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436641">
            <a:off x="13397508" y="2094033"/>
            <a:ext cx="1980163" cy="1980163"/>
          </a:xfrm>
          <a:prstGeom prst="rect">
            <a:avLst/>
          </a:prstGeom>
        </p:spPr>
      </p:pic>
      <p:pic>
        <p:nvPicPr>
          <p:cNvPr id="73" name="COVER">
            <a:extLst>
              <a:ext uri="{FF2B5EF4-FFF2-40B4-BE49-F238E27FC236}">
                <a16:creationId xmlns:a16="http://schemas.microsoft.com/office/drawing/2014/main" xmlns="" id="{5E3D4F37-C5B8-4B77-9CE5-75E61EE2FBC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438398" y="3451225"/>
            <a:ext cx="149226" cy="101599"/>
          </a:xfrm>
          <a:prstGeom prst="rect">
            <a:avLst/>
          </a:prstGeom>
        </p:spPr>
      </p:pic>
      <p:pic>
        <p:nvPicPr>
          <p:cNvPr id="75" name="COVER">
            <a:extLst>
              <a:ext uri="{FF2B5EF4-FFF2-40B4-BE49-F238E27FC236}">
                <a16:creationId xmlns:a16="http://schemas.microsoft.com/office/drawing/2014/main" xmlns="" id="{CA31D7D6-3EF2-461B-BED7-B7F5AC37D28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438398" y="3552824"/>
            <a:ext cx="317502" cy="85726"/>
          </a:xfrm>
          <a:prstGeom prst="rect">
            <a:avLst/>
          </a:prstGeom>
        </p:spPr>
      </p:pic>
      <p:pic>
        <p:nvPicPr>
          <p:cNvPr id="76" name="COVER">
            <a:extLst>
              <a:ext uri="{FF2B5EF4-FFF2-40B4-BE49-F238E27FC236}">
                <a16:creationId xmlns:a16="http://schemas.microsoft.com/office/drawing/2014/main" xmlns="" id="{AE1D06D5-A59C-4C75-B49D-45F16253E0FF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2438398" y="3638550"/>
            <a:ext cx="152402" cy="107950"/>
          </a:xfrm>
          <a:prstGeom prst="rect">
            <a:avLst/>
          </a:prstGeom>
        </p:spPr>
      </p:pic>
      <p:sp>
        <p:nvSpPr>
          <p:cNvPr id="10" name="SCHADUW">
            <a:extLst>
              <a:ext uri="{FF2B5EF4-FFF2-40B4-BE49-F238E27FC236}">
                <a16:creationId xmlns:a16="http://schemas.microsoft.com/office/drawing/2014/main" xmlns="" id="{E3176722-990F-4E62-9B1B-4D33A5C95774}"/>
              </a:ext>
            </a:extLst>
          </p:cNvPr>
          <p:cNvSpPr/>
          <p:nvPr/>
        </p:nvSpPr>
        <p:spPr>
          <a:xfrm>
            <a:off x="2540000" y="3420253"/>
            <a:ext cx="104768" cy="146049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77" name="SCHADUW">
            <a:extLst>
              <a:ext uri="{FF2B5EF4-FFF2-40B4-BE49-F238E27FC236}">
                <a16:creationId xmlns:a16="http://schemas.microsoft.com/office/drawing/2014/main" xmlns="" id="{17B5D4C4-0F81-4C98-8584-6CD1A0DC1732}"/>
              </a:ext>
            </a:extLst>
          </p:cNvPr>
          <p:cNvSpPr/>
          <p:nvPr/>
        </p:nvSpPr>
        <p:spPr>
          <a:xfrm>
            <a:off x="2708275" y="3525028"/>
            <a:ext cx="104768" cy="146049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78" name="SCHADUW">
            <a:extLst>
              <a:ext uri="{FF2B5EF4-FFF2-40B4-BE49-F238E27FC236}">
                <a16:creationId xmlns:a16="http://schemas.microsoft.com/office/drawing/2014/main" xmlns="" id="{79118D7B-1AE4-45FA-9C36-2BD0FAABE1A3}"/>
              </a:ext>
            </a:extLst>
          </p:cNvPr>
          <p:cNvSpPr/>
          <p:nvPr/>
        </p:nvSpPr>
        <p:spPr>
          <a:xfrm>
            <a:off x="2543175" y="3629803"/>
            <a:ext cx="104768" cy="146049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softEdge rad="381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7634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21679 0.00787 L -0.84076 0.38518 " pathEditMode="relative" rAng="0" ptsTypes="AA">
                                      <p:cBhvr>
                                        <p:cTn id="10" dur="1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878" y="1886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.2168 0.00787 L -0.86237 -0.17778 " pathEditMode="relative" rAng="0" ptsTypes="AA">
                                      <p:cBhvr>
                                        <p:cTn id="12" dur="1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958" y="-9282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1875 0.00694 L -0.85521 0.0625 " pathEditMode="relative" rAng="0" ptsTypes="AA">
                                      <p:cBhvr>
                                        <p:cTn id="14" dur="1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698" y="2778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>
        <p:tmplLst>
          <p:tmpl>
            <p:tnLst>
              <p:par>
                <p:cTn xmlns:p14="http://schemas.microsoft.com/office/powerpoint/2010/main"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" grpId="0" animBg="1"/>
      <p:bldP spid="77" grpId="0" animBg="1"/>
      <p:bldP spid="78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xmlns="" id="{73B9533F-E5C8-4323-A9C1-7F6EA8001B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7257144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xmlns="" id="{D94243E9-A4E9-4E4F-93EE-1B335637E8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91738"/>
            <a:ext cx="12192000" cy="6565405"/>
          </a:xfrm>
          <a:prstGeom prst="rect">
            <a:avLst/>
          </a:prstGeom>
        </p:spPr>
      </p:pic>
      <p:sp>
        <p:nvSpPr>
          <p:cNvPr id="13" name="Tijdelijke aanduiding voor tekst 23">
            <a:extLst>
              <a:ext uri="{FF2B5EF4-FFF2-40B4-BE49-F238E27FC236}">
                <a16:creationId xmlns:a16="http://schemas.microsoft.com/office/drawing/2014/main" xmlns="" id="{22C25EA0-3591-4F7F-B90D-C1FF4BDC8A7D}"/>
              </a:ext>
            </a:extLst>
          </p:cNvPr>
          <p:cNvSpPr txBox="1">
            <a:spLocks/>
          </p:cNvSpPr>
          <p:nvPr/>
        </p:nvSpPr>
        <p:spPr>
          <a:xfrm>
            <a:off x="3339252" y="4025900"/>
            <a:ext cx="5513497" cy="2832099"/>
          </a:xfrm>
          <a:prstGeom prst="roundRect">
            <a:avLst>
              <a:gd name="adj" fmla="val 3260"/>
            </a:avLst>
          </a:prstGeom>
          <a:solidFill>
            <a:schemeClr val="accent2">
              <a:alpha val="90000"/>
            </a:schemeClr>
          </a:solidFill>
        </p:spPr>
        <p:txBody>
          <a:bodyPr lIns="144000" tIns="468000" rIns="144000" bIns="10800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1" kern="120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Corbel" panose="020B0503020204020204" pitchFamily="34" charset="0"/>
              <a:buChar char="−"/>
              <a:defRPr sz="14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cap="all" dirty="0">
                <a:solidFill>
                  <a:schemeClr val="lt1"/>
                </a:solidFill>
              </a:rPr>
              <a:t>Preparing for </a:t>
            </a:r>
            <a:br>
              <a:rPr lang="en-GB" sz="2800" cap="all" dirty="0">
                <a:solidFill>
                  <a:schemeClr val="lt1"/>
                </a:solidFill>
              </a:rPr>
            </a:br>
            <a:r>
              <a:rPr lang="en-GB" sz="2800" cap="all" dirty="0">
                <a:solidFill>
                  <a:schemeClr val="lt1"/>
                </a:solidFill>
              </a:rPr>
              <a:t>the future</a:t>
            </a:r>
            <a:endParaRPr lang="nl-NL" sz="2800" cap="all" dirty="0">
              <a:solidFill>
                <a:schemeClr val="lt1"/>
              </a:solidFill>
            </a:endParaRP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xmlns="" id="{0D4D9DBE-41B3-4475-837C-37E2464A502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80440">
            <a:off x="8167916" y="4013200"/>
            <a:ext cx="4735283" cy="3156856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xmlns="" id="{F75AA0EC-DEE9-4F4E-9473-E39D61DEC77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897704" flipH="1">
            <a:off x="-755904" y="3757014"/>
            <a:ext cx="5008547" cy="3339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75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accel="44000" decel="39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6000" fill="hold"/>
                                        <p:tgtEl>
                                          <p:spTgt spid="5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6" presetClass="emph" presetSubtype="0" accel="44000" decel="39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6000" fill="hold"/>
                                        <p:tgtEl>
                                          <p:spTgt spid="12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63" presetClass="path" presetSubtype="0" accel="45913" decel="54087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3.7037E-6 L 0.02096 -3.7037E-6 " pathEditMode="relative" rAng="0" ptsTypes="AA">
                                      <p:cBhvr>
                                        <p:cTn id="14" dur="6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42" y="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6" presetClass="emph" presetSubtype="0" accel="44000" decel="39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6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63" presetClass="path" presetSubtype="0" accel="45913" decel="54087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2.22222E-6 L -0.0181 2.22222E-6 " pathEditMode="relative" rAng="0" ptsTypes="AA">
                                      <p:cBhvr>
                                        <p:cTn id="18" dur="6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1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>
        <p:tmplLst>
          <p:tmpl>
            <p:tnLst>
              <p:par>
                <p:cTn xmlns:p14="http://schemas.microsoft.com/office/powerpoint/2010/main"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xmlns="" id="{12643685-0710-4A25-B5BF-1AB3C1D5D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Brand B: Digital </a:t>
            </a:r>
            <a:r>
              <a:rPr lang="nl-NL" dirty="0" err="1"/>
              <a:t>insight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harpen</a:t>
            </a:r>
            <a:r>
              <a:rPr lang="nl-NL" dirty="0"/>
              <a:t> </a:t>
            </a:r>
            <a:r>
              <a:rPr lang="nl-NL" dirty="0" err="1"/>
              <a:t>promotional</a:t>
            </a:r>
            <a:r>
              <a:rPr lang="nl-NL" dirty="0"/>
              <a:t> </a:t>
            </a:r>
            <a:r>
              <a:rPr lang="nl-NL" dirty="0" err="1"/>
              <a:t>strategy</a:t>
            </a:r>
            <a:endParaRPr lang="nl-NL" dirty="0"/>
          </a:p>
        </p:txBody>
      </p:sp>
      <p:grpSp>
        <p:nvGrpSpPr>
          <p:cNvPr id="75" name="Favorities">
            <a:extLst>
              <a:ext uri="{FF2B5EF4-FFF2-40B4-BE49-F238E27FC236}">
                <a16:creationId xmlns:a16="http://schemas.microsoft.com/office/drawing/2014/main" xmlns="" id="{BDEF1FEE-02FA-4317-B2C0-33B89739431D}"/>
              </a:ext>
            </a:extLst>
          </p:cNvPr>
          <p:cNvGrpSpPr/>
          <p:nvPr/>
        </p:nvGrpSpPr>
        <p:grpSpPr>
          <a:xfrm>
            <a:off x="3610055" y="1439313"/>
            <a:ext cx="1116000" cy="756000"/>
            <a:chOff x="3610055" y="1333500"/>
            <a:chExt cx="1296000" cy="900000"/>
          </a:xfrm>
        </p:grpSpPr>
        <p:sp>
          <p:nvSpPr>
            <p:cNvPr id="17" name="Rechthoek: afgeronde hoeken 16">
              <a:extLst>
                <a:ext uri="{FF2B5EF4-FFF2-40B4-BE49-F238E27FC236}">
                  <a16:creationId xmlns:a16="http://schemas.microsoft.com/office/drawing/2014/main" xmlns="" id="{375E2E28-193C-4291-B3B2-900A722F8E2D}"/>
                </a:ext>
              </a:extLst>
            </p:cNvPr>
            <p:cNvSpPr/>
            <p:nvPr/>
          </p:nvSpPr>
          <p:spPr>
            <a:xfrm>
              <a:off x="3610055" y="1333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>
                  <a:solidFill>
                    <a:schemeClr val="bg1"/>
                  </a:solidFill>
                </a:rPr>
                <a:t>3%</a:t>
              </a:r>
            </a:p>
          </p:txBody>
        </p:sp>
        <p:sp>
          <p:nvSpPr>
            <p:cNvPr id="22" name="Ster: 5 punten 21">
              <a:extLst>
                <a:ext uri="{FF2B5EF4-FFF2-40B4-BE49-F238E27FC236}">
                  <a16:creationId xmlns:a16="http://schemas.microsoft.com/office/drawing/2014/main" xmlns="" id="{ACE22E30-4109-4A1F-9B0E-9888C63BD1D5}"/>
                </a:ext>
              </a:extLst>
            </p:cNvPr>
            <p:cNvSpPr/>
            <p:nvPr/>
          </p:nvSpPr>
          <p:spPr>
            <a:xfrm>
              <a:off x="4411720" y="1506656"/>
              <a:ext cx="324000" cy="28800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/>
            </a:p>
          </p:txBody>
        </p:sp>
        <p:sp>
          <p:nvSpPr>
            <p:cNvPr id="23" name="Ster: 5 punten 22">
              <a:extLst>
                <a:ext uri="{FF2B5EF4-FFF2-40B4-BE49-F238E27FC236}">
                  <a16:creationId xmlns:a16="http://schemas.microsoft.com/office/drawing/2014/main" xmlns="" id="{CFE5844A-6533-4BA6-9C1A-5E27757B06A5}"/>
                </a:ext>
              </a:extLst>
            </p:cNvPr>
            <p:cNvSpPr/>
            <p:nvPr/>
          </p:nvSpPr>
          <p:spPr>
            <a:xfrm>
              <a:off x="3790945" y="1506656"/>
              <a:ext cx="324000" cy="28800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/>
            </a:p>
          </p:txBody>
        </p:sp>
        <p:sp>
          <p:nvSpPr>
            <p:cNvPr id="21" name="Ster: 5 punten 20">
              <a:extLst>
                <a:ext uri="{FF2B5EF4-FFF2-40B4-BE49-F238E27FC236}">
                  <a16:creationId xmlns:a16="http://schemas.microsoft.com/office/drawing/2014/main" xmlns="" id="{569E01E4-92C5-47AB-981E-3E048A4DA619}"/>
                </a:ext>
              </a:extLst>
            </p:cNvPr>
            <p:cNvSpPr/>
            <p:nvPr/>
          </p:nvSpPr>
          <p:spPr>
            <a:xfrm>
              <a:off x="4060055" y="1432556"/>
              <a:ext cx="396000" cy="36000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/>
            </a:p>
          </p:txBody>
        </p:sp>
      </p:grpSp>
      <p:grpSp>
        <p:nvGrpSpPr>
          <p:cNvPr id="73" name="Search">
            <a:extLst>
              <a:ext uri="{FF2B5EF4-FFF2-40B4-BE49-F238E27FC236}">
                <a16:creationId xmlns:a16="http://schemas.microsoft.com/office/drawing/2014/main" xmlns="" id="{07319F9F-4A32-430B-BDEA-757EEBF9CBA5}"/>
              </a:ext>
            </a:extLst>
          </p:cNvPr>
          <p:cNvGrpSpPr/>
          <p:nvPr/>
        </p:nvGrpSpPr>
        <p:grpSpPr>
          <a:xfrm>
            <a:off x="543005" y="1439313"/>
            <a:ext cx="1116000" cy="756000"/>
            <a:chOff x="543005" y="1333500"/>
            <a:chExt cx="1296000" cy="900000"/>
          </a:xfrm>
        </p:grpSpPr>
        <p:sp>
          <p:nvSpPr>
            <p:cNvPr id="4" name="Rechthoek: afgeronde hoeken 3">
              <a:extLst>
                <a:ext uri="{FF2B5EF4-FFF2-40B4-BE49-F238E27FC236}">
                  <a16:creationId xmlns:a16="http://schemas.microsoft.com/office/drawing/2014/main" xmlns="" id="{1EF39224-9A32-4D0A-9853-80974D4B93D6}"/>
                </a:ext>
              </a:extLst>
            </p:cNvPr>
            <p:cNvSpPr/>
            <p:nvPr/>
          </p:nvSpPr>
          <p:spPr>
            <a:xfrm>
              <a:off x="543005" y="1333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82%</a:t>
              </a: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xmlns="" id="{44DEA8EB-DF26-4459-BB8F-061A13D965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549" y="1435953"/>
              <a:ext cx="408911" cy="381649"/>
            </a:xfrm>
            <a:custGeom>
              <a:avLst/>
              <a:gdLst>
                <a:gd name="T0" fmla="*/ 115 w 345"/>
                <a:gd name="T1" fmla="*/ 40 h 322"/>
                <a:gd name="T2" fmla="*/ 75 w 345"/>
                <a:gd name="T3" fmla="*/ 60 h 322"/>
                <a:gd name="T4" fmla="*/ 48 w 345"/>
                <a:gd name="T5" fmla="*/ 95 h 322"/>
                <a:gd name="T6" fmla="*/ 38 w 345"/>
                <a:gd name="T7" fmla="*/ 139 h 322"/>
                <a:gd name="T8" fmla="*/ 48 w 345"/>
                <a:gd name="T9" fmla="*/ 183 h 322"/>
                <a:gd name="T10" fmla="*/ 75 w 345"/>
                <a:gd name="T11" fmla="*/ 218 h 322"/>
                <a:gd name="T12" fmla="*/ 115 w 345"/>
                <a:gd name="T13" fmla="*/ 236 h 322"/>
                <a:gd name="T14" fmla="*/ 161 w 345"/>
                <a:gd name="T15" fmla="*/ 236 h 322"/>
                <a:gd name="T16" fmla="*/ 201 w 345"/>
                <a:gd name="T17" fmla="*/ 218 h 322"/>
                <a:gd name="T18" fmla="*/ 228 w 345"/>
                <a:gd name="T19" fmla="*/ 183 h 322"/>
                <a:gd name="T20" fmla="*/ 239 w 345"/>
                <a:gd name="T21" fmla="*/ 139 h 322"/>
                <a:gd name="T22" fmla="*/ 228 w 345"/>
                <a:gd name="T23" fmla="*/ 95 h 322"/>
                <a:gd name="T24" fmla="*/ 201 w 345"/>
                <a:gd name="T25" fmla="*/ 60 h 322"/>
                <a:gd name="T26" fmla="*/ 161 w 345"/>
                <a:gd name="T27" fmla="*/ 40 h 322"/>
                <a:gd name="T28" fmla="*/ 139 w 345"/>
                <a:gd name="T29" fmla="*/ 0 h 322"/>
                <a:gd name="T30" fmla="*/ 193 w 345"/>
                <a:gd name="T31" fmla="*/ 11 h 322"/>
                <a:gd name="T32" fmla="*/ 236 w 345"/>
                <a:gd name="T33" fmla="*/ 40 h 322"/>
                <a:gd name="T34" fmla="*/ 266 w 345"/>
                <a:gd name="T35" fmla="*/ 85 h 322"/>
                <a:gd name="T36" fmla="*/ 277 w 345"/>
                <a:gd name="T37" fmla="*/ 139 h 322"/>
                <a:gd name="T38" fmla="*/ 271 w 345"/>
                <a:gd name="T39" fmla="*/ 179 h 322"/>
                <a:gd name="T40" fmla="*/ 334 w 345"/>
                <a:gd name="T41" fmla="*/ 262 h 322"/>
                <a:gd name="T42" fmla="*/ 344 w 345"/>
                <a:gd name="T43" fmla="*/ 278 h 322"/>
                <a:gd name="T44" fmla="*/ 343 w 345"/>
                <a:gd name="T45" fmla="*/ 300 h 322"/>
                <a:gd name="T46" fmla="*/ 326 w 345"/>
                <a:gd name="T47" fmla="*/ 318 h 322"/>
                <a:gd name="T48" fmla="*/ 300 w 345"/>
                <a:gd name="T49" fmla="*/ 320 h 322"/>
                <a:gd name="T50" fmla="*/ 220 w 345"/>
                <a:gd name="T51" fmla="*/ 250 h 322"/>
                <a:gd name="T52" fmla="*/ 168 w 345"/>
                <a:gd name="T53" fmla="*/ 274 h 322"/>
                <a:gd name="T54" fmla="*/ 110 w 345"/>
                <a:gd name="T55" fmla="*/ 274 h 322"/>
                <a:gd name="T56" fmla="*/ 61 w 345"/>
                <a:gd name="T57" fmla="*/ 254 h 322"/>
                <a:gd name="T58" fmla="*/ 23 w 345"/>
                <a:gd name="T59" fmla="*/ 217 h 322"/>
                <a:gd name="T60" fmla="*/ 2 w 345"/>
                <a:gd name="T61" fmla="*/ 167 h 322"/>
                <a:gd name="T62" fmla="*/ 2 w 345"/>
                <a:gd name="T63" fmla="*/ 111 h 322"/>
                <a:gd name="T64" fmla="*/ 23 w 345"/>
                <a:gd name="T65" fmla="*/ 61 h 322"/>
                <a:gd name="T66" fmla="*/ 61 w 345"/>
                <a:gd name="T67" fmla="*/ 24 h 322"/>
                <a:gd name="T68" fmla="*/ 110 w 345"/>
                <a:gd name="T69" fmla="*/ 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5" h="322">
                  <a:moveTo>
                    <a:pt x="139" y="38"/>
                  </a:moveTo>
                  <a:lnTo>
                    <a:pt x="115" y="40"/>
                  </a:lnTo>
                  <a:lnTo>
                    <a:pt x="94" y="48"/>
                  </a:lnTo>
                  <a:lnTo>
                    <a:pt x="75" y="60"/>
                  </a:lnTo>
                  <a:lnTo>
                    <a:pt x="60" y="76"/>
                  </a:lnTo>
                  <a:lnTo>
                    <a:pt x="48" y="95"/>
                  </a:lnTo>
                  <a:lnTo>
                    <a:pt x="40" y="116"/>
                  </a:lnTo>
                  <a:lnTo>
                    <a:pt x="38" y="139"/>
                  </a:lnTo>
                  <a:lnTo>
                    <a:pt x="40" y="162"/>
                  </a:lnTo>
                  <a:lnTo>
                    <a:pt x="48" y="183"/>
                  </a:lnTo>
                  <a:lnTo>
                    <a:pt x="60" y="202"/>
                  </a:lnTo>
                  <a:lnTo>
                    <a:pt x="75" y="218"/>
                  </a:lnTo>
                  <a:lnTo>
                    <a:pt x="94" y="229"/>
                  </a:lnTo>
                  <a:lnTo>
                    <a:pt x="115" y="236"/>
                  </a:lnTo>
                  <a:lnTo>
                    <a:pt x="139" y="240"/>
                  </a:lnTo>
                  <a:lnTo>
                    <a:pt x="161" y="236"/>
                  </a:lnTo>
                  <a:lnTo>
                    <a:pt x="183" y="229"/>
                  </a:lnTo>
                  <a:lnTo>
                    <a:pt x="201" y="218"/>
                  </a:lnTo>
                  <a:lnTo>
                    <a:pt x="217" y="202"/>
                  </a:lnTo>
                  <a:lnTo>
                    <a:pt x="228" y="183"/>
                  </a:lnTo>
                  <a:lnTo>
                    <a:pt x="236" y="162"/>
                  </a:lnTo>
                  <a:lnTo>
                    <a:pt x="239" y="139"/>
                  </a:lnTo>
                  <a:lnTo>
                    <a:pt x="236" y="116"/>
                  </a:lnTo>
                  <a:lnTo>
                    <a:pt x="228" y="95"/>
                  </a:lnTo>
                  <a:lnTo>
                    <a:pt x="217" y="76"/>
                  </a:lnTo>
                  <a:lnTo>
                    <a:pt x="201" y="60"/>
                  </a:lnTo>
                  <a:lnTo>
                    <a:pt x="183" y="48"/>
                  </a:lnTo>
                  <a:lnTo>
                    <a:pt x="161" y="40"/>
                  </a:lnTo>
                  <a:lnTo>
                    <a:pt x="139" y="38"/>
                  </a:lnTo>
                  <a:close/>
                  <a:moveTo>
                    <a:pt x="139" y="0"/>
                  </a:moveTo>
                  <a:lnTo>
                    <a:pt x="166" y="3"/>
                  </a:lnTo>
                  <a:lnTo>
                    <a:pt x="193" y="11"/>
                  </a:lnTo>
                  <a:lnTo>
                    <a:pt x="215" y="24"/>
                  </a:lnTo>
                  <a:lnTo>
                    <a:pt x="236" y="40"/>
                  </a:lnTo>
                  <a:lnTo>
                    <a:pt x="253" y="61"/>
                  </a:lnTo>
                  <a:lnTo>
                    <a:pt x="266" y="85"/>
                  </a:lnTo>
                  <a:lnTo>
                    <a:pt x="274" y="111"/>
                  </a:lnTo>
                  <a:lnTo>
                    <a:pt x="277" y="139"/>
                  </a:lnTo>
                  <a:lnTo>
                    <a:pt x="275" y="159"/>
                  </a:lnTo>
                  <a:lnTo>
                    <a:pt x="271" y="179"/>
                  </a:lnTo>
                  <a:lnTo>
                    <a:pt x="264" y="197"/>
                  </a:lnTo>
                  <a:lnTo>
                    <a:pt x="334" y="262"/>
                  </a:lnTo>
                  <a:lnTo>
                    <a:pt x="341" y="270"/>
                  </a:lnTo>
                  <a:lnTo>
                    <a:pt x="344" y="278"/>
                  </a:lnTo>
                  <a:lnTo>
                    <a:pt x="345" y="288"/>
                  </a:lnTo>
                  <a:lnTo>
                    <a:pt x="343" y="300"/>
                  </a:lnTo>
                  <a:lnTo>
                    <a:pt x="337" y="311"/>
                  </a:lnTo>
                  <a:lnTo>
                    <a:pt x="326" y="318"/>
                  </a:lnTo>
                  <a:lnTo>
                    <a:pt x="313" y="322"/>
                  </a:lnTo>
                  <a:lnTo>
                    <a:pt x="300" y="320"/>
                  </a:lnTo>
                  <a:lnTo>
                    <a:pt x="288" y="313"/>
                  </a:lnTo>
                  <a:lnTo>
                    <a:pt x="220" y="250"/>
                  </a:lnTo>
                  <a:lnTo>
                    <a:pt x="196" y="265"/>
                  </a:lnTo>
                  <a:lnTo>
                    <a:pt x="168" y="274"/>
                  </a:lnTo>
                  <a:lnTo>
                    <a:pt x="139" y="277"/>
                  </a:lnTo>
                  <a:lnTo>
                    <a:pt x="110" y="274"/>
                  </a:lnTo>
                  <a:lnTo>
                    <a:pt x="85" y="267"/>
                  </a:lnTo>
                  <a:lnTo>
                    <a:pt x="61" y="254"/>
                  </a:lnTo>
                  <a:lnTo>
                    <a:pt x="40" y="237"/>
                  </a:lnTo>
                  <a:lnTo>
                    <a:pt x="23" y="217"/>
                  </a:lnTo>
                  <a:lnTo>
                    <a:pt x="11" y="193"/>
                  </a:lnTo>
                  <a:lnTo>
                    <a:pt x="2" y="167"/>
                  </a:lnTo>
                  <a:lnTo>
                    <a:pt x="0" y="139"/>
                  </a:lnTo>
                  <a:lnTo>
                    <a:pt x="2" y="111"/>
                  </a:lnTo>
                  <a:lnTo>
                    <a:pt x="11" y="85"/>
                  </a:lnTo>
                  <a:lnTo>
                    <a:pt x="23" y="61"/>
                  </a:lnTo>
                  <a:lnTo>
                    <a:pt x="40" y="40"/>
                  </a:lnTo>
                  <a:lnTo>
                    <a:pt x="61" y="24"/>
                  </a:lnTo>
                  <a:lnTo>
                    <a:pt x="85" y="11"/>
                  </a:lnTo>
                  <a:lnTo>
                    <a:pt x="110" y="3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4" name="Navigate">
            <a:extLst>
              <a:ext uri="{FF2B5EF4-FFF2-40B4-BE49-F238E27FC236}">
                <a16:creationId xmlns:a16="http://schemas.microsoft.com/office/drawing/2014/main" xmlns="" id="{26EBAAD1-4050-41FE-AE01-CDA6BFCCAD3D}"/>
              </a:ext>
            </a:extLst>
          </p:cNvPr>
          <p:cNvGrpSpPr/>
          <p:nvPr/>
        </p:nvGrpSpPr>
        <p:grpSpPr>
          <a:xfrm>
            <a:off x="2076530" y="1439313"/>
            <a:ext cx="1116000" cy="756000"/>
            <a:chOff x="2076530" y="1333500"/>
            <a:chExt cx="1296000" cy="900000"/>
          </a:xfrm>
        </p:grpSpPr>
        <p:sp>
          <p:nvSpPr>
            <p:cNvPr id="10" name="Rechthoek: afgeronde hoeken 9">
              <a:extLst>
                <a:ext uri="{FF2B5EF4-FFF2-40B4-BE49-F238E27FC236}">
                  <a16:creationId xmlns:a16="http://schemas.microsoft.com/office/drawing/2014/main" xmlns="" id="{0445AAC3-9295-4EFE-8348-0C0D299BE2EE}"/>
                </a:ext>
              </a:extLst>
            </p:cNvPr>
            <p:cNvSpPr/>
            <p:nvPr/>
          </p:nvSpPr>
          <p:spPr>
            <a:xfrm>
              <a:off x="2076530" y="1333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3%</a:t>
              </a: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xmlns="" id="{B73DFC0E-41FD-44C6-AD80-D87F0DC023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4036" y="1473275"/>
              <a:ext cx="280103" cy="371117"/>
            </a:xfrm>
            <a:custGeom>
              <a:avLst/>
              <a:gdLst>
                <a:gd name="T0" fmla="*/ 112 w 273"/>
                <a:gd name="T1" fmla="*/ 32 h 339"/>
                <a:gd name="T2" fmla="*/ 70 w 273"/>
                <a:gd name="T3" fmla="*/ 54 h 339"/>
                <a:gd name="T4" fmla="*/ 41 w 273"/>
                <a:gd name="T5" fmla="*/ 89 h 339"/>
                <a:gd name="T6" fmla="*/ 30 w 273"/>
                <a:gd name="T7" fmla="*/ 136 h 339"/>
                <a:gd name="T8" fmla="*/ 41 w 273"/>
                <a:gd name="T9" fmla="*/ 183 h 339"/>
                <a:gd name="T10" fmla="*/ 70 w 273"/>
                <a:gd name="T11" fmla="*/ 219 h 339"/>
                <a:gd name="T12" fmla="*/ 112 w 273"/>
                <a:gd name="T13" fmla="*/ 240 h 339"/>
                <a:gd name="T14" fmla="*/ 161 w 273"/>
                <a:gd name="T15" fmla="*/ 240 h 339"/>
                <a:gd name="T16" fmla="*/ 203 w 273"/>
                <a:gd name="T17" fmla="*/ 219 h 339"/>
                <a:gd name="T18" fmla="*/ 232 w 273"/>
                <a:gd name="T19" fmla="*/ 183 h 339"/>
                <a:gd name="T20" fmla="*/ 243 w 273"/>
                <a:gd name="T21" fmla="*/ 136 h 339"/>
                <a:gd name="T22" fmla="*/ 232 w 273"/>
                <a:gd name="T23" fmla="*/ 89 h 339"/>
                <a:gd name="T24" fmla="*/ 203 w 273"/>
                <a:gd name="T25" fmla="*/ 54 h 339"/>
                <a:gd name="T26" fmla="*/ 161 w 273"/>
                <a:gd name="T27" fmla="*/ 32 h 339"/>
                <a:gd name="T28" fmla="*/ 137 w 273"/>
                <a:gd name="T29" fmla="*/ 0 h 339"/>
                <a:gd name="T30" fmla="*/ 190 w 273"/>
                <a:gd name="T31" fmla="*/ 10 h 339"/>
                <a:gd name="T32" fmla="*/ 233 w 273"/>
                <a:gd name="T33" fmla="*/ 40 h 339"/>
                <a:gd name="T34" fmla="*/ 262 w 273"/>
                <a:gd name="T35" fmla="*/ 83 h 339"/>
                <a:gd name="T36" fmla="*/ 273 w 273"/>
                <a:gd name="T37" fmla="*/ 136 h 339"/>
                <a:gd name="T38" fmla="*/ 273 w 273"/>
                <a:gd name="T39" fmla="*/ 139 h 339"/>
                <a:gd name="T40" fmla="*/ 271 w 273"/>
                <a:gd name="T41" fmla="*/ 161 h 339"/>
                <a:gd name="T42" fmla="*/ 260 w 273"/>
                <a:gd name="T43" fmla="*/ 196 h 339"/>
                <a:gd name="T44" fmla="*/ 239 w 273"/>
                <a:gd name="T45" fmla="*/ 240 h 339"/>
                <a:gd name="T46" fmla="*/ 199 w 273"/>
                <a:gd name="T47" fmla="*/ 289 h 339"/>
                <a:gd name="T48" fmla="*/ 137 w 273"/>
                <a:gd name="T49" fmla="*/ 339 h 339"/>
                <a:gd name="T50" fmla="*/ 74 w 273"/>
                <a:gd name="T51" fmla="*/ 289 h 339"/>
                <a:gd name="T52" fmla="*/ 34 w 273"/>
                <a:gd name="T53" fmla="*/ 240 h 339"/>
                <a:gd name="T54" fmla="*/ 13 w 273"/>
                <a:gd name="T55" fmla="*/ 196 h 339"/>
                <a:gd name="T56" fmla="*/ 2 w 273"/>
                <a:gd name="T57" fmla="*/ 161 h 339"/>
                <a:gd name="T58" fmla="*/ 0 w 273"/>
                <a:gd name="T59" fmla="*/ 139 h 339"/>
                <a:gd name="T60" fmla="*/ 0 w 273"/>
                <a:gd name="T61" fmla="*/ 136 h 339"/>
                <a:gd name="T62" fmla="*/ 10 w 273"/>
                <a:gd name="T63" fmla="*/ 83 h 339"/>
                <a:gd name="T64" fmla="*/ 40 w 273"/>
                <a:gd name="T65" fmla="*/ 40 h 339"/>
                <a:gd name="T66" fmla="*/ 83 w 273"/>
                <a:gd name="T67" fmla="*/ 10 h 339"/>
                <a:gd name="T68" fmla="*/ 137 w 273"/>
                <a:gd name="T6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3" h="339">
                  <a:moveTo>
                    <a:pt x="137" y="30"/>
                  </a:moveTo>
                  <a:lnTo>
                    <a:pt x="112" y="32"/>
                  </a:lnTo>
                  <a:lnTo>
                    <a:pt x="90" y="41"/>
                  </a:lnTo>
                  <a:lnTo>
                    <a:pt x="70" y="54"/>
                  </a:lnTo>
                  <a:lnTo>
                    <a:pt x="54" y="70"/>
                  </a:lnTo>
                  <a:lnTo>
                    <a:pt x="41" y="89"/>
                  </a:lnTo>
                  <a:lnTo>
                    <a:pt x="33" y="112"/>
                  </a:lnTo>
                  <a:lnTo>
                    <a:pt x="30" y="136"/>
                  </a:lnTo>
                  <a:lnTo>
                    <a:pt x="33" y="161"/>
                  </a:lnTo>
                  <a:lnTo>
                    <a:pt x="41" y="183"/>
                  </a:lnTo>
                  <a:lnTo>
                    <a:pt x="54" y="203"/>
                  </a:lnTo>
                  <a:lnTo>
                    <a:pt x="70" y="219"/>
                  </a:lnTo>
                  <a:lnTo>
                    <a:pt x="90" y="232"/>
                  </a:lnTo>
                  <a:lnTo>
                    <a:pt x="112" y="240"/>
                  </a:lnTo>
                  <a:lnTo>
                    <a:pt x="137" y="243"/>
                  </a:lnTo>
                  <a:lnTo>
                    <a:pt x="161" y="240"/>
                  </a:lnTo>
                  <a:lnTo>
                    <a:pt x="184" y="232"/>
                  </a:lnTo>
                  <a:lnTo>
                    <a:pt x="203" y="219"/>
                  </a:lnTo>
                  <a:lnTo>
                    <a:pt x="220" y="203"/>
                  </a:lnTo>
                  <a:lnTo>
                    <a:pt x="232" y="183"/>
                  </a:lnTo>
                  <a:lnTo>
                    <a:pt x="241" y="161"/>
                  </a:lnTo>
                  <a:lnTo>
                    <a:pt x="243" y="136"/>
                  </a:lnTo>
                  <a:lnTo>
                    <a:pt x="241" y="112"/>
                  </a:lnTo>
                  <a:lnTo>
                    <a:pt x="232" y="89"/>
                  </a:lnTo>
                  <a:lnTo>
                    <a:pt x="220" y="70"/>
                  </a:lnTo>
                  <a:lnTo>
                    <a:pt x="203" y="54"/>
                  </a:lnTo>
                  <a:lnTo>
                    <a:pt x="184" y="41"/>
                  </a:lnTo>
                  <a:lnTo>
                    <a:pt x="161" y="32"/>
                  </a:lnTo>
                  <a:lnTo>
                    <a:pt x="137" y="30"/>
                  </a:lnTo>
                  <a:close/>
                  <a:moveTo>
                    <a:pt x="137" y="0"/>
                  </a:moveTo>
                  <a:lnTo>
                    <a:pt x="164" y="2"/>
                  </a:lnTo>
                  <a:lnTo>
                    <a:pt x="190" y="10"/>
                  </a:lnTo>
                  <a:lnTo>
                    <a:pt x="213" y="22"/>
                  </a:lnTo>
                  <a:lnTo>
                    <a:pt x="233" y="40"/>
                  </a:lnTo>
                  <a:lnTo>
                    <a:pt x="251" y="60"/>
                  </a:lnTo>
                  <a:lnTo>
                    <a:pt x="262" y="83"/>
                  </a:lnTo>
                  <a:lnTo>
                    <a:pt x="271" y="109"/>
                  </a:lnTo>
                  <a:lnTo>
                    <a:pt x="273" y="136"/>
                  </a:lnTo>
                  <a:lnTo>
                    <a:pt x="273" y="137"/>
                  </a:lnTo>
                  <a:lnTo>
                    <a:pt x="273" y="139"/>
                  </a:lnTo>
                  <a:lnTo>
                    <a:pt x="273" y="143"/>
                  </a:lnTo>
                  <a:lnTo>
                    <a:pt x="271" y="161"/>
                  </a:lnTo>
                  <a:lnTo>
                    <a:pt x="267" y="177"/>
                  </a:lnTo>
                  <a:lnTo>
                    <a:pt x="260" y="196"/>
                  </a:lnTo>
                  <a:lnTo>
                    <a:pt x="252" y="217"/>
                  </a:lnTo>
                  <a:lnTo>
                    <a:pt x="239" y="240"/>
                  </a:lnTo>
                  <a:lnTo>
                    <a:pt x="221" y="265"/>
                  </a:lnTo>
                  <a:lnTo>
                    <a:pt x="199" y="289"/>
                  </a:lnTo>
                  <a:lnTo>
                    <a:pt x="171" y="314"/>
                  </a:lnTo>
                  <a:lnTo>
                    <a:pt x="137" y="339"/>
                  </a:lnTo>
                  <a:lnTo>
                    <a:pt x="102" y="314"/>
                  </a:lnTo>
                  <a:lnTo>
                    <a:pt x="74" y="289"/>
                  </a:lnTo>
                  <a:lnTo>
                    <a:pt x="53" y="265"/>
                  </a:lnTo>
                  <a:lnTo>
                    <a:pt x="34" y="240"/>
                  </a:lnTo>
                  <a:lnTo>
                    <a:pt x="21" y="217"/>
                  </a:lnTo>
                  <a:lnTo>
                    <a:pt x="13" y="196"/>
                  </a:lnTo>
                  <a:lnTo>
                    <a:pt x="6" y="177"/>
                  </a:lnTo>
                  <a:lnTo>
                    <a:pt x="2" y="161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3" y="109"/>
                  </a:lnTo>
                  <a:lnTo>
                    <a:pt x="10" y="83"/>
                  </a:lnTo>
                  <a:lnTo>
                    <a:pt x="23" y="60"/>
                  </a:lnTo>
                  <a:lnTo>
                    <a:pt x="40" y="40"/>
                  </a:lnTo>
                  <a:lnTo>
                    <a:pt x="60" y="22"/>
                  </a:lnTo>
                  <a:lnTo>
                    <a:pt x="83" y="10"/>
                  </a:lnTo>
                  <a:lnTo>
                    <a:pt x="109" y="2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6" name="Promotion">
            <a:extLst>
              <a:ext uri="{FF2B5EF4-FFF2-40B4-BE49-F238E27FC236}">
                <a16:creationId xmlns:a16="http://schemas.microsoft.com/office/drawing/2014/main" xmlns="" id="{18286392-115B-4464-A498-903D50FCB575}"/>
              </a:ext>
            </a:extLst>
          </p:cNvPr>
          <p:cNvGrpSpPr/>
          <p:nvPr/>
        </p:nvGrpSpPr>
        <p:grpSpPr>
          <a:xfrm>
            <a:off x="543005" y="2582313"/>
            <a:ext cx="1116000" cy="756000"/>
            <a:chOff x="543005" y="2476500"/>
            <a:chExt cx="1296000" cy="900000"/>
          </a:xfrm>
        </p:grpSpPr>
        <p:sp>
          <p:nvSpPr>
            <p:cNvPr id="11" name="Rechthoek: afgeronde hoeken 10">
              <a:extLst>
                <a:ext uri="{FF2B5EF4-FFF2-40B4-BE49-F238E27FC236}">
                  <a16:creationId xmlns:a16="http://schemas.microsoft.com/office/drawing/2014/main" xmlns="" id="{5A140D20-DEB8-44D7-BA23-3D3AC157ED3E}"/>
                </a:ext>
              </a:extLst>
            </p:cNvPr>
            <p:cNvSpPr/>
            <p:nvPr/>
          </p:nvSpPr>
          <p:spPr>
            <a:xfrm>
              <a:off x="543005" y="2476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+0%</a:t>
              </a:r>
            </a:p>
          </p:txBody>
        </p:sp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xmlns="" id="{3F5A1B96-98D1-404B-958D-1FF662CEF71D}"/>
                </a:ext>
              </a:extLst>
            </p:cNvPr>
            <p:cNvGrpSpPr/>
            <p:nvPr/>
          </p:nvGrpSpPr>
          <p:grpSpPr>
            <a:xfrm>
              <a:off x="986549" y="2593990"/>
              <a:ext cx="397369" cy="350839"/>
              <a:chOff x="6021388" y="4933951"/>
              <a:chExt cx="677863" cy="598488"/>
            </a:xfrm>
            <a:solidFill>
              <a:schemeClr val="bg1"/>
            </a:solidFill>
          </p:grpSpPr>
          <p:sp>
            <p:nvSpPr>
              <p:cNvPr id="27" name="Freeform 56">
                <a:extLst>
                  <a:ext uri="{FF2B5EF4-FFF2-40B4-BE49-F238E27FC236}">
                    <a16:creationId xmlns:a16="http://schemas.microsoft.com/office/drawing/2014/main" xmlns="" id="{CEB452A6-39D7-45AE-BB5F-344BB57035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6701" y="5068888"/>
                <a:ext cx="68263" cy="134938"/>
              </a:xfrm>
              <a:custGeom>
                <a:avLst/>
                <a:gdLst>
                  <a:gd name="T0" fmla="*/ 0 w 43"/>
                  <a:gd name="T1" fmla="*/ 0 h 85"/>
                  <a:gd name="T2" fmla="*/ 5 w 43"/>
                  <a:gd name="T3" fmla="*/ 1 h 85"/>
                  <a:gd name="T4" fmla="*/ 9 w 43"/>
                  <a:gd name="T5" fmla="*/ 2 h 85"/>
                  <a:gd name="T6" fmla="*/ 12 w 43"/>
                  <a:gd name="T7" fmla="*/ 3 h 85"/>
                  <a:gd name="T8" fmla="*/ 21 w 43"/>
                  <a:gd name="T9" fmla="*/ 10 h 85"/>
                  <a:gd name="T10" fmla="*/ 29 w 43"/>
                  <a:gd name="T11" fmla="*/ 21 h 85"/>
                  <a:gd name="T12" fmla="*/ 35 w 43"/>
                  <a:gd name="T13" fmla="*/ 34 h 85"/>
                  <a:gd name="T14" fmla="*/ 39 w 43"/>
                  <a:gd name="T15" fmla="*/ 48 h 85"/>
                  <a:gd name="T16" fmla="*/ 43 w 43"/>
                  <a:gd name="T17" fmla="*/ 61 h 85"/>
                  <a:gd name="T18" fmla="*/ 42 w 43"/>
                  <a:gd name="T19" fmla="*/ 70 h 85"/>
                  <a:gd name="T20" fmla="*/ 40 w 43"/>
                  <a:gd name="T21" fmla="*/ 75 h 85"/>
                  <a:gd name="T22" fmla="*/ 37 w 43"/>
                  <a:gd name="T23" fmla="*/ 79 h 85"/>
                  <a:gd name="T24" fmla="*/ 35 w 43"/>
                  <a:gd name="T25" fmla="*/ 85 h 85"/>
                  <a:gd name="T26" fmla="*/ 24 w 43"/>
                  <a:gd name="T27" fmla="*/ 55 h 85"/>
                  <a:gd name="T28" fmla="*/ 15 w 43"/>
                  <a:gd name="T29" fmla="*/ 33 h 85"/>
                  <a:gd name="T30" fmla="*/ 7 w 43"/>
                  <a:gd name="T31" fmla="*/ 14 h 85"/>
                  <a:gd name="T32" fmla="*/ 0 w 43"/>
                  <a:gd name="T33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85">
                    <a:moveTo>
                      <a:pt x="0" y="0"/>
                    </a:moveTo>
                    <a:lnTo>
                      <a:pt x="5" y="1"/>
                    </a:lnTo>
                    <a:lnTo>
                      <a:pt x="9" y="2"/>
                    </a:lnTo>
                    <a:lnTo>
                      <a:pt x="12" y="3"/>
                    </a:lnTo>
                    <a:lnTo>
                      <a:pt x="21" y="10"/>
                    </a:lnTo>
                    <a:lnTo>
                      <a:pt x="29" y="21"/>
                    </a:lnTo>
                    <a:lnTo>
                      <a:pt x="35" y="34"/>
                    </a:lnTo>
                    <a:lnTo>
                      <a:pt x="39" y="48"/>
                    </a:lnTo>
                    <a:lnTo>
                      <a:pt x="43" y="61"/>
                    </a:lnTo>
                    <a:lnTo>
                      <a:pt x="42" y="70"/>
                    </a:lnTo>
                    <a:lnTo>
                      <a:pt x="40" y="75"/>
                    </a:lnTo>
                    <a:lnTo>
                      <a:pt x="37" y="79"/>
                    </a:lnTo>
                    <a:lnTo>
                      <a:pt x="35" y="85"/>
                    </a:lnTo>
                    <a:lnTo>
                      <a:pt x="24" y="55"/>
                    </a:lnTo>
                    <a:lnTo>
                      <a:pt x="15" y="33"/>
                    </a:lnTo>
                    <a:lnTo>
                      <a:pt x="7" y="1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57">
                <a:extLst>
                  <a:ext uri="{FF2B5EF4-FFF2-40B4-BE49-F238E27FC236}">
                    <a16:creationId xmlns:a16="http://schemas.microsoft.com/office/drawing/2014/main" xmlns="" id="{35581644-CCCE-40B7-B412-311C3AC49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7426" y="5156201"/>
                <a:ext cx="317500" cy="376238"/>
              </a:xfrm>
              <a:custGeom>
                <a:avLst/>
                <a:gdLst>
                  <a:gd name="T0" fmla="*/ 143 w 200"/>
                  <a:gd name="T1" fmla="*/ 0 h 237"/>
                  <a:gd name="T2" fmla="*/ 153 w 200"/>
                  <a:gd name="T3" fmla="*/ 15 h 237"/>
                  <a:gd name="T4" fmla="*/ 165 w 200"/>
                  <a:gd name="T5" fmla="*/ 35 h 237"/>
                  <a:gd name="T6" fmla="*/ 177 w 200"/>
                  <a:gd name="T7" fmla="*/ 60 h 237"/>
                  <a:gd name="T8" fmla="*/ 189 w 200"/>
                  <a:gd name="T9" fmla="*/ 91 h 237"/>
                  <a:gd name="T10" fmla="*/ 200 w 200"/>
                  <a:gd name="T11" fmla="*/ 128 h 237"/>
                  <a:gd name="T12" fmla="*/ 190 w 200"/>
                  <a:gd name="T13" fmla="*/ 132 h 237"/>
                  <a:gd name="T14" fmla="*/ 182 w 200"/>
                  <a:gd name="T15" fmla="*/ 136 h 237"/>
                  <a:gd name="T16" fmla="*/ 172 w 200"/>
                  <a:gd name="T17" fmla="*/ 140 h 237"/>
                  <a:gd name="T18" fmla="*/ 173 w 200"/>
                  <a:gd name="T19" fmla="*/ 163 h 237"/>
                  <a:gd name="T20" fmla="*/ 174 w 200"/>
                  <a:gd name="T21" fmla="*/ 181 h 237"/>
                  <a:gd name="T22" fmla="*/ 176 w 200"/>
                  <a:gd name="T23" fmla="*/ 185 h 237"/>
                  <a:gd name="T24" fmla="*/ 178 w 200"/>
                  <a:gd name="T25" fmla="*/ 190 h 237"/>
                  <a:gd name="T26" fmla="*/ 180 w 200"/>
                  <a:gd name="T27" fmla="*/ 193 h 237"/>
                  <a:gd name="T28" fmla="*/ 185 w 200"/>
                  <a:gd name="T29" fmla="*/ 199 h 237"/>
                  <a:gd name="T30" fmla="*/ 190 w 200"/>
                  <a:gd name="T31" fmla="*/ 205 h 237"/>
                  <a:gd name="T32" fmla="*/ 192 w 200"/>
                  <a:gd name="T33" fmla="*/ 211 h 237"/>
                  <a:gd name="T34" fmla="*/ 191 w 200"/>
                  <a:gd name="T35" fmla="*/ 218 h 237"/>
                  <a:gd name="T36" fmla="*/ 185 w 200"/>
                  <a:gd name="T37" fmla="*/ 225 h 237"/>
                  <a:gd name="T38" fmla="*/ 176 w 200"/>
                  <a:gd name="T39" fmla="*/ 232 h 237"/>
                  <a:gd name="T40" fmla="*/ 165 w 200"/>
                  <a:gd name="T41" fmla="*/ 236 h 237"/>
                  <a:gd name="T42" fmla="*/ 153 w 200"/>
                  <a:gd name="T43" fmla="*/ 237 h 237"/>
                  <a:gd name="T44" fmla="*/ 142 w 200"/>
                  <a:gd name="T45" fmla="*/ 235 h 237"/>
                  <a:gd name="T46" fmla="*/ 133 w 200"/>
                  <a:gd name="T47" fmla="*/ 231 h 237"/>
                  <a:gd name="T48" fmla="*/ 121 w 200"/>
                  <a:gd name="T49" fmla="*/ 217 h 237"/>
                  <a:gd name="T50" fmla="*/ 111 w 200"/>
                  <a:gd name="T51" fmla="*/ 203 h 237"/>
                  <a:gd name="T52" fmla="*/ 98 w 200"/>
                  <a:gd name="T53" fmla="*/ 190 h 237"/>
                  <a:gd name="T54" fmla="*/ 91 w 200"/>
                  <a:gd name="T55" fmla="*/ 184 h 237"/>
                  <a:gd name="T56" fmla="*/ 81 w 200"/>
                  <a:gd name="T57" fmla="*/ 181 h 237"/>
                  <a:gd name="T58" fmla="*/ 73 w 200"/>
                  <a:gd name="T59" fmla="*/ 181 h 237"/>
                  <a:gd name="T60" fmla="*/ 61 w 200"/>
                  <a:gd name="T61" fmla="*/ 180 h 237"/>
                  <a:gd name="T62" fmla="*/ 48 w 200"/>
                  <a:gd name="T63" fmla="*/ 177 h 237"/>
                  <a:gd name="T64" fmla="*/ 35 w 200"/>
                  <a:gd name="T65" fmla="*/ 170 h 237"/>
                  <a:gd name="T66" fmla="*/ 25 w 200"/>
                  <a:gd name="T67" fmla="*/ 162 h 237"/>
                  <a:gd name="T68" fmla="*/ 19 w 200"/>
                  <a:gd name="T69" fmla="*/ 151 h 237"/>
                  <a:gd name="T70" fmla="*/ 6 w 200"/>
                  <a:gd name="T71" fmla="*/ 120 h 237"/>
                  <a:gd name="T72" fmla="*/ 0 w 200"/>
                  <a:gd name="T73" fmla="*/ 100 h 237"/>
                  <a:gd name="T74" fmla="*/ 0 w 200"/>
                  <a:gd name="T75" fmla="*/ 83 h 237"/>
                  <a:gd name="T76" fmla="*/ 7 w 200"/>
                  <a:gd name="T77" fmla="*/ 68 h 237"/>
                  <a:gd name="T78" fmla="*/ 20 w 200"/>
                  <a:gd name="T79" fmla="*/ 55 h 237"/>
                  <a:gd name="T80" fmla="*/ 37 w 200"/>
                  <a:gd name="T81" fmla="*/ 46 h 237"/>
                  <a:gd name="T82" fmla="*/ 74 w 200"/>
                  <a:gd name="T83" fmla="*/ 31 h 237"/>
                  <a:gd name="T84" fmla="*/ 107 w 200"/>
                  <a:gd name="T85" fmla="*/ 17 h 237"/>
                  <a:gd name="T86" fmla="*/ 143 w 200"/>
                  <a:gd name="T87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00" h="237">
                    <a:moveTo>
                      <a:pt x="143" y="0"/>
                    </a:moveTo>
                    <a:lnTo>
                      <a:pt x="153" y="15"/>
                    </a:lnTo>
                    <a:lnTo>
                      <a:pt x="165" y="35"/>
                    </a:lnTo>
                    <a:lnTo>
                      <a:pt x="177" y="60"/>
                    </a:lnTo>
                    <a:lnTo>
                      <a:pt x="189" y="91"/>
                    </a:lnTo>
                    <a:lnTo>
                      <a:pt x="200" y="128"/>
                    </a:lnTo>
                    <a:lnTo>
                      <a:pt x="190" y="132"/>
                    </a:lnTo>
                    <a:lnTo>
                      <a:pt x="182" y="136"/>
                    </a:lnTo>
                    <a:lnTo>
                      <a:pt x="172" y="140"/>
                    </a:lnTo>
                    <a:lnTo>
                      <a:pt x="173" y="163"/>
                    </a:lnTo>
                    <a:lnTo>
                      <a:pt x="174" y="181"/>
                    </a:lnTo>
                    <a:lnTo>
                      <a:pt x="176" y="185"/>
                    </a:lnTo>
                    <a:lnTo>
                      <a:pt x="178" y="190"/>
                    </a:lnTo>
                    <a:lnTo>
                      <a:pt x="180" y="193"/>
                    </a:lnTo>
                    <a:lnTo>
                      <a:pt x="185" y="199"/>
                    </a:lnTo>
                    <a:lnTo>
                      <a:pt x="190" y="205"/>
                    </a:lnTo>
                    <a:lnTo>
                      <a:pt x="192" y="211"/>
                    </a:lnTo>
                    <a:lnTo>
                      <a:pt x="191" y="218"/>
                    </a:lnTo>
                    <a:lnTo>
                      <a:pt x="185" y="225"/>
                    </a:lnTo>
                    <a:lnTo>
                      <a:pt x="176" y="232"/>
                    </a:lnTo>
                    <a:lnTo>
                      <a:pt x="165" y="236"/>
                    </a:lnTo>
                    <a:lnTo>
                      <a:pt x="153" y="237"/>
                    </a:lnTo>
                    <a:lnTo>
                      <a:pt x="142" y="235"/>
                    </a:lnTo>
                    <a:lnTo>
                      <a:pt x="133" y="231"/>
                    </a:lnTo>
                    <a:lnTo>
                      <a:pt x="121" y="217"/>
                    </a:lnTo>
                    <a:lnTo>
                      <a:pt x="111" y="203"/>
                    </a:lnTo>
                    <a:lnTo>
                      <a:pt x="98" y="190"/>
                    </a:lnTo>
                    <a:lnTo>
                      <a:pt x="91" y="184"/>
                    </a:lnTo>
                    <a:lnTo>
                      <a:pt x="81" y="181"/>
                    </a:lnTo>
                    <a:lnTo>
                      <a:pt x="73" y="181"/>
                    </a:lnTo>
                    <a:lnTo>
                      <a:pt x="61" y="180"/>
                    </a:lnTo>
                    <a:lnTo>
                      <a:pt x="48" y="177"/>
                    </a:lnTo>
                    <a:lnTo>
                      <a:pt x="35" y="170"/>
                    </a:lnTo>
                    <a:lnTo>
                      <a:pt x="25" y="162"/>
                    </a:lnTo>
                    <a:lnTo>
                      <a:pt x="19" y="151"/>
                    </a:lnTo>
                    <a:lnTo>
                      <a:pt x="6" y="120"/>
                    </a:lnTo>
                    <a:lnTo>
                      <a:pt x="0" y="100"/>
                    </a:lnTo>
                    <a:lnTo>
                      <a:pt x="0" y="83"/>
                    </a:lnTo>
                    <a:lnTo>
                      <a:pt x="7" y="68"/>
                    </a:lnTo>
                    <a:lnTo>
                      <a:pt x="20" y="55"/>
                    </a:lnTo>
                    <a:lnTo>
                      <a:pt x="37" y="46"/>
                    </a:lnTo>
                    <a:lnTo>
                      <a:pt x="74" y="31"/>
                    </a:lnTo>
                    <a:lnTo>
                      <a:pt x="107" y="17"/>
                    </a:lnTo>
                    <a:lnTo>
                      <a:pt x="14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58">
                <a:extLst>
                  <a:ext uri="{FF2B5EF4-FFF2-40B4-BE49-F238E27FC236}">
                    <a16:creationId xmlns:a16="http://schemas.microsoft.com/office/drawing/2014/main" xmlns="" id="{6829B3C4-6B59-4014-8B06-D9B0E8E43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4126" y="4933951"/>
                <a:ext cx="365125" cy="447675"/>
              </a:xfrm>
              <a:custGeom>
                <a:avLst/>
                <a:gdLst>
                  <a:gd name="T0" fmla="*/ 109 w 230"/>
                  <a:gd name="T1" fmla="*/ 0 h 282"/>
                  <a:gd name="T2" fmla="*/ 116 w 230"/>
                  <a:gd name="T3" fmla="*/ 0 h 282"/>
                  <a:gd name="T4" fmla="*/ 122 w 230"/>
                  <a:gd name="T5" fmla="*/ 3 h 282"/>
                  <a:gd name="T6" fmla="*/ 128 w 230"/>
                  <a:gd name="T7" fmla="*/ 8 h 282"/>
                  <a:gd name="T8" fmla="*/ 141 w 230"/>
                  <a:gd name="T9" fmla="*/ 40 h 282"/>
                  <a:gd name="T10" fmla="*/ 154 w 230"/>
                  <a:gd name="T11" fmla="*/ 71 h 282"/>
                  <a:gd name="T12" fmla="*/ 154 w 230"/>
                  <a:gd name="T13" fmla="*/ 71 h 282"/>
                  <a:gd name="T14" fmla="*/ 154 w 230"/>
                  <a:gd name="T15" fmla="*/ 71 h 282"/>
                  <a:gd name="T16" fmla="*/ 155 w 230"/>
                  <a:gd name="T17" fmla="*/ 72 h 282"/>
                  <a:gd name="T18" fmla="*/ 156 w 230"/>
                  <a:gd name="T19" fmla="*/ 74 h 282"/>
                  <a:gd name="T20" fmla="*/ 157 w 230"/>
                  <a:gd name="T21" fmla="*/ 78 h 282"/>
                  <a:gd name="T22" fmla="*/ 158 w 230"/>
                  <a:gd name="T23" fmla="*/ 80 h 282"/>
                  <a:gd name="T24" fmla="*/ 159 w 230"/>
                  <a:gd name="T25" fmla="*/ 81 h 282"/>
                  <a:gd name="T26" fmla="*/ 162 w 230"/>
                  <a:gd name="T27" fmla="*/ 89 h 282"/>
                  <a:gd name="T28" fmla="*/ 168 w 230"/>
                  <a:gd name="T29" fmla="*/ 101 h 282"/>
                  <a:gd name="T30" fmla="*/ 174 w 230"/>
                  <a:gd name="T31" fmla="*/ 117 h 282"/>
                  <a:gd name="T32" fmla="*/ 183 w 230"/>
                  <a:gd name="T33" fmla="*/ 136 h 282"/>
                  <a:gd name="T34" fmla="*/ 191 w 230"/>
                  <a:gd name="T35" fmla="*/ 160 h 282"/>
                  <a:gd name="T36" fmla="*/ 202 w 230"/>
                  <a:gd name="T37" fmla="*/ 188 h 282"/>
                  <a:gd name="T38" fmla="*/ 203 w 230"/>
                  <a:gd name="T39" fmla="*/ 190 h 282"/>
                  <a:gd name="T40" fmla="*/ 216 w 230"/>
                  <a:gd name="T41" fmla="*/ 224 h 282"/>
                  <a:gd name="T42" fmla="*/ 229 w 230"/>
                  <a:gd name="T43" fmla="*/ 257 h 282"/>
                  <a:gd name="T44" fmla="*/ 230 w 230"/>
                  <a:gd name="T45" fmla="*/ 264 h 282"/>
                  <a:gd name="T46" fmla="*/ 230 w 230"/>
                  <a:gd name="T47" fmla="*/ 270 h 282"/>
                  <a:gd name="T48" fmla="*/ 228 w 230"/>
                  <a:gd name="T49" fmla="*/ 278 h 282"/>
                  <a:gd name="T50" fmla="*/ 225 w 230"/>
                  <a:gd name="T51" fmla="*/ 282 h 282"/>
                  <a:gd name="T52" fmla="*/ 221 w 230"/>
                  <a:gd name="T53" fmla="*/ 282 h 282"/>
                  <a:gd name="T54" fmla="*/ 214 w 230"/>
                  <a:gd name="T55" fmla="*/ 280 h 282"/>
                  <a:gd name="T56" fmla="*/ 208 w 230"/>
                  <a:gd name="T57" fmla="*/ 277 h 282"/>
                  <a:gd name="T58" fmla="*/ 202 w 230"/>
                  <a:gd name="T59" fmla="*/ 272 h 282"/>
                  <a:gd name="T60" fmla="*/ 191 w 230"/>
                  <a:gd name="T61" fmla="*/ 266 h 282"/>
                  <a:gd name="T62" fmla="*/ 181 w 230"/>
                  <a:gd name="T63" fmla="*/ 260 h 282"/>
                  <a:gd name="T64" fmla="*/ 154 w 230"/>
                  <a:gd name="T65" fmla="*/ 252 h 282"/>
                  <a:gd name="T66" fmla="*/ 130 w 230"/>
                  <a:gd name="T67" fmla="*/ 247 h 282"/>
                  <a:gd name="T68" fmla="*/ 106 w 230"/>
                  <a:gd name="T69" fmla="*/ 248 h 282"/>
                  <a:gd name="T70" fmla="*/ 82 w 230"/>
                  <a:gd name="T71" fmla="*/ 252 h 282"/>
                  <a:gd name="T72" fmla="*/ 58 w 230"/>
                  <a:gd name="T73" fmla="*/ 259 h 282"/>
                  <a:gd name="T74" fmla="*/ 46 w 230"/>
                  <a:gd name="T75" fmla="*/ 221 h 282"/>
                  <a:gd name="T76" fmla="*/ 35 w 230"/>
                  <a:gd name="T77" fmla="*/ 191 h 282"/>
                  <a:gd name="T78" fmla="*/ 22 w 230"/>
                  <a:gd name="T79" fmla="*/ 165 h 282"/>
                  <a:gd name="T80" fmla="*/ 10 w 230"/>
                  <a:gd name="T81" fmla="*/ 146 h 282"/>
                  <a:gd name="T82" fmla="*/ 0 w 230"/>
                  <a:gd name="T83" fmla="*/ 131 h 282"/>
                  <a:gd name="T84" fmla="*/ 2 w 230"/>
                  <a:gd name="T85" fmla="*/ 129 h 282"/>
                  <a:gd name="T86" fmla="*/ 4 w 230"/>
                  <a:gd name="T87" fmla="*/ 128 h 282"/>
                  <a:gd name="T88" fmla="*/ 5 w 230"/>
                  <a:gd name="T89" fmla="*/ 128 h 282"/>
                  <a:gd name="T90" fmla="*/ 8 w 230"/>
                  <a:gd name="T91" fmla="*/ 127 h 282"/>
                  <a:gd name="T92" fmla="*/ 9 w 230"/>
                  <a:gd name="T93" fmla="*/ 126 h 282"/>
                  <a:gd name="T94" fmla="*/ 12 w 230"/>
                  <a:gd name="T95" fmla="*/ 125 h 282"/>
                  <a:gd name="T96" fmla="*/ 38 w 230"/>
                  <a:gd name="T97" fmla="*/ 111 h 282"/>
                  <a:gd name="T98" fmla="*/ 59 w 230"/>
                  <a:gd name="T99" fmla="*/ 92 h 282"/>
                  <a:gd name="T100" fmla="*/ 78 w 230"/>
                  <a:gd name="T101" fmla="*/ 69 h 282"/>
                  <a:gd name="T102" fmla="*/ 93 w 230"/>
                  <a:gd name="T103" fmla="*/ 43 h 282"/>
                  <a:gd name="T104" fmla="*/ 95 w 230"/>
                  <a:gd name="T105" fmla="*/ 34 h 282"/>
                  <a:gd name="T106" fmla="*/ 96 w 230"/>
                  <a:gd name="T107" fmla="*/ 25 h 282"/>
                  <a:gd name="T108" fmla="*/ 98 w 230"/>
                  <a:gd name="T109" fmla="*/ 16 h 282"/>
                  <a:gd name="T110" fmla="*/ 99 w 230"/>
                  <a:gd name="T111" fmla="*/ 12 h 282"/>
                  <a:gd name="T112" fmla="*/ 102 w 230"/>
                  <a:gd name="T113" fmla="*/ 7 h 282"/>
                  <a:gd name="T114" fmla="*/ 104 w 230"/>
                  <a:gd name="T115" fmla="*/ 4 h 282"/>
                  <a:gd name="T116" fmla="*/ 106 w 230"/>
                  <a:gd name="T117" fmla="*/ 1 h 282"/>
                  <a:gd name="T118" fmla="*/ 109 w 230"/>
                  <a:gd name="T119" fmla="*/ 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0" h="282">
                    <a:moveTo>
                      <a:pt x="109" y="0"/>
                    </a:moveTo>
                    <a:lnTo>
                      <a:pt x="116" y="0"/>
                    </a:lnTo>
                    <a:lnTo>
                      <a:pt x="122" y="3"/>
                    </a:lnTo>
                    <a:lnTo>
                      <a:pt x="128" y="8"/>
                    </a:lnTo>
                    <a:lnTo>
                      <a:pt x="141" y="40"/>
                    </a:lnTo>
                    <a:lnTo>
                      <a:pt x="154" y="71"/>
                    </a:lnTo>
                    <a:lnTo>
                      <a:pt x="154" y="71"/>
                    </a:lnTo>
                    <a:lnTo>
                      <a:pt x="154" y="71"/>
                    </a:lnTo>
                    <a:lnTo>
                      <a:pt x="155" y="72"/>
                    </a:lnTo>
                    <a:lnTo>
                      <a:pt x="156" y="74"/>
                    </a:lnTo>
                    <a:lnTo>
                      <a:pt x="157" y="78"/>
                    </a:lnTo>
                    <a:lnTo>
                      <a:pt x="158" y="80"/>
                    </a:lnTo>
                    <a:lnTo>
                      <a:pt x="159" y="81"/>
                    </a:lnTo>
                    <a:lnTo>
                      <a:pt x="162" y="89"/>
                    </a:lnTo>
                    <a:lnTo>
                      <a:pt x="168" y="101"/>
                    </a:lnTo>
                    <a:lnTo>
                      <a:pt x="174" y="117"/>
                    </a:lnTo>
                    <a:lnTo>
                      <a:pt x="183" y="136"/>
                    </a:lnTo>
                    <a:lnTo>
                      <a:pt x="191" y="160"/>
                    </a:lnTo>
                    <a:lnTo>
                      <a:pt x="202" y="188"/>
                    </a:lnTo>
                    <a:lnTo>
                      <a:pt x="203" y="190"/>
                    </a:lnTo>
                    <a:lnTo>
                      <a:pt x="216" y="224"/>
                    </a:lnTo>
                    <a:lnTo>
                      <a:pt x="229" y="257"/>
                    </a:lnTo>
                    <a:lnTo>
                      <a:pt x="230" y="264"/>
                    </a:lnTo>
                    <a:lnTo>
                      <a:pt x="230" y="270"/>
                    </a:lnTo>
                    <a:lnTo>
                      <a:pt x="228" y="278"/>
                    </a:lnTo>
                    <a:lnTo>
                      <a:pt x="225" y="282"/>
                    </a:lnTo>
                    <a:lnTo>
                      <a:pt x="221" y="282"/>
                    </a:lnTo>
                    <a:lnTo>
                      <a:pt x="214" y="280"/>
                    </a:lnTo>
                    <a:lnTo>
                      <a:pt x="208" y="277"/>
                    </a:lnTo>
                    <a:lnTo>
                      <a:pt x="202" y="272"/>
                    </a:lnTo>
                    <a:lnTo>
                      <a:pt x="191" y="266"/>
                    </a:lnTo>
                    <a:lnTo>
                      <a:pt x="181" y="260"/>
                    </a:lnTo>
                    <a:lnTo>
                      <a:pt x="154" y="252"/>
                    </a:lnTo>
                    <a:lnTo>
                      <a:pt x="130" y="247"/>
                    </a:lnTo>
                    <a:lnTo>
                      <a:pt x="106" y="248"/>
                    </a:lnTo>
                    <a:lnTo>
                      <a:pt x="82" y="252"/>
                    </a:lnTo>
                    <a:lnTo>
                      <a:pt x="58" y="259"/>
                    </a:lnTo>
                    <a:lnTo>
                      <a:pt x="46" y="221"/>
                    </a:lnTo>
                    <a:lnTo>
                      <a:pt x="35" y="191"/>
                    </a:lnTo>
                    <a:lnTo>
                      <a:pt x="22" y="165"/>
                    </a:lnTo>
                    <a:lnTo>
                      <a:pt x="10" y="146"/>
                    </a:lnTo>
                    <a:lnTo>
                      <a:pt x="0" y="131"/>
                    </a:lnTo>
                    <a:lnTo>
                      <a:pt x="2" y="129"/>
                    </a:lnTo>
                    <a:lnTo>
                      <a:pt x="4" y="128"/>
                    </a:lnTo>
                    <a:lnTo>
                      <a:pt x="5" y="128"/>
                    </a:lnTo>
                    <a:lnTo>
                      <a:pt x="8" y="127"/>
                    </a:lnTo>
                    <a:lnTo>
                      <a:pt x="9" y="126"/>
                    </a:lnTo>
                    <a:lnTo>
                      <a:pt x="12" y="125"/>
                    </a:lnTo>
                    <a:lnTo>
                      <a:pt x="38" y="111"/>
                    </a:lnTo>
                    <a:lnTo>
                      <a:pt x="59" y="92"/>
                    </a:lnTo>
                    <a:lnTo>
                      <a:pt x="78" y="69"/>
                    </a:lnTo>
                    <a:lnTo>
                      <a:pt x="93" y="43"/>
                    </a:lnTo>
                    <a:lnTo>
                      <a:pt x="95" y="34"/>
                    </a:lnTo>
                    <a:lnTo>
                      <a:pt x="96" y="25"/>
                    </a:lnTo>
                    <a:lnTo>
                      <a:pt x="98" y="16"/>
                    </a:lnTo>
                    <a:lnTo>
                      <a:pt x="99" y="12"/>
                    </a:lnTo>
                    <a:lnTo>
                      <a:pt x="102" y="7"/>
                    </a:lnTo>
                    <a:lnTo>
                      <a:pt x="104" y="4"/>
                    </a:lnTo>
                    <a:lnTo>
                      <a:pt x="106" y="1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59">
                <a:extLst>
                  <a:ext uri="{FF2B5EF4-FFF2-40B4-BE49-F238E27FC236}">
                    <a16:creationId xmlns:a16="http://schemas.microsoft.com/office/drawing/2014/main" xmlns="" id="{DC63C1B6-04DC-4F55-9E45-1C6B10577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1388" y="5313363"/>
                <a:ext cx="58738" cy="104775"/>
              </a:xfrm>
              <a:custGeom>
                <a:avLst/>
                <a:gdLst>
                  <a:gd name="T0" fmla="*/ 14 w 37"/>
                  <a:gd name="T1" fmla="*/ 0 h 66"/>
                  <a:gd name="T2" fmla="*/ 14 w 37"/>
                  <a:gd name="T3" fmla="*/ 7 h 66"/>
                  <a:gd name="T4" fmla="*/ 16 w 37"/>
                  <a:gd name="T5" fmla="*/ 17 h 66"/>
                  <a:gd name="T6" fmla="*/ 21 w 37"/>
                  <a:gd name="T7" fmla="*/ 28 h 66"/>
                  <a:gd name="T8" fmla="*/ 25 w 37"/>
                  <a:gd name="T9" fmla="*/ 39 h 66"/>
                  <a:gd name="T10" fmla="*/ 29 w 37"/>
                  <a:gd name="T11" fmla="*/ 50 h 66"/>
                  <a:gd name="T12" fmla="*/ 33 w 37"/>
                  <a:gd name="T13" fmla="*/ 57 h 66"/>
                  <a:gd name="T14" fmla="*/ 36 w 37"/>
                  <a:gd name="T15" fmla="*/ 64 h 66"/>
                  <a:gd name="T16" fmla="*/ 37 w 37"/>
                  <a:gd name="T17" fmla="*/ 66 h 66"/>
                  <a:gd name="T18" fmla="*/ 34 w 37"/>
                  <a:gd name="T19" fmla="*/ 66 h 66"/>
                  <a:gd name="T20" fmla="*/ 30 w 37"/>
                  <a:gd name="T21" fmla="*/ 66 h 66"/>
                  <a:gd name="T22" fmla="*/ 24 w 37"/>
                  <a:gd name="T23" fmla="*/ 66 h 66"/>
                  <a:gd name="T24" fmla="*/ 18 w 37"/>
                  <a:gd name="T25" fmla="*/ 64 h 66"/>
                  <a:gd name="T26" fmla="*/ 12 w 37"/>
                  <a:gd name="T27" fmla="*/ 59 h 66"/>
                  <a:gd name="T28" fmla="*/ 7 w 37"/>
                  <a:gd name="T29" fmla="*/ 51 h 66"/>
                  <a:gd name="T30" fmla="*/ 2 w 37"/>
                  <a:gd name="T31" fmla="*/ 40 h 66"/>
                  <a:gd name="T32" fmla="*/ 0 w 37"/>
                  <a:gd name="T33" fmla="*/ 27 h 66"/>
                  <a:gd name="T34" fmla="*/ 0 w 37"/>
                  <a:gd name="T35" fmla="*/ 17 h 66"/>
                  <a:gd name="T36" fmla="*/ 2 w 37"/>
                  <a:gd name="T37" fmla="*/ 11 h 66"/>
                  <a:gd name="T38" fmla="*/ 7 w 37"/>
                  <a:gd name="T39" fmla="*/ 5 h 66"/>
                  <a:gd name="T40" fmla="*/ 10 w 37"/>
                  <a:gd name="T41" fmla="*/ 2 h 66"/>
                  <a:gd name="T42" fmla="*/ 13 w 37"/>
                  <a:gd name="T43" fmla="*/ 1 h 66"/>
                  <a:gd name="T44" fmla="*/ 14 w 37"/>
                  <a:gd name="T45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" h="66">
                    <a:moveTo>
                      <a:pt x="14" y="0"/>
                    </a:moveTo>
                    <a:lnTo>
                      <a:pt x="14" y="7"/>
                    </a:lnTo>
                    <a:lnTo>
                      <a:pt x="16" y="17"/>
                    </a:lnTo>
                    <a:lnTo>
                      <a:pt x="21" y="28"/>
                    </a:lnTo>
                    <a:lnTo>
                      <a:pt x="25" y="39"/>
                    </a:lnTo>
                    <a:lnTo>
                      <a:pt x="29" y="50"/>
                    </a:lnTo>
                    <a:lnTo>
                      <a:pt x="33" y="57"/>
                    </a:lnTo>
                    <a:lnTo>
                      <a:pt x="36" y="64"/>
                    </a:lnTo>
                    <a:lnTo>
                      <a:pt x="37" y="66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24" y="66"/>
                    </a:lnTo>
                    <a:lnTo>
                      <a:pt x="18" y="64"/>
                    </a:lnTo>
                    <a:lnTo>
                      <a:pt x="12" y="59"/>
                    </a:lnTo>
                    <a:lnTo>
                      <a:pt x="7" y="51"/>
                    </a:lnTo>
                    <a:lnTo>
                      <a:pt x="2" y="40"/>
                    </a:lnTo>
                    <a:lnTo>
                      <a:pt x="0" y="27"/>
                    </a:lnTo>
                    <a:lnTo>
                      <a:pt x="0" y="17"/>
                    </a:lnTo>
                    <a:lnTo>
                      <a:pt x="2" y="11"/>
                    </a:lnTo>
                    <a:lnTo>
                      <a:pt x="7" y="5"/>
                    </a:lnTo>
                    <a:lnTo>
                      <a:pt x="10" y="2"/>
                    </a:lnTo>
                    <a:lnTo>
                      <a:pt x="13" y="1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7" name="Bought before">
            <a:extLst>
              <a:ext uri="{FF2B5EF4-FFF2-40B4-BE49-F238E27FC236}">
                <a16:creationId xmlns:a16="http://schemas.microsoft.com/office/drawing/2014/main" xmlns="" id="{A30BB428-B958-4A31-991C-BC088F4C50B6}"/>
              </a:ext>
            </a:extLst>
          </p:cNvPr>
          <p:cNvGrpSpPr/>
          <p:nvPr/>
        </p:nvGrpSpPr>
        <p:grpSpPr>
          <a:xfrm>
            <a:off x="3610055" y="2582313"/>
            <a:ext cx="1116000" cy="756000"/>
            <a:chOff x="3610055" y="2476500"/>
            <a:chExt cx="1296000" cy="900000"/>
          </a:xfrm>
        </p:grpSpPr>
        <p:sp>
          <p:nvSpPr>
            <p:cNvPr id="18" name="Rechthoek: afgeronde hoeken 17">
              <a:extLst>
                <a:ext uri="{FF2B5EF4-FFF2-40B4-BE49-F238E27FC236}">
                  <a16:creationId xmlns:a16="http://schemas.microsoft.com/office/drawing/2014/main" xmlns="" id="{729FD230-F2C8-49E0-8686-84376EC2CBEB}"/>
                </a:ext>
              </a:extLst>
            </p:cNvPr>
            <p:cNvSpPr/>
            <p:nvPr/>
          </p:nvSpPr>
          <p:spPr>
            <a:xfrm>
              <a:off x="3610055" y="2476500"/>
              <a:ext cx="1296000" cy="900000"/>
            </a:xfrm>
            <a:prstGeom prst="roundRect">
              <a:avLst>
                <a:gd name="adj" fmla="val 833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4,2%</a:t>
              </a:r>
            </a:p>
          </p:txBody>
        </p:sp>
        <p:grpSp>
          <p:nvGrpSpPr>
            <p:cNvPr id="38" name="Group 10">
              <a:extLst>
                <a:ext uri="{FF2B5EF4-FFF2-40B4-BE49-F238E27FC236}">
                  <a16:creationId xmlns:a16="http://schemas.microsoft.com/office/drawing/2014/main" xmlns="" id="{C8D98DAE-5460-41A3-AE6D-EAE9B26738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070127" y="2574180"/>
              <a:ext cx="375857" cy="347131"/>
              <a:chOff x="1486" y="1590"/>
              <a:chExt cx="2957" cy="2731"/>
            </a:xfrm>
            <a:solidFill>
              <a:schemeClr val="bg1"/>
            </a:solidFill>
          </p:grpSpPr>
          <p:sp>
            <p:nvSpPr>
              <p:cNvPr id="40" name="Freeform 11">
                <a:extLst>
                  <a:ext uri="{FF2B5EF4-FFF2-40B4-BE49-F238E27FC236}">
                    <a16:creationId xmlns:a16="http://schemas.microsoft.com/office/drawing/2014/main" xmlns="" id="{A3B74214-4D10-4AE5-871F-3316A61D2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4" y="1590"/>
                <a:ext cx="608" cy="732"/>
              </a:xfrm>
              <a:custGeom>
                <a:avLst/>
                <a:gdLst>
                  <a:gd name="T0" fmla="*/ 282 w 490"/>
                  <a:gd name="T1" fmla="*/ 589 h 589"/>
                  <a:gd name="T2" fmla="*/ 490 w 490"/>
                  <a:gd name="T3" fmla="*/ 589 h 589"/>
                  <a:gd name="T4" fmla="*/ 181 w 490"/>
                  <a:gd name="T5" fmla="*/ 58 h 589"/>
                  <a:gd name="T6" fmla="*/ 58 w 490"/>
                  <a:gd name="T7" fmla="*/ 26 h 589"/>
                  <a:gd name="T8" fmla="*/ 26 w 490"/>
                  <a:gd name="T9" fmla="*/ 149 h 589"/>
                  <a:gd name="T10" fmla="*/ 282 w 490"/>
                  <a:gd name="T11" fmla="*/ 589 h 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0" h="589">
                    <a:moveTo>
                      <a:pt x="282" y="589"/>
                    </a:moveTo>
                    <a:cubicBezTo>
                      <a:pt x="490" y="589"/>
                      <a:pt x="490" y="589"/>
                      <a:pt x="490" y="589"/>
                    </a:cubicBezTo>
                    <a:cubicBezTo>
                      <a:pt x="181" y="58"/>
                      <a:pt x="181" y="58"/>
                      <a:pt x="181" y="58"/>
                    </a:cubicBezTo>
                    <a:cubicBezTo>
                      <a:pt x="156" y="15"/>
                      <a:pt x="101" y="0"/>
                      <a:pt x="58" y="26"/>
                    </a:cubicBezTo>
                    <a:cubicBezTo>
                      <a:pt x="15" y="51"/>
                      <a:pt x="0" y="106"/>
                      <a:pt x="26" y="149"/>
                    </a:cubicBezTo>
                    <a:lnTo>
                      <a:pt x="282" y="5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" name="Freeform 12">
                <a:extLst>
                  <a:ext uri="{FF2B5EF4-FFF2-40B4-BE49-F238E27FC236}">
                    <a16:creationId xmlns:a16="http://schemas.microsoft.com/office/drawing/2014/main" xmlns="" id="{0E40420C-A35F-4079-97E7-6B33D49B8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8" y="1591"/>
                <a:ext cx="607" cy="731"/>
              </a:xfrm>
              <a:custGeom>
                <a:avLst/>
                <a:gdLst>
                  <a:gd name="T0" fmla="*/ 464 w 489"/>
                  <a:gd name="T1" fmla="*/ 148 h 588"/>
                  <a:gd name="T2" fmla="*/ 432 w 489"/>
                  <a:gd name="T3" fmla="*/ 25 h 588"/>
                  <a:gd name="T4" fmla="*/ 309 w 489"/>
                  <a:gd name="T5" fmla="*/ 57 h 588"/>
                  <a:gd name="T6" fmla="*/ 0 w 489"/>
                  <a:gd name="T7" fmla="*/ 588 h 588"/>
                  <a:gd name="T8" fmla="*/ 208 w 489"/>
                  <a:gd name="T9" fmla="*/ 588 h 588"/>
                  <a:gd name="T10" fmla="*/ 464 w 489"/>
                  <a:gd name="T11" fmla="*/ 148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9" h="588">
                    <a:moveTo>
                      <a:pt x="464" y="148"/>
                    </a:moveTo>
                    <a:cubicBezTo>
                      <a:pt x="489" y="105"/>
                      <a:pt x="475" y="50"/>
                      <a:pt x="432" y="25"/>
                    </a:cubicBezTo>
                    <a:cubicBezTo>
                      <a:pt x="389" y="0"/>
                      <a:pt x="334" y="14"/>
                      <a:pt x="309" y="57"/>
                    </a:cubicBezTo>
                    <a:cubicBezTo>
                      <a:pt x="0" y="588"/>
                      <a:pt x="0" y="588"/>
                      <a:pt x="0" y="588"/>
                    </a:cubicBezTo>
                    <a:cubicBezTo>
                      <a:pt x="208" y="588"/>
                      <a:pt x="208" y="588"/>
                      <a:pt x="208" y="588"/>
                    </a:cubicBezTo>
                    <a:lnTo>
                      <a:pt x="464" y="1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" name="Freeform 13">
                <a:extLst>
                  <a:ext uri="{FF2B5EF4-FFF2-40B4-BE49-F238E27FC236}">
                    <a16:creationId xmlns:a16="http://schemas.microsoft.com/office/drawing/2014/main" xmlns="" id="{DEBBD99C-E269-4CBE-8C7C-1AF1BA6930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86" y="2525"/>
                <a:ext cx="2957" cy="1796"/>
              </a:xfrm>
              <a:custGeom>
                <a:avLst/>
                <a:gdLst>
                  <a:gd name="T0" fmla="*/ 2228 w 2382"/>
                  <a:gd name="T1" fmla="*/ 0 h 1445"/>
                  <a:gd name="T2" fmla="*/ 153 w 2382"/>
                  <a:gd name="T3" fmla="*/ 0 h 1445"/>
                  <a:gd name="T4" fmla="*/ 0 w 2382"/>
                  <a:gd name="T5" fmla="*/ 153 h 1445"/>
                  <a:gd name="T6" fmla="*/ 0 w 2382"/>
                  <a:gd name="T7" fmla="*/ 322 h 1445"/>
                  <a:gd name="T8" fmla="*/ 153 w 2382"/>
                  <a:gd name="T9" fmla="*/ 475 h 1445"/>
                  <a:gd name="T10" fmla="*/ 201 w 2382"/>
                  <a:gd name="T11" fmla="*/ 475 h 1445"/>
                  <a:gd name="T12" fmla="*/ 349 w 2382"/>
                  <a:gd name="T13" fmla="*/ 1276 h 1445"/>
                  <a:gd name="T14" fmla="*/ 543 w 2382"/>
                  <a:gd name="T15" fmla="*/ 1445 h 1445"/>
                  <a:gd name="T16" fmla="*/ 602 w 2382"/>
                  <a:gd name="T17" fmla="*/ 1445 h 1445"/>
                  <a:gd name="T18" fmla="*/ 987 w 2382"/>
                  <a:gd name="T19" fmla="*/ 1445 h 1445"/>
                  <a:gd name="T20" fmla="*/ 1129 w 2382"/>
                  <a:gd name="T21" fmla="*/ 1445 h 1445"/>
                  <a:gd name="T22" fmla="*/ 1129 w 2382"/>
                  <a:gd name="T23" fmla="*/ 1445 h 1445"/>
                  <a:gd name="T24" fmla="*/ 1176 w 2382"/>
                  <a:gd name="T25" fmla="*/ 1445 h 1445"/>
                  <a:gd name="T26" fmla="*/ 1223 w 2382"/>
                  <a:gd name="T27" fmla="*/ 1445 h 1445"/>
                  <a:gd name="T28" fmla="*/ 1223 w 2382"/>
                  <a:gd name="T29" fmla="*/ 1445 h 1445"/>
                  <a:gd name="T30" fmla="*/ 1364 w 2382"/>
                  <a:gd name="T31" fmla="*/ 1445 h 1445"/>
                  <a:gd name="T32" fmla="*/ 1749 w 2382"/>
                  <a:gd name="T33" fmla="*/ 1445 h 1445"/>
                  <a:gd name="T34" fmla="*/ 1808 w 2382"/>
                  <a:gd name="T35" fmla="*/ 1445 h 1445"/>
                  <a:gd name="T36" fmla="*/ 2002 w 2382"/>
                  <a:gd name="T37" fmla="*/ 1276 h 1445"/>
                  <a:gd name="T38" fmla="*/ 2151 w 2382"/>
                  <a:gd name="T39" fmla="*/ 475 h 1445"/>
                  <a:gd name="T40" fmla="*/ 2229 w 2382"/>
                  <a:gd name="T41" fmla="*/ 475 h 1445"/>
                  <a:gd name="T42" fmla="*/ 2382 w 2382"/>
                  <a:gd name="T43" fmla="*/ 322 h 1445"/>
                  <a:gd name="T44" fmla="*/ 2382 w 2382"/>
                  <a:gd name="T45" fmla="*/ 152 h 1445"/>
                  <a:gd name="T46" fmla="*/ 2228 w 2382"/>
                  <a:gd name="T47" fmla="*/ 0 h 1445"/>
                  <a:gd name="T48" fmla="*/ 845 w 2382"/>
                  <a:gd name="T49" fmla="*/ 799 h 1445"/>
                  <a:gd name="T50" fmla="*/ 845 w 2382"/>
                  <a:gd name="T51" fmla="*/ 1145 h 1445"/>
                  <a:gd name="T52" fmla="*/ 759 w 2382"/>
                  <a:gd name="T53" fmla="*/ 1231 h 1445"/>
                  <a:gd name="T54" fmla="*/ 672 w 2382"/>
                  <a:gd name="T55" fmla="*/ 1145 h 1445"/>
                  <a:gd name="T56" fmla="*/ 672 w 2382"/>
                  <a:gd name="T57" fmla="*/ 1000 h 1445"/>
                  <a:gd name="T58" fmla="*/ 672 w 2382"/>
                  <a:gd name="T59" fmla="*/ 661 h 1445"/>
                  <a:gd name="T60" fmla="*/ 759 w 2382"/>
                  <a:gd name="T61" fmla="*/ 574 h 1445"/>
                  <a:gd name="T62" fmla="*/ 845 w 2382"/>
                  <a:gd name="T63" fmla="*/ 661 h 1445"/>
                  <a:gd name="T64" fmla="*/ 845 w 2382"/>
                  <a:gd name="T65" fmla="*/ 799 h 1445"/>
                  <a:gd name="T66" fmla="*/ 1123 w 2382"/>
                  <a:gd name="T67" fmla="*/ 799 h 1445"/>
                  <a:gd name="T68" fmla="*/ 1123 w 2382"/>
                  <a:gd name="T69" fmla="*/ 1145 h 1445"/>
                  <a:gd name="T70" fmla="*/ 1036 w 2382"/>
                  <a:gd name="T71" fmla="*/ 1231 h 1445"/>
                  <a:gd name="T72" fmla="*/ 950 w 2382"/>
                  <a:gd name="T73" fmla="*/ 1145 h 1445"/>
                  <a:gd name="T74" fmla="*/ 950 w 2382"/>
                  <a:gd name="T75" fmla="*/ 1000 h 1445"/>
                  <a:gd name="T76" fmla="*/ 950 w 2382"/>
                  <a:gd name="T77" fmla="*/ 661 h 1445"/>
                  <a:gd name="T78" fmla="*/ 1036 w 2382"/>
                  <a:gd name="T79" fmla="*/ 574 h 1445"/>
                  <a:gd name="T80" fmla="*/ 1123 w 2382"/>
                  <a:gd name="T81" fmla="*/ 661 h 1445"/>
                  <a:gd name="T82" fmla="*/ 1123 w 2382"/>
                  <a:gd name="T83" fmla="*/ 799 h 1445"/>
                  <a:gd name="T84" fmla="*/ 1402 w 2382"/>
                  <a:gd name="T85" fmla="*/ 1000 h 1445"/>
                  <a:gd name="T86" fmla="*/ 1402 w 2382"/>
                  <a:gd name="T87" fmla="*/ 1145 h 1445"/>
                  <a:gd name="T88" fmla="*/ 1315 w 2382"/>
                  <a:gd name="T89" fmla="*/ 1231 h 1445"/>
                  <a:gd name="T90" fmla="*/ 1229 w 2382"/>
                  <a:gd name="T91" fmla="*/ 1145 h 1445"/>
                  <a:gd name="T92" fmla="*/ 1229 w 2382"/>
                  <a:gd name="T93" fmla="*/ 799 h 1445"/>
                  <a:gd name="T94" fmla="*/ 1229 w 2382"/>
                  <a:gd name="T95" fmla="*/ 661 h 1445"/>
                  <a:gd name="T96" fmla="*/ 1315 w 2382"/>
                  <a:gd name="T97" fmla="*/ 574 h 1445"/>
                  <a:gd name="T98" fmla="*/ 1402 w 2382"/>
                  <a:gd name="T99" fmla="*/ 661 h 1445"/>
                  <a:gd name="T100" fmla="*/ 1402 w 2382"/>
                  <a:gd name="T101" fmla="*/ 1000 h 1445"/>
                  <a:gd name="T102" fmla="*/ 1680 w 2382"/>
                  <a:gd name="T103" fmla="*/ 1000 h 1445"/>
                  <a:gd name="T104" fmla="*/ 1680 w 2382"/>
                  <a:gd name="T105" fmla="*/ 1145 h 1445"/>
                  <a:gd name="T106" fmla="*/ 1593 w 2382"/>
                  <a:gd name="T107" fmla="*/ 1231 h 1445"/>
                  <a:gd name="T108" fmla="*/ 1507 w 2382"/>
                  <a:gd name="T109" fmla="*/ 1145 h 1445"/>
                  <a:gd name="T110" fmla="*/ 1507 w 2382"/>
                  <a:gd name="T111" fmla="*/ 799 h 1445"/>
                  <a:gd name="T112" fmla="*/ 1507 w 2382"/>
                  <a:gd name="T113" fmla="*/ 661 h 1445"/>
                  <a:gd name="T114" fmla="*/ 1593 w 2382"/>
                  <a:gd name="T115" fmla="*/ 574 h 1445"/>
                  <a:gd name="T116" fmla="*/ 1680 w 2382"/>
                  <a:gd name="T117" fmla="*/ 661 h 1445"/>
                  <a:gd name="T118" fmla="*/ 1680 w 2382"/>
                  <a:gd name="T119" fmla="*/ 1000 h 1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82" h="1445">
                    <a:moveTo>
                      <a:pt x="2228" y="0"/>
                    </a:moveTo>
                    <a:cubicBezTo>
                      <a:pt x="153" y="0"/>
                      <a:pt x="153" y="0"/>
                      <a:pt x="153" y="0"/>
                    </a:cubicBezTo>
                    <a:cubicBezTo>
                      <a:pt x="69" y="0"/>
                      <a:pt x="0" y="68"/>
                      <a:pt x="0" y="153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407"/>
                      <a:pt x="69" y="475"/>
                      <a:pt x="153" y="475"/>
                    </a:cubicBezTo>
                    <a:cubicBezTo>
                      <a:pt x="201" y="475"/>
                      <a:pt x="201" y="475"/>
                      <a:pt x="201" y="475"/>
                    </a:cubicBezTo>
                    <a:cubicBezTo>
                      <a:pt x="349" y="1276"/>
                      <a:pt x="349" y="1276"/>
                      <a:pt x="349" y="1276"/>
                    </a:cubicBezTo>
                    <a:cubicBezTo>
                      <a:pt x="368" y="1370"/>
                      <a:pt x="454" y="1445"/>
                      <a:pt x="543" y="1445"/>
                    </a:cubicBezTo>
                    <a:cubicBezTo>
                      <a:pt x="602" y="1445"/>
                      <a:pt x="602" y="1445"/>
                      <a:pt x="602" y="1445"/>
                    </a:cubicBezTo>
                    <a:cubicBezTo>
                      <a:pt x="987" y="1445"/>
                      <a:pt x="987" y="1445"/>
                      <a:pt x="987" y="1445"/>
                    </a:cubicBezTo>
                    <a:cubicBezTo>
                      <a:pt x="1026" y="1445"/>
                      <a:pt x="1077" y="1445"/>
                      <a:pt x="1129" y="1445"/>
                    </a:cubicBezTo>
                    <a:cubicBezTo>
                      <a:pt x="1129" y="1445"/>
                      <a:pt x="1129" y="1445"/>
                      <a:pt x="1129" y="1445"/>
                    </a:cubicBezTo>
                    <a:cubicBezTo>
                      <a:pt x="1176" y="1445"/>
                      <a:pt x="1176" y="1445"/>
                      <a:pt x="1176" y="1445"/>
                    </a:cubicBezTo>
                    <a:cubicBezTo>
                      <a:pt x="1223" y="1445"/>
                      <a:pt x="1223" y="1445"/>
                      <a:pt x="1223" y="1445"/>
                    </a:cubicBezTo>
                    <a:cubicBezTo>
                      <a:pt x="1223" y="1445"/>
                      <a:pt x="1223" y="1445"/>
                      <a:pt x="1223" y="1445"/>
                    </a:cubicBezTo>
                    <a:cubicBezTo>
                      <a:pt x="1274" y="1445"/>
                      <a:pt x="1325" y="1445"/>
                      <a:pt x="1364" y="1445"/>
                    </a:cubicBezTo>
                    <a:cubicBezTo>
                      <a:pt x="1749" y="1445"/>
                      <a:pt x="1749" y="1445"/>
                      <a:pt x="1749" y="1445"/>
                    </a:cubicBezTo>
                    <a:cubicBezTo>
                      <a:pt x="1808" y="1445"/>
                      <a:pt x="1808" y="1445"/>
                      <a:pt x="1808" y="1445"/>
                    </a:cubicBezTo>
                    <a:cubicBezTo>
                      <a:pt x="1898" y="1445"/>
                      <a:pt x="1984" y="1370"/>
                      <a:pt x="2002" y="1276"/>
                    </a:cubicBezTo>
                    <a:cubicBezTo>
                      <a:pt x="2151" y="475"/>
                      <a:pt x="2151" y="475"/>
                      <a:pt x="2151" y="475"/>
                    </a:cubicBezTo>
                    <a:cubicBezTo>
                      <a:pt x="2229" y="475"/>
                      <a:pt x="2229" y="475"/>
                      <a:pt x="2229" y="475"/>
                    </a:cubicBezTo>
                    <a:cubicBezTo>
                      <a:pt x="2313" y="475"/>
                      <a:pt x="2382" y="406"/>
                      <a:pt x="2382" y="322"/>
                    </a:cubicBezTo>
                    <a:cubicBezTo>
                      <a:pt x="2382" y="152"/>
                      <a:pt x="2382" y="152"/>
                      <a:pt x="2382" y="152"/>
                    </a:cubicBezTo>
                    <a:cubicBezTo>
                      <a:pt x="2381" y="68"/>
                      <a:pt x="2313" y="0"/>
                      <a:pt x="2228" y="0"/>
                    </a:cubicBezTo>
                    <a:close/>
                    <a:moveTo>
                      <a:pt x="845" y="799"/>
                    </a:moveTo>
                    <a:cubicBezTo>
                      <a:pt x="845" y="1145"/>
                      <a:pt x="845" y="1145"/>
                      <a:pt x="845" y="1145"/>
                    </a:cubicBezTo>
                    <a:cubicBezTo>
                      <a:pt x="845" y="1194"/>
                      <a:pt x="805" y="1231"/>
                      <a:pt x="759" y="1231"/>
                    </a:cubicBezTo>
                    <a:cubicBezTo>
                      <a:pt x="709" y="1231"/>
                      <a:pt x="672" y="1191"/>
                      <a:pt x="672" y="1145"/>
                    </a:cubicBezTo>
                    <a:cubicBezTo>
                      <a:pt x="672" y="1000"/>
                      <a:pt x="672" y="1000"/>
                      <a:pt x="672" y="1000"/>
                    </a:cubicBezTo>
                    <a:cubicBezTo>
                      <a:pt x="672" y="661"/>
                      <a:pt x="672" y="661"/>
                      <a:pt x="672" y="661"/>
                    </a:cubicBezTo>
                    <a:cubicBezTo>
                      <a:pt x="672" y="611"/>
                      <a:pt x="712" y="574"/>
                      <a:pt x="759" y="574"/>
                    </a:cubicBezTo>
                    <a:cubicBezTo>
                      <a:pt x="808" y="574"/>
                      <a:pt x="845" y="614"/>
                      <a:pt x="845" y="661"/>
                    </a:cubicBezTo>
                    <a:lnTo>
                      <a:pt x="845" y="799"/>
                    </a:lnTo>
                    <a:close/>
                    <a:moveTo>
                      <a:pt x="1123" y="799"/>
                    </a:moveTo>
                    <a:cubicBezTo>
                      <a:pt x="1123" y="1145"/>
                      <a:pt x="1123" y="1145"/>
                      <a:pt x="1123" y="1145"/>
                    </a:cubicBezTo>
                    <a:cubicBezTo>
                      <a:pt x="1123" y="1194"/>
                      <a:pt x="1083" y="1231"/>
                      <a:pt x="1036" y="1231"/>
                    </a:cubicBezTo>
                    <a:cubicBezTo>
                      <a:pt x="987" y="1231"/>
                      <a:pt x="950" y="1191"/>
                      <a:pt x="950" y="1145"/>
                    </a:cubicBezTo>
                    <a:cubicBezTo>
                      <a:pt x="950" y="1000"/>
                      <a:pt x="950" y="1000"/>
                      <a:pt x="950" y="1000"/>
                    </a:cubicBezTo>
                    <a:cubicBezTo>
                      <a:pt x="950" y="661"/>
                      <a:pt x="950" y="661"/>
                      <a:pt x="950" y="661"/>
                    </a:cubicBezTo>
                    <a:cubicBezTo>
                      <a:pt x="950" y="611"/>
                      <a:pt x="990" y="574"/>
                      <a:pt x="1036" y="574"/>
                    </a:cubicBezTo>
                    <a:cubicBezTo>
                      <a:pt x="1083" y="574"/>
                      <a:pt x="1123" y="614"/>
                      <a:pt x="1123" y="661"/>
                    </a:cubicBezTo>
                    <a:lnTo>
                      <a:pt x="1123" y="799"/>
                    </a:lnTo>
                    <a:close/>
                    <a:moveTo>
                      <a:pt x="1402" y="1000"/>
                    </a:moveTo>
                    <a:cubicBezTo>
                      <a:pt x="1402" y="1145"/>
                      <a:pt x="1402" y="1145"/>
                      <a:pt x="1402" y="1145"/>
                    </a:cubicBezTo>
                    <a:cubicBezTo>
                      <a:pt x="1402" y="1191"/>
                      <a:pt x="1365" y="1231"/>
                      <a:pt x="1315" y="1231"/>
                    </a:cubicBezTo>
                    <a:cubicBezTo>
                      <a:pt x="1269" y="1231"/>
                      <a:pt x="1229" y="1194"/>
                      <a:pt x="1229" y="1145"/>
                    </a:cubicBezTo>
                    <a:cubicBezTo>
                      <a:pt x="1229" y="799"/>
                      <a:pt x="1229" y="799"/>
                      <a:pt x="1229" y="799"/>
                    </a:cubicBezTo>
                    <a:cubicBezTo>
                      <a:pt x="1229" y="661"/>
                      <a:pt x="1229" y="661"/>
                      <a:pt x="1229" y="661"/>
                    </a:cubicBezTo>
                    <a:cubicBezTo>
                      <a:pt x="1229" y="614"/>
                      <a:pt x="1269" y="574"/>
                      <a:pt x="1315" y="574"/>
                    </a:cubicBezTo>
                    <a:cubicBezTo>
                      <a:pt x="1362" y="574"/>
                      <a:pt x="1402" y="611"/>
                      <a:pt x="1402" y="661"/>
                    </a:cubicBezTo>
                    <a:lnTo>
                      <a:pt x="1402" y="1000"/>
                    </a:lnTo>
                    <a:close/>
                    <a:moveTo>
                      <a:pt x="1680" y="1000"/>
                    </a:moveTo>
                    <a:cubicBezTo>
                      <a:pt x="1680" y="1145"/>
                      <a:pt x="1680" y="1145"/>
                      <a:pt x="1680" y="1145"/>
                    </a:cubicBezTo>
                    <a:cubicBezTo>
                      <a:pt x="1680" y="1191"/>
                      <a:pt x="1642" y="1231"/>
                      <a:pt x="1593" y="1231"/>
                    </a:cubicBezTo>
                    <a:cubicBezTo>
                      <a:pt x="1547" y="1231"/>
                      <a:pt x="1507" y="1194"/>
                      <a:pt x="1507" y="1145"/>
                    </a:cubicBezTo>
                    <a:cubicBezTo>
                      <a:pt x="1507" y="799"/>
                      <a:pt x="1507" y="799"/>
                      <a:pt x="1507" y="799"/>
                    </a:cubicBezTo>
                    <a:cubicBezTo>
                      <a:pt x="1507" y="661"/>
                      <a:pt x="1507" y="661"/>
                      <a:pt x="1507" y="661"/>
                    </a:cubicBezTo>
                    <a:cubicBezTo>
                      <a:pt x="1507" y="614"/>
                      <a:pt x="1544" y="574"/>
                      <a:pt x="1593" y="574"/>
                    </a:cubicBezTo>
                    <a:cubicBezTo>
                      <a:pt x="1640" y="574"/>
                      <a:pt x="1680" y="611"/>
                      <a:pt x="1680" y="661"/>
                    </a:cubicBezTo>
                    <a:lnTo>
                      <a:pt x="1680" y="10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78" name="Recipes">
            <a:extLst>
              <a:ext uri="{FF2B5EF4-FFF2-40B4-BE49-F238E27FC236}">
                <a16:creationId xmlns:a16="http://schemas.microsoft.com/office/drawing/2014/main" xmlns="" id="{1E636CA2-079D-46F1-877E-76A8EC96AD81}"/>
              </a:ext>
            </a:extLst>
          </p:cNvPr>
          <p:cNvGrpSpPr/>
          <p:nvPr/>
        </p:nvGrpSpPr>
        <p:grpSpPr>
          <a:xfrm>
            <a:off x="543005" y="3725313"/>
            <a:ext cx="1116000" cy="756000"/>
            <a:chOff x="543005" y="3619500"/>
            <a:chExt cx="1296000" cy="900000"/>
          </a:xfrm>
        </p:grpSpPr>
        <p:sp>
          <p:nvSpPr>
            <p:cNvPr id="13" name="Rechthoek: afgeronde hoeken 12">
              <a:extLst>
                <a:ext uri="{FF2B5EF4-FFF2-40B4-BE49-F238E27FC236}">
                  <a16:creationId xmlns:a16="http://schemas.microsoft.com/office/drawing/2014/main" xmlns="" id="{39A8BE21-F953-47C3-9BA1-993EC7D66B42}"/>
                </a:ext>
              </a:extLst>
            </p:cNvPr>
            <p:cNvSpPr/>
            <p:nvPr/>
          </p:nvSpPr>
          <p:spPr>
            <a:xfrm>
              <a:off x="543005" y="3619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1,6%</a:t>
              </a:r>
            </a:p>
          </p:txBody>
        </p:sp>
        <p:grpSp>
          <p:nvGrpSpPr>
            <p:cNvPr id="50" name="Group 22">
              <a:extLst>
                <a:ext uri="{FF2B5EF4-FFF2-40B4-BE49-F238E27FC236}">
                  <a16:creationId xmlns:a16="http://schemas.microsoft.com/office/drawing/2014/main" xmlns="" id="{0C1B7C80-6647-4B04-80E2-A5DF2500E47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8532" y="3764699"/>
              <a:ext cx="307002" cy="304801"/>
              <a:chOff x="4585" y="2451"/>
              <a:chExt cx="558" cy="554"/>
            </a:xfrm>
            <a:solidFill>
              <a:schemeClr val="bg1"/>
            </a:solidFill>
          </p:grpSpPr>
          <p:sp>
            <p:nvSpPr>
              <p:cNvPr id="52" name="Freeform 23">
                <a:extLst>
                  <a:ext uri="{FF2B5EF4-FFF2-40B4-BE49-F238E27FC236}">
                    <a16:creationId xmlns:a16="http://schemas.microsoft.com/office/drawing/2014/main" xmlns="" id="{B87780F9-AB72-4E67-9E71-00065178F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9" y="2451"/>
                <a:ext cx="524" cy="554"/>
              </a:xfrm>
              <a:custGeom>
                <a:avLst/>
                <a:gdLst>
                  <a:gd name="T0" fmla="*/ 2193 w 2274"/>
                  <a:gd name="T1" fmla="*/ 2025 h 2404"/>
                  <a:gd name="T2" fmla="*/ 1259 w 2274"/>
                  <a:gd name="T3" fmla="*/ 1091 h 2404"/>
                  <a:gd name="T4" fmla="*/ 168 w 2274"/>
                  <a:gd name="T5" fmla="*/ 0 h 2404"/>
                  <a:gd name="T6" fmla="*/ 83 w 2274"/>
                  <a:gd name="T7" fmla="*/ 0 h 2404"/>
                  <a:gd name="T8" fmla="*/ 65 w 2274"/>
                  <a:gd name="T9" fmla="*/ 45 h 2404"/>
                  <a:gd name="T10" fmla="*/ 9 w 2274"/>
                  <a:gd name="T11" fmla="*/ 390 h 2404"/>
                  <a:gd name="T12" fmla="*/ 145 w 2274"/>
                  <a:gd name="T13" fmla="*/ 701 h 2404"/>
                  <a:gd name="T14" fmla="*/ 997 w 2274"/>
                  <a:gd name="T15" fmla="*/ 1553 h 2404"/>
                  <a:gd name="T16" fmla="*/ 1109 w 2274"/>
                  <a:gd name="T17" fmla="*/ 1441 h 2404"/>
                  <a:gd name="T18" fmla="*/ 1897 w 2274"/>
                  <a:gd name="T19" fmla="*/ 2321 h 2404"/>
                  <a:gd name="T20" fmla="*/ 2193 w 2274"/>
                  <a:gd name="T21" fmla="*/ 2321 h 2404"/>
                  <a:gd name="T22" fmla="*/ 2193 w 2274"/>
                  <a:gd name="T23" fmla="*/ 2025 h 2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74" h="2404">
                    <a:moveTo>
                      <a:pt x="2193" y="2025"/>
                    </a:moveTo>
                    <a:cubicBezTo>
                      <a:pt x="1259" y="1091"/>
                      <a:pt x="1259" y="1091"/>
                      <a:pt x="1259" y="1091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65" y="45"/>
                      <a:pt x="65" y="45"/>
                      <a:pt x="65" y="45"/>
                    </a:cubicBezTo>
                    <a:cubicBezTo>
                      <a:pt x="19" y="161"/>
                      <a:pt x="0" y="281"/>
                      <a:pt x="9" y="390"/>
                    </a:cubicBezTo>
                    <a:cubicBezTo>
                      <a:pt x="19" y="514"/>
                      <a:pt x="66" y="622"/>
                      <a:pt x="145" y="701"/>
                    </a:cubicBezTo>
                    <a:cubicBezTo>
                      <a:pt x="997" y="1553"/>
                      <a:pt x="997" y="1553"/>
                      <a:pt x="997" y="1553"/>
                    </a:cubicBezTo>
                    <a:cubicBezTo>
                      <a:pt x="1109" y="1441"/>
                      <a:pt x="1109" y="1441"/>
                      <a:pt x="1109" y="1441"/>
                    </a:cubicBezTo>
                    <a:cubicBezTo>
                      <a:pt x="1897" y="2321"/>
                      <a:pt x="1897" y="2321"/>
                      <a:pt x="1897" y="2321"/>
                    </a:cubicBezTo>
                    <a:cubicBezTo>
                      <a:pt x="1975" y="2399"/>
                      <a:pt x="2110" y="2404"/>
                      <a:pt x="2193" y="2321"/>
                    </a:cubicBezTo>
                    <a:cubicBezTo>
                      <a:pt x="2274" y="2239"/>
                      <a:pt x="2274" y="2107"/>
                      <a:pt x="2193" y="20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" name="Freeform 24">
                <a:extLst>
                  <a:ext uri="{FF2B5EF4-FFF2-40B4-BE49-F238E27FC236}">
                    <a16:creationId xmlns:a16="http://schemas.microsoft.com/office/drawing/2014/main" xmlns="" id="{092DD617-FD2C-46CA-8F32-131B51C33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5" y="2764"/>
                <a:ext cx="241" cy="241"/>
              </a:xfrm>
              <a:custGeom>
                <a:avLst/>
                <a:gdLst>
                  <a:gd name="T0" fmla="*/ 748 w 1044"/>
                  <a:gd name="T1" fmla="*/ 0 h 1047"/>
                  <a:gd name="T2" fmla="*/ 81 w 1044"/>
                  <a:gd name="T3" fmla="*/ 667 h 1047"/>
                  <a:gd name="T4" fmla="*/ 81 w 1044"/>
                  <a:gd name="T5" fmla="*/ 963 h 1047"/>
                  <a:gd name="T6" fmla="*/ 377 w 1044"/>
                  <a:gd name="T7" fmla="*/ 963 h 1047"/>
                  <a:gd name="T8" fmla="*/ 1044 w 1044"/>
                  <a:gd name="T9" fmla="*/ 296 h 1047"/>
                  <a:gd name="T10" fmla="*/ 748 w 1044"/>
                  <a:gd name="T11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4" h="1047">
                    <a:moveTo>
                      <a:pt x="748" y="0"/>
                    </a:moveTo>
                    <a:cubicBezTo>
                      <a:pt x="81" y="667"/>
                      <a:pt x="81" y="667"/>
                      <a:pt x="81" y="667"/>
                    </a:cubicBezTo>
                    <a:cubicBezTo>
                      <a:pt x="0" y="748"/>
                      <a:pt x="0" y="881"/>
                      <a:pt x="81" y="963"/>
                    </a:cubicBezTo>
                    <a:cubicBezTo>
                      <a:pt x="159" y="1040"/>
                      <a:pt x="293" y="1047"/>
                      <a:pt x="377" y="963"/>
                    </a:cubicBezTo>
                    <a:cubicBezTo>
                      <a:pt x="1044" y="296"/>
                      <a:pt x="1044" y="296"/>
                      <a:pt x="1044" y="296"/>
                    </a:cubicBezTo>
                    <a:lnTo>
                      <a:pt x="74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" name="Freeform 25">
                <a:extLst>
                  <a:ext uri="{FF2B5EF4-FFF2-40B4-BE49-F238E27FC236}">
                    <a16:creationId xmlns:a16="http://schemas.microsoft.com/office/drawing/2014/main" xmlns="" id="{85B73884-34D4-42E6-A755-81287E245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4" y="2452"/>
                <a:ext cx="254" cy="254"/>
              </a:xfrm>
              <a:custGeom>
                <a:avLst/>
                <a:gdLst>
                  <a:gd name="T0" fmla="*/ 1004 w 1103"/>
                  <a:gd name="T1" fmla="*/ 395 h 1103"/>
                  <a:gd name="T2" fmla="*/ 626 w 1103"/>
                  <a:gd name="T3" fmla="*/ 773 h 1103"/>
                  <a:gd name="T4" fmla="*/ 527 w 1103"/>
                  <a:gd name="T5" fmla="*/ 675 h 1103"/>
                  <a:gd name="T6" fmla="*/ 906 w 1103"/>
                  <a:gd name="T7" fmla="*/ 296 h 1103"/>
                  <a:gd name="T8" fmla="*/ 807 w 1103"/>
                  <a:gd name="T9" fmla="*/ 198 h 1103"/>
                  <a:gd name="T10" fmla="*/ 429 w 1103"/>
                  <a:gd name="T11" fmla="*/ 576 h 1103"/>
                  <a:gd name="T12" fmla="*/ 330 w 1103"/>
                  <a:gd name="T13" fmla="*/ 477 h 1103"/>
                  <a:gd name="T14" fmla="*/ 708 w 1103"/>
                  <a:gd name="T15" fmla="*/ 99 h 1103"/>
                  <a:gd name="T16" fmla="*/ 610 w 1103"/>
                  <a:gd name="T17" fmla="*/ 0 h 1103"/>
                  <a:gd name="T18" fmla="*/ 116 w 1103"/>
                  <a:gd name="T19" fmla="*/ 494 h 1103"/>
                  <a:gd name="T20" fmla="*/ 15 w 1103"/>
                  <a:gd name="T21" fmla="*/ 719 h 1103"/>
                  <a:gd name="T22" fmla="*/ 0 w 1103"/>
                  <a:gd name="T23" fmla="*/ 782 h 1103"/>
                  <a:gd name="T24" fmla="*/ 321 w 1103"/>
                  <a:gd name="T25" fmla="*/ 1103 h 1103"/>
                  <a:gd name="T26" fmla="*/ 384 w 1103"/>
                  <a:gd name="T27" fmla="*/ 1089 h 1103"/>
                  <a:gd name="T28" fmla="*/ 610 w 1103"/>
                  <a:gd name="T29" fmla="*/ 987 h 1103"/>
                  <a:gd name="T30" fmla="*/ 1103 w 1103"/>
                  <a:gd name="T31" fmla="*/ 494 h 1103"/>
                  <a:gd name="T32" fmla="*/ 1004 w 1103"/>
                  <a:gd name="T33" fmla="*/ 395 h 1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3" h="1103">
                    <a:moveTo>
                      <a:pt x="1004" y="395"/>
                    </a:moveTo>
                    <a:cubicBezTo>
                      <a:pt x="626" y="773"/>
                      <a:pt x="626" y="773"/>
                      <a:pt x="626" y="773"/>
                    </a:cubicBezTo>
                    <a:cubicBezTo>
                      <a:pt x="527" y="675"/>
                      <a:pt x="527" y="675"/>
                      <a:pt x="527" y="675"/>
                    </a:cubicBezTo>
                    <a:cubicBezTo>
                      <a:pt x="906" y="296"/>
                      <a:pt x="906" y="296"/>
                      <a:pt x="906" y="296"/>
                    </a:cubicBezTo>
                    <a:cubicBezTo>
                      <a:pt x="807" y="198"/>
                      <a:pt x="807" y="198"/>
                      <a:pt x="807" y="198"/>
                    </a:cubicBezTo>
                    <a:cubicBezTo>
                      <a:pt x="429" y="576"/>
                      <a:pt x="429" y="576"/>
                      <a:pt x="429" y="576"/>
                    </a:cubicBezTo>
                    <a:cubicBezTo>
                      <a:pt x="330" y="477"/>
                      <a:pt x="330" y="477"/>
                      <a:pt x="330" y="477"/>
                    </a:cubicBezTo>
                    <a:cubicBezTo>
                      <a:pt x="708" y="99"/>
                      <a:pt x="708" y="99"/>
                      <a:pt x="708" y="99"/>
                    </a:cubicBezTo>
                    <a:cubicBezTo>
                      <a:pt x="610" y="0"/>
                      <a:pt x="610" y="0"/>
                      <a:pt x="610" y="0"/>
                    </a:cubicBezTo>
                    <a:cubicBezTo>
                      <a:pt x="116" y="494"/>
                      <a:pt x="116" y="494"/>
                      <a:pt x="116" y="494"/>
                    </a:cubicBezTo>
                    <a:cubicBezTo>
                      <a:pt x="56" y="554"/>
                      <a:pt x="20" y="634"/>
                      <a:pt x="15" y="719"/>
                    </a:cubicBezTo>
                    <a:cubicBezTo>
                      <a:pt x="13" y="741"/>
                      <a:pt x="8" y="762"/>
                      <a:pt x="0" y="782"/>
                    </a:cubicBezTo>
                    <a:cubicBezTo>
                      <a:pt x="321" y="1103"/>
                      <a:pt x="321" y="1103"/>
                      <a:pt x="321" y="1103"/>
                    </a:cubicBezTo>
                    <a:cubicBezTo>
                      <a:pt x="341" y="1095"/>
                      <a:pt x="362" y="1090"/>
                      <a:pt x="384" y="1089"/>
                    </a:cubicBezTo>
                    <a:cubicBezTo>
                      <a:pt x="469" y="1083"/>
                      <a:pt x="549" y="1047"/>
                      <a:pt x="610" y="987"/>
                    </a:cubicBezTo>
                    <a:cubicBezTo>
                      <a:pt x="1103" y="494"/>
                      <a:pt x="1103" y="494"/>
                      <a:pt x="1103" y="494"/>
                    </a:cubicBezTo>
                    <a:lnTo>
                      <a:pt x="1004" y="3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79" name="Cross selling">
            <a:extLst>
              <a:ext uri="{FF2B5EF4-FFF2-40B4-BE49-F238E27FC236}">
                <a16:creationId xmlns:a16="http://schemas.microsoft.com/office/drawing/2014/main" xmlns="" id="{9EA13BB1-9CD4-4601-9291-B6BBAB35061C}"/>
              </a:ext>
            </a:extLst>
          </p:cNvPr>
          <p:cNvGrpSpPr/>
          <p:nvPr/>
        </p:nvGrpSpPr>
        <p:grpSpPr>
          <a:xfrm>
            <a:off x="2076530" y="3725313"/>
            <a:ext cx="1116000" cy="756000"/>
            <a:chOff x="2076530" y="3619500"/>
            <a:chExt cx="1296000" cy="900000"/>
          </a:xfrm>
        </p:grpSpPr>
        <p:sp>
          <p:nvSpPr>
            <p:cNvPr id="14" name="Rechthoek: afgeronde hoeken 13">
              <a:extLst>
                <a:ext uri="{FF2B5EF4-FFF2-40B4-BE49-F238E27FC236}">
                  <a16:creationId xmlns:a16="http://schemas.microsoft.com/office/drawing/2014/main" xmlns="" id="{46111FF5-0DFB-498B-8B1A-351CCBC6B127}"/>
                </a:ext>
              </a:extLst>
            </p:cNvPr>
            <p:cNvSpPr/>
            <p:nvPr/>
          </p:nvSpPr>
          <p:spPr>
            <a:xfrm>
              <a:off x="2076530" y="3619500"/>
              <a:ext cx="1296000" cy="900000"/>
            </a:xfrm>
            <a:prstGeom prst="roundRect">
              <a:avLst>
                <a:gd name="adj" fmla="val 833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1,3%</a:t>
              </a:r>
            </a:p>
          </p:txBody>
        </p:sp>
        <p:grpSp>
          <p:nvGrpSpPr>
            <p:cNvPr id="56" name="Group 28">
              <a:extLst>
                <a:ext uri="{FF2B5EF4-FFF2-40B4-BE49-F238E27FC236}">
                  <a16:creationId xmlns:a16="http://schemas.microsoft.com/office/drawing/2014/main" xmlns="" id="{575B89F4-1D18-4CF8-BE9E-881098455CD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19740" y="3710444"/>
              <a:ext cx="409580" cy="389102"/>
              <a:chOff x="4230" y="1786"/>
              <a:chExt cx="360" cy="342"/>
            </a:xfrm>
            <a:solidFill>
              <a:schemeClr val="bg1"/>
            </a:solidFill>
          </p:grpSpPr>
          <p:sp>
            <p:nvSpPr>
              <p:cNvPr id="58" name="Freeform 29">
                <a:extLst>
                  <a:ext uri="{FF2B5EF4-FFF2-40B4-BE49-F238E27FC236}">
                    <a16:creationId xmlns:a16="http://schemas.microsoft.com/office/drawing/2014/main" xmlns="" id="{4FB79B4A-7278-44B0-BC32-368B6E8ACE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0" y="2007"/>
                <a:ext cx="360" cy="121"/>
              </a:xfrm>
              <a:custGeom>
                <a:avLst/>
                <a:gdLst>
                  <a:gd name="T0" fmla="*/ 2297 w 2387"/>
                  <a:gd name="T1" fmla="*/ 87 h 801"/>
                  <a:gd name="T2" fmla="*/ 2131 w 2387"/>
                  <a:gd name="T3" fmla="*/ 150 h 801"/>
                  <a:gd name="T4" fmla="*/ 1829 w 2387"/>
                  <a:gd name="T5" fmla="*/ 333 h 801"/>
                  <a:gd name="T6" fmla="*/ 1809 w 2387"/>
                  <a:gd name="T7" fmla="*/ 346 h 801"/>
                  <a:gd name="T8" fmla="*/ 1687 w 2387"/>
                  <a:gd name="T9" fmla="*/ 398 h 801"/>
                  <a:gd name="T10" fmla="*/ 1089 w 2387"/>
                  <a:gd name="T11" fmla="*/ 457 h 801"/>
                  <a:gd name="T12" fmla="*/ 1068 w 2387"/>
                  <a:gd name="T13" fmla="*/ 458 h 801"/>
                  <a:gd name="T14" fmla="*/ 1037 w 2387"/>
                  <a:gd name="T15" fmla="*/ 432 h 801"/>
                  <a:gd name="T16" fmla="*/ 1064 w 2387"/>
                  <a:gd name="T17" fmla="*/ 398 h 801"/>
                  <a:gd name="T18" fmla="*/ 1592 w 2387"/>
                  <a:gd name="T19" fmla="*/ 346 h 801"/>
                  <a:gd name="T20" fmla="*/ 1690 w 2387"/>
                  <a:gd name="T21" fmla="*/ 219 h 801"/>
                  <a:gd name="T22" fmla="*/ 1569 w 2387"/>
                  <a:gd name="T23" fmla="*/ 116 h 801"/>
                  <a:gd name="T24" fmla="*/ 1100 w 2387"/>
                  <a:gd name="T25" fmla="*/ 110 h 801"/>
                  <a:gd name="T26" fmla="*/ 986 w 2387"/>
                  <a:gd name="T27" fmla="*/ 92 h 801"/>
                  <a:gd name="T28" fmla="*/ 422 w 2387"/>
                  <a:gd name="T29" fmla="*/ 126 h 801"/>
                  <a:gd name="T30" fmla="*/ 320 w 2387"/>
                  <a:gd name="T31" fmla="*/ 72 h 801"/>
                  <a:gd name="T32" fmla="*/ 118 w 2387"/>
                  <a:gd name="T33" fmla="*/ 86 h 801"/>
                  <a:gd name="T34" fmla="*/ 5 w 2387"/>
                  <a:gd name="T35" fmla="*/ 217 h 801"/>
                  <a:gd name="T36" fmla="*/ 37 w 2387"/>
                  <a:gd name="T37" fmla="*/ 683 h 801"/>
                  <a:gd name="T38" fmla="*/ 167 w 2387"/>
                  <a:gd name="T39" fmla="*/ 796 h 801"/>
                  <a:gd name="T40" fmla="*/ 370 w 2387"/>
                  <a:gd name="T41" fmla="*/ 782 h 801"/>
                  <a:gd name="T42" fmla="*/ 463 w 2387"/>
                  <a:gd name="T43" fmla="*/ 714 h 801"/>
                  <a:gd name="T44" fmla="*/ 1351 w 2387"/>
                  <a:gd name="T45" fmla="*/ 754 h 801"/>
                  <a:gd name="T46" fmla="*/ 1630 w 2387"/>
                  <a:gd name="T47" fmla="*/ 705 h 801"/>
                  <a:gd name="T48" fmla="*/ 1656 w 2387"/>
                  <a:gd name="T49" fmla="*/ 691 h 801"/>
                  <a:gd name="T50" fmla="*/ 2328 w 2387"/>
                  <a:gd name="T51" fmla="*/ 283 h 801"/>
                  <a:gd name="T52" fmla="*/ 2386 w 2387"/>
                  <a:gd name="T53" fmla="*/ 190 h 801"/>
                  <a:gd name="T54" fmla="*/ 2297 w 2387"/>
                  <a:gd name="T55" fmla="*/ 87 h 801"/>
                  <a:gd name="T56" fmla="*/ 241 w 2387"/>
                  <a:gd name="T57" fmla="*/ 686 h 801"/>
                  <a:gd name="T58" fmla="*/ 172 w 2387"/>
                  <a:gd name="T59" fmla="*/ 617 h 801"/>
                  <a:gd name="T60" fmla="*/ 241 w 2387"/>
                  <a:gd name="T61" fmla="*/ 548 h 801"/>
                  <a:gd name="T62" fmla="*/ 310 w 2387"/>
                  <a:gd name="T63" fmla="*/ 617 h 801"/>
                  <a:gd name="T64" fmla="*/ 241 w 2387"/>
                  <a:gd name="T65" fmla="*/ 686 h 8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87" h="801">
                    <a:moveTo>
                      <a:pt x="2297" y="87"/>
                    </a:moveTo>
                    <a:cubicBezTo>
                      <a:pt x="2251" y="83"/>
                      <a:pt x="2157" y="136"/>
                      <a:pt x="2131" y="150"/>
                    </a:cubicBezTo>
                    <a:cubicBezTo>
                      <a:pt x="2040" y="197"/>
                      <a:pt x="1912" y="273"/>
                      <a:pt x="1829" y="333"/>
                    </a:cubicBezTo>
                    <a:cubicBezTo>
                      <a:pt x="1823" y="337"/>
                      <a:pt x="1815" y="342"/>
                      <a:pt x="1809" y="346"/>
                    </a:cubicBezTo>
                    <a:cubicBezTo>
                      <a:pt x="1771" y="371"/>
                      <a:pt x="1731" y="388"/>
                      <a:pt x="1687" y="398"/>
                    </a:cubicBezTo>
                    <a:cubicBezTo>
                      <a:pt x="1444" y="452"/>
                      <a:pt x="1089" y="457"/>
                      <a:pt x="1089" y="457"/>
                    </a:cubicBezTo>
                    <a:cubicBezTo>
                      <a:pt x="1068" y="458"/>
                      <a:pt x="1068" y="458"/>
                      <a:pt x="1068" y="458"/>
                    </a:cubicBezTo>
                    <a:cubicBezTo>
                      <a:pt x="1053" y="459"/>
                      <a:pt x="1039" y="448"/>
                      <a:pt x="1037" y="432"/>
                    </a:cubicBezTo>
                    <a:cubicBezTo>
                      <a:pt x="1034" y="415"/>
                      <a:pt x="1046" y="399"/>
                      <a:pt x="1064" y="398"/>
                    </a:cubicBezTo>
                    <a:cubicBezTo>
                      <a:pt x="1592" y="346"/>
                      <a:pt x="1592" y="346"/>
                      <a:pt x="1592" y="346"/>
                    </a:cubicBezTo>
                    <a:cubicBezTo>
                      <a:pt x="1650" y="339"/>
                      <a:pt x="1696" y="283"/>
                      <a:pt x="1690" y="219"/>
                    </a:cubicBezTo>
                    <a:cubicBezTo>
                      <a:pt x="1683" y="155"/>
                      <a:pt x="1627" y="109"/>
                      <a:pt x="1569" y="116"/>
                    </a:cubicBezTo>
                    <a:cubicBezTo>
                      <a:pt x="1100" y="110"/>
                      <a:pt x="1100" y="110"/>
                      <a:pt x="1100" y="110"/>
                    </a:cubicBezTo>
                    <a:cubicBezTo>
                      <a:pt x="1068" y="110"/>
                      <a:pt x="1017" y="101"/>
                      <a:pt x="986" y="92"/>
                    </a:cubicBezTo>
                    <a:cubicBezTo>
                      <a:pt x="683" y="0"/>
                      <a:pt x="513" y="86"/>
                      <a:pt x="422" y="126"/>
                    </a:cubicBezTo>
                    <a:cubicBezTo>
                      <a:pt x="402" y="91"/>
                      <a:pt x="363" y="69"/>
                      <a:pt x="320" y="72"/>
                    </a:cubicBezTo>
                    <a:cubicBezTo>
                      <a:pt x="118" y="86"/>
                      <a:pt x="118" y="86"/>
                      <a:pt x="118" y="86"/>
                    </a:cubicBezTo>
                    <a:cubicBezTo>
                      <a:pt x="51" y="91"/>
                      <a:pt x="0" y="149"/>
                      <a:pt x="5" y="217"/>
                    </a:cubicBezTo>
                    <a:cubicBezTo>
                      <a:pt x="37" y="683"/>
                      <a:pt x="37" y="683"/>
                      <a:pt x="37" y="683"/>
                    </a:cubicBezTo>
                    <a:cubicBezTo>
                      <a:pt x="42" y="750"/>
                      <a:pt x="100" y="801"/>
                      <a:pt x="167" y="796"/>
                    </a:cubicBezTo>
                    <a:cubicBezTo>
                      <a:pt x="370" y="782"/>
                      <a:pt x="370" y="782"/>
                      <a:pt x="370" y="782"/>
                    </a:cubicBezTo>
                    <a:cubicBezTo>
                      <a:pt x="412" y="779"/>
                      <a:pt x="447" y="752"/>
                      <a:pt x="463" y="714"/>
                    </a:cubicBezTo>
                    <a:cubicBezTo>
                      <a:pt x="1351" y="754"/>
                      <a:pt x="1351" y="754"/>
                      <a:pt x="1351" y="754"/>
                    </a:cubicBezTo>
                    <a:cubicBezTo>
                      <a:pt x="1450" y="765"/>
                      <a:pt x="1543" y="752"/>
                      <a:pt x="1630" y="705"/>
                    </a:cubicBezTo>
                    <a:cubicBezTo>
                      <a:pt x="1656" y="691"/>
                      <a:pt x="1656" y="691"/>
                      <a:pt x="1656" y="691"/>
                    </a:cubicBezTo>
                    <a:cubicBezTo>
                      <a:pt x="2328" y="283"/>
                      <a:pt x="2328" y="283"/>
                      <a:pt x="2328" y="283"/>
                    </a:cubicBezTo>
                    <a:cubicBezTo>
                      <a:pt x="2361" y="263"/>
                      <a:pt x="2385" y="229"/>
                      <a:pt x="2386" y="190"/>
                    </a:cubicBezTo>
                    <a:cubicBezTo>
                      <a:pt x="2387" y="143"/>
                      <a:pt x="2361" y="91"/>
                      <a:pt x="2297" y="87"/>
                    </a:cubicBezTo>
                    <a:close/>
                    <a:moveTo>
                      <a:pt x="241" y="686"/>
                    </a:moveTo>
                    <a:cubicBezTo>
                      <a:pt x="203" y="686"/>
                      <a:pt x="172" y="655"/>
                      <a:pt x="172" y="617"/>
                    </a:cubicBezTo>
                    <a:cubicBezTo>
                      <a:pt x="172" y="579"/>
                      <a:pt x="203" y="548"/>
                      <a:pt x="241" y="548"/>
                    </a:cubicBezTo>
                    <a:cubicBezTo>
                      <a:pt x="279" y="548"/>
                      <a:pt x="310" y="579"/>
                      <a:pt x="310" y="617"/>
                    </a:cubicBezTo>
                    <a:cubicBezTo>
                      <a:pt x="310" y="654"/>
                      <a:pt x="279" y="686"/>
                      <a:pt x="241" y="6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" name="Freeform 30">
                <a:extLst>
                  <a:ext uri="{FF2B5EF4-FFF2-40B4-BE49-F238E27FC236}">
                    <a16:creationId xmlns:a16="http://schemas.microsoft.com/office/drawing/2014/main" xmlns="" id="{EAE0C075-898A-47C6-A139-962182EEB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0" y="2008"/>
                <a:ext cx="59" cy="36"/>
              </a:xfrm>
              <a:custGeom>
                <a:avLst/>
                <a:gdLst>
                  <a:gd name="T0" fmla="*/ 0 w 396"/>
                  <a:gd name="T1" fmla="*/ 159 h 245"/>
                  <a:gd name="T2" fmla="*/ 10 w 396"/>
                  <a:gd name="T3" fmla="*/ 206 h 245"/>
                  <a:gd name="T4" fmla="*/ 10 w 396"/>
                  <a:gd name="T5" fmla="*/ 245 h 245"/>
                  <a:gd name="T6" fmla="*/ 31 w 396"/>
                  <a:gd name="T7" fmla="*/ 230 h 245"/>
                  <a:gd name="T8" fmla="*/ 320 w 396"/>
                  <a:gd name="T9" fmla="*/ 60 h 245"/>
                  <a:gd name="T10" fmla="*/ 396 w 396"/>
                  <a:gd name="T11" fmla="*/ 24 h 245"/>
                  <a:gd name="T12" fmla="*/ 286 w 396"/>
                  <a:gd name="T13" fmla="*/ 15 h 245"/>
                  <a:gd name="T14" fmla="*/ 1 w 396"/>
                  <a:gd name="T15" fmla="*/ 155 h 245"/>
                  <a:gd name="T16" fmla="*/ 0 w 396"/>
                  <a:gd name="T17" fmla="*/ 159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6" h="245">
                    <a:moveTo>
                      <a:pt x="0" y="159"/>
                    </a:moveTo>
                    <a:cubicBezTo>
                      <a:pt x="4" y="174"/>
                      <a:pt x="8" y="190"/>
                      <a:pt x="10" y="206"/>
                    </a:cubicBezTo>
                    <a:cubicBezTo>
                      <a:pt x="11" y="219"/>
                      <a:pt x="11" y="233"/>
                      <a:pt x="10" y="245"/>
                    </a:cubicBezTo>
                    <a:cubicBezTo>
                      <a:pt x="17" y="240"/>
                      <a:pt x="24" y="235"/>
                      <a:pt x="31" y="230"/>
                    </a:cubicBezTo>
                    <a:cubicBezTo>
                      <a:pt x="100" y="180"/>
                      <a:pt x="240" y="101"/>
                      <a:pt x="320" y="60"/>
                    </a:cubicBezTo>
                    <a:cubicBezTo>
                      <a:pt x="343" y="47"/>
                      <a:pt x="369" y="35"/>
                      <a:pt x="396" y="24"/>
                    </a:cubicBezTo>
                    <a:cubicBezTo>
                      <a:pt x="361" y="1"/>
                      <a:pt x="324" y="0"/>
                      <a:pt x="286" y="15"/>
                    </a:cubicBezTo>
                    <a:cubicBezTo>
                      <a:pt x="210" y="46"/>
                      <a:pt x="71" y="115"/>
                      <a:pt x="1" y="155"/>
                    </a:cubicBezTo>
                    <a:cubicBezTo>
                      <a:pt x="1" y="157"/>
                      <a:pt x="0" y="158"/>
                      <a:pt x="0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" name="Freeform 31">
                <a:extLst>
                  <a:ext uri="{FF2B5EF4-FFF2-40B4-BE49-F238E27FC236}">
                    <a16:creationId xmlns:a16="http://schemas.microsoft.com/office/drawing/2014/main" xmlns="" id="{AF9E927B-CE8E-4E14-8DBC-45F9E59218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6" y="1999"/>
                <a:ext cx="46" cy="22"/>
              </a:xfrm>
              <a:custGeom>
                <a:avLst/>
                <a:gdLst>
                  <a:gd name="T0" fmla="*/ 198 w 306"/>
                  <a:gd name="T1" fmla="*/ 16 h 143"/>
                  <a:gd name="T2" fmla="*/ 0 w 306"/>
                  <a:gd name="T3" fmla="*/ 96 h 143"/>
                  <a:gd name="T4" fmla="*/ 53 w 306"/>
                  <a:gd name="T5" fmla="*/ 143 h 143"/>
                  <a:gd name="T6" fmla="*/ 62 w 306"/>
                  <a:gd name="T7" fmla="*/ 136 h 143"/>
                  <a:gd name="T8" fmla="*/ 96 w 306"/>
                  <a:gd name="T9" fmla="*/ 117 h 143"/>
                  <a:gd name="T10" fmla="*/ 306 w 306"/>
                  <a:gd name="T11" fmla="*/ 24 h 143"/>
                  <a:gd name="T12" fmla="*/ 198 w 306"/>
                  <a:gd name="T13" fmla="*/ 16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6" h="143">
                    <a:moveTo>
                      <a:pt x="198" y="16"/>
                    </a:moveTo>
                    <a:cubicBezTo>
                      <a:pt x="151" y="35"/>
                      <a:pt x="47" y="70"/>
                      <a:pt x="0" y="96"/>
                    </a:cubicBezTo>
                    <a:cubicBezTo>
                      <a:pt x="20" y="108"/>
                      <a:pt x="38" y="124"/>
                      <a:pt x="53" y="143"/>
                    </a:cubicBezTo>
                    <a:cubicBezTo>
                      <a:pt x="56" y="141"/>
                      <a:pt x="59" y="138"/>
                      <a:pt x="62" y="136"/>
                    </a:cubicBezTo>
                    <a:cubicBezTo>
                      <a:pt x="96" y="117"/>
                      <a:pt x="96" y="117"/>
                      <a:pt x="96" y="117"/>
                    </a:cubicBezTo>
                    <a:cubicBezTo>
                      <a:pt x="146" y="88"/>
                      <a:pt x="251" y="50"/>
                      <a:pt x="306" y="24"/>
                    </a:cubicBezTo>
                    <a:cubicBezTo>
                      <a:pt x="271" y="1"/>
                      <a:pt x="235" y="0"/>
                      <a:pt x="19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" name="Freeform 32">
                <a:extLst>
                  <a:ext uri="{FF2B5EF4-FFF2-40B4-BE49-F238E27FC236}">
                    <a16:creationId xmlns:a16="http://schemas.microsoft.com/office/drawing/2014/main" xmlns="" id="{987D2935-12DF-4238-9FA1-553788EC22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22" y="1786"/>
                <a:ext cx="204" cy="212"/>
              </a:xfrm>
              <a:custGeom>
                <a:avLst/>
                <a:gdLst>
                  <a:gd name="T0" fmla="*/ 115 w 1355"/>
                  <a:gd name="T1" fmla="*/ 719 h 1408"/>
                  <a:gd name="T2" fmla="*/ 66 w 1355"/>
                  <a:gd name="T3" fmla="*/ 967 h 1408"/>
                  <a:gd name="T4" fmla="*/ 231 w 1355"/>
                  <a:gd name="T5" fmla="*/ 1045 h 1408"/>
                  <a:gd name="T6" fmla="*/ 345 w 1355"/>
                  <a:gd name="T7" fmla="*/ 1275 h 1408"/>
                  <a:gd name="T8" fmla="*/ 516 w 1355"/>
                  <a:gd name="T9" fmla="*/ 1241 h 1408"/>
                  <a:gd name="T10" fmla="*/ 741 w 1355"/>
                  <a:gd name="T11" fmla="*/ 1364 h 1408"/>
                  <a:gd name="T12" fmla="*/ 862 w 1355"/>
                  <a:gd name="T13" fmla="*/ 1233 h 1408"/>
                  <a:gd name="T14" fmla="*/ 1116 w 1355"/>
                  <a:gd name="T15" fmla="*/ 1202 h 1408"/>
                  <a:gd name="T16" fmla="*/ 1140 w 1355"/>
                  <a:gd name="T17" fmla="*/ 1022 h 1408"/>
                  <a:gd name="T18" fmla="*/ 1325 w 1355"/>
                  <a:gd name="T19" fmla="*/ 847 h 1408"/>
                  <a:gd name="T20" fmla="*/ 1238 w 1355"/>
                  <a:gd name="T21" fmla="*/ 689 h 1408"/>
                  <a:gd name="T22" fmla="*/ 1281 w 1355"/>
                  <a:gd name="T23" fmla="*/ 437 h 1408"/>
                  <a:gd name="T24" fmla="*/ 1122 w 1355"/>
                  <a:gd name="T25" fmla="*/ 363 h 1408"/>
                  <a:gd name="T26" fmla="*/ 1013 w 1355"/>
                  <a:gd name="T27" fmla="*/ 132 h 1408"/>
                  <a:gd name="T28" fmla="*/ 836 w 1355"/>
                  <a:gd name="T29" fmla="*/ 165 h 1408"/>
                  <a:gd name="T30" fmla="*/ 613 w 1355"/>
                  <a:gd name="T31" fmla="*/ 44 h 1408"/>
                  <a:gd name="T32" fmla="*/ 487 w 1355"/>
                  <a:gd name="T33" fmla="*/ 174 h 1408"/>
                  <a:gd name="T34" fmla="*/ 239 w 1355"/>
                  <a:gd name="T35" fmla="*/ 206 h 1408"/>
                  <a:gd name="T36" fmla="*/ 217 w 1355"/>
                  <a:gd name="T37" fmla="*/ 385 h 1408"/>
                  <a:gd name="T38" fmla="*/ 30 w 1355"/>
                  <a:gd name="T39" fmla="*/ 559 h 1408"/>
                  <a:gd name="T40" fmla="*/ 489 w 1355"/>
                  <a:gd name="T41" fmla="*/ 917 h 1408"/>
                  <a:gd name="T42" fmla="*/ 535 w 1355"/>
                  <a:gd name="T43" fmla="*/ 851 h 1408"/>
                  <a:gd name="T44" fmla="*/ 702 w 1355"/>
                  <a:gd name="T45" fmla="*/ 872 h 1408"/>
                  <a:gd name="T46" fmla="*/ 677 w 1355"/>
                  <a:gd name="T47" fmla="*/ 760 h 1408"/>
                  <a:gd name="T48" fmla="*/ 491 w 1355"/>
                  <a:gd name="T49" fmla="*/ 573 h 1408"/>
                  <a:gd name="T50" fmla="*/ 631 w 1355"/>
                  <a:gd name="T51" fmla="*/ 391 h 1408"/>
                  <a:gd name="T52" fmla="*/ 657 w 1355"/>
                  <a:gd name="T53" fmla="*/ 336 h 1408"/>
                  <a:gd name="T54" fmla="*/ 724 w 1355"/>
                  <a:gd name="T55" fmla="*/ 382 h 1408"/>
                  <a:gd name="T56" fmla="*/ 828 w 1355"/>
                  <a:gd name="T57" fmla="*/ 442 h 1408"/>
                  <a:gd name="T58" fmla="*/ 824 w 1355"/>
                  <a:gd name="T59" fmla="*/ 529 h 1408"/>
                  <a:gd name="T60" fmla="*/ 681 w 1355"/>
                  <a:gd name="T61" fmla="*/ 519 h 1408"/>
                  <a:gd name="T62" fmla="*/ 640 w 1355"/>
                  <a:gd name="T63" fmla="*/ 602 h 1408"/>
                  <a:gd name="T64" fmla="*/ 779 w 1355"/>
                  <a:gd name="T65" fmla="*/ 670 h 1408"/>
                  <a:gd name="T66" fmla="*/ 742 w 1355"/>
                  <a:gd name="T67" fmla="*/ 974 h 1408"/>
                  <a:gd name="T68" fmla="*/ 720 w 1355"/>
                  <a:gd name="T69" fmla="*/ 1049 h 1408"/>
                  <a:gd name="T70" fmla="*/ 647 w 1355"/>
                  <a:gd name="T71" fmla="*/ 1071 h 1408"/>
                  <a:gd name="T72" fmla="*/ 625 w 1355"/>
                  <a:gd name="T73" fmla="*/ 1013 h 1408"/>
                  <a:gd name="T74" fmla="*/ 508 w 1355"/>
                  <a:gd name="T75" fmla="*/ 957 h 1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355" h="1408">
                    <a:moveTo>
                      <a:pt x="115" y="692"/>
                    </a:moveTo>
                    <a:cubicBezTo>
                      <a:pt x="122" y="702"/>
                      <a:pt x="122" y="709"/>
                      <a:pt x="115" y="719"/>
                    </a:cubicBezTo>
                    <a:cubicBezTo>
                      <a:pt x="86" y="764"/>
                      <a:pt x="56" y="809"/>
                      <a:pt x="28" y="854"/>
                    </a:cubicBezTo>
                    <a:cubicBezTo>
                      <a:pt x="1" y="898"/>
                      <a:pt x="18" y="949"/>
                      <a:pt x="66" y="967"/>
                    </a:cubicBezTo>
                    <a:cubicBezTo>
                      <a:pt x="116" y="987"/>
                      <a:pt x="166" y="1006"/>
                      <a:pt x="217" y="1025"/>
                    </a:cubicBezTo>
                    <a:cubicBezTo>
                      <a:pt x="227" y="1028"/>
                      <a:pt x="231" y="1034"/>
                      <a:pt x="231" y="1045"/>
                    </a:cubicBezTo>
                    <a:cubicBezTo>
                      <a:pt x="234" y="1095"/>
                      <a:pt x="239" y="1146"/>
                      <a:pt x="239" y="1197"/>
                    </a:cubicBezTo>
                    <a:cubicBezTo>
                      <a:pt x="238" y="1249"/>
                      <a:pt x="283" y="1294"/>
                      <a:pt x="345" y="1275"/>
                    </a:cubicBezTo>
                    <a:cubicBezTo>
                      <a:pt x="394" y="1259"/>
                      <a:pt x="444" y="1248"/>
                      <a:pt x="494" y="1234"/>
                    </a:cubicBezTo>
                    <a:cubicBezTo>
                      <a:pt x="503" y="1231"/>
                      <a:pt x="509" y="1233"/>
                      <a:pt x="516" y="1241"/>
                    </a:cubicBezTo>
                    <a:cubicBezTo>
                      <a:pt x="549" y="1282"/>
                      <a:pt x="582" y="1323"/>
                      <a:pt x="616" y="1364"/>
                    </a:cubicBezTo>
                    <a:cubicBezTo>
                      <a:pt x="652" y="1408"/>
                      <a:pt x="705" y="1408"/>
                      <a:pt x="741" y="1364"/>
                    </a:cubicBezTo>
                    <a:cubicBezTo>
                      <a:pt x="774" y="1323"/>
                      <a:pt x="807" y="1282"/>
                      <a:pt x="840" y="1241"/>
                    </a:cubicBezTo>
                    <a:cubicBezTo>
                      <a:pt x="846" y="1233"/>
                      <a:pt x="852" y="1230"/>
                      <a:pt x="862" y="1233"/>
                    </a:cubicBezTo>
                    <a:cubicBezTo>
                      <a:pt x="913" y="1247"/>
                      <a:pt x="964" y="1261"/>
                      <a:pt x="1016" y="1274"/>
                    </a:cubicBezTo>
                    <a:cubicBezTo>
                      <a:pt x="1069" y="1288"/>
                      <a:pt x="1114" y="1256"/>
                      <a:pt x="1116" y="1202"/>
                    </a:cubicBezTo>
                    <a:cubicBezTo>
                      <a:pt x="1119" y="1149"/>
                      <a:pt x="1122" y="1096"/>
                      <a:pt x="1124" y="1043"/>
                    </a:cubicBezTo>
                    <a:cubicBezTo>
                      <a:pt x="1125" y="1030"/>
                      <a:pt x="1130" y="1026"/>
                      <a:pt x="1140" y="1022"/>
                    </a:cubicBezTo>
                    <a:cubicBezTo>
                      <a:pt x="1189" y="1004"/>
                      <a:pt x="1238" y="985"/>
                      <a:pt x="1286" y="965"/>
                    </a:cubicBezTo>
                    <a:cubicBezTo>
                      <a:pt x="1338" y="945"/>
                      <a:pt x="1355" y="894"/>
                      <a:pt x="1325" y="847"/>
                    </a:cubicBezTo>
                    <a:cubicBezTo>
                      <a:pt x="1296" y="803"/>
                      <a:pt x="1267" y="759"/>
                      <a:pt x="1238" y="715"/>
                    </a:cubicBezTo>
                    <a:cubicBezTo>
                      <a:pt x="1231" y="706"/>
                      <a:pt x="1232" y="699"/>
                      <a:pt x="1238" y="689"/>
                    </a:cubicBezTo>
                    <a:cubicBezTo>
                      <a:pt x="1266" y="646"/>
                      <a:pt x="1294" y="603"/>
                      <a:pt x="1322" y="559"/>
                    </a:cubicBezTo>
                    <a:cubicBezTo>
                      <a:pt x="1355" y="509"/>
                      <a:pt x="1338" y="458"/>
                      <a:pt x="1281" y="437"/>
                    </a:cubicBezTo>
                    <a:cubicBezTo>
                      <a:pt x="1233" y="420"/>
                      <a:pt x="1185" y="401"/>
                      <a:pt x="1137" y="383"/>
                    </a:cubicBezTo>
                    <a:cubicBezTo>
                      <a:pt x="1127" y="379"/>
                      <a:pt x="1123" y="374"/>
                      <a:pt x="1122" y="363"/>
                    </a:cubicBezTo>
                    <a:cubicBezTo>
                      <a:pt x="1120" y="310"/>
                      <a:pt x="1117" y="258"/>
                      <a:pt x="1114" y="205"/>
                    </a:cubicBezTo>
                    <a:cubicBezTo>
                      <a:pt x="1111" y="150"/>
                      <a:pt x="1067" y="118"/>
                      <a:pt x="1013" y="132"/>
                    </a:cubicBezTo>
                    <a:cubicBezTo>
                      <a:pt x="963" y="146"/>
                      <a:pt x="912" y="159"/>
                      <a:pt x="861" y="174"/>
                    </a:cubicBezTo>
                    <a:cubicBezTo>
                      <a:pt x="850" y="177"/>
                      <a:pt x="844" y="174"/>
                      <a:pt x="836" y="165"/>
                    </a:cubicBezTo>
                    <a:cubicBezTo>
                      <a:pt x="804" y="125"/>
                      <a:pt x="771" y="84"/>
                      <a:pt x="738" y="44"/>
                    </a:cubicBezTo>
                    <a:cubicBezTo>
                      <a:pt x="703" y="0"/>
                      <a:pt x="649" y="0"/>
                      <a:pt x="613" y="44"/>
                    </a:cubicBezTo>
                    <a:cubicBezTo>
                      <a:pt x="580" y="84"/>
                      <a:pt x="548" y="124"/>
                      <a:pt x="516" y="165"/>
                    </a:cubicBezTo>
                    <a:cubicBezTo>
                      <a:pt x="508" y="176"/>
                      <a:pt x="500" y="178"/>
                      <a:pt x="487" y="174"/>
                    </a:cubicBezTo>
                    <a:cubicBezTo>
                      <a:pt x="438" y="160"/>
                      <a:pt x="388" y="147"/>
                      <a:pt x="352" y="137"/>
                    </a:cubicBezTo>
                    <a:cubicBezTo>
                      <a:pt x="283" y="121"/>
                      <a:pt x="242" y="149"/>
                      <a:pt x="239" y="206"/>
                    </a:cubicBezTo>
                    <a:cubicBezTo>
                      <a:pt x="235" y="259"/>
                      <a:pt x="233" y="312"/>
                      <a:pt x="231" y="365"/>
                    </a:cubicBezTo>
                    <a:cubicBezTo>
                      <a:pt x="230" y="376"/>
                      <a:pt x="226" y="381"/>
                      <a:pt x="217" y="385"/>
                    </a:cubicBezTo>
                    <a:cubicBezTo>
                      <a:pt x="167" y="404"/>
                      <a:pt x="117" y="423"/>
                      <a:pt x="68" y="442"/>
                    </a:cubicBezTo>
                    <a:cubicBezTo>
                      <a:pt x="16" y="463"/>
                      <a:pt x="0" y="513"/>
                      <a:pt x="30" y="559"/>
                    </a:cubicBezTo>
                    <a:cubicBezTo>
                      <a:pt x="57" y="604"/>
                      <a:pt x="86" y="648"/>
                      <a:pt x="115" y="692"/>
                    </a:cubicBezTo>
                    <a:close/>
                    <a:moveTo>
                      <a:pt x="489" y="917"/>
                    </a:moveTo>
                    <a:cubicBezTo>
                      <a:pt x="494" y="899"/>
                      <a:pt x="499" y="881"/>
                      <a:pt x="504" y="864"/>
                    </a:cubicBezTo>
                    <a:cubicBezTo>
                      <a:pt x="511" y="843"/>
                      <a:pt x="516" y="841"/>
                      <a:pt x="535" y="851"/>
                    </a:cubicBezTo>
                    <a:cubicBezTo>
                      <a:pt x="566" y="867"/>
                      <a:pt x="601" y="877"/>
                      <a:pt x="636" y="881"/>
                    </a:cubicBezTo>
                    <a:cubicBezTo>
                      <a:pt x="659" y="884"/>
                      <a:pt x="681" y="881"/>
                      <a:pt x="702" y="872"/>
                    </a:cubicBezTo>
                    <a:cubicBezTo>
                      <a:pt x="742" y="855"/>
                      <a:pt x="748" y="809"/>
                      <a:pt x="714" y="782"/>
                    </a:cubicBezTo>
                    <a:cubicBezTo>
                      <a:pt x="703" y="772"/>
                      <a:pt x="690" y="766"/>
                      <a:pt x="677" y="760"/>
                    </a:cubicBezTo>
                    <a:cubicBezTo>
                      <a:pt x="642" y="745"/>
                      <a:pt x="606" y="733"/>
                      <a:pt x="573" y="713"/>
                    </a:cubicBezTo>
                    <a:cubicBezTo>
                      <a:pt x="520" y="682"/>
                      <a:pt x="486" y="638"/>
                      <a:pt x="491" y="573"/>
                    </a:cubicBezTo>
                    <a:cubicBezTo>
                      <a:pt x="495" y="500"/>
                      <a:pt x="537" y="454"/>
                      <a:pt x="603" y="430"/>
                    </a:cubicBezTo>
                    <a:cubicBezTo>
                      <a:pt x="631" y="420"/>
                      <a:pt x="631" y="420"/>
                      <a:pt x="631" y="391"/>
                    </a:cubicBezTo>
                    <a:cubicBezTo>
                      <a:pt x="631" y="382"/>
                      <a:pt x="631" y="372"/>
                      <a:pt x="631" y="362"/>
                    </a:cubicBezTo>
                    <a:cubicBezTo>
                      <a:pt x="632" y="340"/>
                      <a:pt x="636" y="337"/>
                      <a:pt x="657" y="336"/>
                    </a:cubicBezTo>
                    <a:cubicBezTo>
                      <a:pt x="664" y="336"/>
                      <a:pt x="670" y="336"/>
                      <a:pt x="677" y="336"/>
                    </a:cubicBezTo>
                    <a:cubicBezTo>
                      <a:pt x="723" y="336"/>
                      <a:pt x="723" y="336"/>
                      <a:pt x="724" y="382"/>
                    </a:cubicBezTo>
                    <a:cubicBezTo>
                      <a:pt x="724" y="415"/>
                      <a:pt x="724" y="415"/>
                      <a:pt x="756" y="420"/>
                    </a:cubicBezTo>
                    <a:cubicBezTo>
                      <a:pt x="781" y="424"/>
                      <a:pt x="805" y="431"/>
                      <a:pt x="828" y="442"/>
                    </a:cubicBezTo>
                    <a:cubicBezTo>
                      <a:pt x="841" y="447"/>
                      <a:pt x="846" y="456"/>
                      <a:pt x="842" y="470"/>
                    </a:cubicBezTo>
                    <a:cubicBezTo>
                      <a:pt x="836" y="490"/>
                      <a:pt x="831" y="510"/>
                      <a:pt x="824" y="529"/>
                    </a:cubicBezTo>
                    <a:cubicBezTo>
                      <a:pt x="818" y="548"/>
                      <a:pt x="812" y="551"/>
                      <a:pt x="794" y="542"/>
                    </a:cubicBezTo>
                    <a:cubicBezTo>
                      <a:pt x="758" y="524"/>
                      <a:pt x="721" y="517"/>
                      <a:pt x="681" y="519"/>
                    </a:cubicBezTo>
                    <a:cubicBezTo>
                      <a:pt x="670" y="520"/>
                      <a:pt x="660" y="521"/>
                      <a:pt x="650" y="526"/>
                    </a:cubicBezTo>
                    <a:cubicBezTo>
                      <a:pt x="616" y="541"/>
                      <a:pt x="610" y="579"/>
                      <a:pt x="640" y="602"/>
                    </a:cubicBezTo>
                    <a:cubicBezTo>
                      <a:pt x="654" y="614"/>
                      <a:pt x="671" y="622"/>
                      <a:pt x="689" y="630"/>
                    </a:cubicBezTo>
                    <a:cubicBezTo>
                      <a:pt x="719" y="643"/>
                      <a:pt x="750" y="655"/>
                      <a:pt x="779" y="670"/>
                    </a:cubicBezTo>
                    <a:cubicBezTo>
                      <a:pt x="871" y="721"/>
                      <a:pt x="896" y="837"/>
                      <a:pt x="831" y="916"/>
                    </a:cubicBezTo>
                    <a:cubicBezTo>
                      <a:pt x="808" y="944"/>
                      <a:pt x="777" y="964"/>
                      <a:pt x="742" y="974"/>
                    </a:cubicBezTo>
                    <a:cubicBezTo>
                      <a:pt x="726" y="978"/>
                      <a:pt x="719" y="986"/>
                      <a:pt x="720" y="1002"/>
                    </a:cubicBezTo>
                    <a:cubicBezTo>
                      <a:pt x="720" y="1018"/>
                      <a:pt x="720" y="1034"/>
                      <a:pt x="720" y="1049"/>
                    </a:cubicBezTo>
                    <a:cubicBezTo>
                      <a:pt x="720" y="1064"/>
                      <a:pt x="712" y="1071"/>
                      <a:pt x="699" y="1071"/>
                    </a:cubicBezTo>
                    <a:cubicBezTo>
                      <a:pt x="682" y="1072"/>
                      <a:pt x="665" y="1072"/>
                      <a:pt x="647" y="1071"/>
                    </a:cubicBezTo>
                    <a:cubicBezTo>
                      <a:pt x="632" y="1071"/>
                      <a:pt x="625" y="1063"/>
                      <a:pt x="625" y="1048"/>
                    </a:cubicBezTo>
                    <a:cubicBezTo>
                      <a:pt x="625" y="1036"/>
                      <a:pt x="625" y="1025"/>
                      <a:pt x="625" y="1013"/>
                    </a:cubicBezTo>
                    <a:cubicBezTo>
                      <a:pt x="624" y="988"/>
                      <a:pt x="624" y="986"/>
                      <a:pt x="599" y="983"/>
                    </a:cubicBezTo>
                    <a:cubicBezTo>
                      <a:pt x="568" y="978"/>
                      <a:pt x="537" y="971"/>
                      <a:pt x="508" y="957"/>
                    </a:cubicBezTo>
                    <a:cubicBezTo>
                      <a:pt x="485" y="946"/>
                      <a:pt x="483" y="940"/>
                      <a:pt x="489" y="9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80" name="Inspire list">
            <a:extLst>
              <a:ext uri="{FF2B5EF4-FFF2-40B4-BE49-F238E27FC236}">
                <a16:creationId xmlns:a16="http://schemas.microsoft.com/office/drawing/2014/main" xmlns="" id="{2378EF98-01A7-451D-8A8A-05D42C3A1F9F}"/>
              </a:ext>
            </a:extLst>
          </p:cNvPr>
          <p:cNvGrpSpPr/>
          <p:nvPr/>
        </p:nvGrpSpPr>
        <p:grpSpPr>
          <a:xfrm>
            <a:off x="3610055" y="3725313"/>
            <a:ext cx="1116000" cy="756000"/>
            <a:chOff x="3610055" y="3619500"/>
            <a:chExt cx="1296000" cy="900000"/>
          </a:xfrm>
        </p:grpSpPr>
        <p:sp>
          <p:nvSpPr>
            <p:cNvPr id="19" name="Rechthoek: afgeronde hoeken 18">
              <a:extLst>
                <a:ext uri="{FF2B5EF4-FFF2-40B4-BE49-F238E27FC236}">
                  <a16:creationId xmlns:a16="http://schemas.microsoft.com/office/drawing/2014/main" xmlns="" id="{3181E651-EBCB-4573-A70A-949AC9E715CC}"/>
                </a:ext>
              </a:extLst>
            </p:cNvPr>
            <p:cNvSpPr/>
            <p:nvPr/>
          </p:nvSpPr>
          <p:spPr>
            <a:xfrm>
              <a:off x="3610055" y="3619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0,1%</a:t>
              </a:r>
            </a:p>
          </p:txBody>
        </p:sp>
        <p:grpSp>
          <p:nvGrpSpPr>
            <p:cNvPr id="63" name="Group 35">
              <a:extLst>
                <a:ext uri="{FF2B5EF4-FFF2-40B4-BE49-F238E27FC236}">
                  <a16:creationId xmlns:a16="http://schemas.microsoft.com/office/drawing/2014/main" xmlns="" id="{EA79ABBD-2148-4723-9FA1-CE6FB7DBDD2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125499" y="3708397"/>
              <a:ext cx="265112" cy="353483"/>
              <a:chOff x="3921" y="2160"/>
              <a:chExt cx="225" cy="300"/>
            </a:xfrm>
            <a:solidFill>
              <a:schemeClr val="bg1"/>
            </a:solidFill>
          </p:grpSpPr>
          <p:sp>
            <p:nvSpPr>
              <p:cNvPr id="65" name="Freeform 36">
                <a:extLst>
                  <a:ext uri="{FF2B5EF4-FFF2-40B4-BE49-F238E27FC236}">
                    <a16:creationId xmlns:a16="http://schemas.microsoft.com/office/drawing/2014/main" xmlns="" id="{45FDDF91-4BDA-4883-A90A-6445BA544D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160"/>
                <a:ext cx="113" cy="75"/>
              </a:xfrm>
              <a:custGeom>
                <a:avLst/>
                <a:gdLst>
                  <a:gd name="T0" fmla="*/ 818 w 892"/>
                  <a:gd name="T1" fmla="*/ 149 h 596"/>
                  <a:gd name="T2" fmla="*/ 656 w 892"/>
                  <a:gd name="T3" fmla="*/ 149 h 596"/>
                  <a:gd name="T4" fmla="*/ 446 w 892"/>
                  <a:gd name="T5" fmla="*/ 0 h 596"/>
                  <a:gd name="T6" fmla="*/ 235 w 892"/>
                  <a:gd name="T7" fmla="*/ 149 h 596"/>
                  <a:gd name="T8" fmla="*/ 74 w 892"/>
                  <a:gd name="T9" fmla="*/ 149 h 596"/>
                  <a:gd name="T10" fmla="*/ 0 w 892"/>
                  <a:gd name="T11" fmla="*/ 224 h 596"/>
                  <a:gd name="T12" fmla="*/ 0 w 892"/>
                  <a:gd name="T13" fmla="*/ 521 h 596"/>
                  <a:gd name="T14" fmla="*/ 74 w 892"/>
                  <a:gd name="T15" fmla="*/ 596 h 596"/>
                  <a:gd name="T16" fmla="*/ 818 w 892"/>
                  <a:gd name="T17" fmla="*/ 596 h 596"/>
                  <a:gd name="T18" fmla="*/ 892 w 892"/>
                  <a:gd name="T19" fmla="*/ 521 h 596"/>
                  <a:gd name="T20" fmla="*/ 892 w 892"/>
                  <a:gd name="T21" fmla="*/ 224 h 596"/>
                  <a:gd name="T22" fmla="*/ 818 w 892"/>
                  <a:gd name="T23" fmla="*/ 149 h 5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2" h="596">
                    <a:moveTo>
                      <a:pt x="818" y="149"/>
                    </a:moveTo>
                    <a:cubicBezTo>
                      <a:pt x="656" y="149"/>
                      <a:pt x="656" y="149"/>
                      <a:pt x="656" y="149"/>
                    </a:cubicBezTo>
                    <a:cubicBezTo>
                      <a:pt x="626" y="63"/>
                      <a:pt x="543" y="0"/>
                      <a:pt x="446" y="0"/>
                    </a:cubicBezTo>
                    <a:cubicBezTo>
                      <a:pt x="349" y="0"/>
                      <a:pt x="266" y="63"/>
                      <a:pt x="235" y="149"/>
                    </a:cubicBezTo>
                    <a:cubicBezTo>
                      <a:pt x="74" y="149"/>
                      <a:pt x="74" y="149"/>
                      <a:pt x="74" y="149"/>
                    </a:cubicBezTo>
                    <a:cubicBezTo>
                      <a:pt x="33" y="149"/>
                      <a:pt x="0" y="183"/>
                      <a:pt x="0" y="224"/>
                    </a:cubicBezTo>
                    <a:cubicBezTo>
                      <a:pt x="0" y="521"/>
                      <a:pt x="0" y="521"/>
                      <a:pt x="0" y="521"/>
                    </a:cubicBezTo>
                    <a:cubicBezTo>
                      <a:pt x="0" y="562"/>
                      <a:pt x="33" y="596"/>
                      <a:pt x="74" y="596"/>
                    </a:cubicBezTo>
                    <a:cubicBezTo>
                      <a:pt x="818" y="596"/>
                      <a:pt x="818" y="596"/>
                      <a:pt x="818" y="596"/>
                    </a:cubicBezTo>
                    <a:cubicBezTo>
                      <a:pt x="859" y="596"/>
                      <a:pt x="892" y="562"/>
                      <a:pt x="892" y="521"/>
                    </a:cubicBezTo>
                    <a:cubicBezTo>
                      <a:pt x="892" y="224"/>
                      <a:pt x="892" y="224"/>
                      <a:pt x="892" y="224"/>
                    </a:cubicBezTo>
                    <a:cubicBezTo>
                      <a:pt x="892" y="183"/>
                      <a:pt x="859" y="149"/>
                      <a:pt x="818" y="1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" name="Freeform 37">
                <a:extLst>
                  <a:ext uri="{FF2B5EF4-FFF2-40B4-BE49-F238E27FC236}">
                    <a16:creationId xmlns:a16="http://schemas.microsoft.com/office/drawing/2014/main" xmlns="" id="{C7E5117D-B617-40C0-8C38-2C810E4AAB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21" y="2198"/>
                <a:ext cx="225" cy="262"/>
              </a:xfrm>
              <a:custGeom>
                <a:avLst/>
                <a:gdLst>
                  <a:gd name="T0" fmla="*/ 1637 w 1786"/>
                  <a:gd name="T1" fmla="*/ 0 h 2084"/>
                  <a:gd name="T2" fmla="*/ 1488 w 1786"/>
                  <a:gd name="T3" fmla="*/ 0 h 2084"/>
                  <a:gd name="T4" fmla="*/ 1488 w 1786"/>
                  <a:gd name="T5" fmla="*/ 223 h 2084"/>
                  <a:gd name="T6" fmla="*/ 1265 w 1786"/>
                  <a:gd name="T7" fmla="*/ 447 h 2084"/>
                  <a:gd name="T8" fmla="*/ 521 w 1786"/>
                  <a:gd name="T9" fmla="*/ 447 h 2084"/>
                  <a:gd name="T10" fmla="*/ 298 w 1786"/>
                  <a:gd name="T11" fmla="*/ 223 h 2084"/>
                  <a:gd name="T12" fmla="*/ 298 w 1786"/>
                  <a:gd name="T13" fmla="*/ 0 h 2084"/>
                  <a:gd name="T14" fmla="*/ 149 w 1786"/>
                  <a:gd name="T15" fmla="*/ 0 h 2084"/>
                  <a:gd name="T16" fmla="*/ 0 w 1786"/>
                  <a:gd name="T17" fmla="*/ 149 h 2084"/>
                  <a:gd name="T18" fmla="*/ 0 w 1786"/>
                  <a:gd name="T19" fmla="*/ 1935 h 2084"/>
                  <a:gd name="T20" fmla="*/ 149 w 1786"/>
                  <a:gd name="T21" fmla="*/ 2084 h 2084"/>
                  <a:gd name="T22" fmla="*/ 1637 w 1786"/>
                  <a:gd name="T23" fmla="*/ 2084 h 2084"/>
                  <a:gd name="T24" fmla="*/ 1786 w 1786"/>
                  <a:gd name="T25" fmla="*/ 1935 h 2084"/>
                  <a:gd name="T26" fmla="*/ 1786 w 1786"/>
                  <a:gd name="T27" fmla="*/ 149 h 2084"/>
                  <a:gd name="T28" fmla="*/ 1637 w 1786"/>
                  <a:gd name="T29" fmla="*/ 0 h 2084"/>
                  <a:gd name="T30" fmla="*/ 871 w 1786"/>
                  <a:gd name="T31" fmla="*/ 1318 h 2084"/>
                  <a:gd name="T32" fmla="*/ 574 w 1786"/>
                  <a:gd name="T33" fmla="*/ 1615 h 2084"/>
                  <a:gd name="T34" fmla="*/ 521 w 1786"/>
                  <a:gd name="T35" fmla="*/ 1637 h 2084"/>
                  <a:gd name="T36" fmla="*/ 468 w 1786"/>
                  <a:gd name="T37" fmla="*/ 1615 h 2084"/>
                  <a:gd name="T38" fmla="*/ 319 w 1786"/>
                  <a:gd name="T39" fmla="*/ 1467 h 2084"/>
                  <a:gd name="T40" fmla="*/ 319 w 1786"/>
                  <a:gd name="T41" fmla="*/ 1361 h 2084"/>
                  <a:gd name="T42" fmla="*/ 425 w 1786"/>
                  <a:gd name="T43" fmla="*/ 1361 h 2084"/>
                  <a:gd name="T44" fmla="*/ 521 w 1786"/>
                  <a:gd name="T45" fmla="*/ 1457 h 2084"/>
                  <a:gd name="T46" fmla="*/ 766 w 1786"/>
                  <a:gd name="T47" fmla="*/ 1213 h 2084"/>
                  <a:gd name="T48" fmla="*/ 871 w 1786"/>
                  <a:gd name="T49" fmla="*/ 1213 h 2084"/>
                  <a:gd name="T50" fmla="*/ 871 w 1786"/>
                  <a:gd name="T51" fmla="*/ 1318 h 2084"/>
                  <a:gd name="T52" fmla="*/ 871 w 1786"/>
                  <a:gd name="T53" fmla="*/ 722 h 2084"/>
                  <a:gd name="T54" fmla="*/ 574 w 1786"/>
                  <a:gd name="T55" fmla="*/ 1020 h 2084"/>
                  <a:gd name="T56" fmla="*/ 521 w 1786"/>
                  <a:gd name="T57" fmla="*/ 1042 h 2084"/>
                  <a:gd name="T58" fmla="*/ 468 w 1786"/>
                  <a:gd name="T59" fmla="*/ 1020 h 2084"/>
                  <a:gd name="T60" fmla="*/ 319 w 1786"/>
                  <a:gd name="T61" fmla="*/ 871 h 2084"/>
                  <a:gd name="T62" fmla="*/ 319 w 1786"/>
                  <a:gd name="T63" fmla="*/ 766 h 2084"/>
                  <a:gd name="T64" fmla="*/ 425 w 1786"/>
                  <a:gd name="T65" fmla="*/ 766 h 2084"/>
                  <a:gd name="T66" fmla="*/ 521 w 1786"/>
                  <a:gd name="T67" fmla="*/ 862 h 2084"/>
                  <a:gd name="T68" fmla="*/ 766 w 1786"/>
                  <a:gd name="T69" fmla="*/ 617 h 2084"/>
                  <a:gd name="T70" fmla="*/ 871 w 1786"/>
                  <a:gd name="T71" fmla="*/ 617 h 2084"/>
                  <a:gd name="T72" fmla="*/ 871 w 1786"/>
                  <a:gd name="T73" fmla="*/ 722 h 2084"/>
                  <a:gd name="T74" fmla="*/ 1414 w 1786"/>
                  <a:gd name="T75" fmla="*/ 1488 h 2084"/>
                  <a:gd name="T76" fmla="*/ 1116 w 1786"/>
                  <a:gd name="T77" fmla="*/ 1488 h 2084"/>
                  <a:gd name="T78" fmla="*/ 1042 w 1786"/>
                  <a:gd name="T79" fmla="*/ 1414 h 2084"/>
                  <a:gd name="T80" fmla="*/ 1116 w 1786"/>
                  <a:gd name="T81" fmla="*/ 1339 h 2084"/>
                  <a:gd name="T82" fmla="*/ 1414 w 1786"/>
                  <a:gd name="T83" fmla="*/ 1339 h 2084"/>
                  <a:gd name="T84" fmla="*/ 1488 w 1786"/>
                  <a:gd name="T85" fmla="*/ 1414 h 2084"/>
                  <a:gd name="T86" fmla="*/ 1414 w 1786"/>
                  <a:gd name="T87" fmla="*/ 1488 h 2084"/>
                  <a:gd name="T88" fmla="*/ 1414 w 1786"/>
                  <a:gd name="T89" fmla="*/ 893 h 2084"/>
                  <a:gd name="T90" fmla="*/ 1116 w 1786"/>
                  <a:gd name="T91" fmla="*/ 893 h 2084"/>
                  <a:gd name="T92" fmla="*/ 1042 w 1786"/>
                  <a:gd name="T93" fmla="*/ 819 h 2084"/>
                  <a:gd name="T94" fmla="*/ 1116 w 1786"/>
                  <a:gd name="T95" fmla="*/ 744 h 2084"/>
                  <a:gd name="T96" fmla="*/ 1414 w 1786"/>
                  <a:gd name="T97" fmla="*/ 744 h 2084"/>
                  <a:gd name="T98" fmla="*/ 1488 w 1786"/>
                  <a:gd name="T99" fmla="*/ 819 h 2084"/>
                  <a:gd name="T100" fmla="*/ 1414 w 1786"/>
                  <a:gd name="T101" fmla="*/ 893 h 20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86" h="2084">
                    <a:moveTo>
                      <a:pt x="1637" y="0"/>
                    </a:moveTo>
                    <a:cubicBezTo>
                      <a:pt x="1488" y="0"/>
                      <a:pt x="1488" y="0"/>
                      <a:pt x="1488" y="0"/>
                    </a:cubicBezTo>
                    <a:cubicBezTo>
                      <a:pt x="1488" y="223"/>
                      <a:pt x="1488" y="223"/>
                      <a:pt x="1488" y="223"/>
                    </a:cubicBezTo>
                    <a:cubicBezTo>
                      <a:pt x="1488" y="346"/>
                      <a:pt x="1388" y="447"/>
                      <a:pt x="1265" y="447"/>
                    </a:cubicBezTo>
                    <a:cubicBezTo>
                      <a:pt x="521" y="447"/>
                      <a:pt x="521" y="447"/>
                      <a:pt x="521" y="447"/>
                    </a:cubicBezTo>
                    <a:cubicBezTo>
                      <a:pt x="398" y="447"/>
                      <a:pt x="298" y="346"/>
                      <a:pt x="298" y="223"/>
                    </a:cubicBezTo>
                    <a:cubicBezTo>
                      <a:pt x="298" y="0"/>
                      <a:pt x="298" y="0"/>
                      <a:pt x="298" y="0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67" y="0"/>
                      <a:pt x="0" y="67"/>
                      <a:pt x="0" y="149"/>
                    </a:cubicBezTo>
                    <a:cubicBezTo>
                      <a:pt x="0" y="1935"/>
                      <a:pt x="0" y="1935"/>
                      <a:pt x="0" y="1935"/>
                    </a:cubicBezTo>
                    <a:cubicBezTo>
                      <a:pt x="0" y="2018"/>
                      <a:pt x="65" y="2084"/>
                      <a:pt x="149" y="2084"/>
                    </a:cubicBezTo>
                    <a:cubicBezTo>
                      <a:pt x="1637" y="2084"/>
                      <a:pt x="1637" y="2084"/>
                      <a:pt x="1637" y="2084"/>
                    </a:cubicBezTo>
                    <a:cubicBezTo>
                      <a:pt x="1721" y="2084"/>
                      <a:pt x="1786" y="2018"/>
                      <a:pt x="1786" y="1935"/>
                    </a:cubicBezTo>
                    <a:cubicBezTo>
                      <a:pt x="1786" y="149"/>
                      <a:pt x="1786" y="149"/>
                      <a:pt x="1786" y="149"/>
                    </a:cubicBezTo>
                    <a:cubicBezTo>
                      <a:pt x="1786" y="65"/>
                      <a:pt x="1721" y="0"/>
                      <a:pt x="1637" y="0"/>
                    </a:cubicBezTo>
                    <a:close/>
                    <a:moveTo>
                      <a:pt x="871" y="1318"/>
                    </a:moveTo>
                    <a:cubicBezTo>
                      <a:pt x="574" y="1615"/>
                      <a:pt x="574" y="1615"/>
                      <a:pt x="574" y="1615"/>
                    </a:cubicBezTo>
                    <a:cubicBezTo>
                      <a:pt x="559" y="1630"/>
                      <a:pt x="540" y="1637"/>
                      <a:pt x="521" y="1637"/>
                    </a:cubicBezTo>
                    <a:cubicBezTo>
                      <a:pt x="502" y="1637"/>
                      <a:pt x="483" y="1630"/>
                      <a:pt x="468" y="1615"/>
                    </a:cubicBezTo>
                    <a:cubicBezTo>
                      <a:pt x="319" y="1467"/>
                      <a:pt x="319" y="1467"/>
                      <a:pt x="319" y="1467"/>
                    </a:cubicBezTo>
                    <a:cubicBezTo>
                      <a:pt x="290" y="1438"/>
                      <a:pt x="290" y="1390"/>
                      <a:pt x="319" y="1361"/>
                    </a:cubicBezTo>
                    <a:cubicBezTo>
                      <a:pt x="348" y="1332"/>
                      <a:pt x="396" y="1332"/>
                      <a:pt x="425" y="1361"/>
                    </a:cubicBezTo>
                    <a:cubicBezTo>
                      <a:pt x="521" y="1457"/>
                      <a:pt x="521" y="1457"/>
                      <a:pt x="521" y="1457"/>
                    </a:cubicBezTo>
                    <a:cubicBezTo>
                      <a:pt x="766" y="1213"/>
                      <a:pt x="766" y="1213"/>
                      <a:pt x="766" y="1213"/>
                    </a:cubicBezTo>
                    <a:cubicBezTo>
                      <a:pt x="795" y="1183"/>
                      <a:pt x="842" y="1183"/>
                      <a:pt x="871" y="1213"/>
                    </a:cubicBezTo>
                    <a:cubicBezTo>
                      <a:pt x="900" y="1242"/>
                      <a:pt x="900" y="1289"/>
                      <a:pt x="871" y="1318"/>
                    </a:cubicBezTo>
                    <a:close/>
                    <a:moveTo>
                      <a:pt x="871" y="722"/>
                    </a:moveTo>
                    <a:cubicBezTo>
                      <a:pt x="574" y="1020"/>
                      <a:pt x="574" y="1020"/>
                      <a:pt x="574" y="1020"/>
                    </a:cubicBezTo>
                    <a:cubicBezTo>
                      <a:pt x="559" y="1035"/>
                      <a:pt x="540" y="1042"/>
                      <a:pt x="521" y="1042"/>
                    </a:cubicBezTo>
                    <a:cubicBezTo>
                      <a:pt x="502" y="1042"/>
                      <a:pt x="483" y="1035"/>
                      <a:pt x="468" y="1020"/>
                    </a:cubicBezTo>
                    <a:cubicBezTo>
                      <a:pt x="319" y="871"/>
                      <a:pt x="319" y="871"/>
                      <a:pt x="319" y="871"/>
                    </a:cubicBezTo>
                    <a:cubicBezTo>
                      <a:pt x="290" y="842"/>
                      <a:pt x="290" y="795"/>
                      <a:pt x="319" y="766"/>
                    </a:cubicBezTo>
                    <a:cubicBezTo>
                      <a:pt x="348" y="737"/>
                      <a:pt x="396" y="737"/>
                      <a:pt x="425" y="766"/>
                    </a:cubicBezTo>
                    <a:cubicBezTo>
                      <a:pt x="521" y="862"/>
                      <a:pt x="521" y="862"/>
                      <a:pt x="521" y="862"/>
                    </a:cubicBezTo>
                    <a:cubicBezTo>
                      <a:pt x="766" y="617"/>
                      <a:pt x="766" y="617"/>
                      <a:pt x="766" y="617"/>
                    </a:cubicBezTo>
                    <a:cubicBezTo>
                      <a:pt x="795" y="588"/>
                      <a:pt x="842" y="588"/>
                      <a:pt x="871" y="617"/>
                    </a:cubicBezTo>
                    <a:cubicBezTo>
                      <a:pt x="900" y="646"/>
                      <a:pt x="900" y="693"/>
                      <a:pt x="871" y="722"/>
                    </a:cubicBezTo>
                    <a:close/>
                    <a:moveTo>
                      <a:pt x="1414" y="1488"/>
                    </a:moveTo>
                    <a:cubicBezTo>
                      <a:pt x="1116" y="1488"/>
                      <a:pt x="1116" y="1488"/>
                      <a:pt x="1116" y="1488"/>
                    </a:cubicBezTo>
                    <a:cubicBezTo>
                      <a:pt x="1075" y="1488"/>
                      <a:pt x="1042" y="1455"/>
                      <a:pt x="1042" y="1414"/>
                    </a:cubicBezTo>
                    <a:cubicBezTo>
                      <a:pt x="1042" y="1373"/>
                      <a:pt x="1075" y="1339"/>
                      <a:pt x="1116" y="1339"/>
                    </a:cubicBezTo>
                    <a:cubicBezTo>
                      <a:pt x="1414" y="1339"/>
                      <a:pt x="1414" y="1339"/>
                      <a:pt x="1414" y="1339"/>
                    </a:cubicBezTo>
                    <a:cubicBezTo>
                      <a:pt x="1455" y="1339"/>
                      <a:pt x="1488" y="1373"/>
                      <a:pt x="1488" y="1414"/>
                    </a:cubicBezTo>
                    <a:cubicBezTo>
                      <a:pt x="1488" y="1455"/>
                      <a:pt x="1455" y="1488"/>
                      <a:pt x="1414" y="1488"/>
                    </a:cubicBezTo>
                    <a:close/>
                    <a:moveTo>
                      <a:pt x="1414" y="893"/>
                    </a:moveTo>
                    <a:cubicBezTo>
                      <a:pt x="1116" y="893"/>
                      <a:pt x="1116" y="893"/>
                      <a:pt x="1116" y="893"/>
                    </a:cubicBezTo>
                    <a:cubicBezTo>
                      <a:pt x="1075" y="893"/>
                      <a:pt x="1042" y="860"/>
                      <a:pt x="1042" y="819"/>
                    </a:cubicBezTo>
                    <a:cubicBezTo>
                      <a:pt x="1042" y="778"/>
                      <a:pt x="1075" y="744"/>
                      <a:pt x="1116" y="744"/>
                    </a:cubicBezTo>
                    <a:cubicBezTo>
                      <a:pt x="1414" y="744"/>
                      <a:pt x="1414" y="744"/>
                      <a:pt x="1414" y="744"/>
                    </a:cubicBezTo>
                    <a:cubicBezTo>
                      <a:pt x="1455" y="744"/>
                      <a:pt x="1488" y="778"/>
                      <a:pt x="1488" y="819"/>
                    </a:cubicBezTo>
                    <a:cubicBezTo>
                      <a:pt x="1488" y="860"/>
                      <a:pt x="1455" y="893"/>
                      <a:pt x="1414" y="8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81" name="Easy lists">
            <a:extLst>
              <a:ext uri="{FF2B5EF4-FFF2-40B4-BE49-F238E27FC236}">
                <a16:creationId xmlns:a16="http://schemas.microsoft.com/office/drawing/2014/main" xmlns="" id="{42022525-DD20-4928-A4F0-56E3DBE4AA54}"/>
              </a:ext>
            </a:extLst>
          </p:cNvPr>
          <p:cNvGrpSpPr/>
          <p:nvPr/>
        </p:nvGrpSpPr>
        <p:grpSpPr>
          <a:xfrm>
            <a:off x="2076530" y="4868313"/>
            <a:ext cx="1116000" cy="756000"/>
            <a:chOff x="2076530" y="4762500"/>
            <a:chExt cx="1296000" cy="900000"/>
          </a:xfrm>
        </p:grpSpPr>
        <p:sp>
          <p:nvSpPr>
            <p:cNvPr id="16" name="Rechthoek: afgeronde hoeken 15">
              <a:extLst>
                <a:ext uri="{FF2B5EF4-FFF2-40B4-BE49-F238E27FC236}">
                  <a16:creationId xmlns:a16="http://schemas.microsoft.com/office/drawing/2014/main" xmlns="" id="{BCE08329-368F-49F3-8889-53BE69C4983A}"/>
                </a:ext>
              </a:extLst>
            </p:cNvPr>
            <p:cNvSpPr/>
            <p:nvPr/>
          </p:nvSpPr>
          <p:spPr>
            <a:xfrm>
              <a:off x="2076530" y="4762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>
                  <a:solidFill>
                    <a:schemeClr val="bg1"/>
                  </a:solidFill>
                </a:rPr>
                <a:t>0,0%</a:t>
              </a:r>
            </a:p>
          </p:txBody>
        </p:sp>
        <p:grpSp>
          <p:nvGrpSpPr>
            <p:cNvPr id="68" name="Group 40">
              <a:extLst>
                <a:ext uri="{FF2B5EF4-FFF2-40B4-BE49-F238E27FC236}">
                  <a16:creationId xmlns:a16="http://schemas.microsoft.com/office/drawing/2014/main" xmlns="" id="{C7CE4043-F4BD-4A1C-AD64-EB1EB74D2C1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85953" y="4852779"/>
              <a:ext cx="277155" cy="366921"/>
              <a:chOff x="4590" y="2847"/>
              <a:chExt cx="247" cy="327"/>
            </a:xfrm>
            <a:solidFill>
              <a:schemeClr val="bg1"/>
            </a:solidFill>
          </p:grpSpPr>
          <p:sp>
            <p:nvSpPr>
              <p:cNvPr id="70" name="Freeform 41">
                <a:extLst>
                  <a:ext uri="{FF2B5EF4-FFF2-40B4-BE49-F238E27FC236}">
                    <a16:creationId xmlns:a16="http://schemas.microsoft.com/office/drawing/2014/main" xmlns="" id="{D3E59EAB-640F-4454-8FB6-CB5884990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3" y="2847"/>
                <a:ext cx="102" cy="61"/>
              </a:xfrm>
              <a:custGeom>
                <a:avLst/>
                <a:gdLst>
                  <a:gd name="T0" fmla="*/ 748 w 748"/>
                  <a:gd name="T1" fmla="*/ 197 h 447"/>
                  <a:gd name="T2" fmla="*/ 602 w 748"/>
                  <a:gd name="T3" fmla="*/ 197 h 447"/>
                  <a:gd name="T4" fmla="*/ 555 w 748"/>
                  <a:gd name="T5" fmla="*/ 153 h 447"/>
                  <a:gd name="T6" fmla="*/ 371 w 748"/>
                  <a:gd name="T7" fmla="*/ 0 h 447"/>
                  <a:gd name="T8" fmla="*/ 187 w 748"/>
                  <a:gd name="T9" fmla="*/ 153 h 447"/>
                  <a:gd name="T10" fmla="*/ 140 w 748"/>
                  <a:gd name="T11" fmla="*/ 197 h 447"/>
                  <a:gd name="T12" fmla="*/ 0 w 748"/>
                  <a:gd name="T13" fmla="*/ 197 h 447"/>
                  <a:gd name="T14" fmla="*/ 0 w 748"/>
                  <a:gd name="T15" fmla="*/ 447 h 447"/>
                  <a:gd name="T16" fmla="*/ 748 w 748"/>
                  <a:gd name="T17" fmla="*/ 447 h 447"/>
                  <a:gd name="T18" fmla="*/ 748 w 748"/>
                  <a:gd name="T19" fmla="*/ 197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8" h="447">
                    <a:moveTo>
                      <a:pt x="748" y="197"/>
                    </a:moveTo>
                    <a:cubicBezTo>
                      <a:pt x="602" y="197"/>
                      <a:pt x="602" y="197"/>
                      <a:pt x="602" y="197"/>
                    </a:cubicBezTo>
                    <a:cubicBezTo>
                      <a:pt x="579" y="194"/>
                      <a:pt x="560" y="176"/>
                      <a:pt x="555" y="153"/>
                    </a:cubicBezTo>
                    <a:cubicBezTo>
                      <a:pt x="537" y="65"/>
                      <a:pt x="461" y="2"/>
                      <a:pt x="371" y="0"/>
                    </a:cubicBezTo>
                    <a:cubicBezTo>
                      <a:pt x="281" y="0"/>
                      <a:pt x="203" y="65"/>
                      <a:pt x="187" y="153"/>
                    </a:cubicBezTo>
                    <a:cubicBezTo>
                      <a:pt x="182" y="176"/>
                      <a:pt x="163" y="194"/>
                      <a:pt x="140" y="197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748" y="447"/>
                      <a:pt x="748" y="447"/>
                      <a:pt x="748" y="447"/>
                    </a:cubicBezTo>
                    <a:cubicBezTo>
                      <a:pt x="748" y="197"/>
                      <a:pt x="748" y="197"/>
                      <a:pt x="748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" name="Freeform 42">
                <a:extLst>
                  <a:ext uri="{FF2B5EF4-FFF2-40B4-BE49-F238E27FC236}">
                    <a16:creationId xmlns:a16="http://schemas.microsoft.com/office/drawing/2014/main" xmlns="" id="{8D4630DC-2FD7-4DE4-A793-A12BE5475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0" y="2891"/>
                <a:ext cx="247" cy="283"/>
              </a:xfrm>
              <a:custGeom>
                <a:avLst/>
                <a:gdLst>
                  <a:gd name="T0" fmla="*/ 1675 w 1814"/>
                  <a:gd name="T1" fmla="*/ 0 h 2064"/>
                  <a:gd name="T2" fmla="*/ 1675 w 1814"/>
                  <a:gd name="T3" fmla="*/ 0 h 2064"/>
                  <a:gd name="T4" fmla="*/ 1375 w 1814"/>
                  <a:gd name="T5" fmla="*/ 0 h 2064"/>
                  <a:gd name="T6" fmla="*/ 1375 w 1814"/>
                  <a:gd name="T7" fmla="*/ 62 h 2064"/>
                  <a:gd name="T8" fmla="*/ 1612 w 1814"/>
                  <a:gd name="T9" fmla="*/ 62 h 2064"/>
                  <a:gd name="T10" fmla="*/ 1656 w 1814"/>
                  <a:gd name="T11" fmla="*/ 112 h 2064"/>
                  <a:gd name="T12" fmla="*/ 1656 w 1814"/>
                  <a:gd name="T13" fmla="*/ 112 h 2064"/>
                  <a:gd name="T14" fmla="*/ 1656 w 1814"/>
                  <a:gd name="T15" fmla="*/ 1869 h 2064"/>
                  <a:gd name="T16" fmla="*/ 1612 w 1814"/>
                  <a:gd name="T17" fmla="*/ 1903 h 2064"/>
                  <a:gd name="T18" fmla="*/ 202 w 1814"/>
                  <a:gd name="T19" fmla="*/ 1903 h 2064"/>
                  <a:gd name="T20" fmla="*/ 158 w 1814"/>
                  <a:gd name="T21" fmla="*/ 1869 h 2064"/>
                  <a:gd name="T22" fmla="*/ 158 w 1814"/>
                  <a:gd name="T23" fmla="*/ 112 h 2064"/>
                  <a:gd name="T24" fmla="*/ 202 w 1814"/>
                  <a:gd name="T25" fmla="*/ 62 h 2064"/>
                  <a:gd name="T26" fmla="*/ 202 w 1814"/>
                  <a:gd name="T27" fmla="*/ 62 h 2064"/>
                  <a:gd name="T28" fmla="*/ 439 w 1814"/>
                  <a:gd name="T29" fmla="*/ 62 h 2064"/>
                  <a:gd name="T30" fmla="*/ 439 w 1814"/>
                  <a:gd name="T31" fmla="*/ 0 h 2064"/>
                  <a:gd name="T32" fmla="*/ 139 w 1814"/>
                  <a:gd name="T33" fmla="*/ 0 h 2064"/>
                  <a:gd name="T34" fmla="*/ 2 w 1814"/>
                  <a:gd name="T35" fmla="*/ 143 h 2064"/>
                  <a:gd name="T36" fmla="*/ 2 w 1814"/>
                  <a:gd name="T37" fmla="*/ 143 h 2064"/>
                  <a:gd name="T38" fmla="*/ 2 w 1814"/>
                  <a:gd name="T39" fmla="*/ 1931 h 2064"/>
                  <a:gd name="T40" fmla="*/ 130 w 1814"/>
                  <a:gd name="T41" fmla="*/ 2060 h 2064"/>
                  <a:gd name="T42" fmla="*/ 139 w 1814"/>
                  <a:gd name="T43" fmla="*/ 2059 h 2064"/>
                  <a:gd name="T44" fmla="*/ 1675 w 1814"/>
                  <a:gd name="T45" fmla="*/ 2059 h 2064"/>
                  <a:gd name="T46" fmla="*/ 1812 w 1814"/>
                  <a:gd name="T47" fmla="*/ 1941 h 2064"/>
                  <a:gd name="T48" fmla="*/ 1812 w 1814"/>
                  <a:gd name="T49" fmla="*/ 1931 h 2064"/>
                  <a:gd name="T50" fmla="*/ 1812 w 1814"/>
                  <a:gd name="T51" fmla="*/ 143 h 2064"/>
                  <a:gd name="T52" fmla="*/ 1675 w 1814"/>
                  <a:gd name="T53" fmla="*/ 0 h 2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14" h="2064">
                    <a:moveTo>
                      <a:pt x="1675" y="0"/>
                    </a:moveTo>
                    <a:cubicBezTo>
                      <a:pt x="1675" y="0"/>
                      <a:pt x="1675" y="0"/>
                      <a:pt x="1675" y="0"/>
                    </a:cubicBezTo>
                    <a:cubicBezTo>
                      <a:pt x="1375" y="0"/>
                      <a:pt x="1375" y="0"/>
                      <a:pt x="1375" y="0"/>
                    </a:cubicBezTo>
                    <a:cubicBezTo>
                      <a:pt x="1375" y="62"/>
                      <a:pt x="1375" y="62"/>
                      <a:pt x="1375" y="62"/>
                    </a:cubicBezTo>
                    <a:cubicBezTo>
                      <a:pt x="1612" y="62"/>
                      <a:pt x="1612" y="62"/>
                      <a:pt x="1612" y="62"/>
                    </a:cubicBezTo>
                    <a:cubicBezTo>
                      <a:pt x="1638" y="64"/>
                      <a:pt x="1658" y="86"/>
                      <a:pt x="1656" y="112"/>
                    </a:cubicBezTo>
                    <a:cubicBezTo>
                      <a:pt x="1656" y="112"/>
                      <a:pt x="1656" y="112"/>
                      <a:pt x="1656" y="112"/>
                    </a:cubicBezTo>
                    <a:cubicBezTo>
                      <a:pt x="1656" y="1869"/>
                      <a:pt x="1656" y="1869"/>
                      <a:pt x="1656" y="1869"/>
                    </a:cubicBezTo>
                    <a:cubicBezTo>
                      <a:pt x="1656" y="1897"/>
                      <a:pt x="1637" y="1903"/>
                      <a:pt x="1612" y="1903"/>
                    </a:cubicBezTo>
                    <a:cubicBezTo>
                      <a:pt x="202" y="1903"/>
                      <a:pt x="202" y="1903"/>
                      <a:pt x="202" y="1903"/>
                    </a:cubicBezTo>
                    <a:cubicBezTo>
                      <a:pt x="177" y="1903"/>
                      <a:pt x="158" y="1897"/>
                      <a:pt x="158" y="1869"/>
                    </a:cubicBezTo>
                    <a:cubicBezTo>
                      <a:pt x="158" y="112"/>
                      <a:pt x="158" y="112"/>
                      <a:pt x="158" y="112"/>
                    </a:cubicBezTo>
                    <a:cubicBezTo>
                      <a:pt x="156" y="86"/>
                      <a:pt x="176" y="64"/>
                      <a:pt x="202" y="62"/>
                    </a:cubicBezTo>
                    <a:cubicBezTo>
                      <a:pt x="202" y="62"/>
                      <a:pt x="202" y="62"/>
                      <a:pt x="202" y="62"/>
                    </a:cubicBezTo>
                    <a:cubicBezTo>
                      <a:pt x="439" y="62"/>
                      <a:pt x="439" y="62"/>
                      <a:pt x="439" y="62"/>
                    </a:cubicBezTo>
                    <a:cubicBezTo>
                      <a:pt x="439" y="0"/>
                      <a:pt x="439" y="0"/>
                      <a:pt x="439" y="0"/>
                    </a:cubicBezTo>
                    <a:cubicBezTo>
                      <a:pt x="139" y="0"/>
                      <a:pt x="139" y="0"/>
                      <a:pt x="139" y="0"/>
                    </a:cubicBezTo>
                    <a:cubicBezTo>
                      <a:pt x="62" y="2"/>
                      <a:pt x="0" y="66"/>
                      <a:pt x="2" y="143"/>
                    </a:cubicBezTo>
                    <a:cubicBezTo>
                      <a:pt x="2" y="143"/>
                      <a:pt x="2" y="143"/>
                      <a:pt x="2" y="143"/>
                    </a:cubicBezTo>
                    <a:cubicBezTo>
                      <a:pt x="2" y="1931"/>
                      <a:pt x="2" y="1931"/>
                      <a:pt x="2" y="1931"/>
                    </a:cubicBezTo>
                    <a:cubicBezTo>
                      <a:pt x="2" y="2002"/>
                      <a:pt x="59" y="2059"/>
                      <a:pt x="130" y="2060"/>
                    </a:cubicBezTo>
                    <a:cubicBezTo>
                      <a:pt x="133" y="2060"/>
                      <a:pt x="136" y="2059"/>
                      <a:pt x="139" y="2059"/>
                    </a:cubicBezTo>
                    <a:cubicBezTo>
                      <a:pt x="1675" y="2059"/>
                      <a:pt x="1675" y="2059"/>
                      <a:pt x="1675" y="2059"/>
                    </a:cubicBezTo>
                    <a:cubicBezTo>
                      <a:pt x="1745" y="2064"/>
                      <a:pt x="1806" y="2011"/>
                      <a:pt x="1812" y="1941"/>
                    </a:cubicBezTo>
                    <a:cubicBezTo>
                      <a:pt x="1812" y="1938"/>
                      <a:pt x="1812" y="1935"/>
                      <a:pt x="1812" y="1931"/>
                    </a:cubicBezTo>
                    <a:cubicBezTo>
                      <a:pt x="1812" y="143"/>
                      <a:pt x="1812" y="143"/>
                      <a:pt x="1812" y="143"/>
                    </a:cubicBezTo>
                    <a:cubicBezTo>
                      <a:pt x="1814" y="66"/>
                      <a:pt x="1752" y="2"/>
                      <a:pt x="167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" name="Freeform 43">
                <a:extLst>
                  <a:ext uri="{FF2B5EF4-FFF2-40B4-BE49-F238E27FC236}">
                    <a16:creationId xmlns:a16="http://schemas.microsoft.com/office/drawing/2014/main" xmlns="" id="{4ED3DC09-5AD7-4A51-86DB-1C4893B18D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4" y="2913"/>
                <a:ext cx="179" cy="226"/>
              </a:xfrm>
              <a:custGeom>
                <a:avLst/>
                <a:gdLst>
                  <a:gd name="T0" fmla="*/ 187 w 1310"/>
                  <a:gd name="T1" fmla="*/ 0 h 1654"/>
                  <a:gd name="T2" fmla="*/ 0 w 1310"/>
                  <a:gd name="T3" fmla="*/ 0 h 1654"/>
                  <a:gd name="T4" fmla="*/ 0 w 1310"/>
                  <a:gd name="T5" fmla="*/ 1654 h 1654"/>
                  <a:gd name="T6" fmla="*/ 1310 w 1310"/>
                  <a:gd name="T7" fmla="*/ 1654 h 1654"/>
                  <a:gd name="T8" fmla="*/ 1310 w 1310"/>
                  <a:gd name="T9" fmla="*/ 0 h 1654"/>
                  <a:gd name="T10" fmla="*/ 1123 w 1310"/>
                  <a:gd name="T11" fmla="*/ 0 h 1654"/>
                  <a:gd name="T12" fmla="*/ 1123 w 1310"/>
                  <a:gd name="T13" fmla="*/ 19 h 1654"/>
                  <a:gd name="T14" fmla="*/ 1086 w 1310"/>
                  <a:gd name="T15" fmla="*/ 62 h 1654"/>
                  <a:gd name="T16" fmla="*/ 1082 w 1310"/>
                  <a:gd name="T17" fmla="*/ 62 h 1654"/>
                  <a:gd name="T18" fmla="*/ 224 w 1310"/>
                  <a:gd name="T19" fmla="*/ 62 h 1654"/>
                  <a:gd name="T20" fmla="*/ 187 w 1310"/>
                  <a:gd name="T21" fmla="*/ 19 h 1654"/>
                  <a:gd name="T22" fmla="*/ 187 w 1310"/>
                  <a:gd name="T23" fmla="*/ 0 h 1654"/>
                  <a:gd name="T24" fmla="*/ 1092 w 1310"/>
                  <a:gd name="T25" fmla="*/ 1404 h 1654"/>
                  <a:gd name="T26" fmla="*/ 218 w 1310"/>
                  <a:gd name="T27" fmla="*/ 1404 h 1654"/>
                  <a:gd name="T28" fmla="*/ 171 w 1310"/>
                  <a:gd name="T29" fmla="*/ 1357 h 1654"/>
                  <a:gd name="T30" fmla="*/ 218 w 1310"/>
                  <a:gd name="T31" fmla="*/ 1310 h 1654"/>
                  <a:gd name="T32" fmla="*/ 1092 w 1310"/>
                  <a:gd name="T33" fmla="*/ 1310 h 1654"/>
                  <a:gd name="T34" fmla="*/ 1139 w 1310"/>
                  <a:gd name="T35" fmla="*/ 1357 h 1654"/>
                  <a:gd name="T36" fmla="*/ 1092 w 1310"/>
                  <a:gd name="T37" fmla="*/ 1404 h 1654"/>
                  <a:gd name="T38" fmla="*/ 1092 w 1310"/>
                  <a:gd name="T39" fmla="*/ 1092 h 1654"/>
                  <a:gd name="T40" fmla="*/ 218 w 1310"/>
                  <a:gd name="T41" fmla="*/ 1092 h 1654"/>
                  <a:gd name="T42" fmla="*/ 171 w 1310"/>
                  <a:gd name="T43" fmla="*/ 1045 h 1654"/>
                  <a:gd name="T44" fmla="*/ 218 w 1310"/>
                  <a:gd name="T45" fmla="*/ 998 h 1654"/>
                  <a:gd name="T46" fmla="*/ 1092 w 1310"/>
                  <a:gd name="T47" fmla="*/ 998 h 1654"/>
                  <a:gd name="T48" fmla="*/ 1139 w 1310"/>
                  <a:gd name="T49" fmla="*/ 1045 h 1654"/>
                  <a:gd name="T50" fmla="*/ 1092 w 1310"/>
                  <a:gd name="T51" fmla="*/ 1092 h 1654"/>
                  <a:gd name="T52" fmla="*/ 1092 w 1310"/>
                  <a:gd name="T53" fmla="*/ 686 h 1654"/>
                  <a:gd name="T54" fmla="*/ 1139 w 1310"/>
                  <a:gd name="T55" fmla="*/ 733 h 1654"/>
                  <a:gd name="T56" fmla="*/ 1092 w 1310"/>
                  <a:gd name="T57" fmla="*/ 780 h 1654"/>
                  <a:gd name="T58" fmla="*/ 218 w 1310"/>
                  <a:gd name="T59" fmla="*/ 780 h 1654"/>
                  <a:gd name="T60" fmla="*/ 171 w 1310"/>
                  <a:gd name="T61" fmla="*/ 733 h 1654"/>
                  <a:gd name="T62" fmla="*/ 218 w 1310"/>
                  <a:gd name="T63" fmla="*/ 686 h 1654"/>
                  <a:gd name="T64" fmla="*/ 1092 w 1310"/>
                  <a:gd name="T65" fmla="*/ 686 h 1654"/>
                  <a:gd name="T66" fmla="*/ 218 w 1310"/>
                  <a:gd name="T67" fmla="*/ 374 h 1654"/>
                  <a:gd name="T68" fmla="*/ 624 w 1310"/>
                  <a:gd name="T69" fmla="*/ 374 h 1654"/>
                  <a:gd name="T70" fmla="*/ 671 w 1310"/>
                  <a:gd name="T71" fmla="*/ 421 h 1654"/>
                  <a:gd name="T72" fmla="*/ 624 w 1310"/>
                  <a:gd name="T73" fmla="*/ 468 h 1654"/>
                  <a:gd name="T74" fmla="*/ 218 w 1310"/>
                  <a:gd name="T75" fmla="*/ 468 h 1654"/>
                  <a:gd name="T76" fmla="*/ 171 w 1310"/>
                  <a:gd name="T77" fmla="*/ 421 h 1654"/>
                  <a:gd name="T78" fmla="*/ 218 w 1310"/>
                  <a:gd name="T79" fmla="*/ 374 h 1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310" h="1654">
                    <a:moveTo>
                      <a:pt x="18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654"/>
                      <a:pt x="0" y="1654"/>
                      <a:pt x="0" y="1654"/>
                    </a:cubicBezTo>
                    <a:cubicBezTo>
                      <a:pt x="1310" y="1654"/>
                      <a:pt x="1310" y="1654"/>
                      <a:pt x="1310" y="1654"/>
                    </a:cubicBezTo>
                    <a:cubicBezTo>
                      <a:pt x="1310" y="0"/>
                      <a:pt x="1310" y="0"/>
                      <a:pt x="1310" y="0"/>
                    </a:cubicBezTo>
                    <a:cubicBezTo>
                      <a:pt x="1123" y="0"/>
                      <a:pt x="1123" y="0"/>
                      <a:pt x="1123" y="0"/>
                    </a:cubicBezTo>
                    <a:cubicBezTo>
                      <a:pt x="1123" y="19"/>
                      <a:pt x="1123" y="19"/>
                      <a:pt x="1123" y="19"/>
                    </a:cubicBezTo>
                    <a:cubicBezTo>
                      <a:pt x="1125" y="41"/>
                      <a:pt x="1108" y="60"/>
                      <a:pt x="1086" y="62"/>
                    </a:cubicBezTo>
                    <a:cubicBezTo>
                      <a:pt x="1085" y="62"/>
                      <a:pt x="1084" y="62"/>
                      <a:pt x="1082" y="62"/>
                    </a:cubicBezTo>
                    <a:cubicBezTo>
                      <a:pt x="224" y="62"/>
                      <a:pt x="224" y="62"/>
                      <a:pt x="224" y="62"/>
                    </a:cubicBezTo>
                    <a:cubicBezTo>
                      <a:pt x="199" y="62"/>
                      <a:pt x="187" y="44"/>
                      <a:pt x="187" y="19"/>
                    </a:cubicBezTo>
                    <a:cubicBezTo>
                      <a:pt x="187" y="0"/>
                      <a:pt x="187" y="0"/>
                      <a:pt x="187" y="0"/>
                    </a:cubicBezTo>
                    <a:close/>
                    <a:moveTo>
                      <a:pt x="1092" y="1404"/>
                    </a:moveTo>
                    <a:cubicBezTo>
                      <a:pt x="218" y="1404"/>
                      <a:pt x="218" y="1404"/>
                      <a:pt x="218" y="1404"/>
                    </a:cubicBezTo>
                    <a:cubicBezTo>
                      <a:pt x="192" y="1404"/>
                      <a:pt x="171" y="1383"/>
                      <a:pt x="171" y="1357"/>
                    </a:cubicBezTo>
                    <a:cubicBezTo>
                      <a:pt x="171" y="1331"/>
                      <a:pt x="192" y="1310"/>
                      <a:pt x="218" y="1310"/>
                    </a:cubicBezTo>
                    <a:cubicBezTo>
                      <a:pt x="1092" y="1310"/>
                      <a:pt x="1092" y="1310"/>
                      <a:pt x="1092" y="1310"/>
                    </a:cubicBezTo>
                    <a:cubicBezTo>
                      <a:pt x="1118" y="1310"/>
                      <a:pt x="1139" y="1331"/>
                      <a:pt x="1139" y="1357"/>
                    </a:cubicBezTo>
                    <a:cubicBezTo>
                      <a:pt x="1139" y="1383"/>
                      <a:pt x="1118" y="1404"/>
                      <a:pt x="1092" y="1404"/>
                    </a:cubicBezTo>
                    <a:close/>
                    <a:moveTo>
                      <a:pt x="1092" y="1092"/>
                    </a:moveTo>
                    <a:cubicBezTo>
                      <a:pt x="218" y="1092"/>
                      <a:pt x="218" y="1092"/>
                      <a:pt x="218" y="1092"/>
                    </a:cubicBezTo>
                    <a:cubicBezTo>
                      <a:pt x="192" y="1092"/>
                      <a:pt x="171" y="1071"/>
                      <a:pt x="171" y="1045"/>
                    </a:cubicBezTo>
                    <a:cubicBezTo>
                      <a:pt x="171" y="1019"/>
                      <a:pt x="192" y="998"/>
                      <a:pt x="218" y="998"/>
                    </a:cubicBezTo>
                    <a:cubicBezTo>
                      <a:pt x="1092" y="998"/>
                      <a:pt x="1092" y="998"/>
                      <a:pt x="1092" y="998"/>
                    </a:cubicBezTo>
                    <a:cubicBezTo>
                      <a:pt x="1118" y="998"/>
                      <a:pt x="1139" y="1019"/>
                      <a:pt x="1139" y="1045"/>
                    </a:cubicBezTo>
                    <a:cubicBezTo>
                      <a:pt x="1139" y="1071"/>
                      <a:pt x="1118" y="1092"/>
                      <a:pt x="1092" y="1092"/>
                    </a:cubicBezTo>
                    <a:close/>
                    <a:moveTo>
                      <a:pt x="1092" y="686"/>
                    </a:moveTo>
                    <a:cubicBezTo>
                      <a:pt x="1118" y="686"/>
                      <a:pt x="1139" y="707"/>
                      <a:pt x="1139" y="733"/>
                    </a:cubicBezTo>
                    <a:cubicBezTo>
                      <a:pt x="1139" y="759"/>
                      <a:pt x="1118" y="780"/>
                      <a:pt x="1092" y="780"/>
                    </a:cubicBezTo>
                    <a:cubicBezTo>
                      <a:pt x="218" y="780"/>
                      <a:pt x="218" y="780"/>
                      <a:pt x="218" y="780"/>
                    </a:cubicBezTo>
                    <a:cubicBezTo>
                      <a:pt x="192" y="780"/>
                      <a:pt x="171" y="759"/>
                      <a:pt x="171" y="733"/>
                    </a:cubicBezTo>
                    <a:cubicBezTo>
                      <a:pt x="171" y="707"/>
                      <a:pt x="192" y="686"/>
                      <a:pt x="218" y="686"/>
                    </a:cubicBezTo>
                    <a:lnTo>
                      <a:pt x="1092" y="686"/>
                    </a:lnTo>
                    <a:close/>
                    <a:moveTo>
                      <a:pt x="218" y="374"/>
                    </a:moveTo>
                    <a:cubicBezTo>
                      <a:pt x="624" y="374"/>
                      <a:pt x="624" y="374"/>
                      <a:pt x="624" y="374"/>
                    </a:cubicBezTo>
                    <a:cubicBezTo>
                      <a:pt x="650" y="374"/>
                      <a:pt x="671" y="395"/>
                      <a:pt x="671" y="421"/>
                    </a:cubicBezTo>
                    <a:cubicBezTo>
                      <a:pt x="671" y="447"/>
                      <a:pt x="650" y="468"/>
                      <a:pt x="624" y="468"/>
                    </a:cubicBezTo>
                    <a:cubicBezTo>
                      <a:pt x="218" y="468"/>
                      <a:pt x="218" y="468"/>
                      <a:pt x="218" y="468"/>
                    </a:cubicBezTo>
                    <a:cubicBezTo>
                      <a:pt x="192" y="468"/>
                      <a:pt x="171" y="447"/>
                      <a:pt x="171" y="421"/>
                    </a:cubicBezTo>
                    <a:cubicBezTo>
                      <a:pt x="171" y="395"/>
                      <a:pt x="192" y="374"/>
                      <a:pt x="218" y="3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92" name="Content">
            <a:extLst>
              <a:ext uri="{FF2B5EF4-FFF2-40B4-BE49-F238E27FC236}">
                <a16:creationId xmlns:a16="http://schemas.microsoft.com/office/drawing/2014/main" xmlns="" id="{72FAA1C4-C282-4209-B13B-9F1D6F37018C}"/>
              </a:ext>
            </a:extLst>
          </p:cNvPr>
          <p:cNvGrpSpPr/>
          <p:nvPr/>
        </p:nvGrpSpPr>
        <p:grpSpPr>
          <a:xfrm>
            <a:off x="543005" y="4868313"/>
            <a:ext cx="1116000" cy="756000"/>
            <a:chOff x="543005" y="4762500"/>
            <a:chExt cx="1116000" cy="756000"/>
          </a:xfrm>
        </p:grpSpPr>
        <p:sp>
          <p:nvSpPr>
            <p:cNvPr id="15" name="Rechthoek: afgeronde hoeken 14">
              <a:extLst>
                <a:ext uri="{FF2B5EF4-FFF2-40B4-BE49-F238E27FC236}">
                  <a16:creationId xmlns:a16="http://schemas.microsoft.com/office/drawing/2014/main" xmlns="" id="{91AE5A19-207E-4783-BDC9-7A0E8A462750}"/>
                </a:ext>
              </a:extLst>
            </p:cNvPr>
            <p:cNvSpPr/>
            <p:nvPr/>
          </p:nvSpPr>
          <p:spPr>
            <a:xfrm>
              <a:off x="543005" y="4762500"/>
              <a:ext cx="1116000" cy="756000"/>
            </a:xfrm>
            <a:prstGeom prst="roundRect">
              <a:avLst>
                <a:gd name="adj" fmla="val 8334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0,1%</a:t>
              </a:r>
            </a:p>
          </p:txBody>
        </p:sp>
        <p:grpSp>
          <p:nvGrpSpPr>
            <p:cNvPr id="85" name="Group 46">
              <a:extLst>
                <a:ext uri="{FF2B5EF4-FFF2-40B4-BE49-F238E27FC236}">
                  <a16:creationId xmlns:a16="http://schemas.microsoft.com/office/drawing/2014/main" xmlns="" id="{1157BD33-4ECC-4188-B4FB-0185BAE9C8B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93929" y="4849029"/>
              <a:ext cx="330264" cy="316042"/>
              <a:chOff x="2401" y="3778"/>
              <a:chExt cx="418" cy="400"/>
            </a:xfrm>
            <a:solidFill>
              <a:schemeClr val="bg1"/>
            </a:solidFill>
          </p:grpSpPr>
          <p:sp>
            <p:nvSpPr>
              <p:cNvPr id="87" name="Freeform 47">
                <a:extLst>
                  <a:ext uri="{FF2B5EF4-FFF2-40B4-BE49-F238E27FC236}">
                    <a16:creationId xmlns:a16="http://schemas.microsoft.com/office/drawing/2014/main" xmlns="" id="{76C0869E-F6B3-4D6E-9FF0-65D7955DB7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3778"/>
                <a:ext cx="104" cy="102"/>
              </a:xfrm>
              <a:custGeom>
                <a:avLst/>
                <a:gdLst>
                  <a:gd name="T0" fmla="*/ 45 w 49"/>
                  <a:gd name="T1" fmla="*/ 21 h 48"/>
                  <a:gd name="T2" fmla="*/ 27 w 49"/>
                  <a:gd name="T3" fmla="*/ 3 h 48"/>
                  <a:gd name="T4" fmla="*/ 21 w 49"/>
                  <a:gd name="T5" fmla="*/ 0 h 48"/>
                  <a:gd name="T6" fmla="*/ 14 w 49"/>
                  <a:gd name="T7" fmla="*/ 3 h 48"/>
                  <a:gd name="T8" fmla="*/ 0 w 49"/>
                  <a:gd name="T9" fmla="*/ 17 h 48"/>
                  <a:gd name="T10" fmla="*/ 31 w 49"/>
                  <a:gd name="T11" fmla="*/ 48 h 48"/>
                  <a:gd name="T12" fmla="*/ 45 w 49"/>
                  <a:gd name="T13" fmla="*/ 34 h 48"/>
                  <a:gd name="T14" fmla="*/ 45 w 49"/>
                  <a:gd name="T15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48">
                    <a:moveTo>
                      <a:pt x="45" y="21"/>
                    </a:moveTo>
                    <a:cubicBezTo>
                      <a:pt x="27" y="3"/>
                      <a:pt x="27" y="3"/>
                      <a:pt x="27" y="3"/>
                    </a:cubicBezTo>
                    <a:cubicBezTo>
                      <a:pt x="26" y="1"/>
                      <a:pt x="23" y="0"/>
                      <a:pt x="21" y="0"/>
                    </a:cubicBezTo>
                    <a:cubicBezTo>
                      <a:pt x="19" y="0"/>
                      <a:pt x="16" y="1"/>
                      <a:pt x="14" y="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45" y="34"/>
                      <a:pt x="45" y="34"/>
                      <a:pt x="45" y="34"/>
                    </a:cubicBezTo>
                    <a:cubicBezTo>
                      <a:pt x="49" y="30"/>
                      <a:pt x="49" y="24"/>
                      <a:pt x="4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" name="Freeform 48">
                <a:extLst>
                  <a:ext uri="{FF2B5EF4-FFF2-40B4-BE49-F238E27FC236}">
                    <a16:creationId xmlns:a16="http://schemas.microsoft.com/office/drawing/2014/main" xmlns="" id="{1AC078EF-278B-4788-B31B-8B7CAC894E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4" y="3829"/>
                <a:ext cx="242" cy="243"/>
              </a:xfrm>
              <a:custGeom>
                <a:avLst/>
                <a:gdLst>
                  <a:gd name="T0" fmla="*/ 0 w 242"/>
                  <a:gd name="T1" fmla="*/ 179 h 243"/>
                  <a:gd name="T2" fmla="*/ 64 w 242"/>
                  <a:gd name="T3" fmla="*/ 243 h 243"/>
                  <a:gd name="T4" fmla="*/ 242 w 242"/>
                  <a:gd name="T5" fmla="*/ 64 h 243"/>
                  <a:gd name="T6" fmla="*/ 179 w 242"/>
                  <a:gd name="T7" fmla="*/ 0 h 243"/>
                  <a:gd name="T8" fmla="*/ 0 w 242"/>
                  <a:gd name="T9" fmla="*/ 179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2" h="243">
                    <a:moveTo>
                      <a:pt x="0" y="179"/>
                    </a:moveTo>
                    <a:lnTo>
                      <a:pt x="64" y="243"/>
                    </a:lnTo>
                    <a:lnTo>
                      <a:pt x="242" y="64"/>
                    </a:lnTo>
                    <a:lnTo>
                      <a:pt x="179" y="0"/>
                    </a:lnTo>
                    <a:lnTo>
                      <a:pt x="0" y="1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" name="Freeform 49">
                <a:extLst>
                  <a:ext uri="{FF2B5EF4-FFF2-40B4-BE49-F238E27FC236}">
                    <a16:creationId xmlns:a16="http://schemas.microsoft.com/office/drawing/2014/main" xmlns="" id="{C3A21462-A447-4ECB-986F-3A0046F24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7" y="4020"/>
                <a:ext cx="78" cy="79"/>
              </a:xfrm>
              <a:custGeom>
                <a:avLst/>
                <a:gdLst>
                  <a:gd name="T0" fmla="*/ 12 w 78"/>
                  <a:gd name="T1" fmla="*/ 0 h 79"/>
                  <a:gd name="T2" fmla="*/ 0 w 78"/>
                  <a:gd name="T3" fmla="*/ 79 h 79"/>
                  <a:gd name="T4" fmla="*/ 78 w 78"/>
                  <a:gd name="T5" fmla="*/ 66 h 79"/>
                  <a:gd name="T6" fmla="*/ 12 w 78"/>
                  <a:gd name="T7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8" h="79">
                    <a:moveTo>
                      <a:pt x="12" y="0"/>
                    </a:moveTo>
                    <a:lnTo>
                      <a:pt x="0" y="79"/>
                    </a:lnTo>
                    <a:lnTo>
                      <a:pt x="78" y="6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" name="Freeform 50">
                <a:extLst>
                  <a:ext uri="{FF2B5EF4-FFF2-40B4-BE49-F238E27FC236}">
                    <a16:creationId xmlns:a16="http://schemas.microsoft.com/office/drawing/2014/main" xmlns="" id="{4193A943-9A4B-4989-8BFE-F01E22D6B7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1" y="3846"/>
                <a:ext cx="331" cy="332"/>
              </a:xfrm>
              <a:custGeom>
                <a:avLst/>
                <a:gdLst>
                  <a:gd name="T0" fmla="*/ 136 w 156"/>
                  <a:gd name="T1" fmla="*/ 136 h 156"/>
                  <a:gd name="T2" fmla="*/ 20 w 156"/>
                  <a:gd name="T3" fmla="*/ 136 h 156"/>
                  <a:gd name="T4" fmla="*/ 20 w 156"/>
                  <a:gd name="T5" fmla="*/ 20 h 156"/>
                  <a:gd name="T6" fmla="*/ 102 w 156"/>
                  <a:gd name="T7" fmla="*/ 20 h 156"/>
                  <a:gd name="T8" fmla="*/ 122 w 156"/>
                  <a:gd name="T9" fmla="*/ 0 h 156"/>
                  <a:gd name="T10" fmla="*/ 13 w 156"/>
                  <a:gd name="T11" fmla="*/ 0 h 156"/>
                  <a:gd name="T12" fmla="*/ 0 w 156"/>
                  <a:gd name="T13" fmla="*/ 13 h 156"/>
                  <a:gd name="T14" fmla="*/ 0 w 156"/>
                  <a:gd name="T15" fmla="*/ 143 h 156"/>
                  <a:gd name="T16" fmla="*/ 13 w 156"/>
                  <a:gd name="T17" fmla="*/ 156 h 156"/>
                  <a:gd name="T18" fmla="*/ 143 w 156"/>
                  <a:gd name="T19" fmla="*/ 156 h 156"/>
                  <a:gd name="T20" fmla="*/ 156 w 156"/>
                  <a:gd name="T21" fmla="*/ 143 h 156"/>
                  <a:gd name="T22" fmla="*/ 156 w 156"/>
                  <a:gd name="T23" fmla="*/ 50 h 156"/>
                  <a:gd name="T24" fmla="*/ 136 w 156"/>
                  <a:gd name="T25" fmla="*/ 70 h 156"/>
                  <a:gd name="T26" fmla="*/ 136 w 156"/>
                  <a:gd name="T27" fmla="*/ 13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6" h="156">
                    <a:moveTo>
                      <a:pt x="136" y="136"/>
                    </a:move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02" y="20"/>
                      <a:pt x="102" y="20"/>
                      <a:pt x="102" y="2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0" y="150"/>
                      <a:pt x="6" y="156"/>
                      <a:pt x="13" y="156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50" y="156"/>
                      <a:pt x="156" y="150"/>
                      <a:pt x="156" y="143"/>
                    </a:cubicBezTo>
                    <a:cubicBezTo>
                      <a:pt x="156" y="50"/>
                      <a:pt x="156" y="50"/>
                      <a:pt x="156" y="50"/>
                    </a:cubicBezTo>
                    <a:cubicBezTo>
                      <a:pt x="136" y="70"/>
                      <a:pt x="136" y="70"/>
                      <a:pt x="136" y="70"/>
                    </a:cubicBezTo>
                    <a:cubicBezTo>
                      <a:pt x="136" y="136"/>
                      <a:pt x="136" y="136"/>
                      <a:pt x="136" y="1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97" name="DPD">
            <a:extLst>
              <a:ext uri="{FF2B5EF4-FFF2-40B4-BE49-F238E27FC236}">
                <a16:creationId xmlns:a16="http://schemas.microsoft.com/office/drawing/2014/main" xmlns="" id="{8ECE7F5B-2C2E-4E3A-A11B-791712FE86B0}"/>
              </a:ext>
            </a:extLst>
          </p:cNvPr>
          <p:cNvGrpSpPr/>
          <p:nvPr/>
        </p:nvGrpSpPr>
        <p:grpSpPr>
          <a:xfrm>
            <a:off x="2076530" y="2582313"/>
            <a:ext cx="1116000" cy="756000"/>
            <a:chOff x="2076530" y="2476500"/>
            <a:chExt cx="1116000" cy="756000"/>
          </a:xfrm>
        </p:grpSpPr>
        <p:sp>
          <p:nvSpPr>
            <p:cNvPr id="12" name="Rechthoek: afgeronde hoeken 11">
              <a:extLst>
                <a:ext uri="{FF2B5EF4-FFF2-40B4-BE49-F238E27FC236}">
                  <a16:creationId xmlns:a16="http://schemas.microsoft.com/office/drawing/2014/main" xmlns="" id="{C05D3814-44EC-4513-87E0-EA8700866FD1}"/>
                </a:ext>
              </a:extLst>
            </p:cNvPr>
            <p:cNvSpPr/>
            <p:nvPr/>
          </p:nvSpPr>
          <p:spPr>
            <a:xfrm>
              <a:off x="2076530" y="2476500"/>
              <a:ext cx="1116000" cy="756000"/>
            </a:xfrm>
            <a:prstGeom prst="roundRect">
              <a:avLst>
                <a:gd name="adj" fmla="val 8334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5,3%</a:t>
              </a:r>
            </a:p>
          </p:txBody>
        </p:sp>
        <p:sp>
          <p:nvSpPr>
            <p:cNvPr id="96" name="Freeform 54">
              <a:extLst>
                <a:ext uri="{FF2B5EF4-FFF2-40B4-BE49-F238E27FC236}">
                  <a16:creationId xmlns:a16="http://schemas.microsoft.com/office/drawing/2014/main" xmlns="" id="{F0486D11-876A-498D-B77F-AEAB8A6707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3475" y="2620963"/>
              <a:ext cx="461963" cy="258762"/>
            </a:xfrm>
            <a:custGeom>
              <a:avLst/>
              <a:gdLst>
                <a:gd name="T0" fmla="*/ 907 w 2448"/>
                <a:gd name="T1" fmla="*/ 963 h 1372"/>
                <a:gd name="T2" fmla="*/ 703 w 2448"/>
                <a:gd name="T3" fmla="*/ 1168 h 1372"/>
                <a:gd name="T4" fmla="*/ 907 w 2448"/>
                <a:gd name="T5" fmla="*/ 1372 h 1372"/>
                <a:gd name="T6" fmla="*/ 1111 w 2448"/>
                <a:gd name="T7" fmla="*/ 1168 h 1372"/>
                <a:gd name="T8" fmla="*/ 907 w 2448"/>
                <a:gd name="T9" fmla="*/ 963 h 1372"/>
                <a:gd name="T10" fmla="*/ 907 w 2448"/>
                <a:gd name="T11" fmla="*/ 1270 h 1372"/>
                <a:gd name="T12" fmla="*/ 805 w 2448"/>
                <a:gd name="T13" fmla="*/ 1168 h 1372"/>
                <a:gd name="T14" fmla="*/ 907 w 2448"/>
                <a:gd name="T15" fmla="*/ 1066 h 1372"/>
                <a:gd name="T16" fmla="*/ 1009 w 2448"/>
                <a:gd name="T17" fmla="*/ 1168 h 1372"/>
                <a:gd name="T18" fmla="*/ 907 w 2448"/>
                <a:gd name="T19" fmla="*/ 1270 h 1372"/>
                <a:gd name="T20" fmla="*/ 2448 w 2448"/>
                <a:gd name="T21" fmla="*/ 812 h 1372"/>
                <a:gd name="T22" fmla="*/ 2448 w 2448"/>
                <a:gd name="T23" fmla="*/ 1030 h 1372"/>
                <a:gd name="T24" fmla="*/ 2349 w 2448"/>
                <a:gd name="T25" fmla="*/ 1129 h 1372"/>
                <a:gd name="T26" fmla="*/ 2244 w 2448"/>
                <a:gd name="T27" fmla="*/ 1129 h 1372"/>
                <a:gd name="T28" fmla="*/ 1976 w 2448"/>
                <a:gd name="T29" fmla="*/ 898 h 1372"/>
                <a:gd name="T30" fmla="*/ 1709 w 2448"/>
                <a:gd name="T31" fmla="*/ 1129 h 1372"/>
                <a:gd name="T32" fmla="*/ 1175 w 2448"/>
                <a:gd name="T33" fmla="*/ 1129 h 1372"/>
                <a:gd name="T34" fmla="*/ 907 w 2448"/>
                <a:gd name="T35" fmla="*/ 898 h 1372"/>
                <a:gd name="T36" fmla="*/ 640 w 2448"/>
                <a:gd name="T37" fmla="*/ 1129 h 1372"/>
                <a:gd name="T38" fmla="*/ 508 w 2448"/>
                <a:gd name="T39" fmla="*/ 1129 h 1372"/>
                <a:gd name="T40" fmla="*/ 409 w 2448"/>
                <a:gd name="T41" fmla="*/ 1030 h 1372"/>
                <a:gd name="T42" fmla="*/ 409 w 2448"/>
                <a:gd name="T43" fmla="*/ 812 h 1372"/>
                <a:gd name="T44" fmla="*/ 2448 w 2448"/>
                <a:gd name="T45" fmla="*/ 812 h 1372"/>
                <a:gd name="T46" fmla="*/ 1977 w 2448"/>
                <a:gd name="T47" fmla="*/ 963 h 1372"/>
                <a:gd name="T48" fmla="*/ 1772 w 2448"/>
                <a:gd name="T49" fmla="*/ 1168 h 1372"/>
                <a:gd name="T50" fmla="*/ 1977 w 2448"/>
                <a:gd name="T51" fmla="*/ 1372 h 1372"/>
                <a:gd name="T52" fmla="*/ 2181 w 2448"/>
                <a:gd name="T53" fmla="*/ 1168 h 1372"/>
                <a:gd name="T54" fmla="*/ 1977 w 2448"/>
                <a:gd name="T55" fmla="*/ 963 h 1372"/>
                <a:gd name="T56" fmla="*/ 1977 w 2448"/>
                <a:gd name="T57" fmla="*/ 1270 h 1372"/>
                <a:gd name="T58" fmla="*/ 1874 w 2448"/>
                <a:gd name="T59" fmla="*/ 1168 h 1372"/>
                <a:gd name="T60" fmla="*/ 1977 w 2448"/>
                <a:gd name="T61" fmla="*/ 1066 h 1372"/>
                <a:gd name="T62" fmla="*/ 2079 w 2448"/>
                <a:gd name="T63" fmla="*/ 1168 h 1372"/>
                <a:gd name="T64" fmla="*/ 1977 w 2448"/>
                <a:gd name="T65" fmla="*/ 1270 h 1372"/>
                <a:gd name="T66" fmla="*/ 2409 w 2448"/>
                <a:gd name="T67" fmla="*/ 593 h 1372"/>
                <a:gd name="T68" fmla="*/ 2022 w 2448"/>
                <a:gd name="T69" fmla="*/ 210 h 1372"/>
                <a:gd name="T70" fmla="*/ 1930 w 2448"/>
                <a:gd name="T71" fmla="*/ 171 h 1372"/>
                <a:gd name="T72" fmla="*/ 1734 w 2448"/>
                <a:gd name="T73" fmla="*/ 171 h 1372"/>
                <a:gd name="T74" fmla="*/ 1734 w 2448"/>
                <a:gd name="T75" fmla="*/ 98 h 1372"/>
                <a:gd name="T76" fmla="*/ 1636 w 2448"/>
                <a:gd name="T77" fmla="*/ 0 h 1372"/>
                <a:gd name="T78" fmla="*/ 508 w 2448"/>
                <a:gd name="T79" fmla="*/ 0 h 1372"/>
                <a:gd name="T80" fmla="*/ 409 w 2448"/>
                <a:gd name="T81" fmla="*/ 98 h 1372"/>
                <a:gd name="T82" fmla="*/ 409 w 2448"/>
                <a:gd name="T83" fmla="*/ 114 h 1372"/>
                <a:gd name="T84" fmla="*/ 9 w 2448"/>
                <a:gd name="T85" fmla="*/ 160 h 1372"/>
                <a:gd name="T86" fmla="*/ 718 w 2448"/>
                <a:gd name="T87" fmla="*/ 252 h 1372"/>
                <a:gd name="T88" fmla="*/ 0 w 2448"/>
                <a:gd name="T89" fmla="*/ 323 h 1372"/>
                <a:gd name="T90" fmla="*/ 715 w 2448"/>
                <a:gd name="T91" fmla="*/ 425 h 1372"/>
                <a:gd name="T92" fmla="*/ 0 w 2448"/>
                <a:gd name="T93" fmla="*/ 487 h 1372"/>
                <a:gd name="T94" fmla="*/ 409 w 2448"/>
                <a:gd name="T95" fmla="*/ 564 h 1372"/>
                <a:gd name="T96" fmla="*/ 409 w 2448"/>
                <a:gd name="T97" fmla="*/ 758 h 1372"/>
                <a:gd name="T98" fmla="*/ 2448 w 2448"/>
                <a:gd name="T99" fmla="*/ 758 h 1372"/>
                <a:gd name="T100" fmla="*/ 2448 w 2448"/>
                <a:gd name="T101" fmla="*/ 686 h 1372"/>
                <a:gd name="T102" fmla="*/ 2409 w 2448"/>
                <a:gd name="T103" fmla="*/ 593 h 1372"/>
                <a:gd name="T104" fmla="*/ 2240 w 2448"/>
                <a:gd name="T105" fmla="*/ 605 h 1372"/>
                <a:gd name="T106" fmla="*/ 1866 w 2448"/>
                <a:gd name="T107" fmla="*/ 605 h 1372"/>
                <a:gd name="T108" fmla="*/ 1850 w 2448"/>
                <a:gd name="T109" fmla="*/ 590 h 1372"/>
                <a:gd name="T110" fmla="*/ 1850 w 2448"/>
                <a:gd name="T111" fmla="*/ 301 h 1372"/>
                <a:gd name="T112" fmla="*/ 1866 w 2448"/>
                <a:gd name="T113" fmla="*/ 285 h 1372"/>
                <a:gd name="T114" fmla="*/ 1937 w 2448"/>
                <a:gd name="T115" fmla="*/ 285 h 1372"/>
                <a:gd name="T116" fmla="*/ 1948 w 2448"/>
                <a:gd name="T117" fmla="*/ 289 h 1372"/>
                <a:gd name="T118" fmla="*/ 2251 w 2448"/>
                <a:gd name="T119" fmla="*/ 579 h 1372"/>
                <a:gd name="T120" fmla="*/ 2240 w 2448"/>
                <a:gd name="T121" fmla="*/ 605 h 1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48" h="1372">
                  <a:moveTo>
                    <a:pt x="907" y="963"/>
                  </a:moveTo>
                  <a:cubicBezTo>
                    <a:pt x="794" y="963"/>
                    <a:pt x="703" y="1055"/>
                    <a:pt x="703" y="1168"/>
                  </a:cubicBezTo>
                  <a:cubicBezTo>
                    <a:pt x="703" y="1281"/>
                    <a:pt x="794" y="1372"/>
                    <a:pt x="907" y="1372"/>
                  </a:cubicBezTo>
                  <a:cubicBezTo>
                    <a:pt x="1020" y="1372"/>
                    <a:pt x="1111" y="1281"/>
                    <a:pt x="1111" y="1168"/>
                  </a:cubicBezTo>
                  <a:cubicBezTo>
                    <a:pt x="1111" y="1055"/>
                    <a:pt x="1020" y="963"/>
                    <a:pt x="907" y="963"/>
                  </a:cubicBezTo>
                  <a:close/>
                  <a:moveTo>
                    <a:pt x="907" y="1270"/>
                  </a:moveTo>
                  <a:cubicBezTo>
                    <a:pt x="851" y="1270"/>
                    <a:pt x="805" y="1224"/>
                    <a:pt x="805" y="1168"/>
                  </a:cubicBezTo>
                  <a:cubicBezTo>
                    <a:pt x="805" y="1112"/>
                    <a:pt x="851" y="1066"/>
                    <a:pt x="907" y="1066"/>
                  </a:cubicBezTo>
                  <a:cubicBezTo>
                    <a:pt x="964" y="1066"/>
                    <a:pt x="1009" y="1112"/>
                    <a:pt x="1009" y="1168"/>
                  </a:cubicBezTo>
                  <a:cubicBezTo>
                    <a:pt x="1009" y="1224"/>
                    <a:pt x="964" y="1270"/>
                    <a:pt x="907" y="1270"/>
                  </a:cubicBezTo>
                  <a:close/>
                  <a:moveTo>
                    <a:pt x="2448" y="812"/>
                  </a:moveTo>
                  <a:cubicBezTo>
                    <a:pt x="2448" y="1030"/>
                    <a:pt x="2448" y="1030"/>
                    <a:pt x="2448" y="1030"/>
                  </a:cubicBezTo>
                  <a:cubicBezTo>
                    <a:pt x="2448" y="1085"/>
                    <a:pt x="2404" y="1129"/>
                    <a:pt x="2349" y="1129"/>
                  </a:cubicBezTo>
                  <a:cubicBezTo>
                    <a:pt x="2244" y="1129"/>
                    <a:pt x="2244" y="1129"/>
                    <a:pt x="2244" y="1129"/>
                  </a:cubicBezTo>
                  <a:cubicBezTo>
                    <a:pt x="2225" y="998"/>
                    <a:pt x="2112" y="898"/>
                    <a:pt x="1976" y="898"/>
                  </a:cubicBezTo>
                  <a:cubicBezTo>
                    <a:pt x="1841" y="898"/>
                    <a:pt x="1728" y="998"/>
                    <a:pt x="1709" y="1129"/>
                  </a:cubicBezTo>
                  <a:cubicBezTo>
                    <a:pt x="1175" y="1129"/>
                    <a:pt x="1175" y="1129"/>
                    <a:pt x="1175" y="1129"/>
                  </a:cubicBezTo>
                  <a:cubicBezTo>
                    <a:pt x="1155" y="998"/>
                    <a:pt x="1043" y="898"/>
                    <a:pt x="907" y="898"/>
                  </a:cubicBezTo>
                  <a:cubicBezTo>
                    <a:pt x="771" y="898"/>
                    <a:pt x="659" y="998"/>
                    <a:pt x="640" y="1129"/>
                  </a:cubicBezTo>
                  <a:cubicBezTo>
                    <a:pt x="508" y="1129"/>
                    <a:pt x="508" y="1129"/>
                    <a:pt x="508" y="1129"/>
                  </a:cubicBezTo>
                  <a:cubicBezTo>
                    <a:pt x="453" y="1129"/>
                    <a:pt x="409" y="1085"/>
                    <a:pt x="409" y="1030"/>
                  </a:cubicBezTo>
                  <a:cubicBezTo>
                    <a:pt x="409" y="812"/>
                    <a:pt x="409" y="812"/>
                    <a:pt x="409" y="812"/>
                  </a:cubicBezTo>
                  <a:cubicBezTo>
                    <a:pt x="2448" y="812"/>
                    <a:pt x="2448" y="812"/>
                    <a:pt x="2448" y="812"/>
                  </a:cubicBezTo>
                  <a:close/>
                  <a:moveTo>
                    <a:pt x="1977" y="963"/>
                  </a:moveTo>
                  <a:cubicBezTo>
                    <a:pt x="1864" y="963"/>
                    <a:pt x="1772" y="1055"/>
                    <a:pt x="1772" y="1168"/>
                  </a:cubicBezTo>
                  <a:cubicBezTo>
                    <a:pt x="1772" y="1281"/>
                    <a:pt x="1864" y="1372"/>
                    <a:pt x="1977" y="1372"/>
                  </a:cubicBezTo>
                  <a:cubicBezTo>
                    <a:pt x="2089" y="1372"/>
                    <a:pt x="2181" y="1281"/>
                    <a:pt x="2181" y="1168"/>
                  </a:cubicBezTo>
                  <a:cubicBezTo>
                    <a:pt x="2181" y="1055"/>
                    <a:pt x="2089" y="963"/>
                    <a:pt x="1977" y="963"/>
                  </a:cubicBezTo>
                  <a:close/>
                  <a:moveTo>
                    <a:pt x="1977" y="1270"/>
                  </a:moveTo>
                  <a:cubicBezTo>
                    <a:pt x="1920" y="1270"/>
                    <a:pt x="1874" y="1224"/>
                    <a:pt x="1874" y="1168"/>
                  </a:cubicBezTo>
                  <a:cubicBezTo>
                    <a:pt x="1874" y="1112"/>
                    <a:pt x="1920" y="1066"/>
                    <a:pt x="1977" y="1066"/>
                  </a:cubicBezTo>
                  <a:cubicBezTo>
                    <a:pt x="2033" y="1066"/>
                    <a:pt x="2079" y="1112"/>
                    <a:pt x="2079" y="1168"/>
                  </a:cubicBezTo>
                  <a:cubicBezTo>
                    <a:pt x="2079" y="1224"/>
                    <a:pt x="2033" y="1270"/>
                    <a:pt x="1977" y="1270"/>
                  </a:cubicBezTo>
                  <a:close/>
                  <a:moveTo>
                    <a:pt x="2409" y="593"/>
                  </a:moveTo>
                  <a:cubicBezTo>
                    <a:pt x="2022" y="210"/>
                    <a:pt x="2022" y="210"/>
                    <a:pt x="2022" y="210"/>
                  </a:cubicBezTo>
                  <a:cubicBezTo>
                    <a:pt x="1997" y="185"/>
                    <a:pt x="1964" y="171"/>
                    <a:pt x="1930" y="171"/>
                  </a:cubicBezTo>
                  <a:cubicBezTo>
                    <a:pt x="1734" y="171"/>
                    <a:pt x="1734" y="171"/>
                    <a:pt x="1734" y="171"/>
                  </a:cubicBezTo>
                  <a:cubicBezTo>
                    <a:pt x="1734" y="98"/>
                    <a:pt x="1734" y="98"/>
                    <a:pt x="1734" y="98"/>
                  </a:cubicBezTo>
                  <a:cubicBezTo>
                    <a:pt x="1734" y="44"/>
                    <a:pt x="1690" y="0"/>
                    <a:pt x="1636" y="0"/>
                  </a:cubicBezTo>
                  <a:cubicBezTo>
                    <a:pt x="508" y="0"/>
                    <a:pt x="508" y="0"/>
                    <a:pt x="508" y="0"/>
                  </a:cubicBezTo>
                  <a:cubicBezTo>
                    <a:pt x="453" y="0"/>
                    <a:pt x="409" y="44"/>
                    <a:pt x="409" y="98"/>
                  </a:cubicBezTo>
                  <a:cubicBezTo>
                    <a:pt x="409" y="114"/>
                    <a:pt x="409" y="114"/>
                    <a:pt x="409" y="114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718" y="252"/>
                    <a:pt x="718" y="252"/>
                    <a:pt x="718" y="252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715" y="425"/>
                    <a:pt x="715" y="425"/>
                    <a:pt x="715" y="425"/>
                  </a:cubicBezTo>
                  <a:cubicBezTo>
                    <a:pt x="0" y="487"/>
                    <a:pt x="0" y="487"/>
                    <a:pt x="0" y="487"/>
                  </a:cubicBezTo>
                  <a:cubicBezTo>
                    <a:pt x="409" y="564"/>
                    <a:pt x="409" y="564"/>
                    <a:pt x="409" y="564"/>
                  </a:cubicBezTo>
                  <a:cubicBezTo>
                    <a:pt x="409" y="758"/>
                    <a:pt x="409" y="758"/>
                    <a:pt x="409" y="758"/>
                  </a:cubicBezTo>
                  <a:cubicBezTo>
                    <a:pt x="2448" y="758"/>
                    <a:pt x="2448" y="758"/>
                    <a:pt x="2448" y="758"/>
                  </a:cubicBezTo>
                  <a:cubicBezTo>
                    <a:pt x="2448" y="686"/>
                    <a:pt x="2448" y="686"/>
                    <a:pt x="2448" y="686"/>
                  </a:cubicBezTo>
                  <a:cubicBezTo>
                    <a:pt x="2448" y="651"/>
                    <a:pt x="2434" y="617"/>
                    <a:pt x="2409" y="593"/>
                  </a:cubicBezTo>
                  <a:close/>
                  <a:moveTo>
                    <a:pt x="2240" y="605"/>
                  </a:moveTo>
                  <a:cubicBezTo>
                    <a:pt x="1866" y="605"/>
                    <a:pt x="1866" y="605"/>
                    <a:pt x="1866" y="605"/>
                  </a:cubicBezTo>
                  <a:cubicBezTo>
                    <a:pt x="1857" y="605"/>
                    <a:pt x="1850" y="598"/>
                    <a:pt x="1850" y="590"/>
                  </a:cubicBezTo>
                  <a:cubicBezTo>
                    <a:pt x="1850" y="301"/>
                    <a:pt x="1850" y="301"/>
                    <a:pt x="1850" y="301"/>
                  </a:cubicBezTo>
                  <a:cubicBezTo>
                    <a:pt x="1850" y="292"/>
                    <a:pt x="1857" y="285"/>
                    <a:pt x="1866" y="285"/>
                  </a:cubicBezTo>
                  <a:cubicBezTo>
                    <a:pt x="1937" y="285"/>
                    <a:pt x="1937" y="285"/>
                    <a:pt x="1937" y="285"/>
                  </a:cubicBezTo>
                  <a:cubicBezTo>
                    <a:pt x="1941" y="285"/>
                    <a:pt x="1945" y="287"/>
                    <a:pt x="1948" y="289"/>
                  </a:cubicBezTo>
                  <a:cubicBezTo>
                    <a:pt x="2251" y="579"/>
                    <a:pt x="2251" y="579"/>
                    <a:pt x="2251" y="579"/>
                  </a:cubicBezTo>
                  <a:cubicBezTo>
                    <a:pt x="2261" y="588"/>
                    <a:pt x="2254" y="605"/>
                    <a:pt x="2240" y="60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grpSp>
        <p:nvGrpSpPr>
          <p:cNvPr id="102" name="Groep 101">
            <a:extLst>
              <a:ext uri="{FF2B5EF4-FFF2-40B4-BE49-F238E27FC236}">
                <a16:creationId xmlns:a16="http://schemas.microsoft.com/office/drawing/2014/main" xmlns="" id="{954494C0-4C28-4D54-8718-8AEC05BEE487}"/>
              </a:ext>
            </a:extLst>
          </p:cNvPr>
          <p:cNvGrpSpPr/>
          <p:nvPr/>
        </p:nvGrpSpPr>
        <p:grpSpPr>
          <a:xfrm>
            <a:off x="5585769" y="1741555"/>
            <a:ext cx="5653644" cy="3589636"/>
            <a:chOff x="5585769" y="1824682"/>
            <a:chExt cx="5653644" cy="3589636"/>
          </a:xfrm>
        </p:grpSpPr>
        <p:grpSp>
          <p:nvGrpSpPr>
            <p:cNvPr id="99" name="Groep 98">
              <a:extLst>
                <a:ext uri="{FF2B5EF4-FFF2-40B4-BE49-F238E27FC236}">
                  <a16:creationId xmlns:a16="http://schemas.microsoft.com/office/drawing/2014/main" xmlns="" id="{8F7F7468-B051-4F94-9B5D-243955F09590}"/>
                </a:ext>
              </a:extLst>
            </p:cNvPr>
            <p:cNvGrpSpPr/>
            <p:nvPr/>
          </p:nvGrpSpPr>
          <p:grpSpPr>
            <a:xfrm>
              <a:off x="5585769" y="1824682"/>
              <a:ext cx="5653644" cy="3589636"/>
              <a:chOff x="5585769" y="1824682"/>
              <a:chExt cx="5653644" cy="3589636"/>
            </a:xfrm>
          </p:grpSpPr>
          <p:pic>
            <p:nvPicPr>
              <p:cNvPr id="83" name="Afbeelding 82">
                <a:extLst>
                  <a:ext uri="{FF2B5EF4-FFF2-40B4-BE49-F238E27FC236}">
                    <a16:creationId xmlns:a16="http://schemas.microsoft.com/office/drawing/2014/main" xmlns="" id="{6CC37A7D-C062-4EB7-971E-3D3A7C35CB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5400000">
                <a:off x="6617773" y="792678"/>
                <a:ext cx="3589636" cy="5653644"/>
              </a:xfrm>
              <a:prstGeom prst="rect">
                <a:avLst/>
              </a:prstGeom>
            </p:spPr>
          </p:pic>
          <p:sp>
            <p:nvSpPr>
              <p:cNvPr id="98" name="Rechthoek 97">
                <a:extLst>
                  <a:ext uri="{FF2B5EF4-FFF2-40B4-BE49-F238E27FC236}">
                    <a16:creationId xmlns:a16="http://schemas.microsoft.com/office/drawing/2014/main" xmlns="" id="{D663EB86-42AE-48D8-988A-137EE8EFAF35}"/>
                  </a:ext>
                </a:extLst>
              </p:cNvPr>
              <p:cNvSpPr/>
              <p:nvPr/>
            </p:nvSpPr>
            <p:spPr>
              <a:xfrm>
                <a:off x="6184900" y="2012949"/>
                <a:ext cx="4454525" cy="321310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pPr algn="ctr"/>
                <a:endParaRPr lang="nl-NL" dirty="0"/>
              </a:p>
            </p:txBody>
          </p:sp>
        </p:grpSp>
        <p:pic>
          <p:nvPicPr>
            <p:cNvPr id="101" name="Picture 4">
              <a:extLst>
                <a:ext uri="{FF2B5EF4-FFF2-40B4-BE49-F238E27FC236}">
                  <a16:creationId xmlns:a16="http://schemas.microsoft.com/office/drawing/2014/main" xmlns="" id="{8067D6F0-6E46-4294-9150-08F19BB045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08701" y="2894997"/>
              <a:ext cx="4407780" cy="1449004"/>
            </a:xfrm>
            <a:prstGeom prst="rect">
              <a:avLst/>
            </a:prstGeom>
          </p:spPr>
        </p:pic>
      </p:grpSp>
      <p:sp>
        <p:nvSpPr>
          <p:cNvPr id="103" name="Rechthoek: afgeronde hoeken 102">
            <a:extLst>
              <a:ext uri="{FF2B5EF4-FFF2-40B4-BE49-F238E27FC236}">
                <a16:creationId xmlns:a16="http://schemas.microsoft.com/office/drawing/2014/main" xmlns="" id="{F515E7F1-EA2D-4E9D-A6F5-3A2052D97849}"/>
              </a:ext>
            </a:extLst>
          </p:cNvPr>
          <p:cNvSpPr/>
          <p:nvPr/>
        </p:nvSpPr>
        <p:spPr>
          <a:xfrm>
            <a:off x="381000" y="1308986"/>
            <a:ext cx="1439973" cy="1018590"/>
          </a:xfrm>
          <a:prstGeom prst="roundRect">
            <a:avLst>
              <a:gd name="adj" fmla="val 12926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A03E77A4-0E83-43E7-8901-AB12336D9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</p:spTree>
    <p:extLst>
      <p:ext uri="{BB962C8B-B14F-4D97-AF65-F5344CB8AC3E}">
        <p14:creationId xmlns:p14="http://schemas.microsoft.com/office/powerpoint/2010/main" val="223879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" presetClass="entr" presetSubtype="2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xmlns="" id="{12643685-0710-4A25-B5BF-1AB3C1D5D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Brand C: Digital </a:t>
            </a:r>
            <a:r>
              <a:rPr lang="nl-NL" dirty="0" err="1"/>
              <a:t>insights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sharpen</a:t>
            </a:r>
            <a:r>
              <a:rPr lang="nl-NL" dirty="0"/>
              <a:t> </a:t>
            </a:r>
            <a:r>
              <a:rPr lang="nl-NL" dirty="0" err="1"/>
              <a:t>promotional</a:t>
            </a:r>
            <a:r>
              <a:rPr lang="nl-NL" dirty="0"/>
              <a:t> </a:t>
            </a:r>
            <a:r>
              <a:rPr lang="nl-NL" dirty="0" err="1"/>
              <a:t>strategy</a:t>
            </a:r>
            <a:endParaRPr lang="nl-NL" dirty="0"/>
          </a:p>
        </p:txBody>
      </p:sp>
      <p:grpSp>
        <p:nvGrpSpPr>
          <p:cNvPr id="75" name="Favorities">
            <a:extLst>
              <a:ext uri="{FF2B5EF4-FFF2-40B4-BE49-F238E27FC236}">
                <a16:creationId xmlns:a16="http://schemas.microsoft.com/office/drawing/2014/main" xmlns="" id="{BDEF1FEE-02FA-4317-B2C0-33B89739431D}"/>
              </a:ext>
            </a:extLst>
          </p:cNvPr>
          <p:cNvGrpSpPr/>
          <p:nvPr/>
        </p:nvGrpSpPr>
        <p:grpSpPr>
          <a:xfrm>
            <a:off x="3610055" y="1439313"/>
            <a:ext cx="1116000" cy="756000"/>
            <a:chOff x="3610055" y="1333500"/>
            <a:chExt cx="1296000" cy="900000"/>
          </a:xfrm>
        </p:grpSpPr>
        <p:sp>
          <p:nvSpPr>
            <p:cNvPr id="17" name="Rechthoek: afgeronde hoeken 16">
              <a:extLst>
                <a:ext uri="{FF2B5EF4-FFF2-40B4-BE49-F238E27FC236}">
                  <a16:creationId xmlns:a16="http://schemas.microsoft.com/office/drawing/2014/main" xmlns="" id="{375E2E28-193C-4291-B3B2-900A722F8E2D}"/>
                </a:ext>
              </a:extLst>
            </p:cNvPr>
            <p:cNvSpPr/>
            <p:nvPr/>
          </p:nvSpPr>
          <p:spPr>
            <a:xfrm>
              <a:off x="3610055" y="1333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>
                  <a:solidFill>
                    <a:schemeClr val="bg1"/>
                  </a:solidFill>
                </a:rPr>
                <a:t>8%</a:t>
              </a:r>
            </a:p>
          </p:txBody>
        </p:sp>
        <p:sp>
          <p:nvSpPr>
            <p:cNvPr id="22" name="Ster: 5 punten 21">
              <a:extLst>
                <a:ext uri="{FF2B5EF4-FFF2-40B4-BE49-F238E27FC236}">
                  <a16:creationId xmlns:a16="http://schemas.microsoft.com/office/drawing/2014/main" xmlns="" id="{ACE22E30-4109-4A1F-9B0E-9888C63BD1D5}"/>
                </a:ext>
              </a:extLst>
            </p:cNvPr>
            <p:cNvSpPr/>
            <p:nvPr/>
          </p:nvSpPr>
          <p:spPr>
            <a:xfrm>
              <a:off x="4411720" y="1506656"/>
              <a:ext cx="324000" cy="28800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/>
            </a:p>
          </p:txBody>
        </p:sp>
        <p:sp>
          <p:nvSpPr>
            <p:cNvPr id="23" name="Ster: 5 punten 22">
              <a:extLst>
                <a:ext uri="{FF2B5EF4-FFF2-40B4-BE49-F238E27FC236}">
                  <a16:creationId xmlns:a16="http://schemas.microsoft.com/office/drawing/2014/main" xmlns="" id="{CFE5844A-6533-4BA6-9C1A-5E27757B06A5}"/>
                </a:ext>
              </a:extLst>
            </p:cNvPr>
            <p:cNvSpPr/>
            <p:nvPr/>
          </p:nvSpPr>
          <p:spPr>
            <a:xfrm>
              <a:off x="3790945" y="1506656"/>
              <a:ext cx="324000" cy="28800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/>
            </a:p>
          </p:txBody>
        </p:sp>
        <p:sp>
          <p:nvSpPr>
            <p:cNvPr id="21" name="Ster: 5 punten 20">
              <a:extLst>
                <a:ext uri="{FF2B5EF4-FFF2-40B4-BE49-F238E27FC236}">
                  <a16:creationId xmlns:a16="http://schemas.microsoft.com/office/drawing/2014/main" xmlns="" id="{569E01E4-92C5-47AB-981E-3E048A4DA619}"/>
                </a:ext>
              </a:extLst>
            </p:cNvPr>
            <p:cNvSpPr/>
            <p:nvPr/>
          </p:nvSpPr>
          <p:spPr>
            <a:xfrm>
              <a:off x="4060055" y="1432556"/>
              <a:ext cx="396000" cy="360000"/>
            </a:xfrm>
            <a:prstGeom prst="star5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/>
            </a:p>
          </p:txBody>
        </p:sp>
      </p:grpSp>
      <p:grpSp>
        <p:nvGrpSpPr>
          <p:cNvPr id="73" name="Search">
            <a:extLst>
              <a:ext uri="{FF2B5EF4-FFF2-40B4-BE49-F238E27FC236}">
                <a16:creationId xmlns:a16="http://schemas.microsoft.com/office/drawing/2014/main" xmlns="" id="{07319F9F-4A32-430B-BDEA-757EEBF9CBA5}"/>
              </a:ext>
            </a:extLst>
          </p:cNvPr>
          <p:cNvGrpSpPr/>
          <p:nvPr/>
        </p:nvGrpSpPr>
        <p:grpSpPr>
          <a:xfrm>
            <a:off x="543005" y="1439313"/>
            <a:ext cx="1116000" cy="756000"/>
            <a:chOff x="543005" y="1333500"/>
            <a:chExt cx="1296000" cy="900000"/>
          </a:xfrm>
        </p:grpSpPr>
        <p:sp>
          <p:nvSpPr>
            <p:cNvPr id="4" name="Rechthoek: afgeronde hoeken 3">
              <a:extLst>
                <a:ext uri="{FF2B5EF4-FFF2-40B4-BE49-F238E27FC236}">
                  <a16:creationId xmlns:a16="http://schemas.microsoft.com/office/drawing/2014/main" xmlns="" id="{1EF39224-9A32-4D0A-9853-80974D4B93D6}"/>
                </a:ext>
              </a:extLst>
            </p:cNvPr>
            <p:cNvSpPr/>
            <p:nvPr/>
          </p:nvSpPr>
          <p:spPr>
            <a:xfrm>
              <a:off x="543005" y="1333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30%</a:t>
              </a: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xmlns="" id="{44DEA8EB-DF26-4459-BB8F-061A13D965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6549" y="1435953"/>
              <a:ext cx="408911" cy="381649"/>
            </a:xfrm>
            <a:custGeom>
              <a:avLst/>
              <a:gdLst>
                <a:gd name="T0" fmla="*/ 115 w 345"/>
                <a:gd name="T1" fmla="*/ 40 h 322"/>
                <a:gd name="T2" fmla="*/ 75 w 345"/>
                <a:gd name="T3" fmla="*/ 60 h 322"/>
                <a:gd name="T4" fmla="*/ 48 w 345"/>
                <a:gd name="T5" fmla="*/ 95 h 322"/>
                <a:gd name="T6" fmla="*/ 38 w 345"/>
                <a:gd name="T7" fmla="*/ 139 h 322"/>
                <a:gd name="T8" fmla="*/ 48 w 345"/>
                <a:gd name="T9" fmla="*/ 183 h 322"/>
                <a:gd name="T10" fmla="*/ 75 w 345"/>
                <a:gd name="T11" fmla="*/ 218 h 322"/>
                <a:gd name="T12" fmla="*/ 115 w 345"/>
                <a:gd name="T13" fmla="*/ 236 h 322"/>
                <a:gd name="T14" fmla="*/ 161 w 345"/>
                <a:gd name="T15" fmla="*/ 236 h 322"/>
                <a:gd name="T16" fmla="*/ 201 w 345"/>
                <a:gd name="T17" fmla="*/ 218 h 322"/>
                <a:gd name="T18" fmla="*/ 228 w 345"/>
                <a:gd name="T19" fmla="*/ 183 h 322"/>
                <a:gd name="T20" fmla="*/ 239 w 345"/>
                <a:gd name="T21" fmla="*/ 139 h 322"/>
                <a:gd name="T22" fmla="*/ 228 w 345"/>
                <a:gd name="T23" fmla="*/ 95 h 322"/>
                <a:gd name="T24" fmla="*/ 201 w 345"/>
                <a:gd name="T25" fmla="*/ 60 h 322"/>
                <a:gd name="T26" fmla="*/ 161 w 345"/>
                <a:gd name="T27" fmla="*/ 40 h 322"/>
                <a:gd name="T28" fmla="*/ 139 w 345"/>
                <a:gd name="T29" fmla="*/ 0 h 322"/>
                <a:gd name="T30" fmla="*/ 193 w 345"/>
                <a:gd name="T31" fmla="*/ 11 h 322"/>
                <a:gd name="T32" fmla="*/ 236 w 345"/>
                <a:gd name="T33" fmla="*/ 40 h 322"/>
                <a:gd name="T34" fmla="*/ 266 w 345"/>
                <a:gd name="T35" fmla="*/ 85 h 322"/>
                <a:gd name="T36" fmla="*/ 277 w 345"/>
                <a:gd name="T37" fmla="*/ 139 h 322"/>
                <a:gd name="T38" fmla="*/ 271 w 345"/>
                <a:gd name="T39" fmla="*/ 179 h 322"/>
                <a:gd name="T40" fmla="*/ 334 w 345"/>
                <a:gd name="T41" fmla="*/ 262 h 322"/>
                <a:gd name="T42" fmla="*/ 344 w 345"/>
                <a:gd name="T43" fmla="*/ 278 h 322"/>
                <a:gd name="T44" fmla="*/ 343 w 345"/>
                <a:gd name="T45" fmla="*/ 300 h 322"/>
                <a:gd name="T46" fmla="*/ 326 w 345"/>
                <a:gd name="T47" fmla="*/ 318 h 322"/>
                <a:gd name="T48" fmla="*/ 300 w 345"/>
                <a:gd name="T49" fmla="*/ 320 h 322"/>
                <a:gd name="T50" fmla="*/ 220 w 345"/>
                <a:gd name="T51" fmla="*/ 250 h 322"/>
                <a:gd name="T52" fmla="*/ 168 w 345"/>
                <a:gd name="T53" fmla="*/ 274 h 322"/>
                <a:gd name="T54" fmla="*/ 110 w 345"/>
                <a:gd name="T55" fmla="*/ 274 h 322"/>
                <a:gd name="T56" fmla="*/ 61 w 345"/>
                <a:gd name="T57" fmla="*/ 254 h 322"/>
                <a:gd name="T58" fmla="*/ 23 w 345"/>
                <a:gd name="T59" fmla="*/ 217 h 322"/>
                <a:gd name="T60" fmla="*/ 2 w 345"/>
                <a:gd name="T61" fmla="*/ 167 h 322"/>
                <a:gd name="T62" fmla="*/ 2 w 345"/>
                <a:gd name="T63" fmla="*/ 111 h 322"/>
                <a:gd name="T64" fmla="*/ 23 w 345"/>
                <a:gd name="T65" fmla="*/ 61 h 322"/>
                <a:gd name="T66" fmla="*/ 61 w 345"/>
                <a:gd name="T67" fmla="*/ 24 h 322"/>
                <a:gd name="T68" fmla="*/ 110 w 345"/>
                <a:gd name="T69" fmla="*/ 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5" h="322">
                  <a:moveTo>
                    <a:pt x="139" y="38"/>
                  </a:moveTo>
                  <a:lnTo>
                    <a:pt x="115" y="40"/>
                  </a:lnTo>
                  <a:lnTo>
                    <a:pt x="94" y="48"/>
                  </a:lnTo>
                  <a:lnTo>
                    <a:pt x="75" y="60"/>
                  </a:lnTo>
                  <a:lnTo>
                    <a:pt x="60" y="76"/>
                  </a:lnTo>
                  <a:lnTo>
                    <a:pt x="48" y="95"/>
                  </a:lnTo>
                  <a:lnTo>
                    <a:pt x="40" y="116"/>
                  </a:lnTo>
                  <a:lnTo>
                    <a:pt x="38" y="139"/>
                  </a:lnTo>
                  <a:lnTo>
                    <a:pt x="40" y="162"/>
                  </a:lnTo>
                  <a:lnTo>
                    <a:pt x="48" y="183"/>
                  </a:lnTo>
                  <a:lnTo>
                    <a:pt x="60" y="202"/>
                  </a:lnTo>
                  <a:lnTo>
                    <a:pt x="75" y="218"/>
                  </a:lnTo>
                  <a:lnTo>
                    <a:pt x="94" y="229"/>
                  </a:lnTo>
                  <a:lnTo>
                    <a:pt x="115" y="236"/>
                  </a:lnTo>
                  <a:lnTo>
                    <a:pt x="139" y="240"/>
                  </a:lnTo>
                  <a:lnTo>
                    <a:pt x="161" y="236"/>
                  </a:lnTo>
                  <a:lnTo>
                    <a:pt x="183" y="229"/>
                  </a:lnTo>
                  <a:lnTo>
                    <a:pt x="201" y="218"/>
                  </a:lnTo>
                  <a:lnTo>
                    <a:pt x="217" y="202"/>
                  </a:lnTo>
                  <a:lnTo>
                    <a:pt x="228" y="183"/>
                  </a:lnTo>
                  <a:lnTo>
                    <a:pt x="236" y="162"/>
                  </a:lnTo>
                  <a:lnTo>
                    <a:pt x="239" y="139"/>
                  </a:lnTo>
                  <a:lnTo>
                    <a:pt x="236" y="116"/>
                  </a:lnTo>
                  <a:lnTo>
                    <a:pt x="228" y="95"/>
                  </a:lnTo>
                  <a:lnTo>
                    <a:pt x="217" y="76"/>
                  </a:lnTo>
                  <a:lnTo>
                    <a:pt x="201" y="60"/>
                  </a:lnTo>
                  <a:lnTo>
                    <a:pt x="183" y="48"/>
                  </a:lnTo>
                  <a:lnTo>
                    <a:pt x="161" y="40"/>
                  </a:lnTo>
                  <a:lnTo>
                    <a:pt x="139" y="38"/>
                  </a:lnTo>
                  <a:close/>
                  <a:moveTo>
                    <a:pt x="139" y="0"/>
                  </a:moveTo>
                  <a:lnTo>
                    <a:pt x="166" y="3"/>
                  </a:lnTo>
                  <a:lnTo>
                    <a:pt x="193" y="11"/>
                  </a:lnTo>
                  <a:lnTo>
                    <a:pt x="215" y="24"/>
                  </a:lnTo>
                  <a:lnTo>
                    <a:pt x="236" y="40"/>
                  </a:lnTo>
                  <a:lnTo>
                    <a:pt x="253" y="61"/>
                  </a:lnTo>
                  <a:lnTo>
                    <a:pt x="266" y="85"/>
                  </a:lnTo>
                  <a:lnTo>
                    <a:pt x="274" y="111"/>
                  </a:lnTo>
                  <a:lnTo>
                    <a:pt x="277" y="139"/>
                  </a:lnTo>
                  <a:lnTo>
                    <a:pt x="275" y="159"/>
                  </a:lnTo>
                  <a:lnTo>
                    <a:pt x="271" y="179"/>
                  </a:lnTo>
                  <a:lnTo>
                    <a:pt x="264" y="197"/>
                  </a:lnTo>
                  <a:lnTo>
                    <a:pt x="334" y="262"/>
                  </a:lnTo>
                  <a:lnTo>
                    <a:pt x="341" y="270"/>
                  </a:lnTo>
                  <a:lnTo>
                    <a:pt x="344" y="278"/>
                  </a:lnTo>
                  <a:lnTo>
                    <a:pt x="345" y="288"/>
                  </a:lnTo>
                  <a:lnTo>
                    <a:pt x="343" y="300"/>
                  </a:lnTo>
                  <a:lnTo>
                    <a:pt x="337" y="311"/>
                  </a:lnTo>
                  <a:lnTo>
                    <a:pt x="326" y="318"/>
                  </a:lnTo>
                  <a:lnTo>
                    <a:pt x="313" y="322"/>
                  </a:lnTo>
                  <a:lnTo>
                    <a:pt x="300" y="320"/>
                  </a:lnTo>
                  <a:lnTo>
                    <a:pt x="288" y="313"/>
                  </a:lnTo>
                  <a:lnTo>
                    <a:pt x="220" y="250"/>
                  </a:lnTo>
                  <a:lnTo>
                    <a:pt x="196" y="265"/>
                  </a:lnTo>
                  <a:lnTo>
                    <a:pt x="168" y="274"/>
                  </a:lnTo>
                  <a:lnTo>
                    <a:pt x="139" y="277"/>
                  </a:lnTo>
                  <a:lnTo>
                    <a:pt x="110" y="274"/>
                  </a:lnTo>
                  <a:lnTo>
                    <a:pt x="85" y="267"/>
                  </a:lnTo>
                  <a:lnTo>
                    <a:pt x="61" y="254"/>
                  </a:lnTo>
                  <a:lnTo>
                    <a:pt x="40" y="237"/>
                  </a:lnTo>
                  <a:lnTo>
                    <a:pt x="23" y="217"/>
                  </a:lnTo>
                  <a:lnTo>
                    <a:pt x="11" y="193"/>
                  </a:lnTo>
                  <a:lnTo>
                    <a:pt x="2" y="167"/>
                  </a:lnTo>
                  <a:lnTo>
                    <a:pt x="0" y="139"/>
                  </a:lnTo>
                  <a:lnTo>
                    <a:pt x="2" y="111"/>
                  </a:lnTo>
                  <a:lnTo>
                    <a:pt x="11" y="85"/>
                  </a:lnTo>
                  <a:lnTo>
                    <a:pt x="23" y="61"/>
                  </a:lnTo>
                  <a:lnTo>
                    <a:pt x="40" y="40"/>
                  </a:lnTo>
                  <a:lnTo>
                    <a:pt x="61" y="24"/>
                  </a:lnTo>
                  <a:lnTo>
                    <a:pt x="85" y="11"/>
                  </a:lnTo>
                  <a:lnTo>
                    <a:pt x="110" y="3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4" name="Navigate">
            <a:extLst>
              <a:ext uri="{FF2B5EF4-FFF2-40B4-BE49-F238E27FC236}">
                <a16:creationId xmlns:a16="http://schemas.microsoft.com/office/drawing/2014/main" xmlns="" id="{26EBAAD1-4050-41FE-AE01-CDA6BFCCAD3D}"/>
              </a:ext>
            </a:extLst>
          </p:cNvPr>
          <p:cNvGrpSpPr/>
          <p:nvPr/>
        </p:nvGrpSpPr>
        <p:grpSpPr>
          <a:xfrm>
            <a:off x="2076530" y="1439313"/>
            <a:ext cx="1116000" cy="756000"/>
            <a:chOff x="2076530" y="1333500"/>
            <a:chExt cx="1296000" cy="900000"/>
          </a:xfrm>
        </p:grpSpPr>
        <p:sp>
          <p:nvSpPr>
            <p:cNvPr id="10" name="Rechthoek: afgeronde hoeken 9">
              <a:extLst>
                <a:ext uri="{FF2B5EF4-FFF2-40B4-BE49-F238E27FC236}">
                  <a16:creationId xmlns:a16="http://schemas.microsoft.com/office/drawing/2014/main" xmlns="" id="{0445AAC3-9295-4EFE-8348-0C0D299BE2EE}"/>
                </a:ext>
              </a:extLst>
            </p:cNvPr>
            <p:cNvSpPr/>
            <p:nvPr/>
          </p:nvSpPr>
          <p:spPr>
            <a:xfrm>
              <a:off x="2076530" y="1333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10%</a:t>
              </a: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xmlns="" id="{B73DFC0E-41FD-44C6-AD80-D87F0DC023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4036" y="1473275"/>
              <a:ext cx="280103" cy="371117"/>
            </a:xfrm>
            <a:custGeom>
              <a:avLst/>
              <a:gdLst>
                <a:gd name="T0" fmla="*/ 112 w 273"/>
                <a:gd name="T1" fmla="*/ 32 h 339"/>
                <a:gd name="T2" fmla="*/ 70 w 273"/>
                <a:gd name="T3" fmla="*/ 54 h 339"/>
                <a:gd name="T4" fmla="*/ 41 w 273"/>
                <a:gd name="T5" fmla="*/ 89 h 339"/>
                <a:gd name="T6" fmla="*/ 30 w 273"/>
                <a:gd name="T7" fmla="*/ 136 h 339"/>
                <a:gd name="T8" fmla="*/ 41 w 273"/>
                <a:gd name="T9" fmla="*/ 183 h 339"/>
                <a:gd name="T10" fmla="*/ 70 w 273"/>
                <a:gd name="T11" fmla="*/ 219 h 339"/>
                <a:gd name="T12" fmla="*/ 112 w 273"/>
                <a:gd name="T13" fmla="*/ 240 h 339"/>
                <a:gd name="T14" fmla="*/ 161 w 273"/>
                <a:gd name="T15" fmla="*/ 240 h 339"/>
                <a:gd name="T16" fmla="*/ 203 w 273"/>
                <a:gd name="T17" fmla="*/ 219 h 339"/>
                <a:gd name="T18" fmla="*/ 232 w 273"/>
                <a:gd name="T19" fmla="*/ 183 h 339"/>
                <a:gd name="T20" fmla="*/ 243 w 273"/>
                <a:gd name="T21" fmla="*/ 136 h 339"/>
                <a:gd name="T22" fmla="*/ 232 w 273"/>
                <a:gd name="T23" fmla="*/ 89 h 339"/>
                <a:gd name="T24" fmla="*/ 203 w 273"/>
                <a:gd name="T25" fmla="*/ 54 h 339"/>
                <a:gd name="T26" fmla="*/ 161 w 273"/>
                <a:gd name="T27" fmla="*/ 32 h 339"/>
                <a:gd name="T28" fmla="*/ 137 w 273"/>
                <a:gd name="T29" fmla="*/ 0 h 339"/>
                <a:gd name="T30" fmla="*/ 190 w 273"/>
                <a:gd name="T31" fmla="*/ 10 h 339"/>
                <a:gd name="T32" fmla="*/ 233 w 273"/>
                <a:gd name="T33" fmla="*/ 40 h 339"/>
                <a:gd name="T34" fmla="*/ 262 w 273"/>
                <a:gd name="T35" fmla="*/ 83 h 339"/>
                <a:gd name="T36" fmla="*/ 273 w 273"/>
                <a:gd name="T37" fmla="*/ 136 h 339"/>
                <a:gd name="T38" fmla="*/ 273 w 273"/>
                <a:gd name="T39" fmla="*/ 139 h 339"/>
                <a:gd name="T40" fmla="*/ 271 w 273"/>
                <a:gd name="T41" fmla="*/ 161 h 339"/>
                <a:gd name="T42" fmla="*/ 260 w 273"/>
                <a:gd name="T43" fmla="*/ 196 h 339"/>
                <a:gd name="T44" fmla="*/ 239 w 273"/>
                <a:gd name="T45" fmla="*/ 240 h 339"/>
                <a:gd name="T46" fmla="*/ 199 w 273"/>
                <a:gd name="T47" fmla="*/ 289 h 339"/>
                <a:gd name="T48" fmla="*/ 137 w 273"/>
                <a:gd name="T49" fmla="*/ 339 h 339"/>
                <a:gd name="T50" fmla="*/ 74 w 273"/>
                <a:gd name="T51" fmla="*/ 289 h 339"/>
                <a:gd name="T52" fmla="*/ 34 w 273"/>
                <a:gd name="T53" fmla="*/ 240 h 339"/>
                <a:gd name="T54" fmla="*/ 13 w 273"/>
                <a:gd name="T55" fmla="*/ 196 h 339"/>
                <a:gd name="T56" fmla="*/ 2 w 273"/>
                <a:gd name="T57" fmla="*/ 161 h 339"/>
                <a:gd name="T58" fmla="*/ 0 w 273"/>
                <a:gd name="T59" fmla="*/ 139 h 339"/>
                <a:gd name="T60" fmla="*/ 0 w 273"/>
                <a:gd name="T61" fmla="*/ 136 h 339"/>
                <a:gd name="T62" fmla="*/ 10 w 273"/>
                <a:gd name="T63" fmla="*/ 83 h 339"/>
                <a:gd name="T64" fmla="*/ 40 w 273"/>
                <a:gd name="T65" fmla="*/ 40 h 339"/>
                <a:gd name="T66" fmla="*/ 83 w 273"/>
                <a:gd name="T67" fmla="*/ 10 h 339"/>
                <a:gd name="T68" fmla="*/ 137 w 273"/>
                <a:gd name="T6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3" h="339">
                  <a:moveTo>
                    <a:pt x="137" y="30"/>
                  </a:moveTo>
                  <a:lnTo>
                    <a:pt x="112" y="32"/>
                  </a:lnTo>
                  <a:lnTo>
                    <a:pt x="90" y="41"/>
                  </a:lnTo>
                  <a:lnTo>
                    <a:pt x="70" y="54"/>
                  </a:lnTo>
                  <a:lnTo>
                    <a:pt x="54" y="70"/>
                  </a:lnTo>
                  <a:lnTo>
                    <a:pt x="41" y="89"/>
                  </a:lnTo>
                  <a:lnTo>
                    <a:pt x="33" y="112"/>
                  </a:lnTo>
                  <a:lnTo>
                    <a:pt x="30" y="136"/>
                  </a:lnTo>
                  <a:lnTo>
                    <a:pt x="33" y="161"/>
                  </a:lnTo>
                  <a:lnTo>
                    <a:pt x="41" y="183"/>
                  </a:lnTo>
                  <a:lnTo>
                    <a:pt x="54" y="203"/>
                  </a:lnTo>
                  <a:lnTo>
                    <a:pt x="70" y="219"/>
                  </a:lnTo>
                  <a:lnTo>
                    <a:pt x="90" y="232"/>
                  </a:lnTo>
                  <a:lnTo>
                    <a:pt x="112" y="240"/>
                  </a:lnTo>
                  <a:lnTo>
                    <a:pt x="137" y="243"/>
                  </a:lnTo>
                  <a:lnTo>
                    <a:pt x="161" y="240"/>
                  </a:lnTo>
                  <a:lnTo>
                    <a:pt x="184" y="232"/>
                  </a:lnTo>
                  <a:lnTo>
                    <a:pt x="203" y="219"/>
                  </a:lnTo>
                  <a:lnTo>
                    <a:pt x="220" y="203"/>
                  </a:lnTo>
                  <a:lnTo>
                    <a:pt x="232" y="183"/>
                  </a:lnTo>
                  <a:lnTo>
                    <a:pt x="241" y="161"/>
                  </a:lnTo>
                  <a:lnTo>
                    <a:pt x="243" y="136"/>
                  </a:lnTo>
                  <a:lnTo>
                    <a:pt x="241" y="112"/>
                  </a:lnTo>
                  <a:lnTo>
                    <a:pt x="232" y="89"/>
                  </a:lnTo>
                  <a:lnTo>
                    <a:pt x="220" y="70"/>
                  </a:lnTo>
                  <a:lnTo>
                    <a:pt x="203" y="54"/>
                  </a:lnTo>
                  <a:lnTo>
                    <a:pt x="184" y="41"/>
                  </a:lnTo>
                  <a:lnTo>
                    <a:pt x="161" y="32"/>
                  </a:lnTo>
                  <a:lnTo>
                    <a:pt x="137" y="30"/>
                  </a:lnTo>
                  <a:close/>
                  <a:moveTo>
                    <a:pt x="137" y="0"/>
                  </a:moveTo>
                  <a:lnTo>
                    <a:pt x="164" y="2"/>
                  </a:lnTo>
                  <a:lnTo>
                    <a:pt x="190" y="10"/>
                  </a:lnTo>
                  <a:lnTo>
                    <a:pt x="213" y="22"/>
                  </a:lnTo>
                  <a:lnTo>
                    <a:pt x="233" y="40"/>
                  </a:lnTo>
                  <a:lnTo>
                    <a:pt x="251" y="60"/>
                  </a:lnTo>
                  <a:lnTo>
                    <a:pt x="262" y="83"/>
                  </a:lnTo>
                  <a:lnTo>
                    <a:pt x="271" y="109"/>
                  </a:lnTo>
                  <a:lnTo>
                    <a:pt x="273" y="136"/>
                  </a:lnTo>
                  <a:lnTo>
                    <a:pt x="273" y="137"/>
                  </a:lnTo>
                  <a:lnTo>
                    <a:pt x="273" y="139"/>
                  </a:lnTo>
                  <a:lnTo>
                    <a:pt x="273" y="143"/>
                  </a:lnTo>
                  <a:lnTo>
                    <a:pt x="271" y="161"/>
                  </a:lnTo>
                  <a:lnTo>
                    <a:pt x="267" y="177"/>
                  </a:lnTo>
                  <a:lnTo>
                    <a:pt x="260" y="196"/>
                  </a:lnTo>
                  <a:lnTo>
                    <a:pt x="252" y="217"/>
                  </a:lnTo>
                  <a:lnTo>
                    <a:pt x="239" y="240"/>
                  </a:lnTo>
                  <a:lnTo>
                    <a:pt x="221" y="265"/>
                  </a:lnTo>
                  <a:lnTo>
                    <a:pt x="199" y="289"/>
                  </a:lnTo>
                  <a:lnTo>
                    <a:pt x="171" y="314"/>
                  </a:lnTo>
                  <a:lnTo>
                    <a:pt x="137" y="339"/>
                  </a:lnTo>
                  <a:lnTo>
                    <a:pt x="102" y="314"/>
                  </a:lnTo>
                  <a:lnTo>
                    <a:pt x="74" y="289"/>
                  </a:lnTo>
                  <a:lnTo>
                    <a:pt x="53" y="265"/>
                  </a:lnTo>
                  <a:lnTo>
                    <a:pt x="34" y="240"/>
                  </a:lnTo>
                  <a:lnTo>
                    <a:pt x="21" y="217"/>
                  </a:lnTo>
                  <a:lnTo>
                    <a:pt x="13" y="196"/>
                  </a:lnTo>
                  <a:lnTo>
                    <a:pt x="6" y="177"/>
                  </a:lnTo>
                  <a:lnTo>
                    <a:pt x="2" y="161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3" y="109"/>
                  </a:lnTo>
                  <a:lnTo>
                    <a:pt x="10" y="83"/>
                  </a:lnTo>
                  <a:lnTo>
                    <a:pt x="23" y="60"/>
                  </a:lnTo>
                  <a:lnTo>
                    <a:pt x="40" y="40"/>
                  </a:lnTo>
                  <a:lnTo>
                    <a:pt x="60" y="22"/>
                  </a:lnTo>
                  <a:lnTo>
                    <a:pt x="83" y="10"/>
                  </a:lnTo>
                  <a:lnTo>
                    <a:pt x="109" y="2"/>
                  </a:lnTo>
                  <a:lnTo>
                    <a:pt x="13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6" name="Promotion">
            <a:extLst>
              <a:ext uri="{FF2B5EF4-FFF2-40B4-BE49-F238E27FC236}">
                <a16:creationId xmlns:a16="http://schemas.microsoft.com/office/drawing/2014/main" xmlns="" id="{18286392-115B-4464-A498-903D50FCB575}"/>
              </a:ext>
            </a:extLst>
          </p:cNvPr>
          <p:cNvGrpSpPr/>
          <p:nvPr/>
        </p:nvGrpSpPr>
        <p:grpSpPr>
          <a:xfrm>
            <a:off x="543005" y="2582313"/>
            <a:ext cx="1116000" cy="756000"/>
            <a:chOff x="543005" y="2476500"/>
            <a:chExt cx="1296000" cy="900000"/>
          </a:xfrm>
        </p:grpSpPr>
        <p:sp>
          <p:nvSpPr>
            <p:cNvPr id="11" name="Rechthoek: afgeronde hoeken 10">
              <a:extLst>
                <a:ext uri="{FF2B5EF4-FFF2-40B4-BE49-F238E27FC236}">
                  <a16:creationId xmlns:a16="http://schemas.microsoft.com/office/drawing/2014/main" xmlns="" id="{5A140D20-DEB8-44D7-BA23-3D3AC157ED3E}"/>
                </a:ext>
              </a:extLst>
            </p:cNvPr>
            <p:cNvSpPr/>
            <p:nvPr/>
          </p:nvSpPr>
          <p:spPr>
            <a:xfrm>
              <a:off x="543005" y="2476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40%</a:t>
              </a:r>
            </a:p>
          </p:txBody>
        </p:sp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xmlns="" id="{3F5A1B96-98D1-404B-958D-1FF662CEF71D}"/>
                </a:ext>
              </a:extLst>
            </p:cNvPr>
            <p:cNvGrpSpPr/>
            <p:nvPr/>
          </p:nvGrpSpPr>
          <p:grpSpPr>
            <a:xfrm>
              <a:off x="986549" y="2593990"/>
              <a:ext cx="397369" cy="350839"/>
              <a:chOff x="6021388" y="4933951"/>
              <a:chExt cx="677863" cy="598488"/>
            </a:xfrm>
            <a:solidFill>
              <a:schemeClr val="bg1"/>
            </a:solidFill>
          </p:grpSpPr>
          <p:sp>
            <p:nvSpPr>
              <p:cNvPr id="27" name="Freeform 56">
                <a:extLst>
                  <a:ext uri="{FF2B5EF4-FFF2-40B4-BE49-F238E27FC236}">
                    <a16:creationId xmlns:a16="http://schemas.microsoft.com/office/drawing/2014/main" xmlns="" id="{CEB452A6-39D7-45AE-BB5F-344BB57035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6701" y="5068888"/>
                <a:ext cx="68263" cy="134938"/>
              </a:xfrm>
              <a:custGeom>
                <a:avLst/>
                <a:gdLst>
                  <a:gd name="T0" fmla="*/ 0 w 43"/>
                  <a:gd name="T1" fmla="*/ 0 h 85"/>
                  <a:gd name="T2" fmla="*/ 5 w 43"/>
                  <a:gd name="T3" fmla="*/ 1 h 85"/>
                  <a:gd name="T4" fmla="*/ 9 w 43"/>
                  <a:gd name="T5" fmla="*/ 2 h 85"/>
                  <a:gd name="T6" fmla="*/ 12 w 43"/>
                  <a:gd name="T7" fmla="*/ 3 h 85"/>
                  <a:gd name="T8" fmla="*/ 21 w 43"/>
                  <a:gd name="T9" fmla="*/ 10 h 85"/>
                  <a:gd name="T10" fmla="*/ 29 w 43"/>
                  <a:gd name="T11" fmla="*/ 21 h 85"/>
                  <a:gd name="T12" fmla="*/ 35 w 43"/>
                  <a:gd name="T13" fmla="*/ 34 h 85"/>
                  <a:gd name="T14" fmla="*/ 39 w 43"/>
                  <a:gd name="T15" fmla="*/ 48 h 85"/>
                  <a:gd name="T16" fmla="*/ 43 w 43"/>
                  <a:gd name="T17" fmla="*/ 61 h 85"/>
                  <a:gd name="T18" fmla="*/ 42 w 43"/>
                  <a:gd name="T19" fmla="*/ 70 h 85"/>
                  <a:gd name="T20" fmla="*/ 40 w 43"/>
                  <a:gd name="T21" fmla="*/ 75 h 85"/>
                  <a:gd name="T22" fmla="*/ 37 w 43"/>
                  <a:gd name="T23" fmla="*/ 79 h 85"/>
                  <a:gd name="T24" fmla="*/ 35 w 43"/>
                  <a:gd name="T25" fmla="*/ 85 h 85"/>
                  <a:gd name="T26" fmla="*/ 24 w 43"/>
                  <a:gd name="T27" fmla="*/ 55 h 85"/>
                  <a:gd name="T28" fmla="*/ 15 w 43"/>
                  <a:gd name="T29" fmla="*/ 33 h 85"/>
                  <a:gd name="T30" fmla="*/ 7 w 43"/>
                  <a:gd name="T31" fmla="*/ 14 h 85"/>
                  <a:gd name="T32" fmla="*/ 0 w 43"/>
                  <a:gd name="T33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85">
                    <a:moveTo>
                      <a:pt x="0" y="0"/>
                    </a:moveTo>
                    <a:lnTo>
                      <a:pt x="5" y="1"/>
                    </a:lnTo>
                    <a:lnTo>
                      <a:pt x="9" y="2"/>
                    </a:lnTo>
                    <a:lnTo>
                      <a:pt x="12" y="3"/>
                    </a:lnTo>
                    <a:lnTo>
                      <a:pt x="21" y="10"/>
                    </a:lnTo>
                    <a:lnTo>
                      <a:pt x="29" y="21"/>
                    </a:lnTo>
                    <a:lnTo>
                      <a:pt x="35" y="34"/>
                    </a:lnTo>
                    <a:lnTo>
                      <a:pt x="39" y="48"/>
                    </a:lnTo>
                    <a:lnTo>
                      <a:pt x="43" y="61"/>
                    </a:lnTo>
                    <a:lnTo>
                      <a:pt x="42" y="70"/>
                    </a:lnTo>
                    <a:lnTo>
                      <a:pt x="40" y="75"/>
                    </a:lnTo>
                    <a:lnTo>
                      <a:pt x="37" y="79"/>
                    </a:lnTo>
                    <a:lnTo>
                      <a:pt x="35" y="85"/>
                    </a:lnTo>
                    <a:lnTo>
                      <a:pt x="24" y="55"/>
                    </a:lnTo>
                    <a:lnTo>
                      <a:pt x="15" y="33"/>
                    </a:lnTo>
                    <a:lnTo>
                      <a:pt x="7" y="1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57">
                <a:extLst>
                  <a:ext uri="{FF2B5EF4-FFF2-40B4-BE49-F238E27FC236}">
                    <a16:creationId xmlns:a16="http://schemas.microsoft.com/office/drawing/2014/main" xmlns="" id="{35581644-CCCE-40B7-B412-311C3AC49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7426" y="5156201"/>
                <a:ext cx="317500" cy="376238"/>
              </a:xfrm>
              <a:custGeom>
                <a:avLst/>
                <a:gdLst>
                  <a:gd name="T0" fmla="*/ 143 w 200"/>
                  <a:gd name="T1" fmla="*/ 0 h 237"/>
                  <a:gd name="T2" fmla="*/ 153 w 200"/>
                  <a:gd name="T3" fmla="*/ 15 h 237"/>
                  <a:gd name="T4" fmla="*/ 165 w 200"/>
                  <a:gd name="T5" fmla="*/ 35 h 237"/>
                  <a:gd name="T6" fmla="*/ 177 w 200"/>
                  <a:gd name="T7" fmla="*/ 60 h 237"/>
                  <a:gd name="T8" fmla="*/ 189 w 200"/>
                  <a:gd name="T9" fmla="*/ 91 h 237"/>
                  <a:gd name="T10" fmla="*/ 200 w 200"/>
                  <a:gd name="T11" fmla="*/ 128 h 237"/>
                  <a:gd name="T12" fmla="*/ 190 w 200"/>
                  <a:gd name="T13" fmla="*/ 132 h 237"/>
                  <a:gd name="T14" fmla="*/ 182 w 200"/>
                  <a:gd name="T15" fmla="*/ 136 h 237"/>
                  <a:gd name="T16" fmla="*/ 172 w 200"/>
                  <a:gd name="T17" fmla="*/ 140 h 237"/>
                  <a:gd name="T18" fmla="*/ 173 w 200"/>
                  <a:gd name="T19" fmla="*/ 163 h 237"/>
                  <a:gd name="T20" fmla="*/ 174 w 200"/>
                  <a:gd name="T21" fmla="*/ 181 h 237"/>
                  <a:gd name="T22" fmla="*/ 176 w 200"/>
                  <a:gd name="T23" fmla="*/ 185 h 237"/>
                  <a:gd name="T24" fmla="*/ 178 w 200"/>
                  <a:gd name="T25" fmla="*/ 190 h 237"/>
                  <a:gd name="T26" fmla="*/ 180 w 200"/>
                  <a:gd name="T27" fmla="*/ 193 h 237"/>
                  <a:gd name="T28" fmla="*/ 185 w 200"/>
                  <a:gd name="T29" fmla="*/ 199 h 237"/>
                  <a:gd name="T30" fmla="*/ 190 w 200"/>
                  <a:gd name="T31" fmla="*/ 205 h 237"/>
                  <a:gd name="T32" fmla="*/ 192 w 200"/>
                  <a:gd name="T33" fmla="*/ 211 h 237"/>
                  <a:gd name="T34" fmla="*/ 191 w 200"/>
                  <a:gd name="T35" fmla="*/ 218 h 237"/>
                  <a:gd name="T36" fmla="*/ 185 w 200"/>
                  <a:gd name="T37" fmla="*/ 225 h 237"/>
                  <a:gd name="T38" fmla="*/ 176 w 200"/>
                  <a:gd name="T39" fmla="*/ 232 h 237"/>
                  <a:gd name="T40" fmla="*/ 165 w 200"/>
                  <a:gd name="T41" fmla="*/ 236 h 237"/>
                  <a:gd name="T42" fmla="*/ 153 w 200"/>
                  <a:gd name="T43" fmla="*/ 237 h 237"/>
                  <a:gd name="T44" fmla="*/ 142 w 200"/>
                  <a:gd name="T45" fmla="*/ 235 h 237"/>
                  <a:gd name="T46" fmla="*/ 133 w 200"/>
                  <a:gd name="T47" fmla="*/ 231 h 237"/>
                  <a:gd name="T48" fmla="*/ 121 w 200"/>
                  <a:gd name="T49" fmla="*/ 217 h 237"/>
                  <a:gd name="T50" fmla="*/ 111 w 200"/>
                  <a:gd name="T51" fmla="*/ 203 h 237"/>
                  <a:gd name="T52" fmla="*/ 98 w 200"/>
                  <a:gd name="T53" fmla="*/ 190 h 237"/>
                  <a:gd name="T54" fmla="*/ 91 w 200"/>
                  <a:gd name="T55" fmla="*/ 184 h 237"/>
                  <a:gd name="T56" fmla="*/ 81 w 200"/>
                  <a:gd name="T57" fmla="*/ 181 h 237"/>
                  <a:gd name="T58" fmla="*/ 73 w 200"/>
                  <a:gd name="T59" fmla="*/ 181 h 237"/>
                  <a:gd name="T60" fmla="*/ 61 w 200"/>
                  <a:gd name="T61" fmla="*/ 180 h 237"/>
                  <a:gd name="T62" fmla="*/ 48 w 200"/>
                  <a:gd name="T63" fmla="*/ 177 h 237"/>
                  <a:gd name="T64" fmla="*/ 35 w 200"/>
                  <a:gd name="T65" fmla="*/ 170 h 237"/>
                  <a:gd name="T66" fmla="*/ 25 w 200"/>
                  <a:gd name="T67" fmla="*/ 162 h 237"/>
                  <a:gd name="T68" fmla="*/ 19 w 200"/>
                  <a:gd name="T69" fmla="*/ 151 h 237"/>
                  <a:gd name="T70" fmla="*/ 6 w 200"/>
                  <a:gd name="T71" fmla="*/ 120 h 237"/>
                  <a:gd name="T72" fmla="*/ 0 w 200"/>
                  <a:gd name="T73" fmla="*/ 100 h 237"/>
                  <a:gd name="T74" fmla="*/ 0 w 200"/>
                  <a:gd name="T75" fmla="*/ 83 h 237"/>
                  <a:gd name="T76" fmla="*/ 7 w 200"/>
                  <a:gd name="T77" fmla="*/ 68 h 237"/>
                  <a:gd name="T78" fmla="*/ 20 w 200"/>
                  <a:gd name="T79" fmla="*/ 55 h 237"/>
                  <a:gd name="T80" fmla="*/ 37 w 200"/>
                  <a:gd name="T81" fmla="*/ 46 h 237"/>
                  <a:gd name="T82" fmla="*/ 74 w 200"/>
                  <a:gd name="T83" fmla="*/ 31 h 237"/>
                  <a:gd name="T84" fmla="*/ 107 w 200"/>
                  <a:gd name="T85" fmla="*/ 17 h 237"/>
                  <a:gd name="T86" fmla="*/ 143 w 200"/>
                  <a:gd name="T87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00" h="237">
                    <a:moveTo>
                      <a:pt x="143" y="0"/>
                    </a:moveTo>
                    <a:lnTo>
                      <a:pt x="153" y="15"/>
                    </a:lnTo>
                    <a:lnTo>
                      <a:pt x="165" y="35"/>
                    </a:lnTo>
                    <a:lnTo>
                      <a:pt x="177" y="60"/>
                    </a:lnTo>
                    <a:lnTo>
                      <a:pt x="189" y="91"/>
                    </a:lnTo>
                    <a:lnTo>
                      <a:pt x="200" y="128"/>
                    </a:lnTo>
                    <a:lnTo>
                      <a:pt x="190" y="132"/>
                    </a:lnTo>
                    <a:lnTo>
                      <a:pt x="182" y="136"/>
                    </a:lnTo>
                    <a:lnTo>
                      <a:pt x="172" y="140"/>
                    </a:lnTo>
                    <a:lnTo>
                      <a:pt x="173" y="163"/>
                    </a:lnTo>
                    <a:lnTo>
                      <a:pt x="174" y="181"/>
                    </a:lnTo>
                    <a:lnTo>
                      <a:pt x="176" y="185"/>
                    </a:lnTo>
                    <a:lnTo>
                      <a:pt x="178" y="190"/>
                    </a:lnTo>
                    <a:lnTo>
                      <a:pt x="180" y="193"/>
                    </a:lnTo>
                    <a:lnTo>
                      <a:pt x="185" y="199"/>
                    </a:lnTo>
                    <a:lnTo>
                      <a:pt x="190" y="205"/>
                    </a:lnTo>
                    <a:lnTo>
                      <a:pt x="192" y="211"/>
                    </a:lnTo>
                    <a:lnTo>
                      <a:pt x="191" y="218"/>
                    </a:lnTo>
                    <a:lnTo>
                      <a:pt x="185" y="225"/>
                    </a:lnTo>
                    <a:lnTo>
                      <a:pt x="176" y="232"/>
                    </a:lnTo>
                    <a:lnTo>
                      <a:pt x="165" y="236"/>
                    </a:lnTo>
                    <a:lnTo>
                      <a:pt x="153" y="237"/>
                    </a:lnTo>
                    <a:lnTo>
                      <a:pt x="142" y="235"/>
                    </a:lnTo>
                    <a:lnTo>
                      <a:pt x="133" y="231"/>
                    </a:lnTo>
                    <a:lnTo>
                      <a:pt x="121" y="217"/>
                    </a:lnTo>
                    <a:lnTo>
                      <a:pt x="111" y="203"/>
                    </a:lnTo>
                    <a:lnTo>
                      <a:pt x="98" y="190"/>
                    </a:lnTo>
                    <a:lnTo>
                      <a:pt x="91" y="184"/>
                    </a:lnTo>
                    <a:lnTo>
                      <a:pt x="81" y="181"/>
                    </a:lnTo>
                    <a:lnTo>
                      <a:pt x="73" y="181"/>
                    </a:lnTo>
                    <a:lnTo>
                      <a:pt x="61" y="180"/>
                    </a:lnTo>
                    <a:lnTo>
                      <a:pt x="48" y="177"/>
                    </a:lnTo>
                    <a:lnTo>
                      <a:pt x="35" y="170"/>
                    </a:lnTo>
                    <a:lnTo>
                      <a:pt x="25" y="162"/>
                    </a:lnTo>
                    <a:lnTo>
                      <a:pt x="19" y="151"/>
                    </a:lnTo>
                    <a:lnTo>
                      <a:pt x="6" y="120"/>
                    </a:lnTo>
                    <a:lnTo>
                      <a:pt x="0" y="100"/>
                    </a:lnTo>
                    <a:lnTo>
                      <a:pt x="0" y="83"/>
                    </a:lnTo>
                    <a:lnTo>
                      <a:pt x="7" y="68"/>
                    </a:lnTo>
                    <a:lnTo>
                      <a:pt x="20" y="55"/>
                    </a:lnTo>
                    <a:lnTo>
                      <a:pt x="37" y="46"/>
                    </a:lnTo>
                    <a:lnTo>
                      <a:pt x="74" y="31"/>
                    </a:lnTo>
                    <a:lnTo>
                      <a:pt x="107" y="17"/>
                    </a:lnTo>
                    <a:lnTo>
                      <a:pt x="14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58">
                <a:extLst>
                  <a:ext uri="{FF2B5EF4-FFF2-40B4-BE49-F238E27FC236}">
                    <a16:creationId xmlns:a16="http://schemas.microsoft.com/office/drawing/2014/main" xmlns="" id="{6829B3C4-6B59-4014-8B06-D9B0E8E43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4126" y="4933951"/>
                <a:ext cx="365125" cy="447675"/>
              </a:xfrm>
              <a:custGeom>
                <a:avLst/>
                <a:gdLst>
                  <a:gd name="T0" fmla="*/ 109 w 230"/>
                  <a:gd name="T1" fmla="*/ 0 h 282"/>
                  <a:gd name="T2" fmla="*/ 116 w 230"/>
                  <a:gd name="T3" fmla="*/ 0 h 282"/>
                  <a:gd name="T4" fmla="*/ 122 w 230"/>
                  <a:gd name="T5" fmla="*/ 3 h 282"/>
                  <a:gd name="T6" fmla="*/ 128 w 230"/>
                  <a:gd name="T7" fmla="*/ 8 h 282"/>
                  <a:gd name="T8" fmla="*/ 141 w 230"/>
                  <a:gd name="T9" fmla="*/ 40 h 282"/>
                  <a:gd name="T10" fmla="*/ 154 w 230"/>
                  <a:gd name="T11" fmla="*/ 71 h 282"/>
                  <a:gd name="T12" fmla="*/ 154 w 230"/>
                  <a:gd name="T13" fmla="*/ 71 h 282"/>
                  <a:gd name="T14" fmla="*/ 154 w 230"/>
                  <a:gd name="T15" fmla="*/ 71 h 282"/>
                  <a:gd name="T16" fmla="*/ 155 w 230"/>
                  <a:gd name="T17" fmla="*/ 72 h 282"/>
                  <a:gd name="T18" fmla="*/ 156 w 230"/>
                  <a:gd name="T19" fmla="*/ 74 h 282"/>
                  <a:gd name="T20" fmla="*/ 157 w 230"/>
                  <a:gd name="T21" fmla="*/ 78 h 282"/>
                  <a:gd name="T22" fmla="*/ 158 w 230"/>
                  <a:gd name="T23" fmla="*/ 80 h 282"/>
                  <a:gd name="T24" fmla="*/ 159 w 230"/>
                  <a:gd name="T25" fmla="*/ 81 h 282"/>
                  <a:gd name="T26" fmla="*/ 162 w 230"/>
                  <a:gd name="T27" fmla="*/ 89 h 282"/>
                  <a:gd name="T28" fmla="*/ 168 w 230"/>
                  <a:gd name="T29" fmla="*/ 101 h 282"/>
                  <a:gd name="T30" fmla="*/ 174 w 230"/>
                  <a:gd name="T31" fmla="*/ 117 h 282"/>
                  <a:gd name="T32" fmla="*/ 183 w 230"/>
                  <a:gd name="T33" fmla="*/ 136 h 282"/>
                  <a:gd name="T34" fmla="*/ 191 w 230"/>
                  <a:gd name="T35" fmla="*/ 160 h 282"/>
                  <a:gd name="T36" fmla="*/ 202 w 230"/>
                  <a:gd name="T37" fmla="*/ 188 h 282"/>
                  <a:gd name="T38" fmla="*/ 203 w 230"/>
                  <a:gd name="T39" fmla="*/ 190 h 282"/>
                  <a:gd name="T40" fmla="*/ 216 w 230"/>
                  <a:gd name="T41" fmla="*/ 224 h 282"/>
                  <a:gd name="T42" fmla="*/ 229 w 230"/>
                  <a:gd name="T43" fmla="*/ 257 h 282"/>
                  <a:gd name="T44" fmla="*/ 230 w 230"/>
                  <a:gd name="T45" fmla="*/ 264 h 282"/>
                  <a:gd name="T46" fmla="*/ 230 w 230"/>
                  <a:gd name="T47" fmla="*/ 270 h 282"/>
                  <a:gd name="T48" fmla="*/ 228 w 230"/>
                  <a:gd name="T49" fmla="*/ 278 h 282"/>
                  <a:gd name="T50" fmla="*/ 225 w 230"/>
                  <a:gd name="T51" fmla="*/ 282 h 282"/>
                  <a:gd name="T52" fmla="*/ 221 w 230"/>
                  <a:gd name="T53" fmla="*/ 282 h 282"/>
                  <a:gd name="T54" fmla="*/ 214 w 230"/>
                  <a:gd name="T55" fmla="*/ 280 h 282"/>
                  <a:gd name="T56" fmla="*/ 208 w 230"/>
                  <a:gd name="T57" fmla="*/ 277 h 282"/>
                  <a:gd name="T58" fmla="*/ 202 w 230"/>
                  <a:gd name="T59" fmla="*/ 272 h 282"/>
                  <a:gd name="T60" fmla="*/ 191 w 230"/>
                  <a:gd name="T61" fmla="*/ 266 h 282"/>
                  <a:gd name="T62" fmla="*/ 181 w 230"/>
                  <a:gd name="T63" fmla="*/ 260 h 282"/>
                  <a:gd name="T64" fmla="*/ 154 w 230"/>
                  <a:gd name="T65" fmla="*/ 252 h 282"/>
                  <a:gd name="T66" fmla="*/ 130 w 230"/>
                  <a:gd name="T67" fmla="*/ 247 h 282"/>
                  <a:gd name="T68" fmla="*/ 106 w 230"/>
                  <a:gd name="T69" fmla="*/ 248 h 282"/>
                  <a:gd name="T70" fmla="*/ 82 w 230"/>
                  <a:gd name="T71" fmla="*/ 252 h 282"/>
                  <a:gd name="T72" fmla="*/ 58 w 230"/>
                  <a:gd name="T73" fmla="*/ 259 h 282"/>
                  <a:gd name="T74" fmla="*/ 46 w 230"/>
                  <a:gd name="T75" fmla="*/ 221 h 282"/>
                  <a:gd name="T76" fmla="*/ 35 w 230"/>
                  <a:gd name="T77" fmla="*/ 191 h 282"/>
                  <a:gd name="T78" fmla="*/ 22 w 230"/>
                  <a:gd name="T79" fmla="*/ 165 h 282"/>
                  <a:gd name="T80" fmla="*/ 10 w 230"/>
                  <a:gd name="T81" fmla="*/ 146 h 282"/>
                  <a:gd name="T82" fmla="*/ 0 w 230"/>
                  <a:gd name="T83" fmla="*/ 131 h 282"/>
                  <a:gd name="T84" fmla="*/ 2 w 230"/>
                  <a:gd name="T85" fmla="*/ 129 h 282"/>
                  <a:gd name="T86" fmla="*/ 4 w 230"/>
                  <a:gd name="T87" fmla="*/ 128 h 282"/>
                  <a:gd name="T88" fmla="*/ 5 w 230"/>
                  <a:gd name="T89" fmla="*/ 128 h 282"/>
                  <a:gd name="T90" fmla="*/ 8 w 230"/>
                  <a:gd name="T91" fmla="*/ 127 h 282"/>
                  <a:gd name="T92" fmla="*/ 9 w 230"/>
                  <a:gd name="T93" fmla="*/ 126 h 282"/>
                  <a:gd name="T94" fmla="*/ 12 w 230"/>
                  <a:gd name="T95" fmla="*/ 125 h 282"/>
                  <a:gd name="T96" fmla="*/ 38 w 230"/>
                  <a:gd name="T97" fmla="*/ 111 h 282"/>
                  <a:gd name="T98" fmla="*/ 59 w 230"/>
                  <a:gd name="T99" fmla="*/ 92 h 282"/>
                  <a:gd name="T100" fmla="*/ 78 w 230"/>
                  <a:gd name="T101" fmla="*/ 69 h 282"/>
                  <a:gd name="T102" fmla="*/ 93 w 230"/>
                  <a:gd name="T103" fmla="*/ 43 h 282"/>
                  <a:gd name="T104" fmla="*/ 95 w 230"/>
                  <a:gd name="T105" fmla="*/ 34 h 282"/>
                  <a:gd name="T106" fmla="*/ 96 w 230"/>
                  <a:gd name="T107" fmla="*/ 25 h 282"/>
                  <a:gd name="T108" fmla="*/ 98 w 230"/>
                  <a:gd name="T109" fmla="*/ 16 h 282"/>
                  <a:gd name="T110" fmla="*/ 99 w 230"/>
                  <a:gd name="T111" fmla="*/ 12 h 282"/>
                  <a:gd name="T112" fmla="*/ 102 w 230"/>
                  <a:gd name="T113" fmla="*/ 7 h 282"/>
                  <a:gd name="T114" fmla="*/ 104 w 230"/>
                  <a:gd name="T115" fmla="*/ 4 h 282"/>
                  <a:gd name="T116" fmla="*/ 106 w 230"/>
                  <a:gd name="T117" fmla="*/ 1 h 282"/>
                  <a:gd name="T118" fmla="*/ 109 w 230"/>
                  <a:gd name="T119" fmla="*/ 0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0" h="282">
                    <a:moveTo>
                      <a:pt x="109" y="0"/>
                    </a:moveTo>
                    <a:lnTo>
                      <a:pt x="116" y="0"/>
                    </a:lnTo>
                    <a:lnTo>
                      <a:pt x="122" y="3"/>
                    </a:lnTo>
                    <a:lnTo>
                      <a:pt x="128" y="8"/>
                    </a:lnTo>
                    <a:lnTo>
                      <a:pt x="141" y="40"/>
                    </a:lnTo>
                    <a:lnTo>
                      <a:pt x="154" y="71"/>
                    </a:lnTo>
                    <a:lnTo>
                      <a:pt x="154" y="71"/>
                    </a:lnTo>
                    <a:lnTo>
                      <a:pt x="154" y="71"/>
                    </a:lnTo>
                    <a:lnTo>
                      <a:pt x="155" y="72"/>
                    </a:lnTo>
                    <a:lnTo>
                      <a:pt x="156" y="74"/>
                    </a:lnTo>
                    <a:lnTo>
                      <a:pt x="157" y="78"/>
                    </a:lnTo>
                    <a:lnTo>
                      <a:pt x="158" y="80"/>
                    </a:lnTo>
                    <a:lnTo>
                      <a:pt x="159" y="81"/>
                    </a:lnTo>
                    <a:lnTo>
                      <a:pt x="162" y="89"/>
                    </a:lnTo>
                    <a:lnTo>
                      <a:pt x="168" y="101"/>
                    </a:lnTo>
                    <a:lnTo>
                      <a:pt x="174" y="117"/>
                    </a:lnTo>
                    <a:lnTo>
                      <a:pt x="183" y="136"/>
                    </a:lnTo>
                    <a:lnTo>
                      <a:pt x="191" y="160"/>
                    </a:lnTo>
                    <a:lnTo>
                      <a:pt x="202" y="188"/>
                    </a:lnTo>
                    <a:lnTo>
                      <a:pt x="203" y="190"/>
                    </a:lnTo>
                    <a:lnTo>
                      <a:pt x="216" y="224"/>
                    </a:lnTo>
                    <a:lnTo>
                      <a:pt x="229" y="257"/>
                    </a:lnTo>
                    <a:lnTo>
                      <a:pt x="230" y="264"/>
                    </a:lnTo>
                    <a:lnTo>
                      <a:pt x="230" y="270"/>
                    </a:lnTo>
                    <a:lnTo>
                      <a:pt x="228" y="278"/>
                    </a:lnTo>
                    <a:lnTo>
                      <a:pt x="225" y="282"/>
                    </a:lnTo>
                    <a:lnTo>
                      <a:pt x="221" y="282"/>
                    </a:lnTo>
                    <a:lnTo>
                      <a:pt x="214" y="280"/>
                    </a:lnTo>
                    <a:lnTo>
                      <a:pt x="208" y="277"/>
                    </a:lnTo>
                    <a:lnTo>
                      <a:pt x="202" y="272"/>
                    </a:lnTo>
                    <a:lnTo>
                      <a:pt x="191" y="266"/>
                    </a:lnTo>
                    <a:lnTo>
                      <a:pt x="181" y="260"/>
                    </a:lnTo>
                    <a:lnTo>
                      <a:pt x="154" y="252"/>
                    </a:lnTo>
                    <a:lnTo>
                      <a:pt x="130" y="247"/>
                    </a:lnTo>
                    <a:lnTo>
                      <a:pt x="106" y="248"/>
                    </a:lnTo>
                    <a:lnTo>
                      <a:pt x="82" y="252"/>
                    </a:lnTo>
                    <a:lnTo>
                      <a:pt x="58" y="259"/>
                    </a:lnTo>
                    <a:lnTo>
                      <a:pt x="46" y="221"/>
                    </a:lnTo>
                    <a:lnTo>
                      <a:pt x="35" y="191"/>
                    </a:lnTo>
                    <a:lnTo>
                      <a:pt x="22" y="165"/>
                    </a:lnTo>
                    <a:lnTo>
                      <a:pt x="10" y="146"/>
                    </a:lnTo>
                    <a:lnTo>
                      <a:pt x="0" y="131"/>
                    </a:lnTo>
                    <a:lnTo>
                      <a:pt x="2" y="129"/>
                    </a:lnTo>
                    <a:lnTo>
                      <a:pt x="4" y="128"/>
                    </a:lnTo>
                    <a:lnTo>
                      <a:pt x="5" y="128"/>
                    </a:lnTo>
                    <a:lnTo>
                      <a:pt x="8" y="127"/>
                    </a:lnTo>
                    <a:lnTo>
                      <a:pt x="9" y="126"/>
                    </a:lnTo>
                    <a:lnTo>
                      <a:pt x="12" y="125"/>
                    </a:lnTo>
                    <a:lnTo>
                      <a:pt x="38" y="111"/>
                    </a:lnTo>
                    <a:lnTo>
                      <a:pt x="59" y="92"/>
                    </a:lnTo>
                    <a:lnTo>
                      <a:pt x="78" y="69"/>
                    </a:lnTo>
                    <a:lnTo>
                      <a:pt x="93" y="43"/>
                    </a:lnTo>
                    <a:lnTo>
                      <a:pt x="95" y="34"/>
                    </a:lnTo>
                    <a:lnTo>
                      <a:pt x="96" y="25"/>
                    </a:lnTo>
                    <a:lnTo>
                      <a:pt x="98" y="16"/>
                    </a:lnTo>
                    <a:lnTo>
                      <a:pt x="99" y="12"/>
                    </a:lnTo>
                    <a:lnTo>
                      <a:pt x="102" y="7"/>
                    </a:lnTo>
                    <a:lnTo>
                      <a:pt x="104" y="4"/>
                    </a:lnTo>
                    <a:lnTo>
                      <a:pt x="106" y="1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59">
                <a:extLst>
                  <a:ext uri="{FF2B5EF4-FFF2-40B4-BE49-F238E27FC236}">
                    <a16:creationId xmlns:a16="http://schemas.microsoft.com/office/drawing/2014/main" xmlns="" id="{DC63C1B6-04DC-4F55-9E45-1C6B10577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1388" y="5313363"/>
                <a:ext cx="58738" cy="104775"/>
              </a:xfrm>
              <a:custGeom>
                <a:avLst/>
                <a:gdLst>
                  <a:gd name="T0" fmla="*/ 14 w 37"/>
                  <a:gd name="T1" fmla="*/ 0 h 66"/>
                  <a:gd name="T2" fmla="*/ 14 w 37"/>
                  <a:gd name="T3" fmla="*/ 7 h 66"/>
                  <a:gd name="T4" fmla="*/ 16 w 37"/>
                  <a:gd name="T5" fmla="*/ 17 h 66"/>
                  <a:gd name="T6" fmla="*/ 21 w 37"/>
                  <a:gd name="T7" fmla="*/ 28 h 66"/>
                  <a:gd name="T8" fmla="*/ 25 w 37"/>
                  <a:gd name="T9" fmla="*/ 39 h 66"/>
                  <a:gd name="T10" fmla="*/ 29 w 37"/>
                  <a:gd name="T11" fmla="*/ 50 h 66"/>
                  <a:gd name="T12" fmla="*/ 33 w 37"/>
                  <a:gd name="T13" fmla="*/ 57 h 66"/>
                  <a:gd name="T14" fmla="*/ 36 w 37"/>
                  <a:gd name="T15" fmla="*/ 64 h 66"/>
                  <a:gd name="T16" fmla="*/ 37 w 37"/>
                  <a:gd name="T17" fmla="*/ 66 h 66"/>
                  <a:gd name="T18" fmla="*/ 34 w 37"/>
                  <a:gd name="T19" fmla="*/ 66 h 66"/>
                  <a:gd name="T20" fmla="*/ 30 w 37"/>
                  <a:gd name="T21" fmla="*/ 66 h 66"/>
                  <a:gd name="T22" fmla="*/ 24 w 37"/>
                  <a:gd name="T23" fmla="*/ 66 h 66"/>
                  <a:gd name="T24" fmla="*/ 18 w 37"/>
                  <a:gd name="T25" fmla="*/ 64 h 66"/>
                  <a:gd name="T26" fmla="*/ 12 w 37"/>
                  <a:gd name="T27" fmla="*/ 59 h 66"/>
                  <a:gd name="T28" fmla="*/ 7 w 37"/>
                  <a:gd name="T29" fmla="*/ 51 h 66"/>
                  <a:gd name="T30" fmla="*/ 2 w 37"/>
                  <a:gd name="T31" fmla="*/ 40 h 66"/>
                  <a:gd name="T32" fmla="*/ 0 w 37"/>
                  <a:gd name="T33" fmla="*/ 27 h 66"/>
                  <a:gd name="T34" fmla="*/ 0 w 37"/>
                  <a:gd name="T35" fmla="*/ 17 h 66"/>
                  <a:gd name="T36" fmla="*/ 2 w 37"/>
                  <a:gd name="T37" fmla="*/ 11 h 66"/>
                  <a:gd name="T38" fmla="*/ 7 w 37"/>
                  <a:gd name="T39" fmla="*/ 5 h 66"/>
                  <a:gd name="T40" fmla="*/ 10 w 37"/>
                  <a:gd name="T41" fmla="*/ 2 h 66"/>
                  <a:gd name="T42" fmla="*/ 13 w 37"/>
                  <a:gd name="T43" fmla="*/ 1 h 66"/>
                  <a:gd name="T44" fmla="*/ 14 w 37"/>
                  <a:gd name="T45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7" h="66">
                    <a:moveTo>
                      <a:pt x="14" y="0"/>
                    </a:moveTo>
                    <a:lnTo>
                      <a:pt x="14" y="7"/>
                    </a:lnTo>
                    <a:lnTo>
                      <a:pt x="16" y="17"/>
                    </a:lnTo>
                    <a:lnTo>
                      <a:pt x="21" y="28"/>
                    </a:lnTo>
                    <a:lnTo>
                      <a:pt x="25" y="39"/>
                    </a:lnTo>
                    <a:lnTo>
                      <a:pt x="29" y="50"/>
                    </a:lnTo>
                    <a:lnTo>
                      <a:pt x="33" y="57"/>
                    </a:lnTo>
                    <a:lnTo>
                      <a:pt x="36" y="64"/>
                    </a:lnTo>
                    <a:lnTo>
                      <a:pt x="37" y="66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24" y="66"/>
                    </a:lnTo>
                    <a:lnTo>
                      <a:pt x="18" y="64"/>
                    </a:lnTo>
                    <a:lnTo>
                      <a:pt x="12" y="59"/>
                    </a:lnTo>
                    <a:lnTo>
                      <a:pt x="7" y="51"/>
                    </a:lnTo>
                    <a:lnTo>
                      <a:pt x="2" y="40"/>
                    </a:lnTo>
                    <a:lnTo>
                      <a:pt x="0" y="27"/>
                    </a:lnTo>
                    <a:lnTo>
                      <a:pt x="0" y="17"/>
                    </a:lnTo>
                    <a:lnTo>
                      <a:pt x="2" y="11"/>
                    </a:lnTo>
                    <a:lnTo>
                      <a:pt x="7" y="5"/>
                    </a:lnTo>
                    <a:lnTo>
                      <a:pt x="10" y="2"/>
                    </a:lnTo>
                    <a:lnTo>
                      <a:pt x="13" y="1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7" name="Bought before">
            <a:extLst>
              <a:ext uri="{FF2B5EF4-FFF2-40B4-BE49-F238E27FC236}">
                <a16:creationId xmlns:a16="http://schemas.microsoft.com/office/drawing/2014/main" xmlns="" id="{A30BB428-B958-4A31-991C-BC088F4C50B6}"/>
              </a:ext>
            </a:extLst>
          </p:cNvPr>
          <p:cNvGrpSpPr/>
          <p:nvPr/>
        </p:nvGrpSpPr>
        <p:grpSpPr>
          <a:xfrm>
            <a:off x="3610055" y="2582313"/>
            <a:ext cx="1116000" cy="756000"/>
            <a:chOff x="3610055" y="2476500"/>
            <a:chExt cx="1296000" cy="900000"/>
          </a:xfrm>
        </p:grpSpPr>
        <p:sp>
          <p:nvSpPr>
            <p:cNvPr id="18" name="Rechthoek: afgeronde hoeken 17">
              <a:extLst>
                <a:ext uri="{FF2B5EF4-FFF2-40B4-BE49-F238E27FC236}">
                  <a16:creationId xmlns:a16="http://schemas.microsoft.com/office/drawing/2014/main" xmlns="" id="{729FD230-F2C8-49E0-8686-84376EC2CBEB}"/>
                </a:ext>
              </a:extLst>
            </p:cNvPr>
            <p:cNvSpPr/>
            <p:nvPr/>
          </p:nvSpPr>
          <p:spPr>
            <a:xfrm>
              <a:off x="3610055" y="2476500"/>
              <a:ext cx="1296000" cy="900000"/>
            </a:xfrm>
            <a:prstGeom prst="roundRect">
              <a:avLst>
                <a:gd name="adj" fmla="val 833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8,8%</a:t>
              </a:r>
            </a:p>
          </p:txBody>
        </p:sp>
        <p:grpSp>
          <p:nvGrpSpPr>
            <p:cNvPr id="38" name="Group 10">
              <a:extLst>
                <a:ext uri="{FF2B5EF4-FFF2-40B4-BE49-F238E27FC236}">
                  <a16:creationId xmlns:a16="http://schemas.microsoft.com/office/drawing/2014/main" xmlns="" id="{C8D98DAE-5460-41A3-AE6D-EAE9B26738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070127" y="2574180"/>
              <a:ext cx="375857" cy="347131"/>
              <a:chOff x="1486" y="1590"/>
              <a:chExt cx="2957" cy="2731"/>
            </a:xfrm>
            <a:solidFill>
              <a:schemeClr val="bg1"/>
            </a:solidFill>
          </p:grpSpPr>
          <p:sp>
            <p:nvSpPr>
              <p:cNvPr id="40" name="Freeform 11">
                <a:extLst>
                  <a:ext uri="{FF2B5EF4-FFF2-40B4-BE49-F238E27FC236}">
                    <a16:creationId xmlns:a16="http://schemas.microsoft.com/office/drawing/2014/main" xmlns="" id="{A3B74214-4D10-4AE5-871F-3316A61D2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4" y="1590"/>
                <a:ext cx="608" cy="732"/>
              </a:xfrm>
              <a:custGeom>
                <a:avLst/>
                <a:gdLst>
                  <a:gd name="T0" fmla="*/ 282 w 490"/>
                  <a:gd name="T1" fmla="*/ 589 h 589"/>
                  <a:gd name="T2" fmla="*/ 490 w 490"/>
                  <a:gd name="T3" fmla="*/ 589 h 589"/>
                  <a:gd name="T4" fmla="*/ 181 w 490"/>
                  <a:gd name="T5" fmla="*/ 58 h 589"/>
                  <a:gd name="T6" fmla="*/ 58 w 490"/>
                  <a:gd name="T7" fmla="*/ 26 h 589"/>
                  <a:gd name="T8" fmla="*/ 26 w 490"/>
                  <a:gd name="T9" fmla="*/ 149 h 589"/>
                  <a:gd name="T10" fmla="*/ 282 w 490"/>
                  <a:gd name="T11" fmla="*/ 589 h 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0" h="589">
                    <a:moveTo>
                      <a:pt x="282" y="589"/>
                    </a:moveTo>
                    <a:cubicBezTo>
                      <a:pt x="490" y="589"/>
                      <a:pt x="490" y="589"/>
                      <a:pt x="490" y="589"/>
                    </a:cubicBezTo>
                    <a:cubicBezTo>
                      <a:pt x="181" y="58"/>
                      <a:pt x="181" y="58"/>
                      <a:pt x="181" y="58"/>
                    </a:cubicBezTo>
                    <a:cubicBezTo>
                      <a:pt x="156" y="15"/>
                      <a:pt x="101" y="0"/>
                      <a:pt x="58" y="26"/>
                    </a:cubicBezTo>
                    <a:cubicBezTo>
                      <a:pt x="15" y="51"/>
                      <a:pt x="0" y="106"/>
                      <a:pt x="26" y="149"/>
                    </a:cubicBezTo>
                    <a:lnTo>
                      <a:pt x="282" y="5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" name="Freeform 12">
                <a:extLst>
                  <a:ext uri="{FF2B5EF4-FFF2-40B4-BE49-F238E27FC236}">
                    <a16:creationId xmlns:a16="http://schemas.microsoft.com/office/drawing/2014/main" xmlns="" id="{0E40420C-A35F-4079-97E7-6B33D49B8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8" y="1591"/>
                <a:ext cx="607" cy="731"/>
              </a:xfrm>
              <a:custGeom>
                <a:avLst/>
                <a:gdLst>
                  <a:gd name="T0" fmla="*/ 464 w 489"/>
                  <a:gd name="T1" fmla="*/ 148 h 588"/>
                  <a:gd name="T2" fmla="*/ 432 w 489"/>
                  <a:gd name="T3" fmla="*/ 25 h 588"/>
                  <a:gd name="T4" fmla="*/ 309 w 489"/>
                  <a:gd name="T5" fmla="*/ 57 h 588"/>
                  <a:gd name="T6" fmla="*/ 0 w 489"/>
                  <a:gd name="T7" fmla="*/ 588 h 588"/>
                  <a:gd name="T8" fmla="*/ 208 w 489"/>
                  <a:gd name="T9" fmla="*/ 588 h 588"/>
                  <a:gd name="T10" fmla="*/ 464 w 489"/>
                  <a:gd name="T11" fmla="*/ 148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9" h="588">
                    <a:moveTo>
                      <a:pt x="464" y="148"/>
                    </a:moveTo>
                    <a:cubicBezTo>
                      <a:pt x="489" y="105"/>
                      <a:pt x="475" y="50"/>
                      <a:pt x="432" y="25"/>
                    </a:cubicBezTo>
                    <a:cubicBezTo>
                      <a:pt x="389" y="0"/>
                      <a:pt x="334" y="14"/>
                      <a:pt x="309" y="57"/>
                    </a:cubicBezTo>
                    <a:cubicBezTo>
                      <a:pt x="0" y="588"/>
                      <a:pt x="0" y="588"/>
                      <a:pt x="0" y="588"/>
                    </a:cubicBezTo>
                    <a:cubicBezTo>
                      <a:pt x="208" y="588"/>
                      <a:pt x="208" y="588"/>
                      <a:pt x="208" y="588"/>
                    </a:cubicBezTo>
                    <a:lnTo>
                      <a:pt x="464" y="1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" name="Freeform 13">
                <a:extLst>
                  <a:ext uri="{FF2B5EF4-FFF2-40B4-BE49-F238E27FC236}">
                    <a16:creationId xmlns:a16="http://schemas.microsoft.com/office/drawing/2014/main" xmlns="" id="{DEBBD99C-E269-4CBE-8C7C-1AF1BA6930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86" y="2525"/>
                <a:ext cx="2957" cy="1796"/>
              </a:xfrm>
              <a:custGeom>
                <a:avLst/>
                <a:gdLst>
                  <a:gd name="T0" fmla="*/ 2228 w 2382"/>
                  <a:gd name="T1" fmla="*/ 0 h 1445"/>
                  <a:gd name="T2" fmla="*/ 153 w 2382"/>
                  <a:gd name="T3" fmla="*/ 0 h 1445"/>
                  <a:gd name="T4" fmla="*/ 0 w 2382"/>
                  <a:gd name="T5" fmla="*/ 153 h 1445"/>
                  <a:gd name="T6" fmla="*/ 0 w 2382"/>
                  <a:gd name="T7" fmla="*/ 322 h 1445"/>
                  <a:gd name="T8" fmla="*/ 153 w 2382"/>
                  <a:gd name="T9" fmla="*/ 475 h 1445"/>
                  <a:gd name="T10" fmla="*/ 201 w 2382"/>
                  <a:gd name="T11" fmla="*/ 475 h 1445"/>
                  <a:gd name="T12" fmla="*/ 349 w 2382"/>
                  <a:gd name="T13" fmla="*/ 1276 h 1445"/>
                  <a:gd name="T14" fmla="*/ 543 w 2382"/>
                  <a:gd name="T15" fmla="*/ 1445 h 1445"/>
                  <a:gd name="T16" fmla="*/ 602 w 2382"/>
                  <a:gd name="T17" fmla="*/ 1445 h 1445"/>
                  <a:gd name="T18" fmla="*/ 987 w 2382"/>
                  <a:gd name="T19" fmla="*/ 1445 h 1445"/>
                  <a:gd name="T20" fmla="*/ 1129 w 2382"/>
                  <a:gd name="T21" fmla="*/ 1445 h 1445"/>
                  <a:gd name="T22" fmla="*/ 1129 w 2382"/>
                  <a:gd name="T23" fmla="*/ 1445 h 1445"/>
                  <a:gd name="T24" fmla="*/ 1176 w 2382"/>
                  <a:gd name="T25" fmla="*/ 1445 h 1445"/>
                  <a:gd name="T26" fmla="*/ 1223 w 2382"/>
                  <a:gd name="T27" fmla="*/ 1445 h 1445"/>
                  <a:gd name="T28" fmla="*/ 1223 w 2382"/>
                  <a:gd name="T29" fmla="*/ 1445 h 1445"/>
                  <a:gd name="T30" fmla="*/ 1364 w 2382"/>
                  <a:gd name="T31" fmla="*/ 1445 h 1445"/>
                  <a:gd name="T32" fmla="*/ 1749 w 2382"/>
                  <a:gd name="T33" fmla="*/ 1445 h 1445"/>
                  <a:gd name="T34" fmla="*/ 1808 w 2382"/>
                  <a:gd name="T35" fmla="*/ 1445 h 1445"/>
                  <a:gd name="T36" fmla="*/ 2002 w 2382"/>
                  <a:gd name="T37" fmla="*/ 1276 h 1445"/>
                  <a:gd name="T38" fmla="*/ 2151 w 2382"/>
                  <a:gd name="T39" fmla="*/ 475 h 1445"/>
                  <a:gd name="T40" fmla="*/ 2229 w 2382"/>
                  <a:gd name="T41" fmla="*/ 475 h 1445"/>
                  <a:gd name="T42" fmla="*/ 2382 w 2382"/>
                  <a:gd name="T43" fmla="*/ 322 h 1445"/>
                  <a:gd name="T44" fmla="*/ 2382 w 2382"/>
                  <a:gd name="T45" fmla="*/ 152 h 1445"/>
                  <a:gd name="T46" fmla="*/ 2228 w 2382"/>
                  <a:gd name="T47" fmla="*/ 0 h 1445"/>
                  <a:gd name="T48" fmla="*/ 845 w 2382"/>
                  <a:gd name="T49" fmla="*/ 799 h 1445"/>
                  <a:gd name="T50" fmla="*/ 845 w 2382"/>
                  <a:gd name="T51" fmla="*/ 1145 h 1445"/>
                  <a:gd name="T52" fmla="*/ 759 w 2382"/>
                  <a:gd name="T53" fmla="*/ 1231 h 1445"/>
                  <a:gd name="T54" fmla="*/ 672 w 2382"/>
                  <a:gd name="T55" fmla="*/ 1145 h 1445"/>
                  <a:gd name="T56" fmla="*/ 672 w 2382"/>
                  <a:gd name="T57" fmla="*/ 1000 h 1445"/>
                  <a:gd name="T58" fmla="*/ 672 w 2382"/>
                  <a:gd name="T59" fmla="*/ 661 h 1445"/>
                  <a:gd name="T60" fmla="*/ 759 w 2382"/>
                  <a:gd name="T61" fmla="*/ 574 h 1445"/>
                  <a:gd name="T62" fmla="*/ 845 w 2382"/>
                  <a:gd name="T63" fmla="*/ 661 h 1445"/>
                  <a:gd name="T64" fmla="*/ 845 w 2382"/>
                  <a:gd name="T65" fmla="*/ 799 h 1445"/>
                  <a:gd name="T66" fmla="*/ 1123 w 2382"/>
                  <a:gd name="T67" fmla="*/ 799 h 1445"/>
                  <a:gd name="T68" fmla="*/ 1123 w 2382"/>
                  <a:gd name="T69" fmla="*/ 1145 h 1445"/>
                  <a:gd name="T70" fmla="*/ 1036 w 2382"/>
                  <a:gd name="T71" fmla="*/ 1231 h 1445"/>
                  <a:gd name="T72" fmla="*/ 950 w 2382"/>
                  <a:gd name="T73" fmla="*/ 1145 h 1445"/>
                  <a:gd name="T74" fmla="*/ 950 w 2382"/>
                  <a:gd name="T75" fmla="*/ 1000 h 1445"/>
                  <a:gd name="T76" fmla="*/ 950 w 2382"/>
                  <a:gd name="T77" fmla="*/ 661 h 1445"/>
                  <a:gd name="T78" fmla="*/ 1036 w 2382"/>
                  <a:gd name="T79" fmla="*/ 574 h 1445"/>
                  <a:gd name="T80" fmla="*/ 1123 w 2382"/>
                  <a:gd name="T81" fmla="*/ 661 h 1445"/>
                  <a:gd name="T82" fmla="*/ 1123 w 2382"/>
                  <a:gd name="T83" fmla="*/ 799 h 1445"/>
                  <a:gd name="T84" fmla="*/ 1402 w 2382"/>
                  <a:gd name="T85" fmla="*/ 1000 h 1445"/>
                  <a:gd name="T86" fmla="*/ 1402 w 2382"/>
                  <a:gd name="T87" fmla="*/ 1145 h 1445"/>
                  <a:gd name="T88" fmla="*/ 1315 w 2382"/>
                  <a:gd name="T89" fmla="*/ 1231 h 1445"/>
                  <a:gd name="T90" fmla="*/ 1229 w 2382"/>
                  <a:gd name="T91" fmla="*/ 1145 h 1445"/>
                  <a:gd name="T92" fmla="*/ 1229 w 2382"/>
                  <a:gd name="T93" fmla="*/ 799 h 1445"/>
                  <a:gd name="T94" fmla="*/ 1229 w 2382"/>
                  <a:gd name="T95" fmla="*/ 661 h 1445"/>
                  <a:gd name="T96" fmla="*/ 1315 w 2382"/>
                  <a:gd name="T97" fmla="*/ 574 h 1445"/>
                  <a:gd name="T98" fmla="*/ 1402 w 2382"/>
                  <a:gd name="T99" fmla="*/ 661 h 1445"/>
                  <a:gd name="T100" fmla="*/ 1402 w 2382"/>
                  <a:gd name="T101" fmla="*/ 1000 h 1445"/>
                  <a:gd name="T102" fmla="*/ 1680 w 2382"/>
                  <a:gd name="T103" fmla="*/ 1000 h 1445"/>
                  <a:gd name="T104" fmla="*/ 1680 w 2382"/>
                  <a:gd name="T105" fmla="*/ 1145 h 1445"/>
                  <a:gd name="T106" fmla="*/ 1593 w 2382"/>
                  <a:gd name="T107" fmla="*/ 1231 h 1445"/>
                  <a:gd name="T108" fmla="*/ 1507 w 2382"/>
                  <a:gd name="T109" fmla="*/ 1145 h 1445"/>
                  <a:gd name="T110" fmla="*/ 1507 w 2382"/>
                  <a:gd name="T111" fmla="*/ 799 h 1445"/>
                  <a:gd name="T112" fmla="*/ 1507 w 2382"/>
                  <a:gd name="T113" fmla="*/ 661 h 1445"/>
                  <a:gd name="T114" fmla="*/ 1593 w 2382"/>
                  <a:gd name="T115" fmla="*/ 574 h 1445"/>
                  <a:gd name="T116" fmla="*/ 1680 w 2382"/>
                  <a:gd name="T117" fmla="*/ 661 h 1445"/>
                  <a:gd name="T118" fmla="*/ 1680 w 2382"/>
                  <a:gd name="T119" fmla="*/ 1000 h 1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82" h="1445">
                    <a:moveTo>
                      <a:pt x="2228" y="0"/>
                    </a:moveTo>
                    <a:cubicBezTo>
                      <a:pt x="153" y="0"/>
                      <a:pt x="153" y="0"/>
                      <a:pt x="153" y="0"/>
                    </a:cubicBezTo>
                    <a:cubicBezTo>
                      <a:pt x="69" y="0"/>
                      <a:pt x="0" y="68"/>
                      <a:pt x="0" y="153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407"/>
                      <a:pt x="69" y="475"/>
                      <a:pt x="153" y="475"/>
                    </a:cubicBezTo>
                    <a:cubicBezTo>
                      <a:pt x="201" y="475"/>
                      <a:pt x="201" y="475"/>
                      <a:pt x="201" y="475"/>
                    </a:cubicBezTo>
                    <a:cubicBezTo>
                      <a:pt x="349" y="1276"/>
                      <a:pt x="349" y="1276"/>
                      <a:pt x="349" y="1276"/>
                    </a:cubicBezTo>
                    <a:cubicBezTo>
                      <a:pt x="368" y="1370"/>
                      <a:pt x="454" y="1445"/>
                      <a:pt x="543" y="1445"/>
                    </a:cubicBezTo>
                    <a:cubicBezTo>
                      <a:pt x="602" y="1445"/>
                      <a:pt x="602" y="1445"/>
                      <a:pt x="602" y="1445"/>
                    </a:cubicBezTo>
                    <a:cubicBezTo>
                      <a:pt x="987" y="1445"/>
                      <a:pt x="987" y="1445"/>
                      <a:pt x="987" y="1445"/>
                    </a:cubicBezTo>
                    <a:cubicBezTo>
                      <a:pt x="1026" y="1445"/>
                      <a:pt x="1077" y="1445"/>
                      <a:pt x="1129" y="1445"/>
                    </a:cubicBezTo>
                    <a:cubicBezTo>
                      <a:pt x="1129" y="1445"/>
                      <a:pt x="1129" y="1445"/>
                      <a:pt x="1129" y="1445"/>
                    </a:cubicBezTo>
                    <a:cubicBezTo>
                      <a:pt x="1176" y="1445"/>
                      <a:pt x="1176" y="1445"/>
                      <a:pt x="1176" y="1445"/>
                    </a:cubicBezTo>
                    <a:cubicBezTo>
                      <a:pt x="1223" y="1445"/>
                      <a:pt x="1223" y="1445"/>
                      <a:pt x="1223" y="1445"/>
                    </a:cubicBezTo>
                    <a:cubicBezTo>
                      <a:pt x="1223" y="1445"/>
                      <a:pt x="1223" y="1445"/>
                      <a:pt x="1223" y="1445"/>
                    </a:cubicBezTo>
                    <a:cubicBezTo>
                      <a:pt x="1274" y="1445"/>
                      <a:pt x="1325" y="1445"/>
                      <a:pt x="1364" y="1445"/>
                    </a:cubicBezTo>
                    <a:cubicBezTo>
                      <a:pt x="1749" y="1445"/>
                      <a:pt x="1749" y="1445"/>
                      <a:pt x="1749" y="1445"/>
                    </a:cubicBezTo>
                    <a:cubicBezTo>
                      <a:pt x="1808" y="1445"/>
                      <a:pt x="1808" y="1445"/>
                      <a:pt x="1808" y="1445"/>
                    </a:cubicBezTo>
                    <a:cubicBezTo>
                      <a:pt x="1898" y="1445"/>
                      <a:pt x="1984" y="1370"/>
                      <a:pt x="2002" y="1276"/>
                    </a:cubicBezTo>
                    <a:cubicBezTo>
                      <a:pt x="2151" y="475"/>
                      <a:pt x="2151" y="475"/>
                      <a:pt x="2151" y="475"/>
                    </a:cubicBezTo>
                    <a:cubicBezTo>
                      <a:pt x="2229" y="475"/>
                      <a:pt x="2229" y="475"/>
                      <a:pt x="2229" y="475"/>
                    </a:cubicBezTo>
                    <a:cubicBezTo>
                      <a:pt x="2313" y="475"/>
                      <a:pt x="2382" y="406"/>
                      <a:pt x="2382" y="322"/>
                    </a:cubicBezTo>
                    <a:cubicBezTo>
                      <a:pt x="2382" y="152"/>
                      <a:pt x="2382" y="152"/>
                      <a:pt x="2382" y="152"/>
                    </a:cubicBezTo>
                    <a:cubicBezTo>
                      <a:pt x="2381" y="68"/>
                      <a:pt x="2313" y="0"/>
                      <a:pt x="2228" y="0"/>
                    </a:cubicBezTo>
                    <a:close/>
                    <a:moveTo>
                      <a:pt x="845" y="799"/>
                    </a:moveTo>
                    <a:cubicBezTo>
                      <a:pt x="845" y="1145"/>
                      <a:pt x="845" y="1145"/>
                      <a:pt x="845" y="1145"/>
                    </a:cubicBezTo>
                    <a:cubicBezTo>
                      <a:pt x="845" y="1194"/>
                      <a:pt x="805" y="1231"/>
                      <a:pt x="759" y="1231"/>
                    </a:cubicBezTo>
                    <a:cubicBezTo>
                      <a:pt x="709" y="1231"/>
                      <a:pt x="672" y="1191"/>
                      <a:pt x="672" y="1145"/>
                    </a:cubicBezTo>
                    <a:cubicBezTo>
                      <a:pt x="672" y="1000"/>
                      <a:pt x="672" y="1000"/>
                      <a:pt x="672" y="1000"/>
                    </a:cubicBezTo>
                    <a:cubicBezTo>
                      <a:pt x="672" y="661"/>
                      <a:pt x="672" y="661"/>
                      <a:pt x="672" y="661"/>
                    </a:cubicBezTo>
                    <a:cubicBezTo>
                      <a:pt x="672" y="611"/>
                      <a:pt x="712" y="574"/>
                      <a:pt x="759" y="574"/>
                    </a:cubicBezTo>
                    <a:cubicBezTo>
                      <a:pt x="808" y="574"/>
                      <a:pt x="845" y="614"/>
                      <a:pt x="845" y="661"/>
                    </a:cubicBezTo>
                    <a:lnTo>
                      <a:pt x="845" y="799"/>
                    </a:lnTo>
                    <a:close/>
                    <a:moveTo>
                      <a:pt x="1123" y="799"/>
                    </a:moveTo>
                    <a:cubicBezTo>
                      <a:pt x="1123" y="1145"/>
                      <a:pt x="1123" y="1145"/>
                      <a:pt x="1123" y="1145"/>
                    </a:cubicBezTo>
                    <a:cubicBezTo>
                      <a:pt x="1123" y="1194"/>
                      <a:pt x="1083" y="1231"/>
                      <a:pt x="1036" y="1231"/>
                    </a:cubicBezTo>
                    <a:cubicBezTo>
                      <a:pt x="987" y="1231"/>
                      <a:pt x="950" y="1191"/>
                      <a:pt x="950" y="1145"/>
                    </a:cubicBezTo>
                    <a:cubicBezTo>
                      <a:pt x="950" y="1000"/>
                      <a:pt x="950" y="1000"/>
                      <a:pt x="950" y="1000"/>
                    </a:cubicBezTo>
                    <a:cubicBezTo>
                      <a:pt x="950" y="661"/>
                      <a:pt x="950" y="661"/>
                      <a:pt x="950" y="661"/>
                    </a:cubicBezTo>
                    <a:cubicBezTo>
                      <a:pt x="950" y="611"/>
                      <a:pt x="990" y="574"/>
                      <a:pt x="1036" y="574"/>
                    </a:cubicBezTo>
                    <a:cubicBezTo>
                      <a:pt x="1083" y="574"/>
                      <a:pt x="1123" y="614"/>
                      <a:pt x="1123" y="661"/>
                    </a:cubicBezTo>
                    <a:lnTo>
                      <a:pt x="1123" y="799"/>
                    </a:lnTo>
                    <a:close/>
                    <a:moveTo>
                      <a:pt x="1402" y="1000"/>
                    </a:moveTo>
                    <a:cubicBezTo>
                      <a:pt x="1402" y="1145"/>
                      <a:pt x="1402" y="1145"/>
                      <a:pt x="1402" y="1145"/>
                    </a:cubicBezTo>
                    <a:cubicBezTo>
                      <a:pt x="1402" y="1191"/>
                      <a:pt x="1365" y="1231"/>
                      <a:pt x="1315" y="1231"/>
                    </a:cubicBezTo>
                    <a:cubicBezTo>
                      <a:pt x="1269" y="1231"/>
                      <a:pt x="1229" y="1194"/>
                      <a:pt x="1229" y="1145"/>
                    </a:cubicBezTo>
                    <a:cubicBezTo>
                      <a:pt x="1229" y="799"/>
                      <a:pt x="1229" y="799"/>
                      <a:pt x="1229" y="799"/>
                    </a:cubicBezTo>
                    <a:cubicBezTo>
                      <a:pt x="1229" y="661"/>
                      <a:pt x="1229" y="661"/>
                      <a:pt x="1229" y="661"/>
                    </a:cubicBezTo>
                    <a:cubicBezTo>
                      <a:pt x="1229" y="614"/>
                      <a:pt x="1269" y="574"/>
                      <a:pt x="1315" y="574"/>
                    </a:cubicBezTo>
                    <a:cubicBezTo>
                      <a:pt x="1362" y="574"/>
                      <a:pt x="1402" y="611"/>
                      <a:pt x="1402" y="661"/>
                    </a:cubicBezTo>
                    <a:lnTo>
                      <a:pt x="1402" y="1000"/>
                    </a:lnTo>
                    <a:close/>
                    <a:moveTo>
                      <a:pt x="1680" y="1000"/>
                    </a:moveTo>
                    <a:cubicBezTo>
                      <a:pt x="1680" y="1145"/>
                      <a:pt x="1680" y="1145"/>
                      <a:pt x="1680" y="1145"/>
                    </a:cubicBezTo>
                    <a:cubicBezTo>
                      <a:pt x="1680" y="1191"/>
                      <a:pt x="1642" y="1231"/>
                      <a:pt x="1593" y="1231"/>
                    </a:cubicBezTo>
                    <a:cubicBezTo>
                      <a:pt x="1547" y="1231"/>
                      <a:pt x="1507" y="1194"/>
                      <a:pt x="1507" y="1145"/>
                    </a:cubicBezTo>
                    <a:cubicBezTo>
                      <a:pt x="1507" y="799"/>
                      <a:pt x="1507" y="799"/>
                      <a:pt x="1507" y="799"/>
                    </a:cubicBezTo>
                    <a:cubicBezTo>
                      <a:pt x="1507" y="661"/>
                      <a:pt x="1507" y="661"/>
                      <a:pt x="1507" y="661"/>
                    </a:cubicBezTo>
                    <a:cubicBezTo>
                      <a:pt x="1507" y="614"/>
                      <a:pt x="1544" y="574"/>
                      <a:pt x="1593" y="574"/>
                    </a:cubicBezTo>
                    <a:cubicBezTo>
                      <a:pt x="1640" y="574"/>
                      <a:pt x="1680" y="611"/>
                      <a:pt x="1680" y="661"/>
                    </a:cubicBezTo>
                    <a:lnTo>
                      <a:pt x="1680" y="10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78" name="Recipes">
            <a:extLst>
              <a:ext uri="{FF2B5EF4-FFF2-40B4-BE49-F238E27FC236}">
                <a16:creationId xmlns:a16="http://schemas.microsoft.com/office/drawing/2014/main" xmlns="" id="{1E636CA2-079D-46F1-877E-76A8EC96AD81}"/>
              </a:ext>
            </a:extLst>
          </p:cNvPr>
          <p:cNvGrpSpPr/>
          <p:nvPr/>
        </p:nvGrpSpPr>
        <p:grpSpPr>
          <a:xfrm>
            <a:off x="543005" y="3725313"/>
            <a:ext cx="1116000" cy="756000"/>
            <a:chOff x="543005" y="3619500"/>
            <a:chExt cx="1296000" cy="900000"/>
          </a:xfrm>
        </p:grpSpPr>
        <p:sp>
          <p:nvSpPr>
            <p:cNvPr id="13" name="Rechthoek: afgeronde hoeken 12">
              <a:extLst>
                <a:ext uri="{FF2B5EF4-FFF2-40B4-BE49-F238E27FC236}">
                  <a16:creationId xmlns:a16="http://schemas.microsoft.com/office/drawing/2014/main" xmlns="" id="{39A8BE21-F953-47C3-9BA1-993EC7D66B42}"/>
                </a:ext>
              </a:extLst>
            </p:cNvPr>
            <p:cNvSpPr/>
            <p:nvPr/>
          </p:nvSpPr>
          <p:spPr>
            <a:xfrm>
              <a:off x="543005" y="3619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+0,0%</a:t>
              </a:r>
            </a:p>
          </p:txBody>
        </p:sp>
        <p:grpSp>
          <p:nvGrpSpPr>
            <p:cNvPr id="50" name="Group 22">
              <a:extLst>
                <a:ext uri="{FF2B5EF4-FFF2-40B4-BE49-F238E27FC236}">
                  <a16:creationId xmlns:a16="http://schemas.microsoft.com/office/drawing/2014/main" xmlns="" id="{0C1B7C80-6647-4B04-80E2-A5DF2500E47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48532" y="3764699"/>
              <a:ext cx="307002" cy="304801"/>
              <a:chOff x="4585" y="2451"/>
              <a:chExt cx="558" cy="554"/>
            </a:xfrm>
            <a:solidFill>
              <a:schemeClr val="bg1"/>
            </a:solidFill>
          </p:grpSpPr>
          <p:sp>
            <p:nvSpPr>
              <p:cNvPr id="52" name="Freeform 23">
                <a:extLst>
                  <a:ext uri="{FF2B5EF4-FFF2-40B4-BE49-F238E27FC236}">
                    <a16:creationId xmlns:a16="http://schemas.microsoft.com/office/drawing/2014/main" xmlns="" id="{B87780F9-AB72-4E67-9E71-00065178F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9" y="2451"/>
                <a:ext cx="524" cy="554"/>
              </a:xfrm>
              <a:custGeom>
                <a:avLst/>
                <a:gdLst>
                  <a:gd name="T0" fmla="*/ 2193 w 2274"/>
                  <a:gd name="T1" fmla="*/ 2025 h 2404"/>
                  <a:gd name="T2" fmla="*/ 1259 w 2274"/>
                  <a:gd name="T3" fmla="*/ 1091 h 2404"/>
                  <a:gd name="T4" fmla="*/ 168 w 2274"/>
                  <a:gd name="T5" fmla="*/ 0 h 2404"/>
                  <a:gd name="T6" fmla="*/ 83 w 2274"/>
                  <a:gd name="T7" fmla="*/ 0 h 2404"/>
                  <a:gd name="T8" fmla="*/ 65 w 2274"/>
                  <a:gd name="T9" fmla="*/ 45 h 2404"/>
                  <a:gd name="T10" fmla="*/ 9 w 2274"/>
                  <a:gd name="T11" fmla="*/ 390 h 2404"/>
                  <a:gd name="T12" fmla="*/ 145 w 2274"/>
                  <a:gd name="T13" fmla="*/ 701 h 2404"/>
                  <a:gd name="T14" fmla="*/ 997 w 2274"/>
                  <a:gd name="T15" fmla="*/ 1553 h 2404"/>
                  <a:gd name="T16" fmla="*/ 1109 w 2274"/>
                  <a:gd name="T17" fmla="*/ 1441 h 2404"/>
                  <a:gd name="T18" fmla="*/ 1897 w 2274"/>
                  <a:gd name="T19" fmla="*/ 2321 h 2404"/>
                  <a:gd name="T20" fmla="*/ 2193 w 2274"/>
                  <a:gd name="T21" fmla="*/ 2321 h 2404"/>
                  <a:gd name="T22" fmla="*/ 2193 w 2274"/>
                  <a:gd name="T23" fmla="*/ 2025 h 2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74" h="2404">
                    <a:moveTo>
                      <a:pt x="2193" y="2025"/>
                    </a:moveTo>
                    <a:cubicBezTo>
                      <a:pt x="1259" y="1091"/>
                      <a:pt x="1259" y="1091"/>
                      <a:pt x="1259" y="1091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65" y="45"/>
                      <a:pt x="65" y="45"/>
                      <a:pt x="65" y="45"/>
                    </a:cubicBezTo>
                    <a:cubicBezTo>
                      <a:pt x="19" y="161"/>
                      <a:pt x="0" y="281"/>
                      <a:pt x="9" y="390"/>
                    </a:cubicBezTo>
                    <a:cubicBezTo>
                      <a:pt x="19" y="514"/>
                      <a:pt x="66" y="622"/>
                      <a:pt x="145" y="701"/>
                    </a:cubicBezTo>
                    <a:cubicBezTo>
                      <a:pt x="997" y="1553"/>
                      <a:pt x="997" y="1553"/>
                      <a:pt x="997" y="1553"/>
                    </a:cubicBezTo>
                    <a:cubicBezTo>
                      <a:pt x="1109" y="1441"/>
                      <a:pt x="1109" y="1441"/>
                      <a:pt x="1109" y="1441"/>
                    </a:cubicBezTo>
                    <a:cubicBezTo>
                      <a:pt x="1897" y="2321"/>
                      <a:pt x="1897" y="2321"/>
                      <a:pt x="1897" y="2321"/>
                    </a:cubicBezTo>
                    <a:cubicBezTo>
                      <a:pt x="1975" y="2399"/>
                      <a:pt x="2110" y="2404"/>
                      <a:pt x="2193" y="2321"/>
                    </a:cubicBezTo>
                    <a:cubicBezTo>
                      <a:pt x="2274" y="2239"/>
                      <a:pt x="2274" y="2107"/>
                      <a:pt x="2193" y="20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" name="Freeform 24">
                <a:extLst>
                  <a:ext uri="{FF2B5EF4-FFF2-40B4-BE49-F238E27FC236}">
                    <a16:creationId xmlns:a16="http://schemas.microsoft.com/office/drawing/2014/main" xmlns="" id="{092DD617-FD2C-46CA-8F32-131B51C33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5" y="2764"/>
                <a:ext cx="241" cy="241"/>
              </a:xfrm>
              <a:custGeom>
                <a:avLst/>
                <a:gdLst>
                  <a:gd name="T0" fmla="*/ 748 w 1044"/>
                  <a:gd name="T1" fmla="*/ 0 h 1047"/>
                  <a:gd name="T2" fmla="*/ 81 w 1044"/>
                  <a:gd name="T3" fmla="*/ 667 h 1047"/>
                  <a:gd name="T4" fmla="*/ 81 w 1044"/>
                  <a:gd name="T5" fmla="*/ 963 h 1047"/>
                  <a:gd name="T6" fmla="*/ 377 w 1044"/>
                  <a:gd name="T7" fmla="*/ 963 h 1047"/>
                  <a:gd name="T8" fmla="*/ 1044 w 1044"/>
                  <a:gd name="T9" fmla="*/ 296 h 1047"/>
                  <a:gd name="T10" fmla="*/ 748 w 1044"/>
                  <a:gd name="T11" fmla="*/ 0 h 10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4" h="1047">
                    <a:moveTo>
                      <a:pt x="748" y="0"/>
                    </a:moveTo>
                    <a:cubicBezTo>
                      <a:pt x="81" y="667"/>
                      <a:pt x="81" y="667"/>
                      <a:pt x="81" y="667"/>
                    </a:cubicBezTo>
                    <a:cubicBezTo>
                      <a:pt x="0" y="748"/>
                      <a:pt x="0" y="881"/>
                      <a:pt x="81" y="963"/>
                    </a:cubicBezTo>
                    <a:cubicBezTo>
                      <a:pt x="159" y="1040"/>
                      <a:pt x="293" y="1047"/>
                      <a:pt x="377" y="963"/>
                    </a:cubicBezTo>
                    <a:cubicBezTo>
                      <a:pt x="1044" y="296"/>
                      <a:pt x="1044" y="296"/>
                      <a:pt x="1044" y="296"/>
                    </a:cubicBezTo>
                    <a:lnTo>
                      <a:pt x="74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" name="Freeform 25">
                <a:extLst>
                  <a:ext uri="{FF2B5EF4-FFF2-40B4-BE49-F238E27FC236}">
                    <a16:creationId xmlns:a16="http://schemas.microsoft.com/office/drawing/2014/main" xmlns="" id="{85B73884-34D4-42E6-A755-81287E245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4" y="2452"/>
                <a:ext cx="254" cy="254"/>
              </a:xfrm>
              <a:custGeom>
                <a:avLst/>
                <a:gdLst>
                  <a:gd name="T0" fmla="*/ 1004 w 1103"/>
                  <a:gd name="T1" fmla="*/ 395 h 1103"/>
                  <a:gd name="T2" fmla="*/ 626 w 1103"/>
                  <a:gd name="T3" fmla="*/ 773 h 1103"/>
                  <a:gd name="T4" fmla="*/ 527 w 1103"/>
                  <a:gd name="T5" fmla="*/ 675 h 1103"/>
                  <a:gd name="T6" fmla="*/ 906 w 1103"/>
                  <a:gd name="T7" fmla="*/ 296 h 1103"/>
                  <a:gd name="T8" fmla="*/ 807 w 1103"/>
                  <a:gd name="T9" fmla="*/ 198 h 1103"/>
                  <a:gd name="T10" fmla="*/ 429 w 1103"/>
                  <a:gd name="T11" fmla="*/ 576 h 1103"/>
                  <a:gd name="T12" fmla="*/ 330 w 1103"/>
                  <a:gd name="T13" fmla="*/ 477 h 1103"/>
                  <a:gd name="T14" fmla="*/ 708 w 1103"/>
                  <a:gd name="T15" fmla="*/ 99 h 1103"/>
                  <a:gd name="T16" fmla="*/ 610 w 1103"/>
                  <a:gd name="T17" fmla="*/ 0 h 1103"/>
                  <a:gd name="T18" fmla="*/ 116 w 1103"/>
                  <a:gd name="T19" fmla="*/ 494 h 1103"/>
                  <a:gd name="T20" fmla="*/ 15 w 1103"/>
                  <a:gd name="T21" fmla="*/ 719 h 1103"/>
                  <a:gd name="T22" fmla="*/ 0 w 1103"/>
                  <a:gd name="T23" fmla="*/ 782 h 1103"/>
                  <a:gd name="T24" fmla="*/ 321 w 1103"/>
                  <a:gd name="T25" fmla="*/ 1103 h 1103"/>
                  <a:gd name="T26" fmla="*/ 384 w 1103"/>
                  <a:gd name="T27" fmla="*/ 1089 h 1103"/>
                  <a:gd name="T28" fmla="*/ 610 w 1103"/>
                  <a:gd name="T29" fmla="*/ 987 h 1103"/>
                  <a:gd name="T30" fmla="*/ 1103 w 1103"/>
                  <a:gd name="T31" fmla="*/ 494 h 1103"/>
                  <a:gd name="T32" fmla="*/ 1004 w 1103"/>
                  <a:gd name="T33" fmla="*/ 395 h 1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03" h="1103">
                    <a:moveTo>
                      <a:pt x="1004" y="395"/>
                    </a:moveTo>
                    <a:cubicBezTo>
                      <a:pt x="626" y="773"/>
                      <a:pt x="626" y="773"/>
                      <a:pt x="626" y="773"/>
                    </a:cubicBezTo>
                    <a:cubicBezTo>
                      <a:pt x="527" y="675"/>
                      <a:pt x="527" y="675"/>
                      <a:pt x="527" y="675"/>
                    </a:cubicBezTo>
                    <a:cubicBezTo>
                      <a:pt x="906" y="296"/>
                      <a:pt x="906" y="296"/>
                      <a:pt x="906" y="296"/>
                    </a:cubicBezTo>
                    <a:cubicBezTo>
                      <a:pt x="807" y="198"/>
                      <a:pt x="807" y="198"/>
                      <a:pt x="807" y="198"/>
                    </a:cubicBezTo>
                    <a:cubicBezTo>
                      <a:pt x="429" y="576"/>
                      <a:pt x="429" y="576"/>
                      <a:pt x="429" y="576"/>
                    </a:cubicBezTo>
                    <a:cubicBezTo>
                      <a:pt x="330" y="477"/>
                      <a:pt x="330" y="477"/>
                      <a:pt x="330" y="477"/>
                    </a:cubicBezTo>
                    <a:cubicBezTo>
                      <a:pt x="708" y="99"/>
                      <a:pt x="708" y="99"/>
                      <a:pt x="708" y="99"/>
                    </a:cubicBezTo>
                    <a:cubicBezTo>
                      <a:pt x="610" y="0"/>
                      <a:pt x="610" y="0"/>
                      <a:pt x="610" y="0"/>
                    </a:cubicBezTo>
                    <a:cubicBezTo>
                      <a:pt x="116" y="494"/>
                      <a:pt x="116" y="494"/>
                      <a:pt x="116" y="494"/>
                    </a:cubicBezTo>
                    <a:cubicBezTo>
                      <a:pt x="56" y="554"/>
                      <a:pt x="20" y="634"/>
                      <a:pt x="15" y="719"/>
                    </a:cubicBezTo>
                    <a:cubicBezTo>
                      <a:pt x="13" y="741"/>
                      <a:pt x="8" y="762"/>
                      <a:pt x="0" y="782"/>
                    </a:cubicBezTo>
                    <a:cubicBezTo>
                      <a:pt x="321" y="1103"/>
                      <a:pt x="321" y="1103"/>
                      <a:pt x="321" y="1103"/>
                    </a:cubicBezTo>
                    <a:cubicBezTo>
                      <a:pt x="341" y="1095"/>
                      <a:pt x="362" y="1090"/>
                      <a:pt x="384" y="1089"/>
                    </a:cubicBezTo>
                    <a:cubicBezTo>
                      <a:pt x="469" y="1083"/>
                      <a:pt x="549" y="1047"/>
                      <a:pt x="610" y="987"/>
                    </a:cubicBezTo>
                    <a:cubicBezTo>
                      <a:pt x="1103" y="494"/>
                      <a:pt x="1103" y="494"/>
                      <a:pt x="1103" y="494"/>
                    </a:cubicBezTo>
                    <a:lnTo>
                      <a:pt x="1004" y="3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79" name="Cross selling">
            <a:extLst>
              <a:ext uri="{FF2B5EF4-FFF2-40B4-BE49-F238E27FC236}">
                <a16:creationId xmlns:a16="http://schemas.microsoft.com/office/drawing/2014/main" xmlns="" id="{9EA13BB1-9CD4-4601-9291-B6BBAB35061C}"/>
              </a:ext>
            </a:extLst>
          </p:cNvPr>
          <p:cNvGrpSpPr/>
          <p:nvPr/>
        </p:nvGrpSpPr>
        <p:grpSpPr>
          <a:xfrm>
            <a:off x="2076530" y="3725313"/>
            <a:ext cx="1116000" cy="756000"/>
            <a:chOff x="2076530" y="3619500"/>
            <a:chExt cx="1296000" cy="900000"/>
          </a:xfrm>
        </p:grpSpPr>
        <p:sp>
          <p:nvSpPr>
            <p:cNvPr id="14" name="Rechthoek: afgeronde hoeken 13">
              <a:extLst>
                <a:ext uri="{FF2B5EF4-FFF2-40B4-BE49-F238E27FC236}">
                  <a16:creationId xmlns:a16="http://schemas.microsoft.com/office/drawing/2014/main" xmlns="" id="{46111FF5-0DFB-498B-8B1A-351CCBC6B127}"/>
                </a:ext>
              </a:extLst>
            </p:cNvPr>
            <p:cNvSpPr/>
            <p:nvPr/>
          </p:nvSpPr>
          <p:spPr>
            <a:xfrm>
              <a:off x="2076530" y="3619500"/>
              <a:ext cx="1296000" cy="900000"/>
            </a:xfrm>
            <a:prstGeom prst="roundRect">
              <a:avLst>
                <a:gd name="adj" fmla="val 833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0,5%</a:t>
              </a:r>
            </a:p>
          </p:txBody>
        </p:sp>
        <p:grpSp>
          <p:nvGrpSpPr>
            <p:cNvPr id="56" name="Group 28">
              <a:extLst>
                <a:ext uri="{FF2B5EF4-FFF2-40B4-BE49-F238E27FC236}">
                  <a16:creationId xmlns:a16="http://schemas.microsoft.com/office/drawing/2014/main" xmlns="" id="{575B89F4-1D18-4CF8-BE9E-881098455CD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19740" y="3710444"/>
              <a:ext cx="409580" cy="389102"/>
              <a:chOff x="4230" y="1786"/>
              <a:chExt cx="360" cy="342"/>
            </a:xfrm>
            <a:solidFill>
              <a:schemeClr val="bg1"/>
            </a:solidFill>
          </p:grpSpPr>
          <p:sp>
            <p:nvSpPr>
              <p:cNvPr id="58" name="Freeform 29">
                <a:extLst>
                  <a:ext uri="{FF2B5EF4-FFF2-40B4-BE49-F238E27FC236}">
                    <a16:creationId xmlns:a16="http://schemas.microsoft.com/office/drawing/2014/main" xmlns="" id="{4FB79B4A-7278-44B0-BC32-368B6E8ACE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30" y="2007"/>
                <a:ext cx="360" cy="121"/>
              </a:xfrm>
              <a:custGeom>
                <a:avLst/>
                <a:gdLst>
                  <a:gd name="T0" fmla="*/ 2297 w 2387"/>
                  <a:gd name="T1" fmla="*/ 87 h 801"/>
                  <a:gd name="T2" fmla="*/ 2131 w 2387"/>
                  <a:gd name="T3" fmla="*/ 150 h 801"/>
                  <a:gd name="T4" fmla="*/ 1829 w 2387"/>
                  <a:gd name="T5" fmla="*/ 333 h 801"/>
                  <a:gd name="T6" fmla="*/ 1809 w 2387"/>
                  <a:gd name="T7" fmla="*/ 346 h 801"/>
                  <a:gd name="T8" fmla="*/ 1687 w 2387"/>
                  <a:gd name="T9" fmla="*/ 398 h 801"/>
                  <a:gd name="T10" fmla="*/ 1089 w 2387"/>
                  <a:gd name="T11" fmla="*/ 457 h 801"/>
                  <a:gd name="T12" fmla="*/ 1068 w 2387"/>
                  <a:gd name="T13" fmla="*/ 458 h 801"/>
                  <a:gd name="T14" fmla="*/ 1037 w 2387"/>
                  <a:gd name="T15" fmla="*/ 432 h 801"/>
                  <a:gd name="T16" fmla="*/ 1064 w 2387"/>
                  <a:gd name="T17" fmla="*/ 398 h 801"/>
                  <a:gd name="T18" fmla="*/ 1592 w 2387"/>
                  <a:gd name="T19" fmla="*/ 346 h 801"/>
                  <a:gd name="T20" fmla="*/ 1690 w 2387"/>
                  <a:gd name="T21" fmla="*/ 219 h 801"/>
                  <a:gd name="T22" fmla="*/ 1569 w 2387"/>
                  <a:gd name="T23" fmla="*/ 116 h 801"/>
                  <a:gd name="T24" fmla="*/ 1100 w 2387"/>
                  <a:gd name="T25" fmla="*/ 110 h 801"/>
                  <a:gd name="T26" fmla="*/ 986 w 2387"/>
                  <a:gd name="T27" fmla="*/ 92 h 801"/>
                  <a:gd name="T28" fmla="*/ 422 w 2387"/>
                  <a:gd name="T29" fmla="*/ 126 h 801"/>
                  <a:gd name="T30" fmla="*/ 320 w 2387"/>
                  <a:gd name="T31" fmla="*/ 72 h 801"/>
                  <a:gd name="T32" fmla="*/ 118 w 2387"/>
                  <a:gd name="T33" fmla="*/ 86 h 801"/>
                  <a:gd name="T34" fmla="*/ 5 w 2387"/>
                  <a:gd name="T35" fmla="*/ 217 h 801"/>
                  <a:gd name="T36" fmla="*/ 37 w 2387"/>
                  <a:gd name="T37" fmla="*/ 683 h 801"/>
                  <a:gd name="T38" fmla="*/ 167 w 2387"/>
                  <a:gd name="T39" fmla="*/ 796 h 801"/>
                  <a:gd name="T40" fmla="*/ 370 w 2387"/>
                  <a:gd name="T41" fmla="*/ 782 h 801"/>
                  <a:gd name="T42" fmla="*/ 463 w 2387"/>
                  <a:gd name="T43" fmla="*/ 714 h 801"/>
                  <a:gd name="T44" fmla="*/ 1351 w 2387"/>
                  <a:gd name="T45" fmla="*/ 754 h 801"/>
                  <a:gd name="T46" fmla="*/ 1630 w 2387"/>
                  <a:gd name="T47" fmla="*/ 705 h 801"/>
                  <a:gd name="T48" fmla="*/ 1656 w 2387"/>
                  <a:gd name="T49" fmla="*/ 691 h 801"/>
                  <a:gd name="T50" fmla="*/ 2328 w 2387"/>
                  <a:gd name="T51" fmla="*/ 283 h 801"/>
                  <a:gd name="T52" fmla="*/ 2386 w 2387"/>
                  <a:gd name="T53" fmla="*/ 190 h 801"/>
                  <a:gd name="T54" fmla="*/ 2297 w 2387"/>
                  <a:gd name="T55" fmla="*/ 87 h 801"/>
                  <a:gd name="T56" fmla="*/ 241 w 2387"/>
                  <a:gd name="T57" fmla="*/ 686 h 801"/>
                  <a:gd name="T58" fmla="*/ 172 w 2387"/>
                  <a:gd name="T59" fmla="*/ 617 h 801"/>
                  <a:gd name="T60" fmla="*/ 241 w 2387"/>
                  <a:gd name="T61" fmla="*/ 548 h 801"/>
                  <a:gd name="T62" fmla="*/ 310 w 2387"/>
                  <a:gd name="T63" fmla="*/ 617 h 801"/>
                  <a:gd name="T64" fmla="*/ 241 w 2387"/>
                  <a:gd name="T65" fmla="*/ 686 h 8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87" h="801">
                    <a:moveTo>
                      <a:pt x="2297" y="87"/>
                    </a:moveTo>
                    <a:cubicBezTo>
                      <a:pt x="2251" y="83"/>
                      <a:pt x="2157" y="136"/>
                      <a:pt x="2131" y="150"/>
                    </a:cubicBezTo>
                    <a:cubicBezTo>
                      <a:pt x="2040" y="197"/>
                      <a:pt x="1912" y="273"/>
                      <a:pt x="1829" y="333"/>
                    </a:cubicBezTo>
                    <a:cubicBezTo>
                      <a:pt x="1823" y="337"/>
                      <a:pt x="1815" y="342"/>
                      <a:pt x="1809" y="346"/>
                    </a:cubicBezTo>
                    <a:cubicBezTo>
                      <a:pt x="1771" y="371"/>
                      <a:pt x="1731" y="388"/>
                      <a:pt x="1687" y="398"/>
                    </a:cubicBezTo>
                    <a:cubicBezTo>
                      <a:pt x="1444" y="452"/>
                      <a:pt x="1089" y="457"/>
                      <a:pt x="1089" y="457"/>
                    </a:cubicBezTo>
                    <a:cubicBezTo>
                      <a:pt x="1068" y="458"/>
                      <a:pt x="1068" y="458"/>
                      <a:pt x="1068" y="458"/>
                    </a:cubicBezTo>
                    <a:cubicBezTo>
                      <a:pt x="1053" y="459"/>
                      <a:pt x="1039" y="448"/>
                      <a:pt x="1037" y="432"/>
                    </a:cubicBezTo>
                    <a:cubicBezTo>
                      <a:pt x="1034" y="415"/>
                      <a:pt x="1046" y="399"/>
                      <a:pt x="1064" y="398"/>
                    </a:cubicBezTo>
                    <a:cubicBezTo>
                      <a:pt x="1592" y="346"/>
                      <a:pt x="1592" y="346"/>
                      <a:pt x="1592" y="346"/>
                    </a:cubicBezTo>
                    <a:cubicBezTo>
                      <a:pt x="1650" y="339"/>
                      <a:pt x="1696" y="283"/>
                      <a:pt x="1690" y="219"/>
                    </a:cubicBezTo>
                    <a:cubicBezTo>
                      <a:pt x="1683" y="155"/>
                      <a:pt x="1627" y="109"/>
                      <a:pt x="1569" y="116"/>
                    </a:cubicBezTo>
                    <a:cubicBezTo>
                      <a:pt x="1100" y="110"/>
                      <a:pt x="1100" y="110"/>
                      <a:pt x="1100" y="110"/>
                    </a:cubicBezTo>
                    <a:cubicBezTo>
                      <a:pt x="1068" y="110"/>
                      <a:pt x="1017" y="101"/>
                      <a:pt x="986" y="92"/>
                    </a:cubicBezTo>
                    <a:cubicBezTo>
                      <a:pt x="683" y="0"/>
                      <a:pt x="513" y="86"/>
                      <a:pt x="422" y="126"/>
                    </a:cubicBezTo>
                    <a:cubicBezTo>
                      <a:pt x="402" y="91"/>
                      <a:pt x="363" y="69"/>
                      <a:pt x="320" y="72"/>
                    </a:cubicBezTo>
                    <a:cubicBezTo>
                      <a:pt x="118" y="86"/>
                      <a:pt x="118" y="86"/>
                      <a:pt x="118" y="86"/>
                    </a:cubicBezTo>
                    <a:cubicBezTo>
                      <a:pt x="51" y="91"/>
                      <a:pt x="0" y="149"/>
                      <a:pt x="5" y="217"/>
                    </a:cubicBezTo>
                    <a:cubicBezTo>
                      <a:pt x="37" y="683"/>
                      <a:pt x="37" y="683"/>
                      <a:pt x="37" y="683"/>
                    </a:cubicBezTo>
                    <a:cubicBezTo>
                      <a:pt x="42" y="750"/>
                      <a:pt x="100" y="801"/>
                      <a:pt x="167" y="796"/>
                    </a:cubicBezTo>
                    <a:cubicBezTo>
                      <a:pt x="370" y="782"/>
                      <a:pt x="370" y="782"/>
                      <a:pt x="370" y="782"/>
                    </a:cubicBezTo>
                    <a:cubicBezTo>
                      <a:pt x="412" y="779"/>
                      <a:pt x="447" y="752"/>
                      <a:pt x="463" y="714"/>
                    </a:cubicBezTo>
                    <a:cubicBezTo>
                      <a:pt x="1351" y="754"/>
                      <a:pt x="1351" y="754"/>
                      <a:pt x="1351" y="754"/>
                    </a:cubicBezTo>
                    <a:cubicBezTo>
                      <a:pt x="1450" y="765"/>
                      <a:pt x="1543" y="752"/>
                      <a:pt x="1630" y="705"/>
                    </a:cubicBezTo>
                    <a:cubicBezTo>
                      <a:pt x="1656" y="691"/>
                      <a:pt x="1656" y="691"/>
                      <a:pt x="1656" y="691"/>
                    </a:cubicBezTo>
                    <a:cubicBezTo>
                      <a:pt x="2328" y="283"/>
                      <a:pt x="2328" y="283"/>
                      <a:pt x="2328" y="283"/>
                    </a:cubicBezTo>
                    <a:cubicBezTo>
                      <a:pt x="2361" y="263"/>
                      <a:pt x="2385" y="229"/>
                      <a:pt x="2386" y="190"/>
                    </a:cubicBezTo>
                    <a:cubicBezTo>
                      <a:pt x="2387" y="143"/>
                      <a:pt x="2361" y="91"/>
                      <a:pt x="2297" y="87"/>
                    </a:cubicBezTo>
                    <a:close/>
                    <a:moveTo>
                      <a:pt x="241" y="686"/>
                    </a:moveTo>
                    <a:cubicBezTo>
                      <a:pt x="203" y="686"/>
                      <a:pt x="172" y="655"/>
                      <a:pt x="172" y="617"/>
                    </a:cubicBezTo>
                    <a:cubicBezTo>
                      <a:pt x="172" y="579"/>
                      <a:pt x="203" y="548"/>
                      <a:pt x="241" y="548"/>
                    </a:cubicBezTo>
                    <a:cubicBezTo>
                      <a:pt x="279" y="548"/>
                      <a:pt x="310" y="579"/>
                      <a:pt x="310" y="617"/>
                    </a:cubicBezTo>
                    <a:cubicBezTo>
                      <a:pt x="310" y="654"/>
                      <a:pt x="279" y="686"/>
                      <a:pt x="241" y="6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9" name="Freeform 30">
                <a:extLst>
                  <a:ext uri="{FF2B5EF4-FFF2-40B4-BE49-F238E27FC236}">
                    <a16:creationId xmlns:a16="http://schemas.microsoft.com/office/drawing/2014/main" xmlns="" id="{EAE0C075-898A-47C6-A139-962182EEB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0" y="2008"/>
                <a:ext cx="59" cy="36"/>
              </a:xfrm>
              <a:custGeom>
                <a:avLst/>
                <a:gdLst>
                  <a:gd name="T0" fmla="*/ 0 w 396"/>
                  <a:gd name="T1" fmla="*/ 159 h 245"/>
                  <a:gd name="T2" fmla="*/ 10 w 396"/>
                  <a:gd name="T3" fmla="*/ 206 h 245"/>
                  <a:gd name="T4" fmla="*/ 10 w 396"/>
                  <a:gd name="T5" fmla="*/ 245 h 245"/>
                  <a:gd name="T6" fmla="*/ 31 w 396"/>
                  <a:gd name="T7" fmla="*/ 230 h 245"/>
                  <a:gd name="T8" fmla="*/ 320 w 396"/>
                  <a:gd name="T9" fmla="*/ 60 h 245"/>
                  <a:gd name="T10" fmla="*/ 396 w 396"/>
                  <a:gd name="T11" fmla="*/ 24 h 245"/>
                  <a:gd name="T12" fmla="*/ 286 w 396"/>
                  <a:gd name="T13" fmla="*/ 15 h 245"/>
                  <a:gd name="T14" fmla="*/ 1 w 396"/>
                  <a:gd name="T15" fmla="*/ 155 h 245"/>
                  <a:gd name="T16" fmla="*/ 0 w 396"/>
                  <a:gd name="T17" fmla="*/ 159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6" h="245">
                    <a:moveTo>
                      <a:pt x="0" y="159"/>
                    </a:moveTo>
                    <a:cubicBezTo>
                      <a:pt x="4" y="174"/>
                      <a:pt x="8" y="190"/>
                      <a:pt x="10" y="206"/>
                    </a:cubicBezTo>
                    <a:cubicBezTo>
                      <a:pt x="11" y="219"/>
                      <a:pt x="11" y="233"/>
                      <a:pt x="10" y="245"/>
                    </a:cubicBezTo>
                    <a:cubicBezTo>
                      <a:pt x="17" y="240"/>
                      <a:pt x="24" y="235"/>
                      <a:pt x="31" y="230"/>
                    </a:cubicBezTo>
                    <a:cubicBezTo>
                      <a:pt x="100" y="180"/>
                      <a:pt x="240" y="101"/>
                      <a:pt x="320" y="60"/>
                    </a:cubicBezTo>
                    <a:cubicBezTo>
                      <a:pt x="343" y="47"/>
                      <a:pt x="369" y="35"/>
                      <a:pt x="396" y="24"/>
                    </a:cubicBezTo>
                    <a:cubicBezTo>
                      <a:pt x="361" y="1"/>
                      <a:pt x="324" y="0"/>
                      <a:pt x="286" y="15"/>
                    </a:cubicBezTo>
                    <a:cubicBezTo>
                      <a:pt x="210" y="46"/>
                      <a:pt x="71" y="115"/>
                      <a:pt x="1" y="155"/>
                    </a:cubicBezTo>
                    <a:cubicBezTo>
                      <a:pt x="1" y="157"/>
                      <a:pt x="0" y="158"/>
                      <a:pt x="0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" name="Freeform 31">
                <a:extLst>
                  <a:ext uri="{FF2B5EF4-FFF2-40B4-BE49-F238E27FC236}">
                    <a16:creationId xmlns:a16="http://schemas.microsoft.com/office/drawing/2014/main" xmlns="" id="{AF9E927B-CE8E-4E14-8DBC-45F9E59218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6" y="1999"/>
                <a:ext cx="46" cy="22"/>
              </a:xfrm>
              <a:custGeom>
                <a:avLst/>
                <a:gdLst>
                  <a:gd name="T0" fmla="*/ 198 w 306"/>
                  <a:gd name="T1" fmla="*/ 16 h 143"/>
                  <a:gd name="T2" fmla="*/ 0 w 306"/>
                  <a:gd name="T3" fmla="*/ 96 h 143"/>
                  <a:gd name="T4" fmla="*/ 53 w 306"/>
                  <a:gd name="T5" fmla="*/ 143 h 143"/>
                  <a:gd name="T6" fmla="*/ 62 w 306"/>
                  <a:gd name="T7" fmla="*/ 136 h 143"/>
                  <a:gd name="T8" fmla="*/ 96 w 306"/>
                  <a:gd name="T9" fmla="*/ 117 h 143"/>
                  <a:gd name="T10" fmla="*/ 306 w 306"/>
                  <a:gd name="T11" fmla="*/ 24 h 143"/>
                  <a:gd name="T12" fmla="*/ 198 w 306"/>
                  <a:gd name="T13" fmla="*/ 16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6" h="143">
                    <a:moveTo>
                      <a:pt x="198" y="16"/>
                    </a:moveTo>
                    <a:cubicBezTo>
                      <a:pt x="151" y="35"/>
                      <a:pt x="47" y="70"/>
                      <a:pt x="0" y="96"/>
                    </a:cubicBezTo>
                    <a:cubicBezTo>
                      <a:pt x="20" y="108"/>
                      <a:pt x="38" y="124"/>
                      <a:pt x="53" y="143"/>
                    </a:cubicBezTo>
                    <a:cubicBezTo>
                      <a:pt x="56" y="141"/>
                      <a:pt x="59" y="138"/>
                      <a:pt x="62" y="136"/>
                    </a:cubicBezTo>
                    <a:cubicBezTo>
                      <a:pt x="96" y="117"/>
                      <a:pt x="96" y="117"/>
                      <a:pt x="96" y="117"/>
                    </a:cubicBezTo>
                    <a:cubicBezTo>
                      <a:pt x="146" y="88"/>
                      <a:pt x="251" y="50"/>
                      <a:pt x="306" y="24"/>
                    </a:cubicBezTo>
                    <a:cubicBezTo>
                      <a:pt x="271" y="1"/>
                      <a:pt x="235" y="0"/>
                      <a:pt x="19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" name="Freeform 32">
                <a:extLst>
                  <a:ext uri="{FF2B5EF4-FFF2-40B4-BE49-F238E27FC236}">
                    <a16:creationId xmlns:a16="http://schemas.microsoft.com/office/drawing/2014/main" xmlns="" id="{987D2935-12DF-4238-9FA1-553788EC22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22" y="1786"/>
                <a:ext cx="204" cy="212"/>
              </a:xfrm>
              <a:custGeom>
                <a:avLst/>
                <a:gdLst>
                  <a:gd name="T0" fmla="*/ 115 w 1355"/>
                  <a:gd name="T1" fmla="*/ 719 h 1408"/>
                  <a:gd name="T2" fmla="*/ 66 w 1355"/>
                  <a:gd name="T3" fmla="*/ 967 h 1408"/>
                  <a:gd name="T4" fmla="*/ 231 w 1355"/>
                  <a:gd name="T5" fmla="*/ 1045 h 1408"/>
                  <a:gd name="T6" fmla="*/ 345 w 1355"/>
                  <a:gd name="T7" fmla="*/ 1275 h 1408"/>
                  <a:gd name="T8" fmla="*/ 516 w 1355"/>
                  <a:gd name="T9" fmla="*/ 1241 h 1408"/>
                  <a:gd name="T10" fmla="*/ 741 w 1355"/>
                  <a:gd name="T11" fmla="*/ 1364 h 1408"/>
                  <a:gd name="T12" fmla="*/ 862 w 1355"/>
                  <a:gd name="T13" fmla="*/ 1233 h 1408"/>
                  <a:gd name="T14" fmla="*/ 1116 w 1355"/>
                  <a:gd name="T15" fmla="*/ 1202 h 1408"/>
                  <a:gd name="T16" fmla="*/ 1140 w 1355"/>
                  <a:gd name="T17" fmla="*/ 1022 h 1408"/>
                  <a:gd name="T18" fmla="*/ 1325 w 1355"/>
                  <a:gd name="T19" fmla="*/ 847 h 1408"/>
                  <a:gd name="T20" fmla="*/ 1238 w 1355"/>
                  <a:gd name="T21" fmla="*/ 689 h 1408"/>
                  <a:gd name="T22" fmla="*/ 1281 w 1355"/>
                  <a:gd name="T23" fmla="*/ 437 h 1408"/>
                  <a:gd name="T24" fmla="*/ 1122 w 1355"/>
                  <a:gd name="T25" fmla="*/ 363 h 1408"/>
                  <a:gd name="T26" fmla="*/ 1013 w 1355"/>
                  <a:gd name="T27" fmla="*/ 132 h 1408"/>
                  <a:gd name="T28" fmla="*/ 836 w 1355"/>
                  <a:gd name="T29" fmla="*/ 165 h 1408"/>
                  <a:gd name="T30" fmla="*/ 613 w 1355"/>
                  <a:gd name="T31" fmla="*/ 44 h 1408"/>
                  <a:gd name="T32" fmla="*/ 487 w 1355"/>
                  <a:gd name="T33" fmla="*/ 174 h 1408"/>
                  <a:gd name="T34" fmla="*/ 239 w 1355"/>
                  <a:gd name="T35" fmla="*/ 206 h 1408"/>
                  <a:gd name="T36" fmla="*/ 217 w 1355"/>
                  <a:gd name="T37" fmla="*/ 385 h 1408"/>
                  <a:gd name="T38" fmla="*/ 30 w 1355"/>
                  <a:gd name="T39" fmla="*/ 559 h 1408"/>
                  <a:gd name="T40" fmla="*/ 489 w 1355"/>
                  <a:gd name="T41" fmla="*/ 917 h 1408"/>
                  <a:gd name="T42" fmla="*/ 535 w 1355"/>
                  <a:gd name="T43" fmla="*/ 851 h 1408"/>
                  <a:gd name="T44" fmla="*/ 702 w 1355"/>
                  <a:gd name="T45" fmla="*/ 872 h 1408"/>
                  <a:gd name="T46" fmla="*/ 677 w 1355"/>
                  <a:gd name="T47" fmla="*/ 760 h 1408"/>
                  <a:gd name="T48" fmla="*/ 491 w 1355"/>
                  <a:gd name="T49" fmla="*/ 573 h 1408"/>
                  <a:gd name="T50" fmla="*/ 631 w 1355"/>
                  <a:gd name="T51" fmla="*/ 391 h 1408"/>
                  <a:gd name="T52" fmla="*/ 657 w 1355"/>
                  <a:gd name="T53" fmla="*/ 336 h 1408"/>
                  <a:gd name="T54" fmla="*/ 724 w 1355"/>
                  <a:gd name="T55" fmla="*/ 382 h 1408"/>
                  <a:gd name="T56" fmla="*/ 828 w 1355"/>
                  <a:gd name="T57" fmla="*/ 442 h 1408"/>
                  <a:gd name="T58" fmla="*/ 824 w 1355"/>
                  <a:gd name="T59" fmla="*/ 529 h 1408"/>
                  <a:gd name="T60" fmla="*/ 681 w 1355"/>
                  <a:gd name="T61" fmla="*/ 519 h 1408"/>
                  <a:gd name="T62" fmla="*/ 640 w 1355"/>
                  <a:gd name="T63" fmla="*/ 602 h 1408"/>
                  <a:gd name="T64" fmla="*/ 779 w 1355"/>
                  <a:gd name="T65" fmla="*/ 670 h 1408"/>
                  <a:gd name="T66" fmla="*/ 742 w 1355"/>
                  <a:gd name="T67" fmla="*/ 974 h 1408"/>
                  <a:gd name="T68" fmla="*/ 720 w 1355"/>
                  <a:gd name="T69" fmla="*/ 1049 h 1408"/>
                  <a:gd name="T70" fmla="*/ 647 w 1355"/>
                  <a:gd name="T71" fmla="*/ 1071 h 1408"/>
                  <a:gd name="T72" fmla="*/ 625 w 1355"/>
                  <a:gd name="T73" fmla="*/ 1013 h 1408"/>
                  <a:gd name="T74" fmla="*/ 508 w 1355"/>
                  <a:gd name="T75" fmla="*/ 957 h 1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355" h="1408">
                    <a:moveTo>
                      <a:pt x="115" y="692"/>
                    </a:moveTo>
                    <a:cubicBezTo>
                      <a:pt x="122" y="702"/>
                      <a:pt x="122" y="709"/>
                      <a:pt x="115" y="719"/>
                    </a:cubicBezTo>
                    <a:cubicBezTo>
                      <a:pt x="86" y="764"/>
                      <a:pt x="56" y="809"/>
                      <a:pt x="28" y="854"/>
                    </a:cubicBezTo>
                    <a:cubicBezTo>
                      <a:pt x="1" y="898"/>
                      <a:pt x="18" y="949"/>
                      <a:pt x="66" y="967"/>
                    </a:cubicBezTo>
                    <a:cubicBezTo>
                      <a:pt x="116" y="987"/>
                      <a:pt x="166" y="1006"/>
                      <a:pt x="217" y="1025"/>
                    </a:cubicBezTo>
                    <a:cubicBezTo>
                      <a:pt x="227" y="1028"/>
                      <a:pt x="231" y="1034"/>
                      <a:pt x="231" y="1045"/>
                    </a:cubicBezTo>
                    <a:cubicBezTo>
                      <a:pt x="234" y="1095"/>
                      <a:pt x="239" y="1146"/>
                      <a:pt x="239" y="1197"/>
                    </a:cubicBezTo>
                    <a:cubicBezTo>
                      <a:pt x="238" y="1249"/>
                      <a:pt x="283" y="1294"/>
                      <a:pt x="345" y="1275"/>
                    </a:cubicBezTo>
                    <a:cubicBezTo>
                      <a:pt x="394" y="1259"/>
                      <a:pt x="444" y="1248"/>
                      <a:pt x="494" y="1234"/>
                    </a:cubicBezTo>
                    <a:cubicBezTo>
                      <a:pt x="503" y="1231"/>
                      <a:pt x="509" y="1233"/>
                      <a:pt x="516" y="1241"/>
                    </a:cubicBezTo>
                    <a:cubicBezTo>
                      <a:pt x="549" y="1282"/>
                      <a:pt x="582" y="1323"/>
                      <a:pt x="616" y="1364"/>
                    </a:cubicBezTo>
                    <a:cubicBezTo>
                      <a:pt x="652" y="1408"/>
                      <a:pt x="705" y="1408"/>
                      <a:pt x="741" y="1364"/>
                    </a:cubicBezTo>
                    <a:cubicBezTo>
                      <a:pt x="774" y="1323"/>
                      <a:pt x="807" y="1282"/>
                      <a:pt x="840" y="1241"/>
                    </a:cubicBezTo>
                    <a:cubicBezTo>
                      <a:pt x="846" y="1233"/>
                      <a:pt x="852" y="1230"/>
                      <a:pt x="862" y="1233"/>
                    </a:cubicBezTo>
                    <a:cubicBezTo>
                      <a:pt x="913" y="1247"/>
                      <a:pt x="964" y="1261"/>
                      <a:pt x="1016" y="1274"/>
                    </a:cubicBezTo>
                    <a:cubicBezTo>
                      <a:pt x="1069" y="1288"/>
                      <a:pt x="1114" y="1256"/>
                      <a:pt x="1116" y="1202"/>
                    </a:cubicBezTo>
                    <a:cubicBezTo>
                      <a:pt x="1119" y="1149"/>
                      <a:pt x="1122" y="1096"/>
                      <a:pt x="1124" y="1043"/>
                    </a:cubicBezTo>
                    <a:cubicBezTo>
                      <a:pt x="1125" y="1030"/>
                      <a:pt x="1130" y="1026"/>
                      <a:pt x="1140" y="1022"/>
                    </a:cubicBezTo>
                    <a:cubicBezTo>
                      <a:pt x="1189" y="1004"/>
                      <a:pt x="1238" y="985"/>
                      <a:pt x="1286" y="965"/>
                    </a:cubicBezTo>
                    <a:cubicBezTo>
                      <a:pt x="1338" y="945"/>
                      <a:pt x="1355" y="894"/>
                      <a:pt x="1325" y="847"/>
                    </a:cubicBezTo>
                    <a:cubicBezTo>
                      <a:pt x="1296" y="803"/>
                      <a:pt x="1267" y="759"/>
                      <a:pt x="1238" y="715"/>
                    </a:cubicBezTo>
                    <a:cubicBezTo>
                      <a:pt x="1231" y="706"/>
                      <a:pt x="1232" y="699"/>
                      <a:pt x="1238" y="689"/>
                    </a:cubicBezTo>
                    <a:cubicBezTo>
                      <a:pt x="1266" y="646"/>
                      <a:pt x="1294" y="603"/>
                      <a:pt x="1322" y="559"/>
                    </a:cubicBezTo>
                    <a:cubicBezTo>
                      <a:pt x="1355" y="509"/>
                      <a:pt x="1338" y="458"/>
                      <a:pt x="1281" y="437"/>
                    </a:cubicBezTo>
                    <a:cubicBezTo>
                      <a:pt x="1233" y="420"/>
                      <a:pt x="1185" y="401"/>
                      <a:pt x="1137" y="383"/>
                    </a:cubicBezTo>
                    <a:cubicBezTo>
                      <a:pt x="1127" y="379"/>
                      <a:pt x="1123" y="374"/>
                      <a:pt x="1122" y="363"/>
                    </a:cubicBezTo>
                    <a:cubicBezTo>
                      <a:pt x="1120" y="310"/>
                      <a:pt x="1117" y="258"/>
                      <a:pt x="1114" y="205"/>
                    </a:cubicBezTo>
                    <a:cubicBezTo>
                      <a:pt x="1111" y="150"/>
                      <a:pt x="1067" y="118"/>
                      <a:pt x="1013" y="132"/>
                    </a:cubicBezTo>
                    <a:cubicBezTo>
                      <a:pt x="963" y="146"/>
                      <a:pt x="912" y="159"/>
                      <a:pt x="861" y="174"/>
                    </a:cubicBezTo>
                    <a:cubicBezTo>
                      <a:pt x="850" y="177"/>
                      <a:pt x="844" y="174"/>
                      <a:pt x="836" y="165"/>
                    </a:cubicBezTo>
                    <a:cubicBezTo>
                      <a:pt x="804" y="125"/>
                      <a:pt x="771" y="84"/>
                      <a:pt x="738" y="44"/>
                    </a:cubicBezTo>
                    <a:cubicBezTo>
                      <a:pt x="703" y="0"/>
                      <a:pt x="649" y="0"/>
                      <a:pt x="613" y="44"/>
                    </a:cubicBezTo>
                    <a:cubicBezTo>
                      <a:pt x="580" y="84"/>
                      <a:pt x="548" y="124"/>
                      <a:pt x="516" y="165"/>
                    </a:cubicBezTo>
                    <a:cubicBezTo>
                      <a:pt x="508" y="176"/>
                      <a:pt x="500" y="178"/>
                      <a:pt x="487" y="174"/>
                    </a:cubicBezTo>
                    <a:cubicBezTo>
                      <a:pt x="438" y="160"/>
                      <a:pt x="388" y="147"/>
                      <a:pt x="352" y="137"/>
                    </a:cubicBezTo>
                    <a:cubicBezTo>
                      <a:pt x="283" y="121"/>
                      <a:pt x="242" y="149"/>
                      <a:pt x="239" y="206"/>
                    </a:cubicBezTo>
                    <a:cubicBezTo>
                      <a:pt x="235" y="259"/>
                      <a:pt x="233" y="312"/>
                      <a:pt x="231" y="365"/>
                    </a:cubicBezTo>
                    <a:cubicBezTo>
                      <a:pt x="230" y="376"/>
                      <a:pt x="226" y="381"/>
                      <a:pt x="217" y="385"/>
                    </a:cubicBezTo>
                    <a:cubicBezTo>
                      <a:pt x="167" y="404"/>
                      <a:pt x="117" y="423"/>
                      <a:pt x="68" y="442"/>
                    </a:cubicBezTo>
                    <a:cubicBezTo>
                      <a:pt x="16" y="463"/>
                      <a:pt x="0" y="513"/>
                      <a:pt x="30" y="559"/>
                    </a:cubicBezTo>
                    <a:cubicBezTo>
                      <a:pt x="57" y="604"/>
                      <a:pt x="86" y="648"/>
                      <a:pt x="115" y="692"/>
                    </a:cubicBezTo>
                    <a:close/>
                    <a:moveTo>
                      <a:pt x="489" y="917"/>
                    </a:moveTo>
                    <a:cubicBezTo>
                      <a:pt x="494" y="899"/>
                      <a:pt x="499" y="881"/>
                      <a:pt x="504" y="864"/>
                    </a:cubicBezTo>
                    <a:cubicBezTo>
                      <a:pt x="511" y="843"/>
                      <a:pt x="516" y="841"/>
                      <a:pt x="535" y="851"/>
                    </a:cubicBezTo>
                    <a:cubicBezTo>
                      <a:pt x="566" y="867"/>
                      <a:pt x="601" y="877"/>
                      <a:pt x="636" y="881"/>
                    </a:cubicBezTo>
                    <a:cubicBezTo>
                      <a:pt x="659" y="884"/>
                      <a:pt x="681" y="881"/>
                      <a:pt x="702" y="872"/>
                    </a:cubicBezTo>
                    <a:cubicBezTo>
                      <a:pt x="742" y="855"/>
                      <a:pt x="748" y="809"/>
                      <a:pt x="714" y="782"/>
                    </a:cubicBezTo>
                    <a:cubicBezTo>
                      <a:pt x="703" y="772"/>
                      <a:pt x="690" y="766"/>
                      <a:pt x="677" y="760"/>
                    </a:cubicBezTo>
                    <a:cubicBezTo>
                      <a:pt x="642" y="745"/>
                      <a:pt x="606" y="733"/>
                      <a:pt x="573" y="713"/>
                    </a:cubicBezTo>
                    <a:cubicBezTo>
                      <a:pt x="520" y="682"/>
                      <a:pt x="486" y="638"/>
                      <a:pt x="491" y="573"/>
                    </a:cubicBezTo>
                    <a:cubicBezTo>
                      <a:pt x="495" y="500"/>
                      <a:pt x="537" y="454"/>
                      <a:pt x="603" y="430"/>
                    </a:cubicBezTo>
                    <a:cubicBezTo>
                      <a:pt x="631" y="420"/>
                      <a:pt x="631" y="420"/>
                      <a:pt x="631" y="391"/>
                    </a:cubicBezTo>
                    <a:cubicBezTo>
                      <a:pt x="631" y="382"/>
                      <a:pt x="631" y="372"/>
                      <a:pt x="631" y="362"/>
                    </a:cubicBezTo>
                    <a:cubicBezTo>
                      <a:pt x="632" y="340"/>
                      <a:pt x="636" y="337"/>
                      <a:pt x="657" y="336"/>
                    </a:cubicBezTo>
                    <a:cubicBezTo>
                      <a:pt x="664" y="336"/>
                      <a:pt x="670" y="336"/>
                      <a:pt x="677" y="336"/>
                    </a:cubicBezTo>
                    <a:cubicBezTo>
                      <a:pt x="723" y="336"/>
                      <a:pt x="723" y="336"/>
                      <a:pt x="724" y="382"/>
                    </a:cubicBezTo>
                    <a:cubicBezTo>
                      <a:pt x="724" y="415"/>
                      <a:pt x="724" y="415"/>
                      <a:pt x="756" y="420"/>
                    </a:cubicBezTo>
                    <a:cubicBezTo>
                      <a:pt x="781" y="424"/>
                      <a:pt x="805" y="431"/>
                      <a:pt x="828" y="442"/>
                    </a:cubicBezTo>
                    <a:cubicBezTo>
                      <a:pt x="841" y="447"/>
                      <a:pt x="846" y="456"/>
                      <a:pt x="842" y="470"/>
                    </a:cubicBezTo>
                    <a:cubicBezTo>
                      <a:pt x="836" y="490"/>
                      <a:pt x="831" y="510"/>
                      <a:pt x="824" y="529"/>
                    </a:cubicBezTo>
                    <a:cubicBezTo>
                      <a:pt x="818" y="548"/>
                      <a:pt x="812" y="551"/>
                      <a:pt x="794" y="542"/>
                    </a:cubicBezTo>
                    <a:cubicBezTo>
                      <a:pt x="758" y="524"/>
                      <a:pt x="721" y="517"/>
                      <a:pt x="681" y="519"/>
                    </a:cubicBezTo>
                    <a:cubicBezTo>
                      <a:pt x="670" y="520"/>
                      <a:pt x="660" y="521"/>
                      <a:pt x="650" y="526"/>
                    </a:cubicBezTo>
                    <a:cubicBezTo>
                      <a:pt x="616" y="541"/>
                      <a:pt x="610" y="579"/>
                      <a:pt x="640" y="602"/>
                    </a:cubicBezTo>
                    <a:cubicBezTo>
                      <a:pt x="654" y="614"/>
                      <a:pt x="671" y="622"/>
                      <a:pt x="689" y="630"/>
                    </a:cubicBezTo>
                    <a:cubicBezTo>
                      <a:pt x="719" y="643"/>
                      <a:pt x="750" y="655"/>
                      <a:pt x="779" y="670"/>
                    </a:cubicBezTo>
                    <a:cubicBezTo>
                      <a:pt x="871" y="721"/>
                      <a:pt x="896" y="837"/>
                      <a:pt x="831" y="916"/>
                    </a:cubicBezTo>
                    <a:cubicBezTo>
                      <a:pt x="808" y="944"/>
                      <a:pt x="777" y="964"/>
                      <a:pt x="742" y="974"/>
                    </a:cubicBezTo>
                    <a:cubicBezTo>
                      <a:pt x="726" y="978"/>
                      <a:pt x="719" y="986"/>
                      <a:pt x="720" y="1002"/>
                    </a:cubicBezTo>
                    <a:cubicBezTo>
                      <a:pt x="720" y="1018"/>
                      <a:pt x="720" y="1034"/>
                      <a:pt x="720" y="1049"/>
                    </a:cubicBezTo>
                    <a:cubicBezTo>
                      <a:pt x="720" y="1064"/>
                      <a:pt x="712" y="1071"/>
                      <a:pt x="699" y="1071"/>
                    </a:cubicBezTo>
                    <a:cubicBezTo>
                      <a:pt x="682" y="1072"/>
                      <a:pt x="665" y="1072"/>
                      <a:pt x="647" y="1071"/>
                    </a:cubicBezTo>
                    <a:cubicBezTo>
                      <a:pt x="632" y="1071"/>
                      <a:pt x="625" y="1063"/>
                      <a:pt x="625" y="1048"/>
                    </a:cubicBezTo>
                    <a:cubicBezTo>
                      <a:pt x="625" y="1036"/>
                      <a:pt x="625" y="1025"/>
                      <a:pt x="625" y="1013"/>
                    </a:cubicBezTo>
                    <a:cubicBezTo>
                      <a:pt x="624" y="988"/>
                      <a:pt x="624" y="986"/>
                      <a:pt x="599" y="983"/>
                    </a:cubicBezTo>
                    <a:cubicBezTo>
                      <a:pt x="568" y="978"/>
                      <a:pt x="537" y="971"/>
                      <a:pt x="508" y="957"/>
                    </a:cubicBezTo>
                    <a:cubicBezTo>
                      <a:pt x="485" y="946"/>
                      <a:pt x="483" y="940"/>
                      <a:pt x="489" y="9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80" name="Inspire list">
            <a:extLst>
              <a:ext uri="{FF2B5EF4-FFF2-40B4-BE49-F238E27FC236}">
                <a16:creationId xmlns:a16="http://schemas.microsoft.com/office/drawing/2014/main" xmlns="" id="{2378EF98-01A7-451D-8A8A-05D42C3A1F9F}"/>
              </a:ext>
            </a:extLst>
          </p:cNvPr>
          <p:cNvGrpSpPr/>
          <p:nvPr/>
        </p:nvGrpSpPr>
        <p:grpSpPr>
          <a:xfrm>
            <a:off x="3610055" y="3725313"/>
            <a:ext cx="1116000" cy="756000"/>
            <a:chOff x="3610055" y="3619500"/>
            <a:chExt cx="1296000" cy="900000"/>
          </a:xfrm>
        </p:grpSpPr>
        <p:sp>
          <p:nvSpPr>
            <p:cNvPr id="19" name="Rechthoek: afgeronde hoeken 18">
              <a:extLst>
                <a:ext uri="{FF2B5EF4-FFF2-40B4-BE49-F238E27FC236}">
                  <a16:creationId xmlns:a16="http://schemas.microsoft.com/office/drawing/2014/main" xmlns="" id="{3181E651-EBCB-4573-A70A-949AC9E715CC}"/>
                </a:ext>
              </a:extLst>
            </p:cNvPr>
            <p:cNvSpPr/>
            <p:nvPr/>
          </p:nvSpPr>
          <p:spPr>
            <a:xfrm>
              <a:off x="3610055" y="3619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0,2%</a:t>
              </a:r>
            </a:p>
          </p:txBody>
        </p:sp>
        <p:grpSp>
          <p:nvGrpSpPr>
            <p:cNvPr id="63" name="Group 35">
              <a:extLst>
                <a:ext uri="{FF2B5EF4-FFF2-40B4-BE49-F238E27FC236}">
                  <a16:creationId xmlns:a16="http://schemas.microsoft.com/office/drawing/2014/main" xmlns="" id="{EA79ABBD-2148-4723-9FA1-CE6FB7DBDD2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125499" y="3708397"/>
              <a:ext cx="265112" cy="353483"/>
              <a:chOff x="3921" y="2160"/>
              <a:chExt cx="225" cy="300"/>
            </a:xfrm>
            <a:solidFill>
              <a:schemeClr val="bg1"/>
            </a:solidFill>
          </p:grpSpPr>
          <p:sp>
            <p:nvSpPr>
              <p:cNvPr id="65" name="Freeform 36">
                <a:extLst>
                  <a:ext uri="{FF2B5EF4-FFF2-40B4-BE49-F238E27FC236}">
                    <a16:creationId xmlns:a16="http://schemas.microsoft.com/office/drawing/2014/main" xmlns="" id="{45FDDF91-4BDA-4883-A90A-6445BA544D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160"/>
                <a:ext cx="113" cy="75"/>
              </a:xfrm>
              <a:custGeom>
                <a:avLst/>
                <a:gdLst>
                  <a:gd name="T0" fmla="*/ 818 w 892"/>
                  <a:gd name="T1" fmla="*/ 149 h 596"/>
                  <a:gd name="T2" fmla="*/ 656 w 892"/>
                  <a:gd name="T3" fmla="*/ 149 h 596"/>
                  <a:gd name="T4" fmla="*/ 446 w 892"/>
                  <a:gd name="T5" fmla="*/ 0 h 596"/>
                  <a:gd name="T6" fmla="*/ 235 w 892"/>
                  <a:gd name="T7" fmla="*/ 149 h 596"/>
                  <a:gd name="T8" fmla="*/ 74 w 892"/>
                  <a:gd name="T9" fmla="*/ 149 h 596"/>
                  <a:gd name="T10" fmla="*/ 0 w 892"/>
                  <a:gd name="T11" fmla="*/ 224 h 596"/>
                  <a:gd name="T12" fmla="*/ 0 w 892"/>
                  <a:gd name="T13" fmla="*/ 521 h 596"/>
                  <a:gd name="T14" fmla="*/ 74 w 892"/>
                  <a:gd name="T15" fmla="*/ 596 h 596"/>
                  <a:gd name="T16" fmla="*/ 818 w 892"/>
                  <a:gd name="T17" fmla="*/ 596 h 596"/>
                  <a:gd name="T18" fmla="*/ 892 w 892"/>
                  <a:gd name="T19" fmla="*/ 521 h 596"/>
                  <a:gd name="T20" fmla="*/ 892 w 892"/>
                  <a:gd name="T21" fmla="*/ 224 h 596"/>
                  <a:gd name="T22" fmla="*/ 818 w 892"/>
                  <a:gd name="T23" fmla="*/ 149 h 5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2" h="596">
                    <a:moveTo>
                      <a:pt x="818" y="149"/>
                    </a:moveTo>
                    <a:cubicBezTo>
                      <a:pt x="656" y="149"/>
                      <a:pt x="656" y="149"/>
                      <a:pt x="656" y="149"/>
                    </a:cubicBezTo>
                    <a:cubicBezTo>
                      <a:pt x="626" y="63"/>
                      <a:pt x="543" y="0"/>
                      <a:pt x="446" y="0"/>
                    </a:cubicBezTo>
                    <a:cubicBezTo>
                      <a:pt x="349" y="0"/>
                      <a:pt x="266" y="63"/>
                      <a:pt x="235" y="149"/>
                    </a:cubicBezTo>
                    <a:cubicBezTo>
                      <a:pt x="74" y="149"/>
                      <a:pt x="74" y="149"/>
                      <a:pt x="74" y="149"/>
                    </a:cubicBezTo>
                    <a:cubicBezTo>
                      <a:pt x="33" y="149"/>
                      <a:pt x="0" y="183"/>
                      <a:pt x="0" y="224"/>
                    </a:cubicBezTo>
                    <a:cubicBezTo>
                      <a:pt x="0" y="521"/>
                      <a:pt x="0" y="521"/>
                      <a:pt x="0" y="521"/>
                    </a:cubicBezTo>
                    <a:cubicBezTo>
                      <a:pt x="0" y="562"/>
                      <a:pt x="33" y="596"/>
                      <a:pt x="74" y="596"/>
                    </a:cubicBezTo>
                    <a:cubicBezTo>
                      <a:pt x="818" y="596"/>
                      <a:pt x="818" y="596"/>
                      <a:pt x="818" y="596"/>
                    </a:cubicBezTo>
                    <a:cubicBezTo>
                      <a:pt x="859" y="596"/>
                      <a:pt x="892" y="562"/>
                      <a:pt x="892" y="521"/>
                    </a:cubicBezTo>
                    <a:cubicBezTo>
                      <a:pt x="892" y="224"/>
                      <a:pt x="892" y="224"/>
                      <a:pt x="892" y="224"/>
                    </a:cubicBezTo>
                    <a:cubicBezTo>
                      <a:pt x="892" y="183"/>
                      <a:pt x="859" y="149"/>
                      <a:pt x="818" y="1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" name="Freeform 37">
                <a:extLst>
                  <a:ext uri="{FF2B5EF4-FFF2-40B4-BE49-F238E27FC236}">
                    <a16:creationId xmlns:a16="http://schemas.microsoft.com/office/drawing/2014/main" xmlns="" id="{C7E5117D-B617-40C0-8C38-2C810E4AAB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21" y="2198"/>
                <a:ext cx="225" cy="262"/>
              </a:xfrm>
              <a:custGeom>
                <a:avLst/>
                <a:gdLst>
                  <a:gd name="T0" fmla="*/ 1637 w 1786"/>
                  <a:gd name="T1" fmla="*/ 0 h 2084"/>
                  <a:gd name="T2" fmla="*/ 1488 w 1786"/>
                  <a:gd name="T3" fmla="*/ 0 h 2084"/>
                  <a:gd name="T4" fmla="*/ 1488 w 1786"/>
                  <a:gd name="T5" fmla="*/ 223 h 2084"/>
                  <a:gd name="T6" fmla="*/ 1265 w 1786"/>
                  <a:gd name="T7" fmla="*/ 447 h 2084"/>
                  <a:gd name="T8" fmla="*/ 521 w 1786"/>
                  <a:gd name="T9" fmla="*/ 447 h 2084"/>
                  <a:gd name="T10" fmla="*/ 298 w 1786"/>
                  <a:gd name="T11" fmla="*/ 223 h 2084"/>
                  <a:gd name="T12" fmla="*/ 298 w 1786"/>
                  <a:gd name="T13" fmla="*/ 0 h 2084"/>
                  <a:gd name="T14" fmla="*/ 149 w 1786"/>
                  <a:gd name="T15" fmla="*/ 0 h 2084"/>
                  <a:gd name="T16" fmla="*/ 0 w 1786"/>
                  <a:gd name="T17" fmla="*/ 149 h 2084"/>
                  <a:gd name="T18" fmla="*/ 0 w 1786"/>
                  <a:gd name="T19" fmla="*/ 1935 h 2084"/>
                  <a:gd name="T20" fmla="*/ 149 w 1786"/>
                  <a:gd name="T21" fmla="*/ 2084 h 2084"/>
                  <a:gd name="T22" fmla="*/ 1637 w 1786"/>
                  <a:gd name="T23" fmla="*/ 2084 h 2084"/>
                  <a:gd name="T24" fmla="*/ 1786 w 1786"/>
                  <a:gd name="T25" fmla="*/ 1935 h 2084"/>
                  <a:gd name="T26" fmla="*/ 1786 w 1786"/>
                  <a:gd name="T27" fmla="*/ 149 h 2084"/>
                  <a:gd name="T28" fmla="*/ 1637 w 1786"/>
                  <a:gd name="T29" fmla="*/ 0 h 2084"/>
                  <a:gd name="T30" fmla="*/ 871 w 1786"/>
                  <a:gd name="T31" fmla="*/ 1318 h 2084"/>
                  <a:gd name="T32" fmla="*/ 574 w 1786"/>
                  <a:gd name="T33" fmla="*/ 1615 h 2084"/>
                  <a:gd name="T34" fmla="*/ 521 w 1786"/>
                  <a:gd name="T35" fmla="*/ 1637 h 2084"/>
                  <a:gd name="T36" fmla="*/ 468 w 1786"/>
                  <a:gd name="T37" fmla="*/ 1615 h 2084"/>
                  <a:gd name="T38" fmla="*/ 319 w 1786"/>
                  <a:gd name="T39" fmla="*/ 1467 h 2084"/>
                  <a:gd name="T40" fmla="*/ 319 w 1786"/>
                  <a:gd name="T41" fmla="*/ 1361 h 2084"/>
                  <a:gd name="T42" fmla="*/ 425 w 1786"/>
                  <a:gd name="T43" fmla="*/ 1361 h 2084"/>
                  <a:gd name="T44" fmla="*/ 521 w 1786"/>
                  <a:gd name="T45" fmla="*/ 1457 h 2084"/>
                  <a:gd name="T46" fmla="*/ 766 w 1786"/>
                  <a:gd name="T47" fmla="*/ 1213 h 2084"/>
                  <a:gd name="T48" fmla="*/ 871 w 1786"/>
                  <a:gd name="T49" fmla="*/ 1213 h 2084"/>
                  <a:gd name="T50" fmla="*/ 871 w 1786"/>
                  <a:gd name="T51" fmla="*/ 1318 h 2084"/>
                  <a:gd name="T52" fmla="*/ 871 w 1786"/>
                  <a:gd name="T53" fmla="*/ 722 h 2084"/>
                  <a:gd name="T54" fmla="*/ 574 w 1786"/>
                  <a:gd name="T55" fmla="*/ 1020 h 2084"/>
                  <a:gd name="T56" fmla="*/ 521 w 1786"/>
                  <a:gd name="T57" fmla="*/ 1042 h 2084"/>
                  <a:gd name="T58" fmla="*/ 468 w 1786"/>
                  <a:gd name="T59" fmla="*/ 1020 h 2084"/>
                  <a:gd name="T60" fmla="*/ 319 w 1786"/>
                  <a:gd name="T61" fmla="*/ 871 h 2084"/>
                  <a:gd name="T62" fmla="*/ 319 w 1786"/>
                  <a:gd name="T63" fmla="*/ 766 h 2084"/>
                  <a:gd name="T64" fmla="*/ 425 w 1786"/>
                  <a:gd name="T65" fmla="*/ 766 h 2084"/>
                  <a:gd name="T66" fmla="*/ 521 w 1786"/>
                  <a:gd name="T67" fmla="*/ 862 h 2084"/>
                  <a:gd name="T68" fmla="*/ 766 w 1786"/>
                  <a:gd name="T69" fmla="*/ 617 h 2084"/>
                  <a:gd name="T70" fmla="*/ 871 w 1786"/>
                  <a:gd name="T71" fmla="*/ 617 h 2084"/>
                  <a:gd name="T72" fmla="*/ 871 w 1786"/>
                  <a:gd name="T73" fmla="*/ 722 h 2084"/>
                  <a:gd name="T74" fmla="*/ 1414 w 1786"/>
                  <a:gd name="T75" fmla="*/ 1488 h 2084"/>
                  <a:gd name="T76" fmla="*/ 1116 w 1786"/>
                  <a:gd name="T77" fmla="*/ 1488 h 2084"/>
                  <a:gd name="T78" fmla="*/ 1042 w 1786"/>
                  <a:gd name="T79" fmla="*/ 1414 h 2084"/>
                  <a:gd name="T80" fmla="*/ 1116 w 1786"/>
                  <a:gd name="T81" fmla="*/ 1339 h 2084"/>
                  <a:gd name="T82" fmla="*/ 1414 w 1786"/>
                  <a:gd name="T83" fmla="*/ 1339 h 2084"/>
                  <a:gd name="T84" fmla="*/ 1488 w 1786"/>
                  <a:gd name="T85" fmla="*/ 1414 h 2084"/>
                  <a:gd name="T86" fmla="*/ 1414 w 1786"/>
                  <a:gd name="T87" fmla="*/ 1488 h 2084"/>
                  <a:gd name="T88" fmla="*/ 1414 w 1786"/>
                  <a:gd name="T89" fmla="*/ 893 h 2084"/>
                  <a:gd name="T90" fmla="*/ 1116 w 1786"/>
                  <a:gd name="T91" fmla="*/ 893 h 2084"/>
                  <a:gd name="T92" fmla="*/ 1042 w 1786"/>
                  <a:gd name="T93" fmla="*/ 819 h 2084"/>
                  <a:gd name="T94" fmla="*/ 1116 w 1786"/>
                  <a:gd name="T95" fmla="*/ 744 h 2084"/>
                  <a:gd name="T96" fmla="*/ 1414 w 1786"/>
                  <a:gd name="T97" fmla="*/ 744 h 2084"/>
                  <a:gd name="T98" fmla="*/ 1488 w 1786"/>
                  <a:gd name="T99" fmla="*/ 819 h 2084"/>
                  <a:gd name="T100" fmla="*/ 1414 w 1786"/>
                  <a:gd name="T101" fmla="*/ 893 h 20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786" h="2084">
                    <a:moveTo>
                      <a:pt x="1637" y="0"/>
                    </a:moveTo>
                    <a:cubicBezTo>
                      <a:pt x="1488" y="0"/>
                      <a:pt x="1488" y="0"/>
                      <a:pt x="1488" y="0"/>
                    </a:cubicBezTo>
                    <a:cubicBezTo>
                      <a:pt x="1488" y="223"/>
                      <a:pt x="1488" y="223"/>
                      <a:pt x="1488" y="223"/>
                    </a:cubicBezTo>
                    <a:cubicBezTo>
                      <a:pt x="1488" y="346"/>
                      <a:pt x="1388" y="447"/>
                      <a:pt x="1265" y="447"/>
                    </a:cubicBezTo>
                    <a:cubicBezTo>
                      <a:pt x="521" y="447"/>
                      <a:pt x="521" y="447"/>
                      <a:pt x="521" y="447"/>
                    </a:cubicBezTo>
                    <a:cubicBezTo>
                      <a:pt x="398" y="447"/>
                      <a:pt x="298" y="346"/>
                      <a:pt x="298" y="223"/>
                    </a:cubicBezTo>
                    <a:cubicBezTo>
                      <a:pt x="298" y="0"/>
                      <a:pt x="298" y="0"/>
                      <a:pt x="298" y="0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67" y="0"/>
                      <a:pt x="0" y="67"/>
                      <a:pt x="0" y="149"/>
                    </a:cubicBezTo>
                    <a:cubicBezTo>
                      <a:pt x="0" y="1935"/>
                      <a:pt x="0" y="1935"/>
                      <a:pt x="0" y="1935"/>
                    </a:cubicBezTo>
                    <a:cubicBezTo>
                      <a:pt x="0" y="2018"/>
                      <a:pt x="65" y="2084"/>
                      <a:pt x="149" y="2084"/>
                    </a:cubicBezTo>
                    <a:cubicBezTo>
                      <a:pt x="1637" y="2084"/>
                      <a:pt x="1637" y="2084"/>
                      <a:pt x="1637" y="2084"/>
                    </a:cubicBezTo>
                    <a:cubicBezTo>
                      <a:pt x="1721" y="2084"/>
                      <a:pt x="1786" y="2018"/>
                      <a:pt x="1786" y="1935"/>
                    </a:cubicBezTo>
                    <a:cubicBezTo>
                      <a:pt x="1786" y="149"/>
                      <a:pt x="1786" y="149"/>
                      <a:pt x="1786" y="149"/>
                    </a:cubicBezTo>
                    <a:cubicBezTo>
                      <a:pt x="1786" y="65"/>
                      <a:pt x="1721" y="0"/>
                      <a:pt x="1637" y="0"/>
                    </a:cubicBezTo>
                    <a:close/>
                    <a:moveTo>
                      <a:pt x="871" y="1318"/>
                    </a:moveTo>
                    <a:cubicBezTo>
                      <a:pt x="574" y="1615"/>
                      <a:pt x="574" y="1615"/>
                      <a:pt x="574" y="1615"/>
                    </a:cubicBezTo>
                    <a:cubicBezTo>
                      <a:pt x="559" y="1630"/>
                      <a:pt x="540" y="1637"/>
                      <a:pt x="521" y="1637"/>
                    </a:cubicBezTo>
                    <a:cubicBezTo>
                      <a:pt x="502" y="1637"/>
                      <a:pt x="483" y="1630"/>
                      <a:pt x="468" y="1615"/>
                    </a:cubicBezTo>
                    <a:cubicBezTo>
                      <a:pt x="319" y="1467"/>
                      <a:pt x="319" y="1467"/>
                      <a:pt x="319" y="1467"/>
                    </a:cubicBezTo>
                    <a:cubicBezTo>
                      <a:pt x="290" y="1438"/>
                      <a:pt x="290" y="1390"/>
                      <a:pt x="319" y="1361"/>
                    </a:cubicBezTo>
                    <a:cubicBezTo>
                      <a:pt x="348" y="1332"/>
                      <a:pt x="396" y="1332"/>
                      <a:pt x="425" y="1361"/>
                    </a:cubicBezTo>
                    <a:cubicBezTo>
                      <a:pt x="521" y="1457"/>
                      <a:pt x="521" y="1457"/>
                      <a:pt x="521" y="1457"/>
                    </a:cubicBezTo>
                    <a:cubicBezTo>
                      <a:pt x="766" y="1213"/>
                      <a:pt x="766" y="1213"/>
                      <a:pt x="766" y="1213"/>
                    </a:cubicBezTo>
                    <a:cubicBezTo>
                      <a:pt x="795" y="1183"/>
                      <a:pt x="842" y="1183"/>
                      <a:pt x="871" y="1213"/>
                    </a:cubicBezTo>
                    <a:cubicBezTo>
                      <a:pt x="900" y="1242"/>
                      <a:pt x="900" y="1289"/>
                      <a:pt x="871" y="1318"/>
                    </a:cubicBezTo>
                    <a:close/>
                    <a:moveTo>
                      <a:pt x="871" y="722"/>
                    </a:moveTo>
                    <a:cubicBezTo>
                      <a:pt x="574" y="1020"/>
                      <a:pt x="574" y="1020"/>
                      <a:pt x="574" y="1020"/>
                    </a:cubicBezTo>
                    <a:cubicBezTo>
                      <a:pt x="559" y="1035"/>
                      <a:pt x="540" y="1042"/>
                      <a:pt x="521" y="1042"/>
                    </a:cubicBezTo>
                    <a:cubicBezTo>
                      <a:pt x="502" y="1042"/>
                      <a:pt x="483" y="1035"/>
                      <a:pt x="468" y="1020"/>
                    </a:cubicBezTo>
                    <a:cubicBezTo>
                      <a:pt x="319" y="871"/>
                      <a:pt x="319" y="871"/>
                      <a:pt x="319" y="871"/>
                    </a:cubicBezTo>
                    <a:cubicBezTo>
                      <a:pt x="290" y="842"/>
                      <a:pt x="290" y="795"/>
                      <a:pt x="319" y="766"/>
                    </a:cubicBezTo>
                    <a:cubicBezTo>
                      <a:pt x="348" y="737"/>
                      <a:pt x="396" y="737"/>
                      <a:pt x="425" y="766"/>
                    </a:cubicBezTo>
                    <a:cubicBezTo>
                      <a:pt x="521" y="862"/>
                      <a:pt x="521" y="862"/>
                      <a:pt x="521" y="862"/>
                    </a:cubicBezTo>
                    <a:cubicBezTo>
                      <a:pt x="766" y="617"/>
                      <a:pt x="766" y="617"/>
                      <a:pt x="766" y="617"/>
                    </a:cubicBezTo>
                    <a:cubicBezTo>
                      <a:pt x="795" y="588"/>
                      <a:pt x="842" y="588"/>
                      <a:pt x="871" y="617"/>
                    </a:cubicBezTo>
                    <a:cubicBezTo>
                      <a:pt x="900" y="646"/>
                      <a:pt x="900" y="693"/>
                      <a:pt x="871" y="722"/>
                    </a:cubicBezTo>
                    <a:close/>
                    <a:moveTo>
                      <a:pt x="1414" y="1488"/>
                    </a:moveTo>
                    <a:cubicBezTo>
                      <a:pt x="1116" y="1488"/>
                      <a:pt x="1116" y="1488"/>
                      <a:pt x="1116" y="1488"/>
                    </a:cubicBezTo>
                    <a:cubicBezTo>
                      <a:pt x="1075" y="1488"/>
                      <a:pt x="1042" y="1455"/>
                      <a:pt x="1042" y="1414"/>
                    </a:cubicBezTo>
                    <a:cubicBezTo>
                      <a:pt x="1042" y="1373"/>
                      <a:pt x="1075" y="1339"/>
                      <a:pt x="1116" y="1339"/>
                    </a:cubicBezTo>
                    <a:cubicBezTo>
                      <a:pt x="1414" y="1339"/>
                      <a:pt x="1414" y="1339"/>
                      <a:pt x="1414" y="1339"/>
                    </a:cubicBezTo>
                    <a:cubicBezTo>
                      <a:pt x="1455" y="1339"/>
                      <a:pt x="1488" y="1373"/>
                      <a:pt x="1488" y="1414"/>
                    </a:cubicBezTo>
                    <a:cubicBezTo>
                      <a:pt x="1488" y="1455"/>
                      <a:pt x="1455" y="1488"/>
                      <a:pt x="1414" y="1488"/>
                    </a:cubicBezTo>
                    <a:close/>
                    <a:moveTo>
                      <a:pt x="1414" y="893"/>
                    </a:moveTo>
                    <a:cubicBezTo>
                      <a:pt x="1116" y="893"/>
                      <a:pt x="1116" y="893"/>
                      <a:pt x="1116" y="893"/>
                    </a:cubicBezTo>
                    <a:cubicBezTo>
                      <a:pt x="1075" y="893"/>
                      <a:pt x="1042" y="860"/>
                      <a:pt x="1042" y="819"/>
                    </a:cubicBezTo>
                    <a:cubicBezTo>
                      <a:pt x="1042" y="778"/>
                      <a:pt x="1075" y="744"/>
                      <a:pt x="1116" y="744"/>
                    </a:cubicBezTo>
                    <a:cubicBezTo>
                      <a:pt x="1414" y="744"/>
                      <a:pt x="1414" y="744"/>
                      <a:pt x="1414" y="744"/>
                    </a:cubicBezTo>
                    <a:cubicBezTo>
                      <a:pt x="1455" y="744"/>
                      <a:pt x="1488" y="778"/>
                      <a:pt x="1488" y="819"/>
                    </a:cubicBezTo>
                    <a:cubicBezTo>
                      <a:pt x="1488" y="860"/>
                      <a:pt x="1455" y="893"/>
                      <a:pt x="1414" y="8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81" name="Easy lists">
            <a:extLst>
              <a:ext uri="{FF2B5EF4-FFF2-40B4-BE49-F238E27FC236}">
                <a16:creationId xmlns:a16="http://schemas.microsoft.com/office/drawing/2014/main" xmlns="" id="{42022525-DD20-4928-A4F0-56E3DBE4AA54}"/>
              </a:ext>
            </a:extLst>
          </p:cNvPr>
          <p:cNvGrpSpPr/>
          <p:nvPr/>
        </p:nvGrpSpPr>
        <p:grpSpPr>
          <a:xfrm>
            <a:off x="2076530" y="4868313"/>
            <a:ext cx="1116000" cy="756000"/>
            <a:chOff x="2076530" y="4762500"/>
            <a:chExt cx="1296000" cy="900000"/>
          </a:xfrm>
        </p:grpSpPr>
        <p:sp>
          <p:nvSpPr>
            <p:cNvPr id="16" name="Rechthoek: afgeronde hoeken 15">
              <a:extLst>
                <a:ext uri="{FF2B5EF4-FFF2-40B4-BE49-F238E27FC236}">
                  <a16:creationId xmlns:a16="http://schemas.microsoft.com/office/drawing/2014/main" xmlns="" id="{BCE08329-368F-49F3-8889-53BE69C4983A}"/>
                </a:ext>
              </a:extLst>
            </p:cNvPr>
            <p:cNvSpPr/>
            <p:nvPr/>
          </p:nvSpPr>
          <p:spPr>
            <a:xfrm>
              <a:off x="2076530" y="4762500"/>
              <a:ext cx="1296000" cy="900000"/>
            </a:xfrm>
            <a:prstGeom prst="roundRect">
              <a:avLst>
                <a:gd name="adj" fmla="val 8334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>
                  <a:solidFill>
                    <a:schemeClr val="bg1"/>
                  </a:solidFill>
                </a:rPr>
                <a:t>0,0%</a:t>
              </a:r>
            </a:p>
          </p:txBody>
        </p:sp>
        <p:grpSp>
          <p:nvGrpSpPr>
            <p:cNvPr id="68" name="Group 40">
              <a:extLst>
                <a:ext uri="{FF2B5EF4-FFF2-40B4-BE49-F238E27FC236}">
                  <a16:creationId xmlns:a16="http://schemas.microsoft.com/office/drawing/2014/main" xmlns="" id="{C7CE4043-F4BD-4A1C-AD64-EB1EB74D2C1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585953" y="4852779"/>
              <a:ext cx="277155" cy="366921"/>
              <a:chOff x="4590" y="2847"/>
              <a:chExt cx="247" cy="327"/>
            </a:xfrm>
            <a:solidFill>
              <a:schemeClr val="bg1"/>
            </a:solidFill>
          </p:grpSpPr>
          <p:sp>
            <p:nvSpPr>
              <p:cNvPr id="70" name="Freeform 41">
                <a:extLst>
                  <a:ext uri="{FF2B5EF4-FFF2-40B4-BE49-F238E27FC236}">
                    <a16:creationId xmlns:a16="http://schemas.microsoft.com/office/drawing/2014/main" xmlns="" id="{D3E59EAB-640F-4454-8FB6-CB5884990B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3" y="2847"/>
                <a:ext cx="102" cy="61"/>
              </a:xfrm>
              <a:custGeom>
                <a:avLst/>
                <a:gdLst>
                  <a:gd name="T0" fmla="*/ 748 w 748"/>
                  <a:gd name="T1" fmla="*/ 197 h 447"/>
                  <a:gd name="T2" fmla="*/ 602 w 748"/>
                  <a:gd name="T3" fmla="*/ 197 h 447"/>
                  <a:gd name="T4" fmla="*/ 555 w 748"/>
                  <a:gd name="T5" fmla="*/ 153 h 447"/>
                  <a:gd name="T6" fmla="*/ 371 w 748"/>
                  <a:gd name="T7" fmla="*/ 0 h 447"/>
                  <a:gd name="T8" fmla="*/ 187 w 748"/>
                  <a:gd name="T9" fmla="*/ 153 h 447"/>
                  <a:gd name="T10" fmla="*/ 140 w 748"/>
                  <a:gd name="T11" fmla="*/ 197 h 447"/>
                  <a:gd name="T12" fmla="*/ 0 w 748"/>
                  <a:gd name="T13" fmla="*/ 197 h 447"/>
                  <a:gd name="T14" fmla="*/ 0 w 748"/>
                  <a:gd name="T15" fmla="*/ 447 h 447"/>
                  <a:gd name="T16" fmla="*/ 748 w 748"/>
                  <a:gd name="T17" fmla="*/ 447 h 447"/>
                  <a:gd name="T18" fmla="*/ 748 w 748"/>
                  <a:gd name="T19" fmla="*/ 197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48" h="447">
                    <a:moveTo>
                      <a:pt x="748" y="197"/>
                    </a:moveTo>
                    <a:cubicBezTo>
                      <a:pt x="602" y="197"/>
                      <a:pt x="602" y="197"/>
                      <a:pt x="602" y="197"/>
                    </a:cubicBezTo>
                    <a:cubicBezTo>
                      <a:pt x="579" y="194"/>
                      <a:pt x="560" y="176"/>
                      <a:pt x="555" y="153"/>
                    </a:cubicBezTo>
                    <a:cubicBezTo>
                      <a:pt x="537" y="65"/>
                      <a:pt x="461" y="2"/>
                      <a:pt x="371" y="0"/>
                    </a:cubicBezTo>
                    <a:cubicBezTo>
                      <a:pt x="281" y="0"/>
                      <a:pt x="203" y="65"/>
                      <a:pt x="187" y="153"/>
                    </a:cubicBezTo>
                    <a:cubicBezTo>
                      <a:pt x="182" y="176"/>
                      <a:pt x="163" y="194"/>
                      <a:pt x="140" y="197"/>
                    </a:cubicBezTo>
                    <a:cubicBezTo>
                      <a:pt x="0" y="197"/>
                      <a:pt x="0" y="197"/>
                      <a:pt x="0" y="197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748" y="447"/>
                      <a:pt x="748" y="447"/>
                      <a:pt x="748" y="447"/>
                    </a:cubicBezTo>
                    <a:cubicBezTo>
                      <a:pt x="748" y="197"/>
                      <a:pt x="748" y="197"/>
                      <a:pt x="748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" name="Freeform 42">
                <a:extLst>
                  <a:ext uri="{FF2B5EF4-FFF2-40B4-BE49-F238E27FC236}">
                    <a16:creationId xmlns:a16="http://schemas.microsoft.com/office/drawing/2014/main" xmlns="" id="{8D4630DC-2FD7-4DE4-A793-A12BE5475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0" y="2891"/>
                <a:ext cx="247" cy="283"/>
              </a:xfrm>
              <a:custGeom>
                <a:avLst/>
                <a:gdLst>
                  <a:gd name="T0" fmla="*/ 1675 w 1814"/>
                  <a:gd name="T1" fmla="*/ 0 h 2064"/>
                  <a:gd name="T2" fmla="*/ 1675 w 1814"/>
                  <a:gd name="T3" fmla="*/ 0 h 2064"/>
                  <a:gd name="T4" fmla="*/ 1375 w 1814"/>
                  <a:gd name="T5" fmla="*/ 0 h 2064"/>
                  <a:gd name="T6" fmla="*/ 1375 w 1814"/>
                  <a:gd name="T7" fmla="*/ 62 h 2064"/>
                  <a:gd name="T8" fmla="*/ 1612 w 1814"/>
                  <a:gd name="T9" fmla="*/ 62 h 2064"/>
                  <a:gd name="T10" fmla="*/ 1656 w 1814"/>
                  <a:gd name="T11" fmla="*/ 112 h 2064"/>
                  <a:gd name="T12" fmla="*/ 1656 w 1814"/>
                  <a:gd name="T13" fmla="*/ 112 h 2064"/>
                  <a:gd name="T14" fmla="*/ 1656 w 1814"/>
                  <a:gd name="T15" fmla="*/ 1869 h 2064"/>
                  <a:gd name="T16" fmla="*/ 1612 w 1814"/>
                  <a:gd name="T17" fmla="*/ 1903 h 2064"/>
                  <a:gd name="T18" fmla="*/ 202 w 1814"/>
                  <a:gd name="T19" fmla="*/ 1903 h 2064"/>
                  <a:gd name="T20" fmla="*/ 158 w 1814"/>
                  <a:gd name="T21" fmla="*/ 1869 h 2064"/>
                  <a:gd name="T22" fmla="*/ 158 w 1814"/>
                  <a:gd name="T23" fmla="*/ 112 h 2064"/>
                  <a:gd name="T24" fmla="*/ 202 w 1814"/>
                  <a:gd name="T25" fmla="*/ 62 h 2064"/>
                  <a:gd name="T26" fmla="*/ 202 w 1814"/>
                  <a:gd name="T27" fmla="*/ 62 h 2064"/>
                  <a:gd name="T28" fmla="*/ 439 w 1814"/>
                  <a:gd name="T29" fmla="*/ 62 h 2064"/>
                  <a:gd name="T30" fmla="*/ 439 w 1814"/>
                  <a:gd name="T31" fmla="*/ 0 h 2064"/>
                  <a:gd name="T32" fmla="*/ 139 w 1814"/>
                  <a:gd name="T33" fmla="*/ 0 h 2064"/>
                  <a:gd name="T34" fmla="*/ 2 w 1814"/>
                  <a:gd name="T35" fmla="*/ 143 h 2064"/>
                  <a:gd name="T36" fmla="*/ 2 w 1814"/>
                  <a:gd name="T37" fmla="*/ 143 h 2064"/>
                  <a:gd name="T38" fmla="*/ 2 w 1814"/>
                  <a:gd name="T39" fmla="*/ 1931 h 2064"/>
                  <a:gd name="T40" fmla="*/ 130 w 1814"/>
                  <a:gd name="T41" fmla="*/ 2060 h 2064"/>
                  <a:gd name="T42" fmla="*/ 139 w 1814"/>
                  <a:gd name="T43" fmla="*/ 2059 h 2064"/>
                  <a:gd name="T44" fmla="*/ 1675 w 1814"/>
                  <a:gd name="T45" fmla="*/ 2059 h 2064"/>
                  <a:gd name="T46" fmla="*/ 1812 w 1814"/>
                  <a:gd name="T47" fmla="*/ 1941 h 2064"/>
                  <a:gd name="T48" fmla="*/ 1812 w 1814"/>
                  <a:gd name="T49" fmla="*/ 1931 h 2064"/>
                  <a:gd name="T50" fmla="*/ 1812 w 1814"/>
                  <a:gd name="T51" fmla="*/ 143 h 2064"/>
                  <a:gd name="T52" fmla="*/ 1675 w 1814"/>
                  <a:gd name="T53" fmla="*/ 0 h 20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14" h="2064">
                    <a:moveTo>
                      <a:pt x="1675" y="0"/>
                    </a:moveTo>
                    <a:cubicBezTo>
                      <a:pt x="1675" y="0"/>
                      <a:pt x="1675" y="0"/>
                      <a:pt x="1675" y="0"/>
                    </a:cubicBezTo>
                    <a:cubicBezTo>
                      <a:pt x="1375" y="0"/>
                      <a:pt x="1375" y="0"/>
                      <a:pt x="1375" y="0"/>
                    </a:cubicBezTo>
                    <a:cubicBezTo>
                      <a:pt x="1375" y="62"/>
                      <a:pt x="1375" y="62"/>
                      <a:pt x="1375" y="62"/>
                    </a:cubicBezTo>
                    <a:cubicBezTo>
                      <a:pt x="1612" y="62"/>
                      <a:pt x="1612" y="62"/>
                      <a:pt x="1612" y="62"/>
                    </a:cubicBezTo>
                    <a:cubicBezTo>
                      <a:pt x="1638" y="64"/>
                      <a:pt x="1658" y="86"/>
                      <a:pt x="1656" y="112"/>
                    </a:cubicBezTo>
                    <a:cubicBezTo>
                      <a:pt x="1656" y="112"/>
                      <a:pt x="1656" y="112"/>
                      <a:pt x="1656" y="112"/>
                    </a:cubicBezTo>
                    <a:cubicBezTo>
                      <a:pt x="1656" y="1869"/>
                      <a:pt x="1656" y="1869"/>
                      <a:pt x="1656" y="1869"/>
                    </a:cubicBezTo>
                    <a:cubicBezTo>
                      <a:pt x="1656" y="1897"/>
                      <a:pt x="1637" y="1903"/>
                      <a:pt x="1612" y="1903"/>
                    </a:cubicBezTo>
                    <a:cubicBezTo>
                      <a:pt x="202" y="1903"/>
                      <a:pt x="202" y="1903"/>
                      <a:pt x="202" y="1903"/>
                    </a:cubicBezTo>
                    <a:cubicBezTo>
                      <a:pt x="177" y="1903"/>
                      <a:pt x="158" y="1897"/>
                      <a:pt x="158" y="1869"/>
                    </a:cubicBezTo>
                    <a:cubicBezTo>
                      <a:pt x="158" y="112"/>
                      <a:pt x="158" y="112"/>
                      <a:pt x="158" y="112"/>
                    </a:cubicBezTo>
                    <a:cubicBezTo>
                      <a:pt x="156" y="86"/>
                      <a:pt x="176" y="64"/>
                      <a:pt x="202" y="62"/>
                    </a:cubicBezTo>
                    <a:cubicBezTo>
                      <a:pt x="202" y="62"/>
                      <a:pt x="202" y="62"/>
                      <a:pt x="202" y="62"/>
                    </a:cubicBezTo>
                    <a:cubicBezTo>
                      <a:pt x="439" y="62"/>
                      <a:pt x="439" y="62"/>
                      <a:pt x="439" y="62"/>
                    </a:cubicBezTo>
                    <a:cubicBezTo>
                      <a:pt x="439" y="0"/>
                      <a:pt x="439" y="0"/>
                      <a:pt x="439" y="0"/>
                    </a:cubicBezTo>
                    <a:cubicBezTo>
                      <a:pt x="139" y="0"/>
                      <a:pt x="139" y="0"/>
                      <a:pt x="139" y="0"/>
                    </a:cubicBezTo>
                    <a:cubicBezTo>
                      <a:pt x="62" y="2"/>
                      <a:pt x="0" y="66"/>
                      <a:pt x="2" y="143"/>
                    </a:cubicBezTo>
                    <a:cubicBezTo>
                      <a:pt x="2" y="143"/>
                      <a:pt x="2" y="143"/>
                      <a:pt x="2" y="143"/>
                    </a:cubicBezTo>
                    <a:cubicBezTo>
                      <a:pt x="2" y="1931"/>
                      <a:pt x="2" y="1931"/>
                      <a:pt x="2" y="1931"/>
                    </a:cubicBezTo>
                    <a:cubicBezTo>
                      <a:pt x="2" y="2002"/>
                      <a:pt x="59" y="2059"/>
                      <a:pt x="130" y="2060"/>
                    </a:cubicBezTo>
                    <a:cubicBezTo>
                      <a:pt x="133" y="2060"/>
                      <a:pt x="136" y="2059"/>
                      <a:pt x="139" y="2059"/>
                    </a:cubicBezTo>
                    <a:cubicBezTo>
                      <a:pt x="1675" y="2059"/>
                      <a:pt x="1675" y="2059"/>
                      <a:pt x="1675" y="2059"/>
                    </a:cubicBezTo>
                    <a:cubicBezTo>
                      <a:pt x="1745" y="2064"/>
                      <a:pt x="1806" y="2011"/>
                      <a:pt x="1812" y="1941"/>
                    </a:cubicBezTo>
                    <a:cubicBezTo>
                      <a:pt x="1812" y="1938"/>
                      <a:pt x="1812" y="1935"/>
                      <a:pt x="1812" y="1931"/>
                    </a:cubicBezTo>
                    <a:cubicBezTo>
                      <a:pt x="1812" y="143"/>
                      <a:pt x="1812" y="143"/>
                      <a:pt x="1812" y="143"/>
                    </a:cubicBezTo>
                    <a:cubicBezTo>
                      <a:pt x="1814" y="66"/>
                      <a:pt x="1752" y="2"/>
                      <a:pt x="167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" name="Freeform 43">
                <a:extLst>
                  <a:ext uri="{FF2B5EF4-FFF2-40B4-BE49-F238E27FC236}">
                    <a16:creationId xmlns:a16="http://schemas.microsoft.com/office/drawing/2014/main" xmlns="" id="{4ED3DC09-5AD7-4A51-86DB-1C4893B18D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4" y="2913"/>
                <a:ext cx="179" cy="226"/>
              </a:xfrm>
              <a:custGeom>
                <a:avLst/>
                <a:gdLst>
                  <a:gd name="T0" fmla="*/ 187 w 1310"/>
                  <a:gd name="T1" fmla="*/ 0 h 1654"/>
                  <a:gd name="T2" fmla="*/ 0 w 1310"/>
                  <a:gd name="T3" fmla="*/ 0 h 1654"/>
                  <a:gd name="T4" fmla="*/ 0 w 1310"/>
                  <a:gd name="T5" fmla="*/ 1654 h 1654"/>
                  <a:gd name="T6" fmla="*/ 1310 w 1310"/>
                  <a:gd name="T7" fmla="*/ 1654 h 1654"/>
                  <a:gd name="T8" fmla="*/ 1310 w 1310"/>
                  <a:gd name="T9" fmla="*/ 0 h 1654"/>
                  <a:gd name="T10" fmla="*/ 1123 w 1310"/>
                  <a:gd name="T11" fmla="*/ 0 h 1654"/>
                  <a:gd name="T12" fmla="*/ 1123 w 1310"/>
                  <a:gd name="T13" fmla="*/ 19 h 1654"/>
                  <a:gd name="T14" fmla="*/ 1086 w 1310"/>
                  <a:gd name="T15" fmla="*/ 62 h 1654"/>
                  <a:gd name="T16" fmla="*/ 1082 w 1310"/>
                  <a:gd name="T17" fmla="*/ 62 h 1654"/>
                  <a:gd name="T18" fmla="*/ 224 w 1310"/>
                  <a:gd name="T19" fmla="*/ 62 h 1654"/>
                  <a:gd name="T20" fmla="*/ 187 w 1310"/>
                  <a:gd name="T21" fmla="*/ 19 h 1654"/>
                  <a:gd name="T22" fmla="*/ 187 w 1310"/>
                  <a:gd name="T23" fmla="*/ 0 h 1654"/>
                  <a:gd name="T24" fmla="*/ 1092 w 1310"/>
                  <a:gd name="T25" fmla="*/ 1404 h 1654"/>
                  <a:gd name="T26" fmla="*/ 218 w 1310"/>
                  <a:gd name="T27" fmla="*/ 1404 h 1654"/>
                  <a:gd name="T28" fmla="*/ 171 w 1310"/>
                  <a:gd name="T29" fmla="*/ 1357 h 1654"/>
                  <a:gd name="T30" fmla="*/ 218 w 1310"/>
                  <a:gd name="T31" fmla="*/ 1310 h 1654"/>
                  <a:gd name="T32" fmla="*/ 1092 w 1310"/>
                  <a:gd name="T33" fmla="*/ 1310 h 1654"/>
                  <a:gd name="T34" fmla="*/ 1139 w 1310"/>
                  <a:gd name="T35" fmla="*/ 1357 h 1654"/>
                  <a:gd name="T36" fmla="*/ 1092 w 1310"/>
                  <a:gd name="T37" fmla="*/ 1404 h 1654"/>
                  <a:gd name="T38" fmla="*/ 1092 w 1310"/>
                  <a:gd name="T39" fmla="*/ 1092 h 1654"/>
                  <a:gd name="T40" fmla="*/ 218 w 1310"/>
                  <a:gd name="T41" fmla="*/ 1092 h 1654"/>
                  <a:gd name="T42" fmla="*/ 171 w 1310"/>
                  <a:gd name="T43" fmla="*/ 1045 h 1654"/>
                  <a:gd name="T44" fmla="*/ 218 w 1310"/>
                  <a:gd name="T45" fmla="*/ 998 h 1654"/>
                  <a:gd name="T46" fmla="*/ 1092 w 1310"/>
                  <a:gd name="T47" fmla="*/ 998 h 1654"/>
                  <a:gd name="T48" fmla="*/ 1139 w 1310"/>
                  <a:gd name="T49" fmla="*/ 1045 h 1654"/>
                  <a:gd name="T50" fmla="*/ 1092 w 1310"/>
                  <a:gd name="T51" fmla="*/ 1092 h 1654"/>
                  <a:gd name="T52" fmla="*/ 1092 w 1310"/>
                  <a:gd name="T53" fmla="*/ 686 h 1654"/>
                  <a:gd name="T54" fmla="*/ 1139 w 1310"/>
                  <a:gd name="T55" fmla="*/ 733 h 1654"/>
                  <a:gd name="T56" fmla="*/ 1092 w 1310"/>
                  <a:gd name="T57" fmla="*/ 780 h 1654"/>
                  <a:gd name="T58" fmla="*/ 218 w 1310"/>
                  <a:gd name="T59" fmla="*/ 780 h 1654"/>
                  <a:gd name="T60" fmla="*/ 171 w 1310"/>
                  <a:gd name="T61" fmla="*/ 733 h 1654"/>
                  <a:gd name="T62" fmla="*/ 218 w 1310"/>
                  <a:gd name="T63" fmla="*/ 686 h 1654"/>
                  <a:gd name="T64" fmla="*/ 1092 w 1310"/>
                  <a:gd name="T65" fmla="*/ 686 h 1654"/>
                  <a:gd name="T66" fmla="*/ 218 w 1310"/>
                  <a:gd name="T67" fmla="*/ 374 h 1654"/>
                  <a:gd name="T68" fmla="*/ 624 w 1310"/>
                  <a:gd name="T69" fmla="*/ 374 h 1654"/>
                  <a:gd name="T70" fmla="*/ 671 w 1310"/>
                  <a:gd name="T71" fmla="*/ 421 h 1654"/>
                  <a:gd name="T72" fmla="*/ 624 w 1310"/>
                  <a:gd name="T73" fmla="*/ 468 h 1654"/>
                  <a:gd name="T74" fmla="*/ 218 w 1310"/>
                  <a:gd name="T75" fmla="*/ 468 h 1654"/>
                  <a:gd name="T76" fmla="*/ 171 w 1310"/>
                  <a:gd name="T77" fmla="*/ 421 h 1654"/>
                  <a:gd name="T78" fmla="*/ 218 w 1310"/>
                  <a:gd name="T79" fmla="*/ 374 h 1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310" h="1654">
                    <a:moveTo>
                      <a:pt x="187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654"/>
                      <a:pt x="0" y="1654"/>
                      <a:pt x="0" y="1654"/>
                    </a:cubicBezTo>
                    <a:cubicBezTo>
                      <a:pt x="1310" y="1654"/>
                      <a:pt x="1310" y="1654"/>
                      <a:pt x="1310" y="1654"/>
                    </a:cubicBezTo>
                    <a:cubicBezTo>
                      <a:pt x="1310" y="0"/>
                      <a:pt x="1310" y="0"/>
                      <a:pt x="1310" y="0"/>
                    </a:cubicBezTo>
                    <a:cubicBezTo>
                      <a:pt x="1123" y="0"/>
                      <a:pt x="1123" y="0"/>
                      <a:pt x="1123" y="0"/>
                    </a:cubicBezTo>
                    <a:cubicBezTo>
                      <a:pt x="1123" y="19"/>
                      <a:pt x="1123" y="19"/>
                      <a:pt x="1123" y="19"/>
                    </a:cubicBezTo>
                    <a:cubicBezTo>
                      <a:pt x="1125" y="41"/>
                      <a:pt x="1108" y="60"/>
                      <a:pt x="1086" y="62"/>
                    </a:cubicBezTo>
                    <a:cubicBezTo>
                      <a:pt x="1085" y="62"/>
                      <a:pt x="1084" y="62"/>
                      <a:pt x="1082" y="62"/>
                    </a:cubicBezTo>
                    <a:cubicBezTo>
                      <a:pt x="224" y="62"/>
                      <a:pt x="224" y="62"/>
                      <a:pt x="224" y="62"/>
                    </a:cubicBezTo>
                    <a:cubicBezTo>
                      <a:pt x="199" y="62"/>
                      <a:pt x="187" y="44"/>
                      <a:pt x="187" y="19"/>
                    </a:cubicBezTo>
                    <a:cubicBezTo>
                      <a:pt x="187" y="0"/>
                      <a:pt x="187" y="0"/>
                      <a:pt x="187" y="0"/>
                    </a:cubicBezTo>
                    <a:close/>
                    <a:moveTo>
                      <a:pt x="1092" y="1404"/>
                    </a:moveTo>
                    <a:cubicBezTo>
                      <a:pt x="218" y="1404"/>
                      <a:pt x="218" y="1404"/>
                      <a:pt x="218" y="1404"/>
                    </a:cubicBezTo>
                    <a:cubicBezTo>
                      <a:pt x="192" y="1404"/>
                      <a:pt x="171" y="1383"/>
                      <a:pt x="171" y="1357"/>
                    </a:cubicBezTo>
                    <a:cubicBezTo>
                      <a:pt x="171" y="1331"/>
                      <a:pt x="192" y="1310"/>
                      <a:pt x="218" y="1310"/>
                    </a:cubicBezTo>
                    <a:cubicBezTo>
                      <a:pt x="1092" y="1310"/>
                      <a:pt x="1092" y="1310"/>
                      <a:pt x="1092" y="1310"/>
                    </a:cubicBezTo>
                    <a:cubicBezTo>
                      <a:pt x="1118" y="1310"/>
                      <a:pt x="1139" y="1331"/>
                      <a:pt x="1139" y="1357"/>
                    </a:cubicBezTo>
                    <a:cubicBezTo>
                      <a:pt x="1139" y="1383"/>
                      <a:pt x="1118" y="1404"/>
                      <a:pt x="1092" y="1404"/>
                    </a:cubicBezTo>
                    <a:close/>
                    <a:moveTo>
                      <a:pt x="1092" y="1092"/>
                    </a:moveTo>
                    <a:cubicBezTo>
                      <a:pt x="218" y="1092"/>
                      <a:pt x="218" y="1092"/>
                      <a:pt x="218" y="1092"/>
                    </a:cubicBezTo>
                    <a:cubicBezTo>
                      <a:pt x="192" y="1092"/>
                      <a:pt x="171" y="1071"/>
                      <a:pt x="171" y="1045"/>
                    </a:cubicBezTo>
                    <a:cubicBezTo>
                      <a:pt x="171" y="1019"/>
                      <a:pt x="192" y="998"/>
                      <a:pt x="218" y="998"/>
                    </a:cubicBezTo>
                    <a:cubicBezTo>
                      <a:pt x="1092" y="998"/>
                      <a:pt x="1092" y="998"/>
                      <a:pt x="1092" y="998"/>
                    </a:cubicBezTo>
                    <a:cubicBezTo>
                      <a:pt x="1118" y="998"/>
                      <a:pt x="1139" y="1019"/>
                      <a:pt x="1139" y="1045"/>
                    </a:cubicBezTo>
                    <a:cubicBezTo>
                      <a:pt x="1139" y="1071"/>
                      <a:pt x="1118" y="1092"/>
                      <a:pt x="1092" y="1092"/>
                    </a:cubicBezTo>
                    <a:close/>
                    <a:moveTo>
                      <a:pt x="1092" y="686"/>
                    </a:moveTo>
                    <a:cubicBezTo>
                      <a:pt x="1118" y="686"/>
                      <a:pt x="1139" y="707"/>
                      <a:pt x="1139" y="733"/>
                    </a:cubicBezTo>
                    <a:cubicBezTo>
                      <a:pt x="1139" y="759"/>
                      <a:pt x="1118" y="780"/>
                      <a:pt x="1092" y="780"/>
                    </a:cubicBezTo>
                    <a:cubicBezTo>
                      <a:pt x="218" y="780"/>
                      <a:pt x="218" y="780"/>
                      <a:pt x="218" y="780"/>
                    </a:cubicBezTo>
                    <a:cubicBezTo>
                      <a:pt x="192" y="780"/>
                      <a:pt x="171" y="759"/>
                      <a:pt x="171" y="733"/>
                    </a:cubicBezTo>
                    <a:cubicBezTo>
                      <a:pt x="171" y="707"/>
                      <a:pt x="192" y="686"/>
                      <a:pt x="218" y="686"/>
                    </a:cubicBezTo>
                    <a:lnTo>
                      <a:pt x="1092" y="686"/>
                    </a:lnTo>
                    <a:close/>
                    <a:moveTo>
                      <a:pt x="218" y="374"/>
                    </a:moveTo>
                    <a:cubicBezTo>
                      <a:pt x="624" y="374"/>
                      <a:pt x="624" y="374"/>
                      <a:pt x="624" y="374"/>
                    </a:cubicBezTo>
                    <a:cubicBezTo>
                      <a:pt x="650" y="374"/>
                      <a:pt x="671" y="395"/>
                      <a:pt x="671" y="421"/>
                    </a:cubicBezTo>
                    <a:cubicBezTo>
                      <a:pt x="671" y="447"/>
                      <a:pt x="650" y="468"/>
                      <a:pt x="624" y="468"/>
                    </a:cubicBezTo>
                    <a:cubicBezTo>
                      <a:pt x="218" y="468"/>
                      <a:pt x="218" y="468"/>
                      <a:pt x="218" y="468"/>
                    </a:cubicBezTo>
                    <a:cubicBezTo>
                      <a:pt x="192" y="468"/>
                      <a:pt x="171" y="447"/>
                      <a:pt x="171" y="421"/>
                    </a:cubicBezTo>
                    <a:cubicBezTo>
                      <a:pt x="171" y="395"/>
                      <a:pt x="192" y="374"/>
                      <a:pt x="218" y="37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99" name="Groep 98">
            <a:extLst>
              <a:ext uri="{FF2B5EF4-FFF2-40B4-BE49-F238E27FC236}">
                <a16:creationId xmlns:a16="http://schemas.microsoft.com/office/drawing/2014/main" xmlns="" id="{8F7F7468-B051-4F94-9B5D-243955F09590}"/>
              </a:ext>
            </a:extLst>
          </p:cNvPr>
          <p:cNvGrpSpPr/>
          <p:nvPr/>
        </p:nvGrpSpPr>
        <p:grpSpPr>
          <a:xfrm>
            <a:off x="5585769" y="1743843"/>
            <a:ext cx="5653644" cy="3589636"/>
            <a:chOff x="5585769" y="1824682"/>
            <a:chExt cx="5653644" cy="3589636"/>
          </a:xfrm>
        </p:grpSpPr>
        <p:pic>
          <p:nvPicPr>
            <p:cNvPr id="83" name="Afbeelding 82">
              <a:extLst>
                <a:ext uri="{FF2B5EF4-FFF2-40B4-BE49-F238E27FC236}">
                  <a16:creationId xmlns:a16="http://schemas.microsoft.com/office/drawing/2014/main" xmlns="" id="{6CC37A7D-C062-4EB7-971E-3D3A7C35CB7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6617773" y="792678"/>
              <a:ext cx="3589636" cy="5653644"/>
            </a:xfrm>
            <a:prstGeom prst="rect">
              <a:avLst/>
            </a:prstGeom>
          </p:spPr>
        </p:pic>
        <p:sp>
          <p:nvSpPr>
            <p:cNvPr id="98" name="Rechthoek 97">
              <a:extLst>
                <a:ext uri="{FF2B5EF4-FFF2-40B4-BE49-F238E27FC236}">
                  <a16:creationId xmlns:a16="http://schemas.microsoft.com/office/drawing/2014/main" xmlns="" id="{D663EB86-42AE-48D8-988A-137EE8EFAF35}"/>
                </a:ext>
              </a:extLst>
            </p:cNvPr>
            <p:cNvSpPr/>
            <p:nvPr/>
          </p:nvSpPr>
          <p:spPr>
            <a:xfrm>
              <a:off x="6184900" y="2012949"/>
              <a:ext cx="4454525" cy="3213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/>
            </a:p>
          </p:txBody>
        </p:sp>
        <p:pic>
          <p:nvPicPr>
            <p:cNvPr id="82" name="Picture 4">
              <a:extLst>
                <a:ext uri="{FF2B5EF4-FFF2-40B4-BE49-F238E27FC236}">
                  <a16:creationId xmlns:a16="http://schemas.microsoft.com/office/drawing/2014/main" xmlns="" id="{53A2CF39-E066-4A3E-9655-4B535310CE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40779" y="2890958"/>
              <a:ext cx="4359659" cy="1467254"/>
            </a:xfrm>
            <a:prstGeom prst="rect">
              <a:avLst/>
            </a:prstGeom>
          </p:spPr>
        </p:pic>
      </p:grpSp>
      <p:grpSp>
        <p:nvGrpSpPr>
          <p:cNvPr id="92" name="Content">
            <a:extLst>
              <a:ext uri="{FF2B5EF4-FFF2-40B4-BE49-F238E27FC236}">
                <a16:creationId xmlns:a16="http://schemas.microsoft.com/office/drawing/2014/main" xmlns="" id="{72FAA1C4-C282-4209-B13B-9F1D6F37018C}"/>
              </a:ext>
            </a:extLst>
          </p:cNvPr>
          <p:cNvGrpSpPr/>
          <p:nvPr/>
        </p:nvGrpSpPr>
        <p:grpSpPr>
          <a:xfrm>
            <a:off x="543005" y="4868313"/>
            <a:ext cx="1116000" cy="756000"/>
            <a:chOff x="543005" y="4762500"/>
            <a:chExt cx="1116000" cy="756000"/>
          </a:xfrm>
        </p:grpSpPr>
        <p:sp>
          <p:nvSpPr>
            <p:cNvPr id="15" name="Rechthoek: afgeronde hoeken 14">
              <a:extLst>
                <a:ext uri="{FF2B5EF4-FFF2-40B4-BE49-F238E27FC236}">
                  <a16:creationId xmlns:a16="http://schemas.microsoft.com/office/drawing/2014/main" xmlns="" id="{91AE5A19-207E-4783-BDC9-7A0E8A462750}"/>
                </a:ext>
              </a:extLst>
            </p:cNvPr>
            <p:cNvSpPr/>
            <p:nvPr/>
          </p:nvSpPr>
          <p:spPr>
            <a:xfrm>
              <a:off x="543005" y="4762500"/>
              <a:ext cx="1116000" cy="756000"/>
            </a:xfrm>
            <a:prstGeom prst="roundRect">
              <a:avLst>
                <a:gd name="adj" fmla="val 8334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0,1%</a:t>
              </a:r>
            </a:p>
          </p:txBody>
        </p:sp>
        <p:grpSp>
          <p:nvGrpSpPr>
            <p:cNvPr id="85" name="Group 46">
              <a:extLst>
                <a:ext uri="{FF2B5EF4-FFF2-40B4-BE49-F238E27FC236}">
                  <a16:creationId xmlns:a16="http://schemas.microsoft.com/office/drawing/2014/main" xmlns="" id="{1157BD33-4ECC-4188-B4FB-0185BAE9C8B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93929" y="4849029"/>
              <a:ext cx="330264" cy="316042"/>
              <a:chOff x="2401" y="3778"/>
              <a:chExt cx="418" cy="400"/>
            </a:xfrm>
            <a:solidFill>
              <a:schemeClr val="bg1"/>
            </a:solidFill>
          </p:grpSpPr>
          <p:sp>
            <p:nvSpPr>
              <p:cNvPr id="87" name="Freeform 47">
                <a:extLst>
                  <a:ext uri="{FF2B5EF4-FFF2-40B4-BE49-F238E27FC236}">
                    <a16:creationId xmlns:a16="http://schemas.microsoft.com/office/drawing/2014/main" xmlns="" id="{76C0869E-F6B3-4D6E-9FF0-65D7955DB7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5" y="3778"/>
                <a:ext cx="104" cy="102"/>
              </a:xfrm>
              <a:custGeom>
                <a:avLst/>
                <a:gdLst>
                  <a:gd name="T0" fmla="*/ 45 w 49"/>
                  <a:gd name="T1" fmla="*/ 21 h 48"/>
                  <a:gd name="T2" fmla="*/ 27 w 49"/>
                  <a:gd name="T3" fmla="*/ 3 h 48"/>
                  <a:gd name="T4" fmla="*/ 21 w 49"/>
                  <a:gd name="T5" fmla="*/ 0 h 48"/>
                  <a:gd name="T6" fmla="*/ 14 w 49"/>
                  <a:gd name="T7" fmla="*/ 3 h 48"/>
                  <a:gd name="T8" fmla="*/ 0 w 49"/>
                  <a:gd name="T9" fmla="*/ 17 h 48"/>
                  <a:gd name="T10" fmla="*/ 31 w 49"/>
                  <a:gd name="T11" fmla="*/ 48 h 48"/>
                  <a:gd name="T12" fmla="*/ 45 w 49"/>
                  <a:gd name="T13" fmla="*/ 34 h 48"/>
                  <a:gd name="T14" fmla="*/ 45 w 49"/>
                  <a:gd name="T15" fmla="*/ 21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48">
                    <a:moveTo>
                      <a:pt x="45" y="21"/>
                    </a:moveTo>
                    <a:cubicBezTo>
                      <a:pt x="27" y="3"/>
                      <a:pt x="27" y="3"/>
                      <a:pt x="27" y="3"/>
                    </a:cubicBezTo>
                    <a:cubicBezTo>
                      <a:pt x="26" y="1"/>
                      <a:pt x="23" y="0"/>
                      <a:pt x="21" y="0"/>
                    </a:cubicBezTo>
                    <a:cubicBezTo>
                      <a:pt x="19" y="0"/>
                      <a:pt x="16" y="1"/>
                      <a:pt x="14" y="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45" y="34"/>
                      <a:pt x="45" y="34"/>
                      <a:pt x="45" y="34"/>
                    </a:cubicBezTo>
                    <a:cubicBezTo>
                      <a:pt x="49" y="30"/>
                      <a:pt x="49" y="24"/>
                      <a:pt x="4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" name="Freeform 48">
                <a:extLst>
                  <a:ext uri="{FF2B5EF4-FFF2-40B4-BE49-F238E27FC236}">
                    <a16:creationId xmlns:a16="http://schemas.microsoft.com/office/drawing/2014/main" xmlns="" id="{1AC078EF-278B-4788-B31B-8B7CAC894E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4" y="3829"/>
                <a:ext cx="242" cy="243"/>
              </a:xfrm>
              <a:custGeom>
                <a:avLst/>
                <a:gdLst>
                  <a:gd name="T0" fmla="*/ 0 w 242"/>
                  <a:gd name="T1" fmla="*/ 179 h 243"/>
                  <a:gd name="T2" fmla="*/ 64 w 242"/>
                  <a:gd name="T3" fmla="*/ 243 h 243"/>
                  <a:gd name="T4" fmla="*/ 242 w 242"/>
                  <a:gd name="T5" fmla="*/ 64 h 243"/>
                  <a:gd name="T6" fmla="*/ 179 w 242"/>
                  <a:gd name="T7" fmla="*/ 0 h 243"/>
                  <a:gd name="T8" fmla="*/ 0 w 242"/>
                  <a:gd name="T9" fmla="*/ 179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2" h="243">
                    <a:moveTo>
                      <a:pt x="0" y="179"/>
                    </a:moveTo>
                    <a:lnTo>
                      <a:pt x="64" y="243"/>
                    </a:lnTo>
                    <a:lnTo>
                      <a:pt x="242" y="64"/>
                    </a:lnTo>
                    <a:lnTo>
                      <a:pt x="179" y="0"/>
                    </a:lnTo>
                    <a:lnTo>
                      <a:pt x="0" y="1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" name="Freeform 49">
                <a:extLst>
                  <a:ext uri="{FF2B5EF4-FFF2-40B4-BE49-F238E27FC236}">
                    <a16:creationId xmlns:a16="http://schemas.microsoft.com/office/drawing/2014/main" xmlns="" id="{C3A21462-A447-4ECB-986F-3A0046F24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7" y="4020"/>
                <a:ext cx="78" cy="79"/>
              </a:xfrm>
              <a:custGeom>
                <a:avLst/>
                <a:gdLst>
                  <a:gd name="T0" fmla="*/ 12 w 78"/>
                  <a:gd name="T1" fmla="*/ 0 h 79"/>
                  <a:gd name="T2" fmla="*/ 0 w 78"/>
                  <a:gd name="T3" fmla="*/ 79 h 79"/>
                  <a:gd name="T4" fmla="*/ 78 w 78"/>
                  <a:gd name="T5" fmla="*/ 66 h 79"/>
                  <a:gd name="T6" fmla="*/ 12 w 78"/>
                  <a:gd name="T7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8" h="79">
                    <a:moveTo>
                      <a:pt x="12" y="0"/>
                    </a:moveTo>
                    <a:lnTo>
                      <a:pt x="0" y="79"/>
                    </a:lnTo>
                    <a:lnTo>
                      <a:pt x="78" y="6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" name="Freeform 50">
                <a:extLst>
                  <a:ext uri="{FF2B5EF4-FFF2-40B4-BE49-F238E27FC236}">
                    <a16:creationId xmlns:a16="http://schemas.microsoft.com/office/drawing/2014/main" xmlns="" id="{4193A943-9A4B-4989-8BFE-F01E22D6B7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1" y="3846"/>
                <a:ext cx="331" cy="332"/>
              </a:xfrm>
              <a:custGeom>
                <a:avLst/>
                <a:gdLst>
                  <a:gd name="T0" fmla="*/ 136 w 156"/>
                  <a:gd name="T1" fmla="*/ 136 h 156"/>
                  <a:gd name="T2" fmla="*/ 20 w 156"/>
                  <a:gd name="T3" fmla="*/ 136 h 156"/>
                  <a:gd name="T4" fmla="*/ 20 w 156"/>
                  <a:gd name="T5" fmla="*/ 20 h 156"/>
                  <a:gd name="T6" fmla="*/ 102 w 156"/>
                  <a:gd name="T7" fmla="*/ 20 h 156"/>
                  <a:gd name="T8" fmla="*/ 122 w 156"/>
                  <a:gd name="T9" fmla="*/ 0 h 156"/>
                  <a:gd name="T10" fmla="*/ 13 w 156"/>
                  <a:gd name="T11" fmla="*/ 0 h 156"/>
                  <a:gd name="T12" fmla="*/ 0 w 156"/>
                  <a:gd name="T13" fmla="*/ 13 h 156"/>
                  <a:gd name="T14" fmla="*/ 0 w 156"/>
                  <a:gd name="T15" fmla="*/ 143 h 156"/>
                  <a:gd name="T16" fmla="*/ 13 w 156"/>
                  <a:gd name="T17" fmla="*/ 156 h 156"/>
                  <a:gd name="T18" fmla="*/ 143 w 156"/>
                  <a:gd name="T19" fmla="*/ 156 h 156"/>
                  <a:gd name="T20" fmla="*/ 156 w 156"/>
                  <a:gd name="T21" fmla="*/ 143 h 156"/>
                  <a:gd name="T22" fmla="*/ 156 w 156"/>
                  <a:gd name="T23" fmla="*/ 50 h 156"/>
                  <a:gd name="T24" fmla="*/ 136 w 156"/>
                  <a:gd name="T25" fmla="*/ 70 h 156"/>
                  <a:gd name="T26" fmla="*/ 136 w 156"/>
                  <a:gd name="T27" fmla="*/ 13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6" h="156">
                    <a:moveTo>
                      <a:pt x="136" y="136"/>
                    </a:moveTo>
                    <a:cubicBezTo>
                      <a:pt x="20" y="136"/>
                      <a:pt x="20" y="136"/>
                      <a:pt x="20" y="136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102" y="20"/>
                      <a:pt x="102" y="20"/>
                      <a:pt x="102" y="2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6"/>
                      <a:pt x="0" y="13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0" y="150"/>
                      <a:pt x="6" y="156"/>
                      <a:pt x="13" y="156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50" y="156"/>
                      <a:pt x="156" y="150"/>
                      <a:pt x="156" y="143"/>
                    </a:cubicBezTo>
                    <a:cubicBezTo>
                      <a:pt x="156" y="50"/>
                      <a:pt x="156" y="50"/>
                      <a:pt x="156" y="50"/>
                    </a:cubicBezTo>
                    <a:cubicBezTo>
                      <a:pt x="136" y="70"/>
                      <a:pt x="136" y="70"/>
                      <a:pt x="136" y="70"/>
                    </a:cubicBezTo>
                    <a:cubicBezTo>
                      <a:pt x="136" y="136"/>
                      <a:pt x="136" y="136"/>
                      <a:pt x="136" y="1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97" name="DPD">
            <a:extLst>
              <a:ext uri="{FF2B5EF4-FFF2-40B4-BE49-F238E27FC236}">
                <a16:creationId xmlns:a16="http://schemas.microsoft.com/office/drawing/2014/main" xmlns="" id="{8ECE7F5B-2C2E-4E3A-A11B-791712FE86B0}"/>
              </a:ext>
            </a:extLst>
          </p:cNvPr>
          <p:cNvGrpSpPr/>
          <p:nvPr/>
        </p:nvGrpSpPr>
        <p:grpSpPr>
          <a:xfrm>
            <a:off x="2076530" y="2582313"/>
            <a:ext cx="1116000" cy="756000"/>
            <a:chOff x="2076530" y="2476500"/>
            <a:chExt cx="1116000" cy="756000"/>
          </a:xfrm>
        </p:grpSpPr>
        <p:sp>
          <p:nvSpPr>
            <p:cNvPr id="12" name="Rechthoek: afgeronde hoeken 11">
              <a:extLst>
                <a:ext uri="{FF2B5EF4-FFF2-40B4-BE49-F238E27FC236}">
                  <a16:creationId xmlns:a16="http://schemas.microsoft.com/office/drawing/2014/main" xmlns="" id="{C05D3814-44EC-4513-87E0-EA8700866FD1}"/>
                </a:ext>
              </a:extLst>
            </p:cNvPr>
            <p:cNvSpPr/>
            <p:nvPr/>
          </p:nvSpPr>
          <p:spPr>
            <a:xfrm>
              <a:off x="2076530" y="2476500"/>
              <a:ext cx="1116000" cy="756000"/>
            </a:xfrm>
            <a:prstGeom prst="roundRect">
              <a:avLst>
                <a:gd name="adj" fmla="val 8334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144000" bIns="36000" rtlCol="0" anchor="b" anchorCtr="0"/>
            <a:lstStyle/>
            <a:p>
              <a:pPr algn="ctr"/>
              <a:r>
                <a:rPr lang="nl-NL" sz="1600" dirty="0"/>
                <a:t>2,5%</a:t>
              </a:r>
            </a:p>
          </p:txBody>
        </p:sp>
        <p:sp>
          <p:nvSpPr>
            <p:cNvPr id="96" name="Freeform 54">
              <a:extLst>
                <a:ext uri="{FF2B5EF4-FFF2-40B4-BE49-F238E27FC236}">
                  <a16:creationId xmlns:a16="http://schemas.microsoft.com/office/drawing/2014/main" xmlns="" id="{F0486D11-876A-498D-B77F-AEAB8A6707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03475" y="2620963"/>
              <a:ext cx="461963" cy="258762"/>
            </a:xfrm>
            <a:custGeom>
              <a:avLst/>
              <a:gdLst>
                <a:gd name="T0" fmla="*/ 907 w 2448"/>
                <a:gd name="T1" fmla="*/ 963 h 1372"/>
                <a:gd name="T2" fmla="*/ 703 w 2448"/>
                <a:gd name="T3" fmla="*/ 1168 h 1372"/>
                <a:gd name="T4" fmla="*/ 907 w 2448"/>
                <a:gd name="T5" fmla="*/ 1372 h 1372"/>
                <a:gd name="T6" fmla="*/ 1111 w 2448"/>
                <a:gd name="T7" fmla="*/ 1168 h 1372"/>
                <a:gd name="T8" fmla="*/ 907 w 2448"/>
                <a:gd name="T9" fmla="*/ 963 h 1372"/>
                <a:gd name="T10" fmla="*/ 907 w 2448"/>
                <a:gd name="T11" fmla="*/ 1270 h 1372"/>
                <a:gd name="T12" fmla="*/ 805 w 2448"/>
                <a:gd name="T13" fmla="*/ 1168 h 1372"/>
                <a:gd name="T14" fmla="*/ 907 w 2448"/>
                <a:gd name="T15" fmla="*/ 1066 h 1372"/>
                <a:gd name="T16" fmla="*/ 1009 w 2448"/>
                <a:gd name="T17" fmla="*/ 1168 h 1372"/>
                <a:gd name="T18" fmla="*/ 907 w 2448"/>
                <a:gd name="T19" fmla="*/ 1270 h 1372"/>
                <a:gd name="T20" fmla="*/ 2448 w 2448"/>
                <a:gd name="T21" fmla="*/ 812 h 1372"/>
                <a:gd name="T22" fmla="*/ 2448 w 2448"/>
                <a:gd name="T23" fmla="*/ 1030 h 1372"/>
                <a:gd name="T24" fmla="*/ 2349 w 2448"/>
                <a:gd name="T25" fmla="*/ 1129 h 1372"/>
                <a:gd name="T26" fmla="*/ 2244 w 2448"/>
                <a:gd name="T27" fmla="*/ 1129 h 1372"/>
                <a:gd name="T28" fmla="*/ 1976 w 2448"/>
                <a:gd name="T29" fmla="*/ 898 h 1372"/>
                <a:gd name="T30" fmla="*/ 1709 w 2448"/>
                <a:gd name="T31" fmla="*/ 1129 h 1372"/>
                <a:gd name="T32" fmla="*/ 1175 w 2448"/>
                <a:gd name="T33" fmla="*/ 1129 h 1372"/>
                <a:gd name="T34" fmla="*/ 907 w 2448"/>
                <a:gd name="T35" fmla="*/ 898 h 1372"/>
                <a:gd name="T36" fmla="*/ 640 w 2448"/>
                <a:gd name="T37" fmla="*/ 1129 h 1372"/>
                <a:gd name="T38" fmla="*/ 508 w 2448"/>
                <a:gd name="T39" fmla="*/ 1129 h 1372"/>
                <a:gd name="T40" fmla="*/ 409 w 2448"/>
                <a:gd name="T41" fmla="*/ 1030 h 1372"/>
                <a:gd name="T42" fmla="*/ 409 w 2448"/>
                <a:gd name="T43" fmla="*/ 812 h 1372"/>
                <a:gd name="T44" fmla="*/ 2448 w 2448"/>
                <a:gd name="T45" fmla="*/ 812 h 1372"/>
                <a:gd name="T46" fmla="*/ 1977 w 2448"/>
                <a:gd name="T47" fmla="*/ 963 h 1372"/>
                <a:gd name="T48" fmla="*/ 1772 w 2448"/>
                <a:gd name="T49" fmla="*/ 1168 h 1372"/>
                <a:gd name="T50" fmla="*/ 1977 w 2448"/>
                <a:gd name="T51" fmla="*/ 1372 h 1372"/>
                <a:gd name="T52" fmla="*/ 2181 w 2448"/>
                <a:gd name="T53" fmla="*/ 1168 h 1372"/>
                <a:gd name="T54" fmla="*/ 1977 w 2448"/>
                <a:gd name="T55" fmla="*/ 963 h 1372"/>
                <a:gd name="T56" fmla="*/ 1977 w 2448"/>
                <a:gd name="T57" fmla="*/ 1270 h 1372"/>
                <a:gd name="T58" fmla="*/ 1874 w 2448"/>
                <a:gd name="T59" fmla="*/ 1168 h 1372"/>
                <a:gd name="T60" fmla="*/ 1977 w 2448"/>
                <a:gd name="T61" fmla="*/ 1066 h 1372"/>
                <a:gd name="T62" fmla="*/ 2079 w 2448"/>
                <a:gd name="T63" fmla="*/ 1168 h 1372"/>
                <a:gd name="T64" fmla="*/ 1977 w 2448"/>
                <a:gd name="T65" fmla="*/ 1270 h 1372"/>
                <a:gd name="T66" fmla="*/ 2409 w 2448"/>
                <a:gd name="T67" fmla="*/ 593 h 1372"/>
                <a:gd name="T68" fmla="*/ 2022 w 2448"/>
                <a:gd name="T69" fmla="*/ 210 h 1372"/>
                <a:gd name="T70" fmla="*/ 1930 w 2448"/>
                <a:gd name="T71" fmla="*/ 171 h 1372"/>
                <a:gd name="T72" fmla="*/ 1734 w 2448"/>
                <a:gd name="T73" fmla="*/ 171 h 1372"/>
                <a:gd name="T74" fmla="*/ 1734 w 2448"/>
                <a:gd name="T75" fmla="*/ 98 h 1372"/>
                <a:gd name="T76" fmla="*/ 1636 w 2448"/>
                <a:gd name="T77" fmla="*/ 0 h 1372"/>
                <a:gd name="T78" fmla="*/ 508 w 2448"/>
                <a:gd name="T79" fmla="*/ 0 h 1372"/>
                <a:gd name="T80" fmla="*/ 409 w 2448"/>
                <a:gd name="T81" fmla="*/ 98 h 1372"/>
                <a:gd name="T82" fmla="*/ 409 w 2448"/>
                <a:gd name="T83" fmla="*/ 114 h 1372"/>
                <a:gd name="T84" fmla="*/ 9 w 2448"/>
                <a:gd name="T85" fmla="*/ 160 h 1372"/>
                <a:gd name="T86" fmla="*/ 718 w 2448"/>
                <a:gd name="T87" fmla="*/ 252 h 1372"/>
                <a:gd name="T88" fmla="*/ 0 w 2448"/>
                <a:gd name="T89" fmla="*/ 323 h 1372"/>
                <a:gd name="T90" fmla="*/ 715 w 2448"/>
                <a:gd name="T91" fmla="*/ 425 h 1372"/>
                <a:gd name="T92" fmla="*/ 0 w 2448"/>
                <a:gd name="T93" fmla="*/ 487 h 1372"/>
                <a:gd name="T94" fmla="*/ 409 w 2448"/>
                <a:gd name="T95" fmla="*/ 564 h 1372"/>
                <a:gd name="T96" fmla="*/ 409 w 2448"/>
                <a:gd name="T97" fmla="*/ 758 h 1372"/>
                <a:gd name="T98" fmla="*/ 2448 w 2448"/>
                <a:gd name="T99" fmla="*/ 758 h 1372"/>
                <a:gd name="T100" fmla="*/ 2448 w 2448"/>
                <a:gd name="T101" fmla="*/ 686 h 1372"/>
                <a:gd name="T102" fmla="*/ 2409 w 2448"/>
                <a:gd name="T103" fmla="*/ 593 h 1372"/>
                <a:gd name="T104" fmla="*/ 2240 w 2448"/>
                <a:gd name="T105" fmla="*/ 605 h 1372"/>
                <a:gd name="T106" fmla="*/ 1866 w 2448"/>
                <a:gd name="T107" fmla="*/ 605 h 1372"/>
                <a:gd name="T108" fmla="*/ 1850 w 2448"/>
                <a:gd name="T109" fmla="*/ 590 h 1372"/>
                <a:gd name="T110" fmla="*/ 1850 w 2448"/>
                <a:gd name="T111" fmla="*/ 301 h 1372"/>
                <a:gd name="T112" fmla="*/ 1866 w 2448"/>
                <a:gd name="T113" fmla="*/ 285 h 1372"/>
                <a:gd name="T114" fmla="*/ 1937 w 2448"/>
                <a:gd name="T115" fmla="*/ 285 h 1372"/>
                <a:gd name="T116" fmla="*/ 1948 w 2448"/>
                <a:gd name="T117" fmla="*/ 289 h 1372"/>
                <a:gd name="T118" fmla="*/ 2251 w 2448"/>
                <a:gd name="T119" fmla="*/ 579 h 1372"/>
                <a:gd name="T120" fmla="*/ 2240 w 2448"/>
                <a:gd name="T121" fmla="*/ 605 h 1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48" h="1372">
                  <a:moveTo>
                    <a:pt x="907" y="963"/>
                  </a:moveTo>
                  <a:cubicBezTo>
                    <a:pt x="794" y="963"/>
                    <a:pt x="703" y="1055"/>
                    <a:pt x="703" y="1168"/>
                  </a:cubicBezTo>
                  <a:cubicBezTo>
                    <a:pt x="703" y="1281"/>
                    <a:pt x="794" y="1372"/>
                    <a:pt x="907" y="1372"/>
                  </a:cubicBezTo>
                  <a:cubicBezTo>
                    <a:pt x="1020" y="1372"/>
                    <a:pt x="1111" y="1281"/>
                    <a:pt x="1111" y="1168"/>
                  </a:cubicBezTo>
                  <a:cubicBezTo>
                    <a:pt x="1111" y="1055"/>
                    <a:pt x="1020" y="963"/>
                    <a:pt x="907" y="963"/>
                  </a:cubicBezTo>
                  <a:close/>
                  <a:moveTo>
                    <a:pt x="907" y="1270"/>
                  </a:moveTo>
                  <a:cubicBezTo>
                    <a:pt x="851" y="1270"/>
                    <a:pt x="805" y="1224"/>
                    <a:pt x="805" y="1168"/>
                  </a:cubicBezTo>
                  <a:cubicBezTo>
                    <a:pt x="805" y="1112"/>
                    <a:pt x="851" y="1066"/>
                    <a:pt x="907" y="1066"/>
                  </a:cubicBezTo>
                  <a:cubicBezTo>
                    <a:pt x="964" y="1066"/>
                    <a:pt x="1009" y="1112"/>
                    <a:pt x="1009" y="1168"/>
                  </a:cubicBezTo>
                  <a:cubicBezTo>
                    <a:pt x="1009" y="1224"/>
                    <a:pt x="964" y="1270"/>
                    <a:pt x="907" y="1270"/>
                  </a:cubicBezTo>
                  <a:close/>
                  <a:moveTo>
                    <a:pt x="2448" y="812"/>
                  </a:moveTo>
                  <a:cubicBezTo>
                    <a:pt x="2448" y="1030"/>
                    <a:pt x="2448" y="1030"/>
                    <a:pt x="2448" y="1030"/>
                  </a:cubicBezTo>
                  <a:cubicBezTo>
                    <a:pt x="2448" y="1085"/>
                    <a:pt x="2404" y="1129"/>
                    <a:pt x="2349" y="1129"/>
                  </a:cubicBezTo>
                  <a:cubicBezTo>
                    <a:pt x="2244" y="1129"/>
                    <a:pt x="2244" y="1129"/>
                    <a:pt x="2244" y="1129"/>
                  </a:cubicBezTo>
                  <a:cubicBezTo>
                    <a:pt x="2225" y="998"/>
                    <a:pt x="2112" y="898"/>
                    <a:pt x="1976" y="898"/>
                  </a:cubicBezTo>
                  <a:cubicBezTo>
                    <a:pt x="1841" y="898"/>
                    <a:pt x="1728" y="998"/>
                    <a:pt x="1709" y="1129"/>
                  </a:cubicBezTo>
                  <a:cubicBezTo>
                    <a:pt x="1175" y="1129"/>
                    <a:pt x="1175" y="1129"/>
                    <a:pt x="1175" y="1129"/>
                  </a:cubicBezTo>
                  <a:cubicBezTo>
                    <a:pt x="1155" y="998"/>
                    <a:pt x="1043" y="898"/>
                    <a:pt x="907" y="898"/>
                  </a:cubicBezTo>
                  <a:cubicBezTo>
                    <a:pt x="771" y="898"/>
                    <a:pt x="659" y="998"/>
                    <a:pt x="640" y="1129"/>
                  </a:cubicBezTo>
                  <a:cubicBezTo>
                    <a:pt x="508" y="1129"/>
                    <a:pt x="508" y="1129"/>
                    <a:pt x="508" y="1129"/>
                  </a:cubicBezTo>
                  <a:cubicBezTo>
                    <a:pt x="453" y="1129"/>
                    <a:pt x="409" y="1085"/>
                    <a:pt x="409" y="1030"/>
                  </a:cubicBezTo>
                  <a:cubicBezTo>
                    <a:pt x="409" y="812"/>
                    <a:pt x="409" y="812"/>
                    <a:pt x="409" y="812"/>
                  </a:cubicBezTo>
                  <a:cubicBezTo>
                    <a:pt x="2448" y="812"/>
                    <a:pt x="2448" y="812"/>
                    <a:pt x="2448" y="812"/>
                  </a:cubicBezTo>
                  <a:close/>
                  <a:moveTo>
                    <a:pt x="1977" y="963"/>
                  </a:moveTo>
                  <a:cubicBezTo>
                    <a:pt x="1864" y="963"/>
                    <a:pt x="1772" y="1055"/>
                    <a:pt x="1772" y="1168"/>
                  </a:cubicBezTo>
                  <a:cubicBezTo>
                    <a:pt x="1772" y="1281"/>
                    <a:pt x="1864" y="1372"/>
                    <a:pt x="1977" y="1372"/>
                  </a:cubicBezTo>
                  <a:cubicBezTo>
                    <a:pt x="2089" y="1372"/>
                    <a:pt x="2181" y="1281"/>
                    <a:pt x="2181" y="1168"/>
                  </a:cubicBezTo>
                  <a:cubicBezTo>
                    <a:pt x="2181" y="1055"/>
                    <a:pt x="2089" y="963"/>
                    <a:pt x="1977" y="963"/>
                  </a:cubicBezTo>
                  <a:close/>
                  <a:moveTo>
                    <a:pt x="1977" y="1270"/>
                  </a:moveTo>
                  <a:cubicBezTo>
                    <a:pt x="1920" y="1270"/>
                    <a:pt x="1874" y="1224"/>
                    <a:pt x="1874" y="1168"/>
                  </a:cubicBezTo>
                  <a:cubicBezTo>
                    <a:pt x="1874" y="1112"/>
                    <a:pt x="1920" y="1066"/>
                    <a:pt x="1977" y="1066"/>
                  </a:cubicBezTo>
                  <a:cubicBezTo>
                    <a:pt x="2033" y="1066"/>
                    <a:pt x="2079" y="1112"/>
                    <a:pt x="2079" y="1168"/>
                  </a:cubicBezTo>
                  <a:cubicBezTo>
                    <a:pt x="2079" y="1224"/>
                    <a:pt x="2033" y="1270"/>
                    <a:pt x="1977" y="1270"/>
                  </a:cubicBezTo>
                  <a:close/>
                  <a:moveTo>
                    <a:pt x="2409" y="593"/>
                  </a:moveTo>
                  <a:cubicBezTo>
                    <a:pt x="2022" y="210"/>
                    <a:pt x="2022" y="210"/>
                    <a:pt x="2022" y="210"/>
                  </a:cubicBezTo>
                  <a:cubicBezTo>
                    <a:pt x="1997" y="185"/>
                    <a:pt x="1964" y="171"/>
                    <a:pt x="1930" y="171"/>
                  </a:cubicBezTo>
                  <a:cubicBezTo>
                    <a:pt x="1734" y="171"/>
                    <a:pt x="1734" y="171"/>
                    <a:pt x="1734" y="171"/>
                  </a:cubicBezTo>
                  <a:cubicBezTo>
                    <a:pt x="1734" y="98"/>
                    <a:pt x="1734" y="98"/>
                    <a:pt x="1734" y="98"/>
                  </a:cubicBezTo>
                  <a:cubicBezTo>
                    <a:pt x="1734" y="44"/>
                    <a:pt x="1690" y="0"/>
                    <a:pt x="1636" y="0"/>
                  </a:cubicBezTo>
                  <a:cubicBezTo>
                    <a:pt x="508" y="0"/>
                    <a:pt x="508" y="0"/>
                    <a:pt x="508" y="0"/>
                  </a:cubicBezTo>
                  <a:cubicBezTo>
                    <a:pt x="453" y="0"/>
                    <a:pt x="409" y="44"/>
                    <a:pt x="409" y="98"/>
                  </a:cubicBezTo>
                  <a:cubicBezTo>
                    <a:pt x="409" y="114"/>
                    <a:pt x="409" y="114"/>
                    <a:pt x="409" y="114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718" y="252"/>
                    <a:pt x="718" y="252"/>
                    <a:pt x="718" y="252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715" y="425"/>
                    <a:pt x="715" y="425"/>
                    <a:pt x="715" y="425"/>
                  </a:cubicBezTo>
                  <a:cubicBezTo>
                    <a:pt x="0" y="487"/>
                    <a:pt x="0" y="487"/>
                    <a:pt x="0" y="487"/>
                  </a:cubicBezTo>
                  <a:cubicBezTo>
                    <a:pt x="409" y="564"/>
                    <a:pt x="409" y="564"/>
                    <a:pt x="409" y="564"/>
                  </a:cubicBezTo>
                  <a:cubicBezTo>
                    <a:pt x="409" y="758"/>
                    <a:pt x="409" y="758"/>
                    <a:pt x="409" y="758"/>
                  </a:cubicBezTo>
                  <a:cubicBezTo>
                    <a:pt x="2448" y="758"/>
                    <a:pt x="2448" y="758"/>
                    <a:pt x="2448" y="758"/>
                  </a:cubicBezTo>
                  <a:cubicBezTo>
                    <a:pt x="2448" y="686"/>
                    <a:pt x="2448" y="686"/>
                    <a:pt x="2448" y="686"/>
                  </a:cubicBezTo>
                  <a:cubicBezTo>
                    <a:pt x="2448" y="651"/>
                    <a:pt x="2434" y="617"/>
                    <a:pt x="2409" y="593"/>
                  </a:cubicBezTo>
                  <a:close/>
                  <a:moveTo>
                    <a:pt x="2240" y="605"/>
                  </a:moveTo>
                  <a:cubicBezTo>
                    <a:pt x="1866" y="605"/>
                    <a:pt x="1866" y="605"/>
                    <a:pt x="1866" y="605"/>
                  </a:cubicBezTo>
                  <a:cubicBezTo>
                    <a:pt x="1857" y="605"/>
                    <a:pt x="1850" y="598"/>
                    <a:pt x="1850" y="590"/>
                  </a:cubicBezTo>
                  <a:cubicBezTo>
                    <a:pt x="1850" y="301"/>
                    <a:pt x="1850" y="301"/>
                    <a:pt x="1850" y="301"/>
                  </a:cubicBezTo>
                  <a:cubicBezTo>
                    <a:pt x="1850" y="292"/>
                    <a:pt x="1857" y="285"/>
                    <a:pt x="1866" y="285"/>
                  </a:cubicBezTo>
                  <a:cubicBezTo>
                    <a:pt x="1937" y="285"/>
                    <a:pt x="1937" y="285"/>
                    <a:pt x="1937" y="285"/>
                  </a:cubicBezTo>
                  <a:cubicBezTo>
                    <a:pt x="1941" y="285"/>
                    <a:pt x="1945" y="287"/>
                    <a:pt x="1948" y="289"/>
                  </a:cubicBezTo>
                  <a:cubicBezTo>
                    <a:pt x="2251" y="579"/>
                    <a:pt x="2251" y="579"/>
                    <a:pt x="2251" y="579"/>
                  </a:cubicBezTo>
                  <a:cubicBezTo>
                    <a:pt x="2261" y="588"/>
                    <a:pt x="2254" y="605"/>
                    <a:pt x="2240" y="60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67" name="Rechthoek: afgeronde hoeken 66">
            <a:extLst>
              <a:ext uri="{FF2B5EF4-FFF2-40B4-BE49-F238E27FC236}">
                <a16:creationId xmlns:a16="http://schemas.microsoft.com/office/drawing/2014/main" xmlns="" id="{AB7D3662-C1E8-4483-A1C2-3F322EEE1ACA}"/>
              </a:ext>
            </a:extLst>
          </p:cNvPr>
          <p:cNvSpPr/>
          <p:nvPr/>
        </p:nvSpPr>
        <p:spPr>
          <a:xfrm>
            <a:off x="381000" y="1307319"/>
            <a:ext cx="1439973" cy="1018590"/>
          </a:xfrm>
          <a:prstGeom prst="roundRect">
            <a:avLst>
              <a:gd name="adj" fmla="val 12926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69" name="Rechthoek: afgeronde hoeken 68">
            <a:extLst>
              <a:ext uri="{FF2B5EF4-FFF2-40B4-BE49-F238E27FC236}">
                <a16:creationId xmlns:a16="http://schemas.microsoft.com/office/drawing/2014/main" xmlns="" id="{73A8D952-18A1-4FD1-96D3-DBD6C60F4CBC}"/>
              </a:ext>
            </a:extLst>
          </p:cNvPr>
          <p:cNvSpPr/>
          <p:nvPr/>
        </p:nvSpPr>
        <p:spPr>
          <a:xfrm>
            <a:off x="381000" y="2449508"/>
            <a:ext cx="1439973" cy="1018590"/>
          </a:xfrm>
          <a:prstGeom prst="roundRect">
            <a:avLst>
              <a:gd name="adj" fmla="val 12926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xmlns="" id="{65743851-F3E8-43B7-AA82-5C133C9C6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</p:spTree>
    <p:extLst>
      <p:ext uri="{BB962C8B-B14F-4D97-AF65-F5344CB8AC3E}">
        <p14:creationId xmlns:p14="http://schemas.microsoft.com/office/powerpoint/2010/main" val="255098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" presetClass="entr" presetSubtype="2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9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xmlns="" id="{2C52CDFF-5DEA-48C9-9342-A6B74A77B6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 err="1"/>
              <a:t>Differentiate</a:t>
            </a:r>
            <a:r>
              <a:rPr lang="nl-NL" dirty="0"/>
              <a:t> </a:t>
            </a:r>
            <a:r>
              <a:rPr lang="nl-NL" dirty="0" err="1"/>
              <a:t>offerings</a:t>
            </a:r>
            <a:r>
              <a:rPr lang="nl-NL" dirty="0"/>
              <a:t> </a:t>
            </a:r>
            <a:r>
              <a:rPr lang="nl-NL" dirty="0" err="1"/>
              <a:t>based</a:t>
            </a:r>
            <a:r>
              <a:rPr lang="nl-NL" dirty="0"/>
              <a:t> on </a:t>
            </a:r>
            <a:r>
              <a:rPr lang="nl-NL" dirty="0" err="1"/>
              <a:t>postal</a:t>
            </a:r>
            <a:r>
              <a:rPr lang="nl-NL" dirty="0"/>
              <a:t> code</a:t>
            </a:r>
          </a:p>
        </p:txBody>
      </p:sp>
      <p:grpSp>
        <p:nvGrpSpPr>
          <p:cNvPr id="40" name="Group 4">
            <a:extLst>
              <a:ext uri="{FF2B5EF4-FFF2-40B4-BE49-F238E27FC236}">
                <a16:creationId xmlns:a16="http://schemas.microsoft.com/office/drawing/2014/main" xmlns="" id="{52451224-6CF6-4EEB-BC9B-3800FBAF24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91038" y="-633413"/>
            <a:ext cx="7512050" cy="8923338"/>
            <a:chOff x="2853" y="-399"/>
            <a:chExt cx="4732" cy="5621"/>
          </a:xfrm>
          <a:solidFill>
            <a:schemeClr val="bg1">
              <a:alpha val="85000"/>
            </a:schemeClr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xmlns="" id="{3627EBA4-5490-4FF8-9C23-3A09D9499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0" y="326"/>
              <a:ext cx="1158" cy="1207"/>
            </a:xfrm>
            <a:custGeom>
              <a:avLst/>
              <a:gdLst>
                <a:gd name="T0" fmla="*/ 350 w 1158"/>
                <a:gd name="T1" fmla="*/ 54 h 1207"/>
                <a:gd name="T2" fmla="*/ 307 w 1158"/>
                <a:gd name="T3" fmla="*/ 117 h 1207"/>
                <a:gd name="T4" fmla="*/ 287 w 1158"/>
                <a:gd name="T5" fmla="*/ 164 h 1207"/>
                <a:gd name="T6" fmla="*/ 257 w 1158"/>
                <a:gd name="T7" fmla="*/ 234 h 1207"/>
                <a:gd name="T8" fmla="*/ 220 w 1158"/>
                <a:gd name="T9" fmla="*/ 258 h 1207"/>
                <a:gd name="T10" fmla="*/ 277 w 1158"/>
                <a:gd name="T11" fmla="*/ 288 h 1207"/>
                <a:gd name="T12" fmla="*/ 283 w 1158"/>
                <a:gd name="T13" fmla="*/ 318 h 1207"/>
                <a:gd name="T14" fmla="*/ 360 w 1158"/>
                <a:gd name="T15" fmla="*/ 451 h 1207"/>
                <a:gd name="T16" fmla="*/ 370 w 1158"/>
                <a:gd name="T17" fmla="*/ 501 h 1207"/>
                <a:gd name="T18" fmla="*/ 270 w 1158"/>
                <a:gd name="T19" fmla="*/ 605 h 1207"/>
                <a:gd name="T20" fmla="*/ 170 w 1158"/>
                <a:gd name="T21" fmla="*/ 572 h 1207"/>
                <a:gd name="T22" fmla="*/ 106 w 1158"/>
                <a:gd name="T23" fmla="*/ 635 h 1207"/>
                <a:gd name="T24" fmla="*/ 73 w 1158"/>
                <a:gd name="T25" fmla="*/ 799 h 1207"/>
                <a:gd name="T26" fmla="*/ 90 w 1158"/>
                <a:gd name="T27" fmla="*/ 849 h 1207"/>
                <a:gd name="T28" fmla="*/ 3 w 1158"/>
                <a:gd name="T29" fmla="*/ 929 h 1207"/>
                <a:gd name="T30" fmla="*/ 60 w 1158"/>
                <a:gd name="T31" fmla="*/ 1060 h 1207"/>
                <a:gd name="T32" fmla="*/ 76 w 1158"/>
                <a:gd name="T33" fmla="*/ 1073 h 1207"/>
                <a:gd name="T34" fmla="*/ 103 w 1158"/>
                <a:gd name="T35" fmla="*/ 1060 h 1207"/>
                <a:gd name="T36" fmla="*/ 167 w 1158"/>
                <a:gd name="T37" fmla="*/ 1090 h 1207"/>
                <a:gd name="T38" fmla="*/ 240 w 1158"/>
                <a:gd name="T39" fmla="*/ 1093 h 1207"/>
                <a:gd name="T40" fmla="*/ 290 w 1158"/>
                <a:gd name="T41" fmla="*/ 1146 h 1207"/>
                <a:gd name="T42" fmla="*/ 314 w 1158"/>
                <a:gd name="T43" fmla="*/ 1190 h 1207"/>
                <a:gd name="T44" fmla="*/ 354 w 1158"/>
                <a:gd name="T45" fmla="*/ 1183 h 1207"/>
                <a:gd name="T46" fmla="*/ 374 w 1158"/>
                <a:gd name="T47" fmla="*/ 1173 h 1207"/>
                <a:gd name="T48" fmla="*/ 387 w 1158"/>
                <a:gd name="T49" fmla="*/ 1190 h 1207"/>
                <a:gd name="T50" fmla="*/ 410 w 1158"/>
                <a:gd name="T51" fmla="*/ 1187 h 1207"/>
                <a:gd name="T52" fmla="*/ 434 w 1158"/>
                <a:gd name="T53" fmla="*/ 1183 h 1207"/>
                <a:gd name="T54" fmla="*/ 484 w 1158"/>
                <a:gd name="T55" fmla="*/ 1136 h 1207"/>
                <a:gd name="T56" fmla="*/ 594 w 1158"/>
                <a:gd name="T57" fmla="*/ 1083 h 1207"/>
                <a:gd name="T58" fmla="*/ 704 w 1158"/>
                <a:gd name="T59" fmla="*/ 1130 h 1207"/>
                <a:gd name="T60" fmla="*/ 711 w 1158"/>
                <a:gd name="T61" fmla="*/ 1166 h 1207"/>
                <a:gd name="T62" fmla="*/ 748 w 1158"/>
                <a:gd name="T63" fmla="*/ 1160 h 1207"/>
                <a:gd name="T64" fmla="*/ 971 w 1158"/>
                <a:gd name="T65" fmla="*/ 1163 h 1207"/>
                <a:gd name="T66" fmla="*/ 1095 w 1158"/>
                <a:gd name="T67" fmla="*/ 1177 h 1207"/>
                <a:gd name="T68" fmla="*/ 1135 w 1158"/>
                <a:gd name="T69" fmla="*/ 842 h 1207"/>
                <a:gd name="T70" fmla="*/ 1152 w 1158"/>
                <a:gd name="T71" fmla="*/ 729 h 1207"/>
                <a:gd name="T72" fmla="*/ 1092 w 1158"/>
                <a:gd name="T73" fmla="*/ 682 h 1207"/>
                <a:gd name="T74" fmla="*/ 1118 w 1158"/>
                <a:gd name="T75" fmla="*/ 598 h 1207"/>
                <a:gd name="T76" fmla="*/ 991 w 1158"/>
                <a:gd name="T77" fmla="*/ 441 h 1207"/>
                <a:gd name="T78" fmla="*/ 878 w 1158"/>
                <a:gd name="T79" fmla="*/ 324 h 1207"/>
                <a:gd name="T80" fmla="*/ 751 w 1158"/>
                <a:gd name="T81" fmla="*/ 191 h 1207"/>
                <a:gd name="T82" fmla="*/ 701 w 1158"/>
                <a:gd name="T83" fmla="*/ 174 h 1207"/>
                <a:gd name="T84" fmla="*/ 617 w 1158"/>
                <a:gd name="T85" fmla="*/ 201 h 1207"/>
                <a:gd name="T86" fmla="*/ 557 w 1158"/>
                <a:gd name="T87" fmla="*/ 107 h 1207"/>
                <a:gd name="T88" fmla="*/ 534 w 1158"/>
                <a:gd name="T89" fmla="*/ 90 h 1207"/>
                <a:gd name="T90" fmla="*/ 480 w 1158"/>
                <a:gd name="T91" fmla="*/ 30 h 1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58" h="1207">
                  <a:moveTo>
                    <a:pt x="417" y="0"/>
                  </a:moveTo>
                  <a:lnTo>
                    <a:pt x="374" y="40"/>
                  </a:lnTo>
                  <a:lnTo>
                    <a:pt x="350" y="54"/>
                  </a:lnTo>
                  <a:lnTo>
                    <a:pt x="334" y="70"/>
                  </a:lnTo>
                  <a:lnTo>
                    <a:pt x="317" y="97"/>
                  </a:lnTo>
                  <a:lnTo>
                    <a:pt x="307" y="117"/>
                  </a:lnTo>
                  <a:lnTo>
                    <a:pt x="307" y="121"/>
                  </a:lnTo>
                  <a:lnTo>
                    <a:pt x="303" y="131"/>
                  </a:lnTo>
                  <a:lnTo>
                    <a:pt x="287" y="164"/>
                  </a:lnTo>
                  <a:lnTo>
                    <a:pt x="283" y="177"/>
                  </a:lnTo>
                  <a:lnTo>
                    <a:pt x="277" y="197"/>
                  </a:lnTo>
                  <a:lnTo>
                    <a:pt x="257" y="234"/>
                  </a:lnTo>
                  <a:lnTo>
                    <a:pt x="247" y="237"/>
                  </a:lnTo>
                  <a:lnTo>
                    <a:pt x="223" y="231"/>
                  </a:lnTo>
                  <a:lnTo>
                    <a:pt x="220" y="258"/>
                  </a:lnTo>
                  <a:lnTo>
                    <a:pt x="223" y="261"/>
                  </a:lnTo>
                  <a:lnTo>
                    <a:pt x="243" y="274"/>
                  </a:lnTo>
                  <a:lnTo>
                    <a:pt x="277" y="288"/>
                  </a:lnTo>
                  <a:lnTo>
                    <a:pt x="280" y="294"/>
                  </a:lnTo>
                  <a:lnTo>
                    <a:pt x="283" y="308"/>
                  </a:lnTo>
                  <a:lnTo>
                    <a:pt x="283" y="318"/>
                  </a:lnTo>
                  <a:lnTo>
                    <a:pt x="290" y="338"/>
                  </a:lnTo>
                  <a:lnTo>
                    <a:pt x="293" y="361"/>
                  </a:lnTo>
                  <a:lnTo>
                    <a:pt x="360" y="451"/>
                  </a:lnTo>
                  <a:lnTo>
                    <a:pt x="377" y="481"/>
                  </a:lnTo>
                  <a:lnTo>
                    <a:pt x="374" y="491"/>
                  </a:lnTo>
                  <a:lnTo>
                    <a:pt x="370" y="501"/>
                  </a:lnTo>
                  <a:lnTo>
                    <a:pt x="337" y="558"/>
                  </a:lnTo>
                  <a:lnTo>
                    <a:pt x="330" y="565"/>
                  </a:lnTo>
                  <a:lnTo>
                    <a:pt x="270" y="605"/>
                  </a:lnTo>
                  <a:lnTo>
                    <a:pt x="230" y="578"/>
                  </a:lnTo>
                  <a:lnTo>
                    <a:pt x="200" y="572"/>
                  </a:lnTo>
                  <a:lnTo>
                    <a:pt x="170" y="572"/>
                  </a:lnTo>
                  <a:lnTo>
                    <a:pt x="157" y="582"/>
                  </a:lnTo>
                  <a:lnTo>
                    <a:pt x="147" y="588"/>
                  </a:lnTo>
                  <a:lnTo>
                    <a:pt x="106" y="635"/>
                  </a:lnTo>
                  <a:lnTo>
                    <a:pt x="0" y="715"/>
                  </a:lnTo>
                  <a:lnTo>
                    <a:pt x="63" y="792"/>
                  </a:lnTo>
                  <a:lnTo>
                    <a:pt x="73" y="799"/>
                  </a:lnTo>
                  <a:lnTo>
                    <a:pt x="86" y="816"/>
                  </a:lnTo>
                  <a:lnTo>
                    <a:pt x="96" y="832"/>
                  </a:lnTo>
                  <a:lnTo>
                    <a:pt x="90" y="849"/>
                  </a:lnTo>
                  <a:lnTo>
                    <a:pt x="46" y="892"/>
                  </a:lnTo>
                  <a:lnTo>
                    <a:pt x="13" y="909"/>
                  </a:lnTo>
                  <a:lnTo>
                    <a:pt x="3" y="929"/>
                  </a:lnTo>
                  <a:lnTo>
                    <a:pt x="46" y="1043"/>
                  </a:lnTo>
                  <a:lnTo>
                    <a:pt x="50" y="1046"/>
                  </a:lnTo>
                  <a:lnTo>
                    <a:pt x="60" y="1060"/>
                  </a:lnTo>
                  <a:lnTo>
                    <a:pt x="63" y="1066"/>
                  </a:lnTo>
                  <a:lnTo>
                    <a:pt x="66" y="1070"/>
                  </a:lnTo>
                  <a:lnTo>
                    <a:pt x="76" y="1073"/>
                  </a:lnTo>
                  <a:lnTo>
                    <a:pt x="83" y="1070"/>
                  </a:lnTo>
                  <a:lnTo>
                    <a:pt x="93" y="1066"/>
                  </a:lnTo>
                  <a:lnTo>
                    <a:pt x="103" y="1060"/>
                  </a:lnTo>
                  <a:lnTo>
                    <a:pt x="110" y="1056"/>
                  </a:lnTo>
                  <a:lnTo>
                    <a:pt x="130" y="1063"/>
                  </a:lnTo>
                  <a:lnTo>
                    <a:pt x="167" y="1090"/>
                  </a:lnTo>
                  <a:lnTo>
                    <a:pt x="177" y="1093"/>
                  </a:lnTo>
                  <a:lnTo>
                    <a:pt x="237" y="1093"/>
                  </a:lnTo>
                  <a:lnTo>
                    <a:pt x="240" y="1093"/>
                  </a:lnTo>
                  <a:lnTo>
                    <a:pt x="250" y="1110"/>
                  </a:lnTo>
                  <a:lnTo>
                    <a:pt x="270" y="1123"/>
                  </a:lnTo>
                  <a:lnTo>
                    <a:pt x="290" y="1146"/>
                  </a:lnTo>
                  <a:lnTo>
                    <a:pt x="300" y="1160"/>
                  </a:lnTo>
                  <a:lnTo>
                    <a:pt x="310" y="1187"/>
                  </a:lnTo>
                  <a:lnTo>
                    <a:pt x="314" y="1190"/>
                  </a:lnTo>
                  <a:lnTo>
                    <a:pt x="317" y="1193"/>
                  </a:lnTo>
                  <a:lnTo>
                    <a:pt x="327" y="1193"/>
                  </a:lnTo>
                  <a:lnTo>
                    <a:pt x="354" y="1183"/>
                  </a:lnTo>
                  <a:lnTo>
                    <a:pt x="364" y="1180"/>
                  </a:lnTo>
                  <a:lnTo>
                    <a:pt x="370" y="1173"/>
                  </a:lnTo>
                  <a:lnTo>
                    <a:pt x="374" y="1173"/>
                  </a:lnTo>
                  <a:lnTo>
                    <a:pt x="377" y="1177"/>
                  </a:lnTo>
                  <a:lnTo>
                    <a:pt x="380" y="1187"/>
                  </a:lnTo>
                  <a:lnTo>
                    <a:pt x="387" y="1190"/>
                  </a:lnTo>
                  <a:lnTo>
                    <a:pt x="394" y="1193"/>
                  </a:lnTo>
                  <a:lnTo>
                    <a:pt x="400" y="1193"/>
                  </a:lnTo>
                  <a:lnTo>
                    <a:pt x="410" y="1187"/>
                  </a:lnTo>
                  <a:lnTo>
                    <a:pt x="417" y="1180"/>
                  </a:lnTo>
                  <a:lnTo>
                    <a:pt x="424" y="1180"/>
                  </a:lnTo>
                  <a:lnTo>
                    <a:pt x="434" y="1183"/>
                  </a:lnTo>
                  <a:lnTo>
                    <a:pt x="484" y="1207"/>
                  </a:lnTo>
                  <a:lnTo>
                    <a:pt x="480" y="1146"/>
                  </a:lnTo>
                  <a:lnTo>
                    <a:pt x="484" y="1136"/>
                  </a:lnTo>
                  <a:lnTo>
                    <a:pt x="497" y="1123"/>
                  </a:lnTo>
                  <a:lnTo>
                    <a:pt x="557" y="1090"/>
                  </a:lnTo>
                  <a:lnTo>
                    <a:pt x="594" y="1083"/>
                  </a:lnTo>
                  <a:lnTo>
                    <a:pt x="611" y="1083"/>
                  </a:lnTo>
                  <a:lnTo>
                    <a:pt x="698" y="1126"/>
                  </a:lnTo>
                  <a:lnTo>
                    <a:pt x="704" y="1130"/>
                  </a:lnTo>
                  <a:lnTo>
                    <a:pt x="711" y="1136"/>
                  </a:lnTo>
                  <a:lnTo>
                    <a:pt x="708" y="1150"/>
                  </a:lnTo>
                  <a:lnTo>
                    <a:pt x="711" y="1166"/>
                  </a:lnTo>
                  <a:lnTo>
                    <a:pt x="724" y="1177"/>
                  </a:lnTo>
                  <a:lnTo>
                    <a:pt x="724" y="1177"/>
                  </a:lnTo>
                  <a:lnTo>
                    <a:pt x="748" y="1160"/>
                  </a:lnTo>
                  <a:lnTo>
                    <a:pt x="788" y="1146"/>
                  </a:lnTo>
                  <a:lnTo>
                    <a:pt x="905" y="1146"/>
                  </a:lnTo>
                  <a:lnTo>
                    <a:pt x="971" y="1163"/>
                  </a:lnTo>
                  <a:lnTo>
                    <a:pt x="1032" y="1156"/>
                  </a:lnTo>
                  <a:lnTo>
                    <a:pt x="1048" y="1163"/>
                  </a:lnTo>
                  <a:lnTo>
                    <a:pt x="1095" y="1177"/>
                  </a:lnTo>
                  <a:lnTo>
                    <a:pt x="1115" y="1133"/>
                  </a:lnTo>
                  <a:lnTo>
                    <a:pt x="1125" y="1063"/>
                  </a:lnTo>
                  <a:lnTo>
                    <a:pt x="1135" y="842"/>
                  </a:lnTo>
                  <a:lnTo>
                    <a:pt x="1148" y="775"/>
                  </a:lnTo>
                  <a:lnTo>
                    <a:pt x="1158" y="742"/>
                  </a:lnTo>
                  <a:lnTo>
                    <a:pt x="1152" y="729"/>
                  </a:lnTo>
                  <a:lnTo>
                    <a:pt x="1132" y="702"/>
                  </a:lnTo>
                  <a:lnTo>
                    <a:pt x="1118" y="692"/>
                  </a:lnTo>
                  <a:lnTo>
                    <a:pt x="1092" y="682"/>
                  </a:lnTo>
                  <a:lnTo>
                    <a:pt x="1118" y="615"/>
                  </a:lnTo>
                  <a:lnTo>
                    <a:pt x="1118" y="605"/>
                  </a:lnTo>
                  <a:lnTo>
                    <a:pt x="1118" y="598"/>
                  </a:lnTo>
                  <a:lnTo>
                    <a:pt x="1108" y="595"/>
                  </a:lnTo>
                  <a:lnTo>
                    <a:pt x="1048" y="522"/>
                  </a:lnTo>
                  <a:lnTo>
                    <a:pt x="991" y="441"/>
                  </a:lnTo>
                  <a:lnTo>
                    <a:pt x="945" y="391"/>
                  </a:lnTo>
                  <a:lnTo>
                    <a:pt x="901" y="348"/>
                  </a:lnTo>
                  <a:lnTo>
                    <a:pt x="878" y="324"/>
                  </a:lnTo>
                  <a:lnTo>
                    <a:pt x="848" y="298"/>
                  </a:lnTo>
                  <a:lnTo>
                    <a:pt x="794" y="237"/>
                  </a:lnTo>
                  <a:lnTo>
                    <a:pt x="751" y="191"/>
                  </a:lnTo>
                  <a:lnTo>
                    <a:pt x="744" y="184"/>
                  </a:lnTo>
                  <a:lnTo>
                    <a:pt x="734" y="177"/>
                  </a:lnTo>
                  <a:lnTo>
                    <a:pt x="701" y="174"/>
                  </a:lnTo>
                  <a:lnTo>
                    <a:pt x="624" y="201"/>
                  </a:lnTo>
                  <a:lnTo>
                    <a:pt x="617" y="204"/>
                  </a:lnTo>
                  <a:lnTo>
                    <a:pt x="617" y="201"/>
                  </a:lnTo>
                  <a:lnTo>
                    <a:pt x="614" y="197"/>
                  </a:lnTo>
                  <a:lnTo>
                    <a:pt x="601" y="164"/>
                  </a:lnTo>
                  <a:lnTo>
                    <a:pt x="557" y="107"/>
                  </a:lnTo>
                  <a:lnTo>
                    <a:pt x="547" y="97"/>
                  </a:lnTo>
                  <a:lnTo>
                    <a:pt x="541" y="94"/>
                  </a:lnTo>
                  <a:lnTo>
                    <a:pt x="534" y="90"/>
                  </a:lnTo>
                  <a:lnTo>
                    <a:pt x="514" y="57"/>
                  </a:lnTo>
                  <a:lnTo>
                    <a:pt x="494" y="27"/>
                  </a:lnTo>
                  <a:lnTo>
                    <a:pt x="480" y="30"/>
                  </a:lnTo>
                  <a:lnTo>
                    <a:pt x="457" y="20"/>
                  </a:lnTo>
                  <a:lnTo>
                    <a:pt x="417" y="0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xmlns="" id="{C75A0AA7-328F-4FCC-8932-1E3CB0CDC8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97" y="-335"/>
              <a:ext cx="1947" cy="1480"/>
            </a:xfrm>
            <a:custGeom>
              <a:avLst/>
              <a:gdLst>
                <a:gd name="T0" fmla="*/ 492 w 583"/>
                <a:gd name="T1" fmla="*/ 13 h 443"/>
                <a:gd name="T2" fmla="*/ 501 w 583"/>
                <a:gd name="T3" fmla="*/ 30 h 443"/>
                <a:gd name="T4" fmla="*/ 569 w 583"/>
                <a:gd name="T5" fmla="*/ 0 h 443"/>
                <a:gd name="T6" fmla="*/ 287 w 583"/>
                <a:gd name="T7" fmla="*/ 38 h 443"/>
                <a:gd name="T8" fmla="*/ 323 w 583"/>
                <a:gd name="T9" fmla="*/ 51 h 443"/>
                <a:gd name="T10" fmla="*/ 412 w 583"/>
                <a:gd name="T11" fmla="*/ 33 h 443"/>
                <a:gd name="T12" fmla="*/ 206 w 583"/>
                <a:gd name="T13" fmla="*/ 64 h 443"/>
                <a:gd name="T14" fmla="*/ 122 w 583"/>
                <a:gd name="T15" fmla="*/ 87 h 443"/>
                <a:gd name="T16" fmla="*/ 183 w 583"/>
                <a:gd name="T17" fmla="*/ 85 h 443"/>
                <a:gd name="T18" fmla="*/ 233 w 583"/>
                <a:gd name="T19" fmla="*/ 70 h 443"/>
                <a:gd name="T20" fmla="*/ 252 w 583"/>
                <a:gd name="T21" fmla="*/ 61 h 443"/>
                <a:gd name="T22" fmla="*/ 452 w 583"/>
                <a:gd name="T23" fmla="*/ 73 h 443"/>
                <a:gd name="T24" fmla="*/ 370 w 583"/>
                <a:gd name="T25" fmla="*/ 97 h 443"/>
                <a:gd name="T26" fmla="*/ 274 w 583"/>
                <a:gd name="T27" fmla="*/ 138 h 443"/>
                <a:gd name="T28" fmla="*/ 241 w 583"/>
                <a:gd name="T29" fmla="*/ 166 h 443"/>
                <a:gd name="T30" fmla="*/ 203 w 583"/>
                <a:gd name="T31" fmla="*/ 249 h 443"/>
                <a:gd name="T32" fmla="*/ 164 w 583"/>
                <a:gd name="T33" fmla="*/ 278 h 443"/>
                <a:gd name="T34" fmla="*/ 123 w 583"/>
                <a:gd name="T35" fmla="*/ 323 h 443"/>
                <a:gd name="T36" fmla="*/ 197 w 583"/>
                <a:gd name="T37" fmla="*/ 289 h 443"/>
                <a:gd name="T38" fmla="*/ 208 w 583"/>
                <a:gd name="T39" fmla="*/ 311 h 443"/>
                <a:gd name="T40" fmla="*/ 210 w 583"/>
                <a:gd name="T41" fmla="*/ 343 h 443"/>
                <a:gd name="T42" fmla="*/ 204 w 583"/>
                <a:gd name="T43" fmla="*/ 374 h 443"/>
                <a:gd name="T44" fmla="*/ 190 w 583"/>
                <a:gd name="T45" fmla="*/ 387 h 443"/>
                <a:gd name="T46" fmla="*/ 197 w 583"/>
                <a:gd name="T47" fmla="*/ 401 h 443"/>
                <a:gd name="T48" fmla="*/ 242 w 583"/>
                <a:gd name="T49" fmla="*/ 414 h 443"/>
                <a:gd name="T50" fmla="*/ 267 w 583"/>
                <a:gd name="T51" fmla="*/ 422 h 443"/>
                <a:gd name="T52" fmla="*/ 290 w 583"/>
                <a:gd name="T53" fmla="*/ 412 h 443"/>
                <a:gd name="T54" fmla="*/ 321 w 583"/>
                <a:gd name="T55" fmla="*/ 422 h 443"/>
                <a:gd name="T56" fmla="*/ 363 w 583"/>
                <a:gd name="T57" fmla="*/ 440 h 443"/>
                <a:gd name="T58" fmla="*/ 379 w 583"/>
                <a:gd name="T59" fmla="*/ 441 h 443"/>
                <a:gd name="T60" fmla="*/ 395 w 583"/>
                <a:gd name="T61" fmla="*/ 428 h 443"/>
                <a:gd name="T62" fmla="*/ 407 w 583"/>
                <a:gd name="T63" fmla="*/ 422 h 443"/>
                <a:gd name="T64" fmla="*/ 412 w 583"/>
                <a:gd name="T65" fmla="*/ 421 h 443"/>
                <a:gd name="T66" fmla="*/ 436 w 583"/>
                <a:gd name="T67" fmla="*/ 432 h 443"/>
                <a:gd name="T68" fmla="*/ 442 w 583"/>
                <a:gd name="T69" fmla="*/ 422 h 443"/>
                <a:gd name="T70" fmla="*/ 471 w 583"/>
                <a:gd name="T71" fmla="*/ 413 h 443"/>
                <a:gd name="T72" fmla="*/ 521 w 583"/>
                <a:gd name="T73" fmla="*/ 369 h 443"/>
                <a:gd name="T74" fmla="*/ 569 w 583"/>
                <a:gd name="T75" fmla="*/ 367 h 443"/>
                <a:gd name="T76" fmla="*/ 583 w 583"/>
                <a:gd name="T77" fmla="*/ 342 h 443"/>
                <a:gd name="T78" fmla="*/ 556 w 583"/>
                <a:gd name="T79" fmla="*/ 293 h 443"/>
                <a:gd name="T80" fmla="*/ 544 w 583"/>
                <a:gd name="T81" fmla="*/ 280 h 443"/>
                <a:gd name="T82" fmla="*/ 535 w 583"/>
                <a:gd name="T83" fmla="*/ 265 h 443"/>
                <a:gd name="T84" fmla="*/ 496 w 583"/>
                <a:gd name="T85" fmla="*/ 252 h 443"/>
                <a:gd name="T86" fmla="*/ 489 w 583"/>
                <a:gd name="T87" fmla="*/ 217 h 443"/>
                <a:gd name="T88" fmla="*/ 507 w 583"/>
                <a:gd name="T89" fmla="*/ 187 h 443"/>
                <a:gd name="T90" fmla="*/ 505 w 583"/>
                <a:gd name="T91" fmla="*/ 179 h 443"/>
                <a:gd name="T92" fmla="*/ 516 w 583"/>
                <a:gd name="T93" fmla="*/ 150 h 443"/>
                <a:gd name="T94" fmla="*/ 529 w 583"/>
                <a:gd name="T95" fmla="*/ 134 h 443"/>
                <a:gd name="T96" fmla="*/ 525 w 583"/>
                <a:gd name="T97" fmla="*/ 131 h 443"/>
                <a:gd name="T98" fmla="*/ 524 w 583"/>
                <a:gd name="T99" fmla="*/ 112 h 443"/>
                <a:gd name="T100" fmla="*/ 513 w 583"/>
                <a:gd name="T101" fmla="*/ 112 h 443"/>
                <a:gd name="T102" fmla="*/ 509 w 583"/>
                <a:gd name="T103" fmla="*/ 111 h 443"/>
                <a:gd name="T104" fmla="*/ 502 w 583"/>
                <a:gd name="T105" fmla="*/ 104 h 443"/>
                <a:gd name="T106" fmla="*/ 488 w 583"/>
                <a:gd name="T107" fmla="*/ 79 h 443"/>
                <a:gd name="T108" fmla="*/ 27 w 583"/>
                <a:gd name="T109" fmla="*/ 168 h 443"/>
                <a:gd name="T110" fmla="*/ 40 w 583"/>
                <a:gd name="T111" fmla="*/ 173 h 443"/>
                <a:gd name="T112" fmla="*/ 94 w 583"/>
                <a:gd name="T113" fmla="*/ 138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83" h="443">
                  <a:moveTo>
                    <a:pt x="569" y="0"/>
                  </a:moveTo>
                  <a:cubicBezTo>
                    <a:pt x="538" y="8"/>
                    <a:pt x="538" y="8"/>
                    <a:pt x="538" y="8"/>
                  </a:cubicBezTo>
                  <a:cubicBezTo>
                    <a:pt x="502" y="11"/>
                    <a:pt x="502" y="11"/>
                    <a:pt x="502" y="11"/>
                  </a:cubicBezTo>
                  <a:cubicBezTo>
                    <a:pt x="492" y="13"/>
                    <a:pt x="492" y="13"/>
                    <a:pt x="492" y="13"/>
                  </a:cubicBezTo>
                  <a:cubicBezTo>
                    <a:pt x="478" y="19"/>
                    <a:pt x="478" y="19"/>
                    <a:pt x="478" y="19"/>
                  </a:cubicBezTo>
                  <a:cubicBezTo>
                    <a:pt x="475" y="28"/>
                    <a:pt x="475" y="28"/>
                    <a:pt x="475" y="28"/>
                  </a:cubicBezTo>
                  <a:cubicBezTo>
                    <a:pt x="483" y="32"/>
                    <a:pt x="483" y="32"/>
                    <a:pt x="483" y="32"/>
                  </a:cubicBezTo>
                  <a:cubicBezTo>
                    <a:pt x="501" y="30"/>
                    <a:pt x="501" y="30"/>
                    <a:pt x="501" y="30"/>
                  </a:cubicBezTo>
                  <a:cubicBezTo>
                    <a:pt x="521" y="29"/>
                    <a:pt x="521" y="29"/>
                    <a:pt x="521" y="29"/>
                  </a:cubicBezTo>
                  <a:cubicBezTo>
                    <a:pt x="543" y="15"/>
                    <a:pt x="543" y="15"/>
                    <a:pt x="543" y="15"/>
                  </a:cubicBezTo>
                  <a:cubicBezTo>
                    <a:pt x="568" y="12"/>
                    <a:pt x="568" y="12"/>
                    <a:pt x="568" y="12"/>
                  </a:cubicBezTo>
                  <a:lnTo>
                    <a:pt x="569" y="0"/>
                  </a:lnTo>
                  <a:close/>
                  <a:moveTo>
                    <a:pt x="412" y="33"/>
                  </a:moveTo>
                  <a:cubicBezTo>
                    <a:pt x="304" y="36"/>
                    <a:pt x="304" y="36"/>
                    <a:pt x="304" y="36"/>
                  </a:cubicBezTo>
                  <a:cubicBezTo>
                    <a:pt x="298" y="34"/>
                    <a:pt x="298" y="34"/>
                    <a:pt x="298" y="34"/>
                  </a:cubicBezTo>
                  <a:cubicBezTo>
                    <a:pt x="287" y="38"/>
                    <a:pt x="287" y="38"/>
                    <a:pt x="287" y="38"/>
                  </a:cubicBezTo>
                  <a:cubicBezTo>
                    <a:pt x="284" y="48"/>
                    <a:pt x="284" y="48"/>
                    <a:pt x="284" y="48"/>
                  </a:cubicBezTo>
                  <a:cubicBezTo>
                    <a:pt x="287" y="51"/>
                    <a:pt x="288" y="56"/>
                    <a:pt x="296" y="57"/>
                  </a:cubicBezTo>
                  <a:cubicBezTo>
                    <a:pt x="306" y="59"/>
                    <a:pt x="306" y="59"/>
                    <a:pt x="306" y="59"/>
                  </a:cubicBezTo>
                  <a:cubicBezTo>
                    <a:pt x="323" y="51"/>
                    <a:pt x="323" y="51"/>
                    <a:pt x="323" y="51"/>
                  </a:cubicBezTo>
                  <a:cubicBezTo>
                    <a:pt x="333" y="49"/>
                    <a:pt x="333" y="49"/>
                    <a:pt x="333" y="49"/>
                  </a:cubicBezTo>
                  <a:cubicBezTo>
                    <a:pt x="371" y="49"/>
                    <a:pt x="371" y="49"/>
                    <a:pt x="371" y="49"/>
                  </a:cubicBezTo>
                  <a:cubicBezTo>
                    <a:pt x="407" y="40"/>
                    <a:pt x="407" y="40"/>
                    <a:pt x="407" y="40"/>
                  </a:cubicBezTo>
                  <a:lnTo>
                    <a:pt x="412" y="33"/>
                  </a:lnTo>
                  <a:close/>
                  <a:moveTo>
                    <a:pt x="271" y="45"/>
                  </a:moveTo>
                  <a:cubicBezTo>
                    <a:pt x="217" y="56"/>
                    <a:pt x="217" y="56"/>
                    <a:pt x="217" y="56"/>
                  </a:cubicBezTo>
                  <a:cubicBezTo>
                    <a:pt x="212" y="59"/>
                    <a:pt x="212" y="59"/>
                    <a:pt x="212" y="59"/>
                  </a:cubicBezTo>
                  <a:cubicBezTo>
                    <a:pt x="206" y="64"/>
                    <a:pt x="206" y="64"/>
                    <a:pt x="206" y="64"/>
                  </a:cubicBezTo>
                  <a:cubicBezTo>
                    <a:pt x="156" y="74"/>
                    <a:pt x="156" y="74"/>
                    <a:pt x="156" y="74"/>
                  </a:cubicBezTo>
                  <a:cubicBezTo>
                    <a:pt x="148" y="74"/>
                    <a:pt x="148" y="74"/>
                    <a:pt x="148" y="74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22" y="87"/>
                    <a:pt x="122" y="87"/>
                    <a:pt x="122" y="87"/>
                  </a:cubicBezTo>
                  <a:cubicBezTo>
                    <a:pt x="117" y="98"/>
                    <a:pt x="117" y="98"/>
                    <a:pt x="117" y="98"/>
                  </a:cubicBezTo>
                  <a:cubicBezTo>
                    <a:pt x="122" y="107"/>
                    <a:pt x="122" y="107"/>
                    <a:pt x="122" y="107"/>
                  </a:cubicBezTo>
                  <a:cubicBezTo>
                    <a:pt x="132" y="107"/>
                    <a:pt x="132" y="107"/>
                    <a:pt x="132" y="107"/>
                  </a:cubicBezTo>
                  <a:cubicBezTo>
                    <a:pt x="183" y="85"/>
                    <a:pt x="183" y="85"/>
                    <a:pt x="183" y="85"/>
                  </a:cubicBezTo>
                  <a:cubicBezTo>
                    <a:pt x="197" y="81"/>
                    <a:pt x="197" y="81"/>
                    <a:pt x="197" y="81"/>
                  </a:cubicBezTo>
                  <a:cubicBezTo>
                    <a:pt x="213" y="74"/>
                    <a:pt x="213" y="74"/>
                    <a:pt x="213" y="74"/>
                  </a:cubicBezTo>
                  <a:cubicBezTo>
                    <a:pt x="228" y="73"/>
                    <a:pt x="228" y="73"/>
                    <a:pt x="228" y="73"/>
                  </a:cubicBezTo>
                  <a:cubicBezTo>
                    <a:pt x="233" y="70"/>
                    <a:pt x="233" y="70"/>
                    <a:pt x="233" y="70"/>
                  </a:cubicBezTo>
                  <a:cubicBezTo>
                    <a:pt x="232" y="68"/>
                    <a:pt x="232" y="68"/>
                    <a:pt x="232" y="68"/>
                  </a:cubicBezTo>
                  <a:cubicBezTo>
                    <a:pt x="231" y="64"/>
                    <a:pt x="231" y="64"/>
                    <a:pt x="231" y="64"/>
                  </a:cubicBezTo>
                  <a:cubicBezTo>
                    <a:pt x="231" y="61"/>
                    <a:pt x="231" y="61"/>
                    <a:pt x="231" y="61"/>
                  </a:cubicBezTo>
                  <a:cubicBezTo>
                    <a:pt x="252" y="61"/>
                    <a:pt x="252" y="61"/>
                    <a:pt x="252" y="61"/>
                  </a:cubicBezTo>
                  <a:cubicBezTo>
                    <a:pt x="263" y="57"/>
                    <a:pt x="263" y="57"/>
                    <a:pt x="263" y="57"/>
                  </a:cubicBezTo>
                  <a:lnTo>
                    <a:pt x="271" y="45"/>
                  </a:lnTo>
                  <a:close/>
                  <a:moveTo>
                    <a:pt x="492" y="71"/>
                  </a:moveTo>
                  <a:cubicBezTo>
                    <a:pt x="452" y="73"/>
                    <a:pt x="452" y="73"/>
                    <a:pt x="452" y="73"/>
                  </a:cubicBezTo>
                  <a:cubicBezTo>
                    <a:pt x="417" y="74"/>
                    <a:pt x="417" y="74"/>
                    <a:pt x="417" y="74"/>
                  </a:cubicBezTo>
                  <a:cubicBezTo>
                    <a:pt x="392" y="87"/>
                    <a:pt x="392" y="87"/>
                    <a:pt x="392" y="87"/>
                  </a:cubicBezTo>
                  <a:cubicBezTo>
                    <a:pt x="384" y="88"/>
                    <a:pt x="384" y="88"/>
                    <a:pt x="384" y="88"/>
                  </a:cubicBezTo>
                  <a:cubicBezTo>
                    <a:pt x="370" y="97"/>
                    <a:pt x="370" y="97"/>
                    <a:pt x="370" y="97"/>
                  </a:cubicBezTo>
                  <a:cubicBezTo>
                    <a:pt x="311" y="121"/>
                    <a:pt x="311" y="121"/>
                    <a:pt x="311" y="121"/>
                  </a:cubicBezTo>
                  <a:cubicBezTo>
                    <a:pt x="299" y="132"/>
                    <a:pt x="299" y="132"/>
                    <a:pt x="299" y="132"/>
                  </a:cubicBezTo>
                  <a:cubicBezTo>
                    <a:pt x="281" y="135"/>
                    <a:pt x="281" y="135"/>
                    <a:pt x="281" y="135"/>
                  </a:cubicBezTo>
                  <a:cubicBezTo>
                    <a:pt x="274" y="138"/>
                    <a:pt x="274" y="138"/>
                    <a:pt x="274" y="138"/>
                  </a:cubicBezTo>
                  <a:cubicBezTo>
                    <a:pt x="267" y="145"/>
                    <a:pt x="267" y="145"/>
                    <a:pt x="267" y="145"/>
                  </a:cubicBezTo>
                  <a:cubicBezTo>
                    <a:pt x="261" y="153"/>
                    <a:pt x="261" y="153"/>
                    <a:pt x="261" y="153"/>
                  </a:cubicBezTo>
                  <a:cubicBezTo>
                    <a:pt x="255" y="160"/>
                    <a:pt x="255" y="160"/>
                    <a:pt x="255" y="160"/>
                  </a:cubicBezTo>
                  <a:cubicBezTo>
                    <a:pt x="241" y="166"/>
                    <a:pt x="241" y="166"/>
                    <a:pt x="241" y="166"/>
                  </a:cubicBezTo>
                  <a:cubicBezTo>
                    <a:pt x="233" y="173"/>
                    <a:pt x="233" y="173"/>
                    <a:pt x="233" y="173"/>
                  </a:cubicBezTo>
                  <a:cubicBezTo>
                    <a:pt x="220" y="188"/>
                    <a:pt x="220" y="188"/>
                    <a:pt x="220" y="188"/>
                  </a:cubicBezTo>
                  <a:cubicBezTo>
                    <a:pt x="213" y="207"/>
                    <a:pt x="213" y="207"/>
                    <a:pt x="213" y="207"/>
                  </a:cubicBezTo>
                  <a:cubicBezTo>
                    <a:pt x="203" y="249"/>
                    <a:pt x="203" y="249"/>
                    <a:pt x="203" y="249"/>
                  </a:cubicBezTo>
                  <a:cubicBezTo>
                    <a:pt x="195" y="264"/>
                    <a:pt x="195" y="264"/>
                    <a:pt x="195" y="264"/>
                  </a:cubicBezTo>
                  <a:cubicBezTo>
                    <a:pt x="188" y="269"/>
                    <a:pt x="188" y="269"/>
                    <a:pt x="188" y="269"/>
                  </a:cubicBezTo>
                  <a:cubicBezTo>
                    <a:pt x="171" y="273"/>
                    <a:pt x="171" y="273"/>
                    <a:pt x="171" y="273"/>
                  </a:cubicBezTo>
                  <a:cubicBezTo>
                    <a:pt x="164" y="278"/>
                    <a:pt x="164" y="278"/>
                    <a:pt x="164" y="278"/>
                  </a:cubicBezTo>
                  <a:cubicBezTo>
                    <a:pt x="159" y="285"/>
                    <a:pt x="159" y="285"/>
                    <a:pt x="159" y="285"/>
                  </a:cubicBezTo>
                  <a:cubicBezTo>
                    <a:pt x="121" y="318"/>
                    <a:pt x="121" y="318"/>
                    <a:pt x="121" y="318"/>
                  </a:cubicBezTo>
                  <a:cubicBezTo>
                    <a:pt x="123" y="321"/>
                    <a:pt x="123" y="321"/>
                    <a:pt x="123" y="321"/>
                  </a:cubicBezTo>
                  <a:cubicBezTo>
                    <a:pt x="123" y="323"/>
                    <a:pt x="123" y="323"/>
                    <a:pt x="123" y="323"/>
                  </a:cubicBezTo>
                  <a:cubicBezTo>
                    <a:pt x="125" y="329"/>
                    <a:pt x="125" y="329"/>
                    <a:pt x="125" y="329"/>
                  </a:cubicBezTo>
                  <a:cubicBezTo>
                    <a:pt x="162" y="296"/>
                    <a:pt x="162" y="296"/>
                    <a:pt x="162" y="296"/>
                  </a:cubicBezTo>
                  <a:cubicBezTo>
                    <a:pt x="193" y="276"/>
                    <a:pt x="193" y="276"/>
                    <a:pt x="193" y="276"/>
                  </a:cubicBezTo>
                  <a:cubicBezTo>
                    <a:pt x="197" y="289"/>
                    <a:pt x="197" y="289"/>
                    <a:pt x="197" y="289"/>
                  </a:cubicBezTo>
                  <a:cubicBezTo>
                    <a:pt x="199" y="295"/>
                    <a:pt x="199" y="295"/>
                    <a:pt x="199" y="295"/>
                  </a:cubicBezTo>
                  <a:cubicBezTo>
                    <a:pt x="203" y="301"/>
                    <a:pt x="203" y="301"/>
                    <a:pt x="203" y="301"/>
                  </a:cubicBezTo>
                  <a:cubicBezTo>
                    <a:pt x="206" y="304"/>
                    <a:pt x="206" y="304"/>
                    <a:pt x="206" y="304"/>
                  </a:cubicBezTo>
                  <a:cubicBezTo>
                    <a:pt x="208" y="311"/>
                    <a:pt x="208" y="311"/>
                    <a:pt x="208" y="311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05" y="326"/>
                    <a:pt x="205" y="326"/>
                    <a:pt x="205" y="326"/>
                  </a:cubicBezTo>
                  <a:cubicBezTo>
                    <a:pt x="209" y="333"/>
                    <a:pt x="209" y="333"/>
                    <a:pt x="209" y="333"/>
                  </a:cubicBezTo>
                  <a:cubicBezTo>
                    <a:pt x="210" y="343"/>
                    <a:pt x="210" y="343"/>
                    <a:pt x="210" y="343"/>
                  </a:cubicBezTo>
                  <a:cubicBezTo>
                    <a:pt x="209" y="353"/>
                    <a:pt x="209" y="353"/>
                    <a:pt x="209" y="353"/>
                  </a:cubicBezTo>
                  <a:cubicBezTo>
                    <a:pt x="203" y="360"/>
                    <a:pt x="203" y="360"/>
                    <a:pt x="203" y="360"/>
                  </a:cubicBezTo>
                  <a:cubicBezTo>
                    <a:pt x="208" y="369"/>
                    <a:pt x="208" y="369"/>
                    <a:pt x="208" y="369"/>
                  </a:cubicBezTo>
                  <a:cubicBezTo>
                    <a:pt x="204" y="374"/>
                    <a:pt x="204" y="374"/>
                    <a:pt x="204" y="374"/>
                  </a:cubicBezTo>
                  <a:cubicBezTo>
                    <a:pt x="199" y="377"/>
                    <a:pt x="199" y="377"/>
                    <a:pt x="199" y="377"/>
                  </a:cubicBezTo>
                  <a:cubicBezTo>
                    <a:pt x="194" y="385"/>
                    <a:pt x="194" y="385"/>
                    <a:pt x="194" y="385"/>
                  </a:cubicBezTo>
                  <a:cubicBezTo>
                    <a:pt x="192" y="385"/>
                    <a:pt x="192" y="385"/>
                    <a:pt x="192" y="385"/>
                  </a:cubicBezTo>
                  <a:cubicBezTo>
                    <a:pt x="190" y="387"/>
                    <a:pt x="190" y="387"/>
                    <a:pt x="190" y="387"/>
                  </a:cubicBezTo>
                  <a:cubicBezTo>
                    <a:pt x="190" y="393"/>
                    <a:pt x="190" y="393"/>
                    <a:pt x="190" y="393"/>
                  </a:cubicBezTo>
                  <a:cubicBezTo>
                    <a:pt x="192" y="397"/>
                    <a:pt x="192" y="397"/>
                    <a:pt x="192" y="397"/>
                  </a:cubicBezTo>
                  <a:cubicBezTo>
                    <a:pt x="194" y="399"/>
                    <a:pt x="194" y="399"/>
                    <a:pt x="194" y="399"/>
                  </a:cubicBezTo>
                  <a:cubicBezTo>
                    <a:pt x="197" y="401"/>
                    <a:pt x="197" y="401"/>
                    <a:pt x="197" y="401"/>
                  </a:cubicBezTo>
                  <a:cubicBezTo>
                    <a:pt x="199" y="403"/>
                    <a:pt x="199" y="403"/>
                    <a:pt x="199" y="403"/>
                  </a:cubicBezTo>
                  <a:cubicBezTo>
                    <a:pt x="207" y="410"/>
                    <a:pt x="207" y="410"/>
                    <a:pt x="207" y="410"/>
                  </a:cubicBezTo>
                  <a:cubicBezTo>
                    <a:pt x="219" y="413"/>
                    <a:pt x="219" y="413"/>
                    <a:pt x="219" y="413"/>
                  </a:cubicBezTo>
                  <a:cubicBezTo>
                    <a:pt x="242" y="414"/>
                    <a:pt x="242" y="414"/>
                    <a:pt x="242" y="414"/>
                  </a:cubicBezTo>
                  <a:cubicBezTo>
                    <a:pt x="247" y="415"/>
                    <a:pt x="247" y="415"/>
                    <a:pt x="247" y="415"/>
                  </a:cubicBezTo>
                  <a:cubicBezTo>
                    <a:pt x="255" y="421"/>
                    <a:pt x="255" y="421"/>
                    <a:pt x="255" y="421"/>
                  </a:cubicBezTo>
                  <a:cubicBezTo>
                    <a:pt x="261" y="422"/>
                    <a:pt x="261" y="422"/>
                    <a:pt x="261" y="422"/>
                  </a:cubicBezTo>
                  <a:cubicBezTo>
                    <a:pt x="267" y="422"/>
                    <a:pt x="267" y="422"/>
                    <a:pt x="267" y="422"/>
                  </a:cubicBezTo>
                  <a:cubicBezTo>
                    <a:pt x="271" y="420"/>
                    <a:pt x="271" y="420"/>
                    <a:pt x="271" y="420"/>
                  </a:cubicBezTo>
                  <a:cubicBezTo>
                    <a:pt x="279" y="414"/>
                    <a:pt x="279" y="414"/>
                    <a:pt x="279" y="414"/>
                  </a:cubicBezTo>
                  <a:cubicBezTo>
                    <a:pt x="285" y="412"/>
                    <a:pt x="285" y="412"/>
                    <a:pt x="285" y="412"/>
                  </a:cubicBezTo>
                  <a:cubicBezTo>
                    <a:pt x="290" y="412"/>
                    <a:pt x="290" y="412"/>
                    <a:pt x="290" y="412"/>
                  </a:cubicBezTo>
                  <a:cubicBezTo>
                    <a:pt x="317" y="419"/>
                    <a:pt x="317" y="419"/>
                    <a:pt x="317" y="419"/>
                  </a:cubicBezTo>
                  <a:cubicBezTo>
                    <a:pt x="321" y="422"/>
                    <a:pt x="321" y="422"/>
                    <a:pt x="321" y="422"/>
                  </a:cubicBezTo>
                  <a:cubicBezTo>
                    <a:pt x="321" y="422"/>
                    <a:pt x="321" y="422"/>
                    <a:pt x="321" y="422"/>
                  </a:cubicBezTo>
                  <a:cubicBezTo>
                    <a:pt x="321" y="422"/>
                    <a:pt x="321" y="422"/>
                    <a:pt x="321" y="422"/>
                  </a:cubicBezTo>
                  <a:cubicBezTo>
                    <a:pt x="322" y="422"/>
                    <a:pt x="322" y="422"/>
                    <a:pt x="322" y="422"/>
                  </a:cubicBezTo>
                  <a:cubicBezTo>
                    <a:pt x="345" y="443"/>
                    <a:pt x="345" y="443"/>
                    <a:pt x="345" y="443"/>
                  </a:cubicBezTo>
                  <a:cubicBezTo>
                    <a:pt x="358" y="436"/>
                    <a:pt x="358" y="436"/>
                    <a:pt x="358" y="436"/>
                  </a:cubicBezTo>
                  <a:cubicBezTo>
                    <a:pt x="363" y="440"/>
                    <a:pt x="363" y="440"/>
                    <a:pt x="363" y="440"/>
                  </a:cubicBezTo>
                  <a:cubicBezTo>
                    <a:pt x="364" y="440"/>
                    <a:pt x="364" y="440"/>
                    <a:pt x="364" y="440"/>
                  </a:cubicBezTo>
                  <a:cubicBezTo>
                    <a:pt x="375" y="442"/>
                    <a:pt x="375" y="442"/>
                    <a:pt x="375" y="442"/>
                  </a:cubicBezTo>
                  <a:cubicBezTo>
                    <a:pt x="377" y="442"/>
                    <a:pt x="377" y="442"/>
                    <a:pt x="377" y="442"/>
                  </a:cubicBezTo>
                  <a:cubicBezTo>
                    <a:pt x="379" y="441"/>
                    <a:pt x="379" y="441"/>
                    <a:pt x="379" y="441"/>
                  </a:cubicBezTo>
                  <a:cubicBezTo>
                    <a:pt x="390" y="435"/>
                    <a:pt x="390" y="435"/>
                    <a:pt x="390" y="435"/>
                  </a:cubicBezTo>
                  <a:cubicBezTo>
                    <a:pt x="392" y="433"/>
                    <a:pt x="392" y="433"/>
                    <a:pt x="392" y="433"/>
                  </a:cubicBezTo>
                  <a:cubicBezTo>
                    <a:pt x="394" y="431"/>
                    <a:pt x="394" y="431"/>
                    <a:pt x="394" y="431"/>
                  </a:cubicBezTo>
                  <a:cubicBezTo>
                    <a:pt x="395" y="428"/>
                    <a:pt x="395" y="428"/>
                    <a:pt x="395" y="428"/>
                  </a:cubicBezTo>
                  <a:cubicBezTo>
                    <a:pt x="396" y="426"/>
                    <a:pt x="396" y="426"/>
                    <a:pt x="396" y="426"/>
                  </a:cubicBezTo>
                  <a:cubicBezTo>
                    <a:pt x="397" y="425"/>
                    <a:pt x="397" y="425"/>
                    <a:pt x="397" y="425"/>
                  </a:cubicBezTo>
                  <a:cubicBezTo>
                    <a:pt x="399" y="424"/>
                    <a:pt x="399" y="424"/>
                    <a:pt x="399" y="424"/>
                  </a:cubicBezTo>
                  <a:cubicBezTo>
                    <a:pt x="407" y="422"/>
                    <a:pt x="407" y="422"/>
                    <a:pt x="407" y="422"/>
                  </a:cubicBezTo>
                  <a:cubicBezTo>
                    <a:pt x="408" y="421"/>
                    <a:pt x="408" y="421"/>
                    <a:pt x="408" y="421"/>
                  </a:cubicBezTo>
                  <a:cubicBezTo>
                    <a:pt x="409" y="420"/>
                    <a:pt x="409" y="420"/>
                    <a:pt x="409" y="420"/>
                  </a:cubicBezTo>
                  <a:cubicBezTo>
                    <a:pt x="410" y="420"/>
                    <a:pt x="410" y="420"/>
                    <a:pt x="410" y="420"/>
                  </a:cubicBezTo>
                  <a:cubicBezTo>
                    <a:pt x="412" y="421"/>
                    <a:pt x="412" y="421"/>
                    <a:pt x="412" y="421"/>
                  </a:cubicBezTo>
                  <a:cubicBezTo>
                    <a:pt x="416" y="427"/>
                    <a:pt x="416" y="427"/>
                    <a:pt x="416" y="427"/>
                  </a:cubicBezTo>
                  <a:cubicBezTo>
                    <a:pt x="419" y="430"/>
                    <a:pt x="419" y="430"/>
                    <a:pt x="419" y="430"/>
                  </a:cubicBezTo>
                  <a:cubicBezTo>
                    <a:pt x="421" y="431"/>
                    <a:pt x="421" y="431"/>
                    <a:pt x="421" y="431"/>
                  </a:cubicBezTo>
                  <a:cubicBezTo>
                    <a:pt x="436" y="432"/>
                    <a:pt x="436" y="432"/>
                    <a:pt x="436" y="432"/>
                  </a:cubicBezTo>
                  <a:cubicBezTo>
                    <a:pt x="441" y="426"/>
                    <a:pt x="441" y="426"/>
                    <a:pt x="441" y="426"/>
                  </a:cubicBezTo>
                  <a:cubicBezTo>
                    <a:pt x="441" y="425"/>
                    <a:pt x="441" y="425"/>
                    <a:pt x="441" y="425"/>
                  </a:cubicBezTo>
                  <a:cubicBezTo>
                    <a:pt x="442" y="423"/>
                    <a:pt x="442" y="423"/>
                    <a:pt x="442" y="423"/>
                  </a:cubicBezTo>
                  <a:cubicBezTo>
                    <a:pt x="442" y="422"/>
                    <a:pt x="442" y="422"/>
                    <a:pt x="442" y="422"/>
                  </a:cubicBezTo>
                  <a:cubicBezTo>
                    <a:pt x="443" y="421"/>
                    <a:pt x="443" y="421"/>
                    <a:pt x="443" y="421"/>
                  </a:cubicBezTo>
                  <a:cubicBezTo>
                    <a:pt x="449" y="419"/>
                    <a:pt x="449" y="419"/>
                    <a:pt x="449" y="419"/>
                  </a:cubicBezTo>
                  <a:cubicBezTo>
                    <a:pt x="456" y="419"/>
                    <a:pt x="456" y="419"/>
                    <a:pt x="456" y="419"/>
                  </a:cubicBezTo>
                  <a:cubicBezTo>
                    <a:pt x="471" y="413"/>
                    <a:pt x="471" y="413"/>
                    <a:pt x="471" y="413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515" y="374"/>
                    <a:pt x="515" y="374"/>
                    <a:pt x="515" y="374"/>
                  </a:cubicBezTo>
                  <a:cubicBezTo>
                    <a:pt x="518" y="372"/>
                    <a:pt x="518" y="372"/>
                    <a:pt x="518" y="372"/>
                  </a:cubicBezTo>
                  <a:cubicBezTo>
                    <a:pt x="521" y="369"/>
                    <a:pt x="521" y="369"/>
                    <a:pt x="521" y="369"/>
                  </a:cubicBezTo>
                  <a:cubicBezTo>
                    <a:pt x="531" y="369"/>
                    <a:pt x="531" y="369"/>
                    <a:pt x="531" y="369"/>
                  </a:cubicBezTo>
                  <a:cubicBezTo>
                    <a:pt x="540" y="371"/>
                    <a:pt x="540" y="371"/>
                    <a:pt x="540" y="371"/>
                  </a:cubicBezTo>
                  <a:cubicBezTo>
                    <a:pt x="552" y="379"/>
                    <a:pt x="552" y="379"/>
                    <a:pt x="552" y="379"/>
                  </a:cubicBezTo>
                  <a:cubicBezTo>
                    <a:pt x="569" y="367"/>
                    <a:pt x="569" y="367"/>
                    <a:pt x="569" y="367"/>
                  </a:cubicBezTo>
                  <a:cubicBezTo>
                    <a:pt x="572" y="365"/>
                    <a:pt x="572" y="365"/>
                    <a:pt x="572" y="365"/>
                  </a:cubicBezTo>
                  <a:cubicBezTo>
                    <a:pt x="582" y="348"/>
                    <a:pt x="582" y="348"/>
                    <a:pt x="582" y="348"/>
                  </a:cubicBezTo>
                  <a:cubicBezTo>
                    <a:pt x="583" y="345"/>
                    <a:pt x="583" y="345"/>
                    <a:pt x="583" y="345"/>
                  </a:cubicBezTo>
                  <a:cubicBezTo>
                    <a:pt x="583" y="342"/>
                    <a:pt x="583" y="342"/>
                    <a:pt x="583" y="342"/>
                  </a:cubicBezTo>
                  <a:cubicBezTo>
                    <a:pt x="579" y="333"/>
                    <a:pt x="579" y="333"/>
                    <a:pt x="579" y="333"/>
                  </a:cubicBezTo>
                  <a:cubicBezTo>
                    <a:pt x="559" y="306"/>
                    <a:pt x="559" y="306"/>
                    <a:pt x="559" y="306"/>
                  </a:cubicBezTo>
                  <a:cubicBezTo>
                    <a:pt x="558" y="299"/>
                    <a:pt x="558" y="299"/>
                    <a:pt x="558" y="299"/>
                  </a:cubicBezTo>
                  <a:cubicBezTo>
                    <a:pt x="556" y="293"/>
                    <a:pt x="556" y="293"/>
                    <a:pt x="556" y="293"/>
                  </a:cubicBezTo>
                  <a:cubicBezTo>
                    <a:pt x="556" y="290"/>
                    <a:pt x="556" y="290"/>
                    <a:pt x="556" y="290"/>
                  </a:cubicBezTo>
                  <a:cubicBezTo>
                    <a:pt x="555" y="286"/>
                    <a:pt x="555" y="286"/>
                    <a:pt x="555" y="286"/>
                  </a:cubicBezTo>
                  <a:cubicBezTo>
                    <a:pt x="554" y="284"/>
                    <a:pt x="554" y="284"/>
                    <a:pt x="554" y="284"/>
                  </a:cubicBezTo>
                  <a:cubicBezTo>
                    <a:pt x="544" y="280"/>
                    <a:pt x="544" y="280"/>
                    <a:pt x="544" y="280"/>
                  </a:cubicBezTo>
                  <a:cubicBezTo>
                    <a:pt x="538" y="277"/>
                    <a:pt x="538" y="277"/>
                    <a:pt x="538" y="277"/>
                  </a:cubicBezTo>
                  <a:cubicBezTo>
                    <a:pt x="537" y="275"/>
                    <a:pt x="537" y="275"/>
                    <a:pt x="537" y="275"/>
                  </a:cubicBezTo>
                  <a:cubicBezTo>
                    <a:pt x="538" y="267"/>
                    <a:pt x="538" y="267"/>
                    <a:pt x="538" y="267"/>
                  </a:cubicBezTo>
                  <a:cubicBezTo>
                    <a:pt x="535" y="265"/>
                    <a:pt x="535" y="265"/>
                    <a:pt x="535" y="265"/>
                  </a:cubicBezTo>
                  <a:cubicBezTo>
                    <a:pt x="521" y="257"/>
                    <a:pt x="521" y="257"/>
                    <a:pt x="521" y="257"/>
                  </a:cubicBezTo>
                  <a:cubicBezTo>
                    <a:pt x="515" y="254"/>
                    <a:pt x="515" y="254"/>
                    <a:pt x="515" y="254"/>
                  </a:cubicBezTo>
                  <a:cubicBezTo>
                    <a:pt x="499" y="253"/>
                    <a:pt x="499" y="253"/>
                    <a:pt x="499" y="253"/>
                  </a:cubicBezTo>
                  <a:cubicBezTo>
                    <a:pt x="496" y="252"/>
                    <a:pt x="496" y="252"/>
                    <a:pt x="496" y="252"/>
                  </a:cubicBezTo>
                  <a:cubicBezTo>
                    <a:pt x="491" y="247"/>
                    <a:pt x="491" y="247"/>
                    <a:pt x="491" y="247"/>
                  </a:cubicBezTo>
                  <a:cubicBezTo>
                    <a:pt x="488" y="243"/>
                    <a:pt x="488" y="243"/>
                    <a:pt x="488" y="243"/>
                  </a:cubicBezTo>
                  <a:cubicBezTo>
                    <a:pt x="486" y="230"/>
                    <a:pt x="486" y="230"/>
                    <a:pt x="486" y="230"/>
                  </a:cubicBezTo>
                  <a:cubicBezTo>
                    <a:pt x="489" y="217"/>
                    <a:pt x="489" y="217"/>
                    <a:pt x="489" y="217"/>
                  </a:cubicBezTo>
                  <a:cubicBezTo>
                    <a:pt x="492" y="209"/>
                    <a:pt x="492" y="209"/>
                    <a:pt x="492" y="209"/>
                  </a:cubicBezTo>
                  <a:cubicBezTo>
                    <a:pt x="506" y="191"/>
                    <a:pt x="506" y="191"/>
                    <a:pt x="506" y="191"/>
                  </a:cubicBezTo>
                  <a:cubicBezTo>
                    <a:pt x="507" y="188"/>
                    <a:pt x="507" y="188"/>
                    <a:pt x="507" y="188"/>
                  </a:cubicBezTo>
                  <a:cubicBezTo>
                    <a:pt x="507" y="187"/>
                    <a:pt x="507" y="187"/>
                    <a:pt x="507" y="187"/>
                  </a:cubicBezTo>
                  <a:cubicBezTo>
                    <a:pt x="507" y="185"/>
                    <a:pt x="507" y="185"/>
                    <a:pt x="507" y="185"/>
                  </a:cubicBezTo>
                  <a:cubicBezTo>
                    <a:pt x="506" y="183"/>
                    <a:pt x="506" y="183"/>
                    <a:pt x="506" y="183"/>
                  </a:cubicBezTo>
                  <a:cubicBezTo>
                    <a:pt x="505" y="182"/>
                    <a:pt x="505" y="182"/>
                    <a:pt x="505" y="182"/>
                  </a:cubicBezTo>
                  <a:cubicBezTo>
                    <a:pt x="505" y="179"/>
                    <a:pt x="505" y="179"/>
                    <a:pt x="505" y="179"/>
                  </a:cubicBezTo>
                  <a:cubicBezTo>
                    <a:pt x="504" y="176"/>
                    <a:pt x="504" y="176"/>
                    <a:pt x="504" y="176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14" y="158"/>
                    <a:pt x="514" y="158"/>
                    <a:pt x="514" y="158"/>
                  </a:cubicBezTo>
                  <a:cubicBezTo>
                    <a:pt x="516" y="150"/>
                    <a:pt x="516" y="150"/>
                    <a:pt x="516" y="150"/>
                  </a:cubicBezTo>
                  <a:cubicBezTo>
                    <a:pt x="517" y="147"/>
                    <a:pt x="517" y="147"/>
                    <a:pt x="517" y="147"/>
                  </a:cubicBezTo>
                  <a:cubicBezTo>
                    <a:pt x="522" y="141"/>
                    <a:pt x="522" y="141"/>
                    <a:pt x="522" y="141"/>
                  </a:cubicBezTo>
                  <a:cubicBezTo>
                    <a:pt x="528" y="135"/>
                    <a:pt x="528" y="135"/>
                    <a:pt x="528" y="135"/>
                  </a:cubicBezTo>
                  <a:cubicBezTo>
                    <a:pt x="529" y="134"/>
                    <a:pt x="529" y="134"/>
                    <a:pt x="529" y="134"/>
                  </a:cubicBezTo>
                  <a:cubicBezTo>
                    <a:pt x="529" y="133"/>
                    <a:pt x="529" y="133"/>
                    <a:pt x="529" y="133"/>
                  </a:cubicBezTo>
                  <a:cubicBezTo>
                    <a:pt x="527" y="133"/>
                    <a:pt x="527" y="133"/>
                    <a:pt x="527" y="133"/>
                  </a:cubicBezTo>
                  <a:cubicBezTo>
                    <a:pt x="526" y="132"/>
                    <a:pt x="526" y="132"/>
                    <a:pt x="526" y="132"/>
                  </a:cubicBezTo>
                  <a:cubicBezTo>
                    <a:pt x="525" y="131"/>
                    <a:pt x="525" y="131"/>
                    <a:pt x="525" y="131"/>
                  </a:cubicBezTo>
                  <a:cubicBezTo>
                    <a:pt x="526" y="125"/>
                    <a:pt x="526" y="125"/>
                    <a:pt x="526" y="125"/>
                  </a:cubicBezTo>
                  <a:cubicBezTo>
                    <a:pt x="526" y="118"/>
                    <a:pt x="526" y="118"/>
                    <a:pt x="526" y="118"/>
                  </a:cubicBezTo>
                  <a:cubicBezTo>
                    <a:pt x="526" y="114"/>
                    <a:pt x="526" y="114"/>
                    <a:pt x="526" y="114"/>
                  </a:cubicBezTo>
                  <a:cubicBezTo>
                    <a:pt x="524" y="112"/>
                    <a:pt x="524" y="112"/>
                    <a:pt x="524" y="112"/>
                  </a:cubicBezTo>
                  <a:cubicBezTo>
                    <a:pt x="518" y="110"/>
                    <a:pt x="518" y="110"/>
                    <a:pt x="518" y="110"/>
                  </a:cubicBezTo>
                  <a:cubicBezTo>
                    <a:pt x="517" y="110"/>
                    <a:pt x="517" y="110"/>
                    <a:pt x="517" y="110"/>
                  </a:cubicBezTo>
                  <a:cubicBezTo>
                    <a:pt x="515" y="110"/>
                    <a:pt x="515" y="110"/>
                    <a:pt x="515" y="110"/>
                  </a:cubicBezTo>
                  <a:cubicBezTo>
                    <a:pt x="513" y="112"/>
                    <a:pt x="513" y="112"/>
                    <a:pt x="513" y="112"/>
                  </a:cubicBezTo>
                  <a:cubicBezTo>
                    <a:pt x="512" y="112"/>
                    <a:pt x="512" y="112"/>
                    <a:pt x="512" y="112"/>
                  </a:cubicBezTo>
                  <a:cubicBezTo>
                    <a:pt x="511" y="112"/>
                    <a:pt x="511" y="112"/>
                    <a:pt x="511" y="112"/>
                  </a:cubicBezTo>
                  <a:cubicBezTo>
                    <a:pt x="510" y="112"/>
                    <a:pt x="510" y="112"/>
                    <a:pt x="510" y="112"/>
                  </a:cubicBezTo>
                  <a:cubicBezTo>
                    <a:pt x="509" y="111"/>
                    <a:pt x="509" y="111"/>
                    <a:pt x="509" y="111"/>
                  </a:cubicBezTo>
                  <a:cubicBezTo>
                    <a:pt x="507" y="110"/>
                    <a:pt x="507" y="110"/>
                    <a:pt x="507" y="110"/>
                  </a:cubicBezTo>
                  <a:cubicBezTo>
                    <a:pt x="505" y="107"/>
                    <a:pt x="505" y="107"/>
                    <a:pt x="505" y="107"/>
                  </a:cubicBezTo>
                  <a:cubicBezTo>
                    <a:pt x="504" y="105"/>
                    <a:pt x="504" y="105"/>
                    <a:pt x="504" y="105"/>
                  </a:cubicBezTo>
                  <a:cubicBezTo>
                    <a:pt x="502" y="104"/>
                    <a:pt x="502" y="104"/>
                    <a:pt x="502" y="104"/>
                  </a:cubicBezTo>
                  <a:cubicBezTo>
                    <a:pt x="495" y="102"/>
                    <a:pt x="495" y="102"/>
                    <a:pt x="495" y="102"/>
                  </a:cubicBezTo>
                  <a:cubicBezTo>
                    <a:pt x="490" y="100"/>
                    <a:pt x="490" y="100"/>
                    <a:pt x="490" y="100"/>
                  </a:cubicBezTo>
                  <a:cubicBezTo>
                    <a:pt x="487" y="87"/>
                    <a:pt x="487" y="87"/>
                    <a:pt x="487" y="87"/>
                  </a:cubicBezTo>
                  <a:cubicBezTo>
                    <a:pt x="488" y="79"/>
                    <a:pt x="488" y="79"/>
                    <a:pt x="488" y="79"/>
                  </a:cubicBezTo>
                  <a:lnTo>
                    <a:pt x="492" y="71"/>
                  </a:lnTo>
                  <a:close/>
                  <a:moveTo>
                    <a:pt x="76" y="131"/>
                  </a:moveTo>
                  <a:cubicBezTo>
                    <a:pt x="51" y="146"/>
                    <a:pt x="51" y="146"/>
                    <a:pt x="51" y="146"/>
                  </a:cubicBezTo>
                  <a:cubicBezTo>
                    <a:pt x="27" y="168"/>
                    <a:pt x="27" y="168"/>
                    <a:pt x="27" y="168"/>
                  </a:cubicBezTo>
                  <a:cubicBezTo>
                    <a:pt x="0" y="188"/>
                    <a:pt x="0" y="188"/>
                    <a:pt x="0" y="188"/>
                  </a:cubicBezTo>
                  <a:cubicBezTo>
                    <a:pt x="12" y="195"/>
                    <a:pt x="12" y="195"/>
                    <a:pt x="12" y="195"/>
                  </a:cubicBezTo>
                  <a:cubicBezTo>
                    <a:pt x="32" y="185"/>
                    <a:pt x="32" y="185"/>
                    <a:pt x="32" y="185"/>
                  </a:cubicBezTo>
                  <a:cubicBezTo>
                    <a:pt x="40" y="173"/>
                    <a:pt x="40" y="173"/>
                    <a:pt x="40" y="173"/>
                  </a:cubicBezTo>
                  <a:cubicBezTo>
                    <a:pt x="69" y="145"/>
                    <a:pt x="69" y="145"/>
                    <a:pt x="69" y="145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5" y="138"/>
                    <a:pt x="85" y="138"/>
                    <a:pt x="85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4"/>
                    <a:pt x="94" y="134"/>
                    <a:pt x="94" y="134"/>
                  </a:cubicBezTo>
                  <a:lnTo>
                    <a:pt x="76" y="131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xmlns="" id="{28BC6A58-8441-42DD-9486-B22367866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7" y="1713"/>
              <a:ext cx="2221" cy="1574"/>
            </a:xfrm>
            <a:custGeom>
              <a:avLst/>
              <a:gdLst>
                <a:gd name="T0" fmla="*/ 982 w 2221"/>
                <a:gd name="T1" fmla="*/ 201 h 1574"/>
                <a:gd name="T2" fmla="*/ 761 w 2221"/>
                <a:gd name="T3" fmla="*/ 334 h 1574"/>
                <a:gd name="T4" fmla="*/ 494 w 2221"/>
                <a:gd name="T5" fmla="*/ 531 h 1574"/>
                <a:gd name="T6" fmla="*/ 534 w 2221"/>
                <a:gd name="T7" fmla="*/ 655 h 1574"/>
                <a:gd name="T8" fmla="*/ 518 w 2221"/>
                <a:gd name="T9" fmla="*/ 698 h 1574"/>
                <a:gd name="T10" fmla="*/ 598 w 2221"/>
                <a:gd name="T11" fmla="*/ 749 h 1574"/>
                <a:gd name="T12" fmla="*/ 624 w 2221"/>
                <a:gd name="T13" fmla="*/ 782 h 1574"/>
                <a:gd name="T14" fmla="*/ 621 w 2221"/>
                <a:gd name="T15" fmla="*/ 822 h 1574"/>
                <a:gd name="T16" fmla="*/ 581 w 2221"/>
                <a:gd name="T17" fmla="*/ 876 h 1574"/>
                <a:gd name="T18" fmla="*/ 621 w 2221"/>
                <a:gd name="T19" fmla="*/ 902 h 1574"/>
                <a:gd name="T20" fmla="*/ 655 w 2221"/>
                <a:gd name="T21" fmla="*/ 882 h 1574"/>
                <a:gd name="T22" fmla="*/ 675 w 2221"/>
                <a:gd name="T23" fmla="*/ 839 h 1574"/>
                <a:gd name="T24" fmla="*/ 698 w 2221"/>
                <a:gd name="T25" fmla="*/ 1009 h 1574"/>
                <a:gd name="T26" fmla="*/ 755 w 2221"/>
                <a:gd name="T27" fmla="*/ 1099 h 1574"/>
                <a:gd name="T28" fmla="*/ 618 w 2221"/>
                <a:gd name="T29" fmla="*/ 1083 h 1574"/>
                <a:gd name="T30" fmla="*/ 498 w 2221"/>
                <a:gd name="T31" fmla="*/ 1099 h 1574"/>
                <a:gd name="T32" fmla="*/ 307 w 2221"/>
                <a:gd name="T33" fmla="*/ 1089 h 1574"/>
                <a:gd name="T34" fmla="*/ 190 w 2221"/>
                <a:gd name="T35" fmla="*/ 1176 h 1574"/>
                <a:gd name="T36" fmla="*/ 144 w 2221"/>
                <a:gd name="T37" fmla="*/ 1290 h 1574"/>
                <a:gd name="T38" fmla="*/ 10 w 2221"/>
                <a:gd name="T39" fmla="*/ 1357 h 1574"/>
                <a:gd name="T40" fmla="*/ 10 w 2221"/>
                <a:gd name="T41" fmla="*/ 1424 h 1574"/>
                <a:gd name="T42" fmla="*/ 164 w 2221"/>
                <a:gd name="T43" fmla="*/ 1507 h 1574"/>
                <a:gd name="T44" fmla="*/ 411 w 2221"/>
                <a:gd name="T45" fmla="*/ 1537 h 1574"/>
                <a:gd name="T46" fmla="*/ 488 w 2221"/>
                <a:gd name="T47" fmla="*/ 1407 h 1574"/>
                <a:gd name="T48" fmla="*/ 634 w 2221"/>
                <a:gd name="T49" fmla="*/ 1390 h 1574"/>
                <a:gd name="T50" fmla="*/ 808 w 2221"/>
                <a:gd name="T51" fmla="*/ 1444 h 1574"/>
                <a:gd name="T52" fmla="*/ 1059 w 2221"/>
                <a:gd name="T53" fmla="*/ 1500 h 1574"/>
                <a:gd name="T54" fmla="*/ 1095 w 2221"/>
                <a:gd name="T55" fmla="*/ 1497 h 1574"/>
                <a:gd name="T56" fmla="*/ 1155 w 2221"/>
                <a:gd name="T57" fmla="*/ 1551 h 1574"/>
                <a:gd name="T58" fmla="*/ 1139 w 2221"/>
                <a:gd name="T59" fmla="*/ 1414 h 1574"/>
                <a:gd name="T60" fmla="*/ 1279 w 2221"/>
                <a:gd name="T61" fmla="*/ 1350 h 1574"/>
                <a:gd name="T62" fmla="*/ 1416 w 2221"/>
                <a:gd name="T63" fmla="*/ 1360 h 1574"/>
                <a:gd name="T64" fmla="*/ 1419 w 2221"/>
                <a:gd name="T65" fmla="*/ 1270 h 1574"/>
                <a:gd name="T66" fmla="*/ 1560 w 2221"/>
                <a:gd name="T67" fmla="*/ 1320 h 1574"/>
                <a:gd name="T68" fmla="*/ 1650 w 2221"/>
                <a:gd name="T69" fmla="*/ 1404 h 1574"/>
                <a:gd name="T70" fmla="*/ 1793 w 2221"/>
                <a:gd name="T71" fmla="*/ 1347 h 1574"/>
                <a:gd name="T72" fmla="*/ 2137 w 2221"/>
                <a:gd name="T73" fmla="*/ 1230 h 1574"/>
                <a:gd name="T74" fmla="*/ 2221 w 2221"/>
                <a:gd name="T75" fmla="*/ 1126 h 1574"/>
                <a:gd name="T76" fmla="*/ 2101 w 2221"/>
                <a:gd name="T77" fmla="*/ 999 h 1574"/>
                <a:gd name="T78" fmla="*/ 2071 w 2221"/>
                <a:gd name="T79" fmla="*/ 919 h 1574"/>
                <a:gd name="T80" fmla="*/ 2124 w 2221"/>
                <a:gd name="T81" fmla="*/ 862 h 1574"/>
                <a:gd name="T82" fmla="*/ 2037 w 2221"/>
                <a:gd name="T83" fmla="*/ 792 h 1574"/>
                <a:gd name="T84" fmla="*/ 2044 w 2221"/>
                <a:gd name="T85" fmla="*/ 719 h 1574"/>
                <a:gd name="T86" fmla="*/ 1970 w 2221"/>
                <a:gd name="T87" fmla="*/ 719 h 1574"/>
                <a:gd name="T88" fmla="*/ 1954 w 2221"/>
                <a:gd name="T89" fmla="*/ 688 h 1574"/>
                <a:gd name="T90" fmla="*/ 1797 w 2221"/>
                <a:gd name="T91" fmla="*/ 658 h 1574"/>
                <a:gd name="T92" fmla="*/ 1653 w 2221"/>
                <a:gd name="T93" fmla="*/ 571 h 1574"/>
                <a:gd name="T94" fmla="*/ 1446 w 2221"/>
                <a:gd name="T95" fmla="*/ 571 h 1574"/>
                <a:gd name="T96" fmla="*/ 1416 w 2221"/>
                <a:gd name="T97" fmla="*/ 598 h 1574"/>
                <a:gd name="T98" fmla="*/ 1399 w 2221"/>
                <a:gd name="T99" fmla="*/ 571 h 1574"/>
                <a:gd name="T100" fmla="*/ 1376 w 2221"/>
                <a:gd name="T101" fmla="*/ 535 h 1574"/>
                <a:gd name="T102" fmla="*/ 1332 w 2221"/>
                <a:gd name="T103" fmla="*/ 438 h 1574"/>
                <a:gd name="T104" fmla="*/ 1322 w 2221"/>
                <a:gd name="T105" fmla="*/ 344 h 1574"/>
                <a:gd name="T106" fmla="*/ 1332 w 2221"/>
                <a:gd name="T107" fmla="*/ 301 h 1574"/>
                <a:gd name="T108" fmla="*/ 1389 w 2221"/>
                <a:gd name="T109" fmla="*/ 204 h 1574"/>
                <a:gd name="T110" fmla="*/ 1326 w 2221"/>
                <a:gd name="T111" fmla="*/ 90 h 1574"/>
                <a:gd name="T112" fmla="*/ 1262 w 2221"/>
                <a:gd name="T113" fmla="*/ 23 h 1574"/>
                <a:gd name="T114" fmla="*/ 1132 w 2221"/>
                <a:gd name="T115" fmla="*/ 77 h 1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21" h="1574">
                  <a:moveTo>
                    <a:pt x="1072" y="0"/>
                  </a:moveTo>
                  <a:lnTo>
                    <a:pt x="1069" y="43"/>
                  </a:lnTo>
                  <a:lnTo>
                    <a:pt x="1055" y="90"/>
                  </a:lnTo>
                  <a:lnTo>
                    <a:pt x="1032" y="130"/>
                  </a:lnTo>
                  <a:lnTo>
                    <a:pt x="982" y="201"/>
                  </a:lnTo>
                  <a:lnTo>
                    <a:pt x="955" y="231"/>
                  </a:lnTo>
                  <a:lnTo>
                    <a:pt x="915" y="261"/>
                  </a:lnTo>
                  <a:lnTo>
                    <a:pt x="872" y="281"/>
                  </a:lnTo>
                  <a:lnTo>
                    <a:pt x="801" y="304"/>
                  </a:lnTo>
                  <a:lnTo>
                    <a:pt x="761" y="334"/>
                  </a:lnTo>
                  <a:lnTo>
                    <a:pt x="705" y="401"/>
                  </a:lnTo>
                  <a:lnTo>
                    <a:pt x="668" y="495"/>
                  </a:lnTo>
                  <a:lnTo>
                    <a:pt x="651" y="511"/>
                  </a:lnTo>
                  <a:lnTo>
                    <a:pt x="544" y="538"/>
                  </a:lnTo>
                  <a:lnTo>
                    <a:pt x="494" y="531"/>
                  </a:lnTo>
                  <a:lnTo>
                    <a:pt x="491" y="551"/>
                  </a:lnTo>
                  <a:lnTo>
                    <a:pt x="488" y="585"/>
                  </a:lnTo>
                  <a:lnTo>
                    <a:pt x="484" y="608"/>
                  </a:lnTo>
                  <a:lnTo>
                    <a:pt x="491" y="618"/>
                  </a:lnTo>
                  <a:lnTo>
                    <a:pt x="534" y="655"/>
                  </a:lnTo>
                  <a:lnTo>
                    <a:pt x="531" y="675"/>
                  </a:lnTo>
                  <a:lnTo>
                    <a:pt x="528" y="685"/>
                  </a:lnTo>
                  <a:lnTo>
                    <a:pt x="521" y="692"/>
                  </a:lnTo>
                  <a:lnTo>
                    <a:pt x="518" y="692"/>
                  </a:lnTo>
                  <a:lnTo>
                    <a:pt x="518" y="698"/>
                  </a:lnTo>
                  <a:lnTo>
                    <a:pt x="524" y="712"/>
                  </a:lnTo>
                  <a:lnTo>
                    <a:pt x="554" y="722"/>
                  </a:lnTo>
                  <a:lnTo>
                    <a:pt x="578" y="725"/>
                  </a:lnTo>
                  <a:lnTo>
                    <a:pt x="588" y="732"/>
                  </a:lnTo>
                  <a:lnTo>
                    <a:pt x="598" y="749"/>
                  </a:lnTo>
                  <a:lnTo>
                    <a:pt x="604" y="752"/>
                  </a:lnTo>
                  <a:lnTo>
                    <a:pt x="614" y="759"/>
                  </a:lnTo>
                  <a:lnTo>
                    <a:pt x="624" y="772"/>
                  </a:lnTo>
                  <a:lnTo>
                    <a:pt x="624" y="775"/>
                  </a:lnTo>
                  <a:lnTo>
                    <a:pt x="624" y="782"/>
                  </a:lnTo>
                  <a:lnTo>
                    <a:pt x="621" y="795"/>
                  </a:lnTo>
                  <a:lnTo>
                    <a:pt x="621" y="809"/>
                  </a:lnTo>
                  <a:lnTo>
                    <a:pt x="621" y="815"/>
                  </a:lnTo>
                  <a:lnTo>
                    <a:pt x="621" y="819"/>
                  </a:lnTo>
                  <a:lnTo>
                    <a:pt x="621" y="822"/>
                  </a:lnTo>
                  <a:lnTo>
                    <a:pt x="608" y="819"/>
                  </a:lnTo>
                  <a:lnTo>
                    <a:pt x="598" y="839"/>
                  </a:lnTo>
                  <a:lnTo>
                    <a:pt x="591" y="862"/>
                  </a:lnTo>
                  <a:lnTo>
                    <a:pt x="588" y="869"/>
                  </a:lnTo>
                  <a:lnTo>
                    <a:pt x="581" y="876"/>
                  </a:lnTo>
                  <a:lnTo>
                    <a:pt x="571" y="882"/>
                  </a:lnTo>
                  <a:lnTo>
                    <a:pt x="574" y="889"/>
                  </a:lnTo>
                  <a:lnTo>
                    <a:pt x="578" y="892"/>
                  </a:lnTo>
                  <a:lnTo>
                    <a:pt x="611" y="909"/>
                  </a:lnTo>
                  <a:lnTo>
                    <a:pt x="621" y="902"/>
                  </a:lnTo>
                  <a:lnTo>
                    <a:pt x="634" y="892"/>
                  </a:lnTo>
                  <a:lnTo>
                    <a:pt x="638" y="892"/>
                  </a:lnTo>
                  <a:lnTo>
                    <a:pt x="644" y="892"/>
                  </a:lnTo>
                  <a:lnTo>
                    <a:pt x="648" y="889"/>
                  </a:lnTo>
                  <a:lnTo>
                    <a:pt x="655" y="882"/>
                  </a:lnTo>
                  <a:lnTo>
                    <a:pt x="658" y="872"/>
                  </a:lnTo>
                  <a:lnTo>
                    <a:pt x="661" y="866"/>
                  </a:lnTo>
                  <a:lnTo>
                    <a:pt x="661" y="859"/>
                  </a:lnTo>
                  <a:lnTo>
                    <a:pt x="655" y="842"/>
                  </a:lnTo>
                  <a:lnTo>
                    <a:pt x="675" y="839"/>
                  </a:lnTo>
                  <a:lnTo>
                    <a:pt x="688" y="879"/>
                  </a:lnTo>
                  <a:lnTo>
                    <a:pt x="688" y="889"/>
                  </a:lnTo>
                  <a:lnTo>
                    <a:pt x="691" y="902"/>
                  </a:lnTo>
                  <a:lnTo>
                    <a:pt x="688" y="949"/>
                  </a:lnTo>
                  <a:lnTo>
                    <a:pt x="698" y="1009"/>
                  </a:lnTo>
                  <a:lnTo>
                    <a:pt x="715" y="1036"/>
                  </a:lnTo>
                  <a:lnTo>
                    <a:pt x="741" y="1063"/>
                  </a:lnTo>
                  <a:lnTo>
                    <a:pt x="748" y="1083"/>
                  </a:lnTo>
                  <a:lnTo>
                    <a:pt x="755" y="1093"/>
                  </a:lnTo>
                  <a:lnTo>
                    <a:pt x="755" y="1099"/>
                  </a:lnTo>
                  <a:lnTo>
                    <a:pt x="758" y="1109"/>
                  </a:lnTo>
                  <a:lnTo>
                    <a:pt x="758" y="1140"/>
                  </a:lnTo>
                  <a:lnTo>
                    <a:pt x="751" y="1150"/>
                  </a:lnTo>
                  <a:lnTo>
                    <a:pt x="711" y="1140"/>
                  </a:lnTo>
                  <a:lnTo>
                    <a:pt x="618" y="1083"/>
                  </a:lnTo>
                  <a:lnTo>
                    <a:pt x="564" y="1073"/>
                  </a:lnTo>
                  <a:lnTo>
                    <a:pt x="548" y="1076"/>
                  </a:lnTo>
                  <a:lnTo>
                    <a:pt x="524" y="1093"/>
                  </a:lnTo>
                  <a:lnTo>
                    <a:pt x="511" y="1099"/>
                  </a:lnTo>
                  <a:lnTo>
                    <a:pt x="498" y="1099"/>
                  </a:lnTo>
                  <a:lnTo>
                    <a:pt x="467" y="1086"/>
                  </a:lnTo>
                  <a:lnTo>
                    <a:pt x="437" y="1093"/>
                  </a:lnTo>
                  <a:lnTo>
                    <a:pt x="404" y="1120"/>
                  </a:lnTo>
                  <a:lnTo>
                    <a:pt x="377" y="1126"/>
                  </a:lnTo>
                  <a:lnTo>
                    <a:pt x="307" y="1089"/>
                  </a:lnTo>
                  <a:lnTo>
                    <a:pt x="290" y="1093"/>
                  </a:lnTo>
                  <a:lnTo>
                    <a:pt x="267" y="1109"/>
                  </a:lnTo>
                  <a:lnTo>
                    <a:pt x="237" y="1116"/>
                  </a:lnTo>
                  <a:lnTo>
                    <a:pt x="220" y="1113"/>
                  </a:lnTo>
                  <a:lnTo>
                    <a:pt x="190" y="1176"/>
                  </a:lnTo>
                  <a:lnTo>
                    <a:pt x="184" y="1186"/>
                  </a:lnTo>
                  <a:lnTo>
                    <a:pt x="140" y="1263"/>
                  </a:lnTo>
                  <a:lnTo>
                    <a:pt x="144" y="1273"/>
                  </a:lnTo>
                  <a:lnTo>
                    <a:pt x="144" y="1283"/>
                  </a:lnTo>
                  <a:lnTo>
                    <a:pt x="144" y="1290"/>
                  </a:lnTo>
                  <a:lnTo>
                    <a:pt x="144" y="1293"/>
                  </a:lnTo>
                  <a:lnTo>
                    <a:pt x="130" y="1300"/>
                  </a:lnTo>
                  <a:lnTo>
                    <a:pt x="37" y="1340"/>
                  </a:lnTo>
                  <a:lnTo>
                    <a:pt x="0" y="1343"/>
                  </a:lnTo>
                  <a:lnTo>
                    <a:pt x="10" y="1357"/>
                  </a:lnTo>
                  <a:lnTo>
                    <a:pt x="10" y="1360"/>
                  </a:lnTo>
                  <a:lnTo>
                    <a:pt x="7" y="1377"/>
                  </a:lnTo>
                  <a:lnTo>
                    <a:pt x="7" y="1394"/>
                  </a:lnTo>
                  <a:lnTo>
                    <a:pt x="7" y="1407"/>
                  </a:lnTo>
                  <a:lnTo>
                    <a:pt x="10" y="1424"/>
                  </a:lnTo>
                  <a:lnTo>
                    <a:pt x="30" y="1444"/>
                  </a:lnTo>
                  <a:lnTo>
                    <a:pt x="77" y="1477"/>
                  </a:lnTo>
                  <a:lnTo>
                    <a:pt x="107" y="1480"/>
                  </a:lnTo>
                  <a:lnTo>
                    <a:pt x="120" y="1474"/>
                  </a:lnTo>
                  <a:lnTo>
                    <a:pt x="164" y="1507"/>
                  </a:lnTo>
                  <a:lnTo>
                    <a:pt x="164" y="1537"/>
                  </a:lnTo>
                  <a:lnTo>
                    <a:pt x="150" y="1571"/>
                  </a:lnTo>
                  <a:lnTo>
                    <a:pt x="160" y="1574"/>
                  </a:lnTo>
                  <a:lnTo>
                    <a:pt x="387" y="1547"/>
                  </a:lnTo>
                  <a:lnTo>
                    <a:pt x="411" y="1537"/>
                  </a:lnTo>
                  <a:lnTo>
                    <a:pt x="431" y="1521"/>
                  </a:lnTo>
                  <a:lnTo>
                    <a:pt x="447" y="1494"/>
                  </a:lnTo>
                  <a:lnTo>
                    <a:pt x="454" y="1460"/>
                  </a:lnTo>
                  <a:lnTo>
                    <a:pt x="464" y="1420"/>
                  </a:lnTo>
                  <a:lnTo>
                    <a:pt x="488" y="1407"/>
                  </a:lnTo>
                  <a:lnTo>
                    <a:pt x="538" y="1414"/>
                  </a:lnTo>
                  <a:lnTo>
                    <a:pt x="564" y="1404"/>
                  </a:lnTo>
                  <a:lnTo>
                    <a:pt x="588" y="1384"/>
                  </a:lnTo>
                  <a:lnTo>
                    <a:pt x="611" y="1377"/>
                  </a:lnTo>
                  <a:lnTo>
                    <a:pt x="634" y="1390"/>
                  </a:lnTo>
                  <a:lnTo>
                    <a:pt x="651" y="1397"/>
                  </a:lnTo>
                  <a:lnTo>
                    <a:pt x="731" y="1384"/>
                  </a:lnTo>
                  <a:lnTo>
                    <a:pt x="785" y="1397"/>
                  </a:lnTo>
                  <a:lnTo>
                    <a:pt x="795" y="1407"/>
                  </a:lnTo>
                  <a:lnTo>
                    <a:pt x="808" y="1444"/>
                  </a:lnTo>
                  <a:lnTo>
                    <a:pt x="821" y="1454"/>
                  </a:lnTo>
                  <a:lnTo>
                    <a:pt x="845" y="1460"/>
                  </a:lnTo>
                  <a:lnTo>
                    <a:pt x="928" y="1521"/>
                  </a:lnTo>
                  <a:lnTo>
                    <a:pt x="1055" y="1524"/>
                  </a:lnTo>
                  <a:lnTo>
                    <a:pt x="1059" y="1500"/>
                  </a:lnTo>
                  <a:lnTo>
                    <a:pt x="1069" y="1490"/>
                  </a:lnTo>
                  <a:lnTo>
                    <a:pt x="1079" y="1487"/>
                  </a:lnTo>
                  <a:lnTo>
                    <a:pt x="1085" y="1490"/>
                  </a:lnTo>
                  <a:lnTo>
                    <a:pt x="1089" y="1490"/>
                  </a:lnTo>
                  <a:lnTo>
                    <a:pt x="1095" y="1497"/>
                  </a:lnTo>
                  <a:lnTo>
                    <a:pt x="1115" y="1527"/>
                  </a:lnTo>
                  <a:lnTo>
                    <a:pt x="1122" y="1531"/>
                  </a:lnTo>
                  <a:lnTo>
                    <a:pt x="1152" y="1554"/>
                  </a:lnTo>
                  <a:lnTo>
                    <a:pt x="1155" y="1551"/>
                  </a:lnTo>
                  <a:lnTo>
                    <a:pt x="1155" y="1551"/>
                  </a:lnTo>
                  <a:lnTo>
                    <a:pt x="1179" y="1531"/>
                  </a:lnTo>
                  <a:lnTo>
                    <a:pt x="1179" y="1490"/>
                  </a:lnTo>
                  <a:lnTo>
                    <a:pt x="1165" y="1454"/>
                  </a:lnTo>
                  <a:lnTo>
                    <a:pt x="1135" y="1430"/>
                  </a:lnTo>
                  <a:lnTo>
                    <a:pt x="1139" y="1414"/>
                  </a:lnTo>
                  <a:lnTo>
                    <a:pt x="1162" y="1397"/>
                  </a:lnTo>
                  <a:lnTo>
                    <a:pt x="1212" y="1390"/>
                  </a:lnTo>
                  <a:lnTo>
                    <a:pt x="1236" y="1380"/>
                  </a:lnTo>
                  <a:lnTo>
                    <a:pt x="1259" y="1360"/>
                  </a:lnTo>
                  <a:lnTo>
                    <a:pt x="1279" y="1350"/>
                  </a:lnTo>
                  <a:lnTo>
                    <a:pt x="1329" y="1337"/>
                  </a:lnTo>
                  <a:lnTo>
                    <a:pt x="1369" y="1347"/>
                  </a:lnTo>
                  <a:lnTo>
                    <a:pt x="1396" y="1357"/>
                  </a:lnTo>
                  <a:lnTo>
                    <a:pt x="1416" y="1360"/>
                  </a:lnTo>
                  <a:lnTo>
                    <a:pt x="1416" y="1360"/>
                  </a:lnTo>
                  <a:lnTo>
                    <a:pt x="1399" y="1333"/>
                  </a:lnTo>
                  <a:lnTo>
                    <a:pt x="1353" y="1287"/>
                  </a:lnTo>
                  <a:lnTo>
                    <a:pt x="1339" y="1273"/>
                  </a:lnTo>
                  <a:lnTo>
                    <a:pt x="1379" y="1253"/>
                  </a:lnTo>
                  <a:lnTo>
                    <a:pt x="1419" y="1270"/>
                  </a:lnTo>
                  <a:lnTo>
                    <a:pt x="1459" y="1303"/>
                  </a:lnTo>
                  <a:lnTo>
                    <a:pt x="1503" y="1320"/>
                  </a:lnTo>
                  <a:lnTo>
                    <a:pt x="1540" y="1310"/>
                  </a:lnTo>
                  <a:lnTo>
                    <a:pt x="1550" y="1313"/>
                  </a:lnTo>
                  <a:lnTo>
                    <a:pt x="1560" y="1320"/>
                  </a:lnTo>
                  <a:lnTo>
                    <a:pt x="1573" y="1347"/>
                  </a:lnTo>
                  <a:lnTo>
                    <a:pt x="1576" y="1353"/>
                  </a:lnTo>
                  <a:lnTo>
                    <a:pt x="1626" y="1360"/>
                  </a:lnTo>
                  <a:lnTo>
                    <a:pt x="1646" y="1370"/>
                  </a:lnTo>
                  <a:lnTo>
                    <a:pt x="1650" y="1404"/>
                  </a:lnTo>
                  <a:lnTo>
                    <a:pt x="1697" y="1390"/>
                  </a:lnTo>
                  <a:lnTo>
                    <a:pt x="1700" y="1370"/>
                  </a:lnTo>
                  <a:lnTo>
                    <a:pt x="1690" y="1323"/>
                  </a:lnTo>
                  <a:lnTo>
                    <a:pt x="1770" y="1347"/>
                  </a:lnTo>
                  <a:lnTo>
                    <a:pt x="1793" y="1347"/>
                  </a:lnTo>
                  <a:lnTo>
                    <a:pt x="1813" y="1340"/>
                  </a:lnTo>
                  <a:lnTo>
                    <a:pt x="1874" y="1293"/>
                  </a:lnTo>
                  <a:lnTo>
                    <a:pt x="1997" y="1250"/>
                  </a:lnTo>
                  <a:lnTo>
                    <a:pt x="2104" y="1247"/>
                  </a:lnTo>
                  <a:lnTo>
                    <a:pt x="2137" y="1230"/>
                  </a:lnTo>
                  <a:lnTo>
                    <a:pt x="2167" y="1196"/>
                  </a:lnTo>
                  <a:lnTo>
                    <a:pt x="2194" y="1143"/>
                  </a:lnTo>
                  <a:lnTo>
                    <a:pt x="2204" y="1133"/>
                  </a:lnTo>
                  <a:lnTo>
                    <a:pt x="2214" y="1130"/>
                  </a:lnTo>
                  <a:lnTo>
                    <a:pt x="2221" y="1126"/>
                  </a:lnTo>
                  <a:lnTo>
                    <a:pt x="2221" y="1099"/>
                  </a:lnTo>
                  <a:lnTo>
                    <a:pt x="2221" y="1086"/>
                  </a:lnTo>
                  <a:lnTo>
                    <a:pt x="2214" y="1076"/>
                  </a:lnTo>
                  <a:lnTo>
                    <a:pt x="2181" y="1043"/>
                  </a:lnTo>
                  <a:lnTo>
                    <a:pt x="2101" y="999"/>
                  </a:lnTo>
                  <a:lnTo>
                    <a:pt x="2074" y="989"/>
                  </a:lnTo>
                  <a:lnTo>
                    <a:pt x="2054" y="976"/>
                  </a:lnTo>
                  <a:lnTo>
                    <a:pt x="2051" y="946"/>
                  </a:lnTo>
                  <a:lnTo>
                    <a:pt x="2061" y="926"/>
                  </a:lnTo>
                  <a:lnTo>
                    <a:pt x="2071" y="919"/>
                  </a:lnTo>
                  <a:lnTo>
                    <a:pt x="2084" y="919"/>
                  </a:lnTo>
                  <a:lnTo>
                    <a:pt x="2101" y="912"/>
                  </a:lnTo>
                  <a:lnTo>
                    <a:pt x="2111" y="899"/>
                  </a:lnTo>
                  <a:lnTo>
                    <a:pt x="2121" y="876"/>
                  </a:lnTo>
                  <a:lnTo>
                    <a:pt x="2124" y="862"/>
                  </a:lnTo>
                  <a:lnTo>
                    <a:pt x="2147" y="842"/>
                  </a:lnTo>
                  <a:lnTo>
                    <a:pt x="2167" y="829"/>
                  </a:lnTo>
                  <a:lnTo>
                    <a:pt x="2174" y="829"/>
                  </a:lnTo>
                  <a:lnTo>
                    <a:pt x="2157" y="819"/>
                  </a:lnTo>
                  <a:lnTo>
                    <a:pt x="2037" y="792"/>
                  </a:lnTo>
                  <a:lnTo>
                    <a:pt x="2051" y="762"/>
                  </a:lnTo>
                  <a:lnTo>
                    <a:pt x="2051" y="752"/>
                  </a:lnTo>
                  <a:lnTo>
                    <a:pt x="2051" y="732"/>
                  </a:lnTo>
                  <a:lnTo>
                    <a:pt x="2047" y="725"/>
                  </a:lnTo>
                  <a:lnTo>
                    <a:pt x="2044" y="719"/>
                  </a:lnTo>
                  <a:lnTo>
                    <a:pt x="2040" y="715"/>
                  </a:lnTo>
                  <a:lnTo>
                    <a:pt x="2027" y="712"/>
                  </a:lnTo>
                  <a:lnTo>
                    <a:pt x="2017" y="708"/>
                  </a:lnTo>
                  <a:lnTo>
                    <a:pt x="1974" y="719"/>
                  </a:lnTo>
                  <a:lnTo>
                    <a:pt x="1970" y="719"/>
                  </a:lnTo>
                  <a:lnTo>
                    <a:pt x="1964" y="715"/>
                  </a:lnTo>
                  <a:lnTo>
                    <a:pt x="1964" y="708"/>
                  </a:lnTo>
                  <a:lnTo>
                    <a:pt x="1964" y="702"/>
                  </a:lnTo>
                  <a:lnTo>
                    <a:pt x="1960" y="692"/>
                  </a:lnTo>
                  <a:lnTo>
                    <a:pt x="1954" y="688"/>
                  </a:lnTo>
                  <a:lnTo>
                    <a:pt x="1944" y="688"/>
                  </a:lnTo>
                  <a:lnTo>
                    <a:pt x="1910" y="695"/>
                  </a:lnTo>
                  <a:lnTo>
                    <a:pt x="1863" y="692"/>
                  </a:lnTo>
                  <a:lnTo>
                    <a:pt x="1833" y="692"/>
                  </a:lnTo>
                  <a:lnTo>
                    <a:pt x="1797" y="658"/>
                  </a:lnTo>
                  <a:lnTo>
                    <a:pt x="1740" y="575"/>
                  </a:lnTo>
                  <a:lnTo>
                    <a:pt x="1737" y="571"/>
                  </a:lnTo>
                  <a:lnTo>
                    <a:pt x="1730" y="558"/>
                  </a:lnTo>
                  <a:lnTo>
                    <a:pt x="1693" y="555"/>
                  </a:lnTo>
                  <a:lnTo>
                    <a:pt x="1653" y="571"/>
                  </a:lnTo>
                  <a:lnTo>
                    <a:pt x="1633" y="585"/>
                  </a:lnTo>
                  <a:lnTo>
                    <a:pt x="1623" y="588"/>
                  </a:lnTo>
                  <a:lnTo>
                    <a:pt x="1543" y="588"/>
                  </a:lnTo>
                  <a:lnTo>
                    <a:pt x="1459" y="571"/>
                  </a:lnTo>
                  <a:lnTo>
                    <a:pt x="1446" y="571"/>
                  </a:lnTo>
                  <a:lnTo>
                    <a:pt x="1443" y="575"/>
                  </a:lnTo>
                  <a:lnTo>
                    <a:pt x="1429" y="585"/>
                  </a:lnTo>
                  <a:lnTo>
                    <a:pt x="1423" y="598"/>
                  </a:lnTo>
                  <a:lnTo>
                    <a:pt x="1419" y="598"/>
                  </a:lnTo>
                  <a:lnTo>
                    <a:pt x="1416" y="598"/>
                  </a:lnTo>
                  <a:lnTo>
                    <a:pt x="1406" y="588"/>
                  </a:lnTo>
                  <a:lnTo>
                    <a:pt x="1403" y="581"/>
                  </a:lnTo>
                  <a:lnTo>
                    <a:pt x="1399" y="578"/>
                  </a:lnTo>
                  <a:lnTo>
                    <a:pt x="1399" y="575"/>
                  </a:lnTo>
                  <a:lnTo>
                    <a:pt x="1399" y="571"/>
                  </a:lnTo>
                  <a:lnTo>
                    <a:pt x="1406" y="561"/>
                  </a:lnTo>
                  <a:lnTo>
                    <a:pt x="1403" y="551"/>
                  </a:lnTo>
                  <a:lnTo>
                    <a:pt x="1396" y="545"/>
                  </a:lnTo>
                  <a:lnTo>
                    <a:pt x="1383" y="538"/>
                  </a:lnTo>
                  <a:lnTo>
                    <a:pt x="1376" y="535"/>
                  </a:lnTo>
                  <a:lnTo>
                    <a:pt x="1376" y="528"/>
                  </a:lnTo>
                  <a:lnTo>
                    <a:pt x="1376" y="521"/>
                  </a:lnTo>
                  <a:lnTo>
                    <a:pt x="1379" y="505"/>
                  </a:lnTo>
                  <a:lnTo>
                    <a:pt x="1356" y="448"/>
                  </a:lnTo>
                  <a:lnTo>
                    <a:pt x="1332" y="438"/>
                  </a:lnTo>
                  <a:lnTo>
                    <a:pt x="1326" y="428"/>
                  </a:lnTo>
                  <a:lnTo>
                    <a:pt x="1312" y="411"/>
                  </a:lnTo>
                  <a:lnTo>
                    <a:pt x="1309" y="404"/>
                  </a:lnTo>
                  <a:lnTo>
                    <a:pt x="1309" y="388"/>
                  </a:lnTo>
                  <a:lnTo>
                    <a:pt x="1322" y="344"/>
                  </a:lnTo>
                  <a:lnTo>
                    <a:pt x="1332" y="328"/>
                  </a:lnTo>
                  <a:lnTo>
                    <a:pt x="1332" y="321"/>
                  </a:lnTo>
                  <a:lnTo>
                    <a:pt x="1326" y="304"/>
                  </a:lnTo>
                  <a:lnTo>
                    <a:pt x="1329" y="304"/>
                  </a:lnTo>
                  <a:lnTo>
                    <a:pt x="1332" y="301"/>
                  </a:lnTo>
                  <a:lnTo>
                    <a:pt x="1373" y="287"/>
                  </a:lnTo>
                  <a:lnTo>
                    <a:pt x="1389" y="237"/>
                  </a:lnTo>
                  <a:lnTo>
                    <a:pt x="1393" y="214"/>
                  </a:lnTo>
                  <a:lnTo>
                    <a:pt x="1389" y="211"/>
                  </a:lnTo>
                  <a:lnTo>
                    <a:pt x="1389" y="204"/>
                  </a:lnTo>
                  <a:lnTo>
                    <a:pt x="1363" y="167"/>
                  </a:lnTo>
                  <a:lnTo>
                    <a:pt x="1353" y="140"/>
                  </a:lnTo>
                  <a:lnTo>
                    <a:pt x="1342" y="110"/>
                  </a:lnTo>
                  <a:lnTo>
                    <a:pt x="1336" y="97"/>
                  </a:lnTo>
                  <a:lnTo>
                    <a:pt x="1326" y="90"/>
                  </a:lnTo>
                  <a:lnTo>
                    <a:pt x="1302" y="67"/>
                  </a:lnTo>
                  <a:lnTo>
                    <a:pt x="1296" y="47"/>
                  </a:lnTo>
                  <a:lnTo>
                    <a:pt x="1286" y="33"/>
                  </a:lnTo>
                  <a:lnTo>
                    <a:pt x="1279" y="30"/>
                  </a:lnTo>
                  <a:lnTo>
                    <a:pt x="1262" y="23"/>
                  </a:lnTo>
                  <a:lnTo>
                    <a:pt x="1226" y="43"/>
                  </a:lnTo>
                  <a:lnTo>
                    <a:pt x="1189" y="77"/>
                  </a:lnTo>
                  <a:lnTo>
                    <a:pt x="1152" y="87"/>
                  </a:lnTo>
                  <a:lnTo>
                    <a:pt x="1142" y="84"/>
                  </a:lnTo>
                  <a:lnTo>
                    <a:pt x="1132" y="77"/>
                  </a:lnTo>
                  <a:lnTo>
                    <a:pt x="1105" y="27"/>
                  </a:lnTo>
                  <a:lnTo>
                    <a:pt x="1092" y="3"/>
                  </a:lnTo>
                  <a:lnTo>
                    <a:pt x="1072" y="0"/>
                  </a:lnTo>
                  <a:lnTo>
                    <a:pt x="1072" y="0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xmlns="" id="{CE6841C4-6B86-45CD-B173-07BA3857C3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20" y="-399"/>
              <a:ext cx="1265" cy="1467"/>
            </a:xfrm>
            <a:custGeom>
              <a:avLst/>
              <a:gdLst>
                <a:gd name="T0" fmla="*/ 367 w 1265"/>
                <a:gd name="T1" fmla="*/ 37 h 1467"/>
                <a:gd name="T2" fmla="*/ 437 w 1265"/>
                <a:gd name="T3" fmla="*/ 40 h 1467"/>
                <a:gd name="T4" fmla="*/ 691 w 1265"/>
                <a:gd name="T5" fmla="*/ 201 h 1467"/>
                <a:gd name="T6" fmla="*/ 187 w 1265"/>
                <a:gd name="T7" fmla="*/ 324 h 1467"/>
                <a:gd name="T8" fmla="*/ 143 w 1265"/>
                <a:gd name="T9" fmla="*/ 304 h 1467"/>
                <a:gd name="T10" fmla="*/ 6 w 1265"/>
                <a:gd name="T11" fmla="*/ 328 h 1467"/>
                <a:gd name="T12" fmla="*/ 30 w 1265"/>
                <a:gd name="T13" fmla="*/ 404 h 1467"/>
                <a:gd name="T14" fmla="*/ 63 w 1265"/>
                <a:gd name="T15" fmla="*/ 421 h 1467"/>
                <a:gd name="T16" fmla="*/ 80 w 1265"/>
                <a:gd name="T17" fmla="*/ 438 h 1467"/>
                <a:gd name="T18" fmla="*/ 90 w 1265"/>
                <a:gd name="T19" fmla="*/ 438 h 1467"/>
                <a:gd name="T20" fmla="*/ 107 w 1265"/>
                <a:gd name="T21" fmla="*/ 431 h 1467"/>
                <a:gd name="T22" fmla="*/ 133 w 1265"/>
                <a:gd name="T23" fmla="*/ 458 h 1467"/>
                <a:gd name="T24" fmla="*/ 133 w 1265"/>
                <a:gd name="T25" fmla="*/ 505 h 1467"/>
                <a:gd name="T26" fmla="*/ 143 w 1265"/>
                <a:gd name="T27" fmla="*/ 511 h 1467"/>
                <a:gd name="T28" fmla="*/ 103 w 1265"/>
                <a:gd name="T29" fmla="*/ 555 h 1467"/>
                <a:gd name="T30" fmla="*/ 76 w 1265"/>
                <a:gd name="T31" fmla="*/ 622 h 1467"/>
                <a:gd name="T32" fmla="*/ 63 w 1265"/>
                <a:gd name="T33" fmla="*/ 672 h 1467"/>
                <a:gd name="T34" fmla="*/ 70 w 1265"/>
                <a:gd name="T35" fmla="*/ 688 h 1467"/>
                <a:gd name="T36" fmla="*/ 20 w 1265"/>
                <a:gd name="T37" fmla="*/ 762 h 1467"/>
                <a:gd name="T38" fmla="*/ 6 w 1265"/>
                <a:gd name="T39" fmla="*/ 876 h 1467"/>
                <a:gd name="T40" fmla="*/ 43 w 1265"/>
                <a:gd name="T41" fmla="*/ 909 h 1467"/>
                <a:gd name="T42" fmla="*/ 163 w 1265"/>
                <a:gd name="T43" fmla="*/ 949 h 1467"/>
                <a:gd name="T44" fmla="*/ 207 w 1265"/>
                <a:gd name="T45" fmla="*/ 959 h 1467"/>
                <a:gd name="T46" fmla="*/ 237 w 1265"/>
                <a:gd name="T47" fmla="*/ 889 h 1467"/>
                <a:gd name="T48" fmla="*/ 257 w 1265"/>
                <a:gd name="T49" fmla="*/ 842 h 1467"/>
                <a:gd name="T50" fmla="*/ 300 w 1265"/>
                <a:gd name="T51" fmla="*/ 782 h 1467"/>
                <a:gd name="T52" fmla="*/ 407 w 1265"/>
                <a:gd name="T53" fmla="*/ 745 h 1467"/>
                <a:gd name="T54" fmla="*/ 464 w 1265"/>
                <a:gd name="T55" fmla="*/ 782 h 1467"/>
                <a:gd name="T56" fmla="*/ 494 w 1265"/>
                <a:gd name="T57" fmla="*/ 822 h 1467"/>
                <a:gd name="T58" fmla="*/ 564 w 1265"/>
                <a:gd name="T59" fmla="*/ 922 h 1467"/>
                <a:gd name="T60" fmla="*/ 574 w 1265"/>
                <a:gd name="T61" fmla="*/ 926 h 1467"/>
                <a:gd name="T62" fmla="*/ 694 w 1265"/>
                <a:gd name="T63" fmla="*/ 909 h 1467"/>
                <a:gd name="T64" fmla="*/ 798 w 1265"/>
                <a:gd name="T65" fmla="*/ 1023 h 1467"/>
                <a:gd name="T66" fmla="*/ 895 w 1265"/>
                <a:gd name="T67" fmla="*/ 1116 h 1467"/>
                <a:gd name="T68" fmla="*/ 1058 w 1265"/>
                <a:gd name="T69" fmla="*/ 1320 h 1467"/>
                <a:gd name="T70" fmla="*/ 1068 w 1265"/>
                <a:gd name="T71" fmla="*/ 1340 h 1467"/>
                <a:gd name="T72" fmla="*/ 1082 w 1265"/>
                <a:gd name="T73" fmla="*/ 1427 h 1467"/>
                <a:gd name="T74" fmla="*/ 1118 w 1265"/>
                <a:gd name="T75" fmla="*/ 1440 h 1467"/>
                <a:gd name="T76" fmla="*/ 1259 w 1265"/>
                <a:gd name="T77" fmla="*/ 1146 h 1467"/>
                <a:gd name="T78" fmla="*/ 1242 w 1265"/>
                <a:gd name="T79" fmla="*/ 909 h 1467"/>
                <a:gd name="T80" fmla="*/ 1232 w 1265"/>
                <a:gd name="T81" fmla="*/ 862 h 1467"/>
                <a:gd name="T82" fmla="*/ 1262 w 1265"/>
                <a:gd name="T83" fmla="*/ 765 h 1467"/>
                <a:gd name="T84" fmla="*/ 1262 w 1265"/>
                <a:gd name="T85" fmla="*/ 642 h 1467"/>
                <a:gd name="T86" fmla="*/ 1122 w 1265"/>
                <a:gd name="T87" fmla="*/ 598 h 1467"/>
                <a:gd name="T88" fmla="*/ 1112 w 1265"/>
                <a:gd name="T89" fmla="*/ 538 h 1467"/>
                <a:gd name="T90" fmla="*/ 1125 w 1265"/>
                <a:gd name="T91" fmla="*/ 511 h 1467"/>
                <a:gd name="T92" fmla="*/ 1092 w 1265"/>
                <a:gd name="T93" fmla="*/ 525 h 1467"/>
                <a:gd name="T94" fmla="*/ 1045 w 1265"/>
                <a:gd name="T95" fmla="*/ 518 h 1467"/>
                <a:gd name="T96" fmla="*/ 948 w 1265"/>
                <a:gd name="T97" fmla="*/ 468 h 1467"/>
                <a:gd name="T98" fmla="*/ 935 w 1265"/>
                <a:gd name="T99" fmla="*/ 448 h 1467"/>
                <a:gd name="T100" fmla="*/ 858 w 1265"/>
                <a:gd name="T101" fmla="*/ 254 h 1467"/>
                <a:gd name="T102" fmla="*/ 691 w 1265"/>
                <a:gd name="T103" fmla="*/ 201 h 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65" h="1467">
                  <a:moveTo>
                    <a:pt x="407" y="0"/>
                  </a:moveTo>
                  <a:lnTo>
                    <a:pt x="360" y="0"/>
                  </a:lnTo>
                  <a:lnTo>
                    <a:pt x="367" y="37"/>
                  </a:lnTo>
                  <a:lnTo>
                    <a:pt x="394" y="64"/>
                  </a:lnTo>
                  <a:lnTo>
                    <a:pt x="404" y="37"/>
                  </a:lnTo>
                  <a:lnTo>
                    <a:pt x="437" y="40"/>
                  </a:lnTo>
                  <a:lnTo>
                    <a:pt x="441" y="23"/>
                  </a:lnTo>
                  <a:lnTo>
                    <a:pt x="407" y="0"/>
                  </a:lnTo>
                  <a:close/>
                  <a:moveTo>
                    <a:pt x="691" y="201"/>
                  </a:moveTo>
                  <a:lnTo>
                    <a:pt x="400" y="244"/>
                  </a:lnTo>
                  <a:lnTo>
                    <a:pt x="217" y="297"/>
                  </a:lnTo>
                  <a:lnTo>
                    <a:pt x="187" y="324"/>
                  </a:lnTo>
                  <a:lnTo>
                    <a:pt x="173" y="328"/>
                  </a:lnTo>
                  <a:lnTo>
                    <a:pt x="163" y="321"/>
                  </a:lnTo>
                  <a:lnTo>
                    <a:pt x="143" y="304"/>
                  </a:lnTo>
                  <a:lnTo>
                    <a:pt x="130" y="297"/>
                  </a:lnTo>
                  <a:lnTo>
                    <a:pt x="20" y="301"/>
                  </a:lnTo>
                  <a:lnTo>
                    <a:pt x="6" y="328"/>
                  </a:lnTo>
                  <a:lnTo>
                    <a:pt x="3" y="354"/>
                  </a:lnTo>
                  <a:lnTo>
                    <a:pt x="13" y="398"/>
                  </a:lnTo>
                  <a:lnTo>
                    <a:pt x="30" y="404"/>
                  </a:lnTo>
                  <a:lnTo>
                    <a:pt x="53" y="411"/>
                  </a:lnTo>
                  <a:lnTo>
                    <a:pt x="60" y="414"/>
                  </a:lnTo>
                  <a:lnTo>
                    <a:pt x="63" y="421"/>
                  </a:lnTo>
                  <a:lnTo>
                    <a:pt x="70" y="431"/>
                  </a:lnTo>
                  <a:lnTo>
                    <a:pt x="76" y="434"/>
                  </a:lnTo>
                  <a:lnTo>
                    <a:pt x="80" y="438"/>
                  </a:lnTo>
                  <a:lnTo>
                    <a:pt x="83" y="438"/>
                  </a:lnTo>
                  <a:lnTo>
                    <a:pt x="86" y="438"/>
                  </a:lnTo>
                  <a:lnTo>
                    <a:pt x="90" y="438"/>
                  </a:lnTo>
                  <a:lnTo>
                    <a:pt x="97" y="431"/>
                  </a:lnTo>
                  <a:lnTo>
                    <a:pt x="103" y="431"/>
                  </a:lnTo>
                  <a:lnTo>
                    <a:pt x="107" y="431"/>
                  </a:lnTo>
                  <a:lnTo>
                    <a:pt x="127" y="438"/>
                  </a:lnTo>
                  <a:lnTo>
                    <a:pt x="133" y="445"/>
                  </a:lnTo>
                  <a:lnTo>
                    <a:pt x="133" y="458"/>
                  </a:lnTo>
                  <a:lnTo>
                    <a:pt x="133" y="481"/>
                  </a:lnTo>
                  <a:lnTo>
                    <a:pt x="130" y="501"/>
                  </a:lnTo>
                  <a:lnTo>
                    <a:pt x="133" y="505"/>
                  </a:lnTo>
                  <a:lnTo>
                    <a:pt x="137" y="508"/>
                  </a:lnTo>
                  <a:lnTo>
                    <a:pt x="143" y="508"/>
                  </a:lnTo>
                  <a:lnTo>
                    <a:pt x="143" y="511"/>
                  </a:lnTo>
                  <a:lnTo>
                    <a:pt x="140" y="515"/>
                  </a:lnTo>
                  <a:lnTo>
                    <a:pt x="120" y="535"/>
                  </a:lnTo>
                  <a:lnTo>
                    <a:pt x="103" y="555"/>
                  </a:lnTo>
                  <a:lnTo>
                    <a:pt x="100" y="565"/>
                  </a:lnTo>
                  <a:lnTo>
                    <a:pt x="93" y="592"/>
                  </a:lnTo>
                  <a:lnTo>
                    <a:pt x="76" y="622"/>
                  </a:lnTo>
                  <a:lnTo>
                    <a:pt x="60" y="652"/>
                  </a:lnTo>
                  <a:lnTo>
                    <a:pt x="63" y="662"/>
                  </a:lnTo>
                  <a:lnTo>
                    <a:pt x="63" y="672"/>
                  </a:lnTo>
                  <a:lnTo>
                    <a:pt x="66" y="675"/>
                  </a:lnTo>
                  <a:lnTo>
                    <a:pt x="70" y="682"/>
                  </a:lnTo>
                  <a:lnTo>
                    <a:pt x="70" y="688"/>
                  </a:lnTo>
                  <a:lnTo>
                    <a:pt x="70" y="692"/>
                  </a:lnTo>
                  <a:lnTo>
                    <a:pt x="66" y="702"/>
                  </a:lnTo>
                  <a:lnTo>
                    <a:pt x="20" y="762"/>
                  </a:lnTo>
                  <a:lnTo>
                    <a:pt x="10" y="789"/>
                  </a:lnTo>
                  <a:lnTo>
                    <a:pt x="0" y="832"/>
                  </a:lnTo>
                  <a:lnTo>
                    <a:pt x="6" y="876"/>
                  </a:lnTo>
                  <a:lnTo>
                    <a:pt x="16" y="889"/>
                  </a:lnTo>
                  <a:lnTo>
                    <a:pt x="33" y="906"/>
                  </a:lnTo>
                  <a:lnTo>
                    <a:pt x="43" y="909"/>
                  </a:lnTo>
                  <a:lnTo>
                    <a:pt x="97" y="912"/>
                  </a:lnTo>
                  <a:lnTo>
                    <a:pt x="117" y="922"/>
                  </a:lnTo>
                  <a:lnTo>
                    <a:pt x="163" y="949"/>
                  </a:lnTo>
                  <a:lnTo>
                    <a:pt x="173" y="956"/>
                  </a:lnTo>
                  <a:lnTo>
                    <a:pt x="197" y="962"/>
                  </a:lnTo>
                  <a:lnTo>
                    <a:pt x="207" y="959"/>
                  </a:lnTo>
                  <a:lnTo>
                    <a:pt x="227" y="922"/>
                  </a:lnTo>
                  <a:lnTo>
                    <a:pt x="233" y="902"/>
                  </a:lnTo>
                  <a:lnTo>
                    <a:pt x="237" y="889"/>
                  </a:lnTo>
                  <a:lnTo>
                    <a:pt x="253" y="856"/>
                  </a:lnTo>
                  <a:lnTo>
                    <a:pt x="257" y="846"/>
                  </a:lnTo>
                  <a:lnTo>
                    <a:pt x="257" y="842"/>
                  </a:lnTo>
                  <a:lnTo>
                    <a:pt x="267" y="822"/>
                  </a:lnTo>
                  <a:lnTo>
                    <a:pt x="284" y="799"/>
                  </a:lnTo>
                  <a:lnTo>
                    <a:pt x="300" y="782"/>
                  </a:lnTo>
                  <a:lnTo>
                    <a:pt x="324" y="765"/>
                  </a:lnTo>
                  <a:lnTo>
                    <a:pt x="367" y="725"/>
                  </a:lnTo>
                  <a:lnTo>
                    <a:pt x="407" y="745"/>
                  </a:lnTo>
                  <a:lnTo>
                    <a:pt x="430" y="755"/>
                  </a:lnTo>
                  <a:lnTo>
                    <a:pt x="444" y="752"/>
                  </a:lnTo>
                  <a:lnTo>
                    <a:pt x="464" y="782"/>
                  </a:lnTo>
                  <a:lnTo>
                    <a:pt x="484" y="819"/>
                  </a:lnTo>
                  <a:lnTo>
                    <a:pt x="487" y="819"/>
                  </a:lnTo>
                  <a:lnTo>
                    <a:pt x="494" y="822"/>
                  </a:lnTo>
                  <a:lnTo>
                    <a:pt x="507" y="832"/>
                  </a:lnTo>
                  <a:lnTo>
                    <a:pt x="551" y="889"/>
                  </a:lnTo>
                  <a:lnTo>
                    <a:pt x="564" y="922"/>
                  </a:lnTo>
                  <a:lnTo>
                    <a:pt x="567" y="926"/>
                  </a:lnTo>
                  <a:lnTo>
                    <a:pt x="567" y="929"/>
                  </a:lnTo>
                  <a:lnTo>
                    <a:pt x="574" y="926"/>
                  </a:lnTo>
                  <a:lnTo>
                    <a:pt x="651" y="902"/>
                  </a:lnTo>
                  <a:lnTo>
                    <a:pt x="684" y="906"/>
                  </a:lnTo>
                  <a:lnTo>
                    <a:pt x="694" y="909"/>
                  </a:lnTo>
                  <a:lnTo>
                    <a:pt x="701" y="916"/>
                  </a:lnTo>
                  <a:lnTo>
                    <a:pt x="744" y="962"/>
                  </a:lnTo>
                  <a:lnTo>
                    <a:pt x="798" y="1023"/>
                  </a:lnTo>
                  <a:lnTo>
                    <a:pt x="828" y="1049"/>
                  </a:lnTo>
                  <a:lnTo>
                    <a:pt x="851" y="1073"/>
                  </a:lnTo>
                  <a:lnTo>
                    <a:pt x="895" y="1116"/>
                  </a:lnTo>
                  <a:lnTo>
                    <a:pt x="941" y="1166"/>
                  </a:lnTo>
                  <a:lnTo>
                    <a:pt x="998" y="1247"/>
                  </a:lnTo>
                  <a:lnTo>
                    <a:pt x="1058" y="1320"/>
                  </a:lnTo>
                  <a:lnTo>
                    <a:pt x="1068" y="1323"/>
                  </a:lnTo>
                  <a:lnTo>
                    <a:pt x="1068" y="1330"/>
                  </a:lnTo>
                  <a:lnTo>
                    <a:pt x="1068" y="1340"/>
                  </a:lnTo>
                  <a:lnTo>
                    <a:pt x="1042" y="1407"/>
                  </a:lnTo>
                  <a:lnTo>
                    <a:pt x="1068" y="1417"/>
                  </a:lnTo>
                  <a:lnTo>
                    <a:pt x="1082" y="1427"/>
                  </a:lnTo>
                  <a:lnTo>
                    <a:pt x="1102" y="1454"/>
                  </a:lnTo>
                  <a:lnTo>
                    <a:pt x="1108" y="1467"/>
                  </a:lnTo>
                  <a:lnTo>
                    <a:pt x="1118" y="1440"/>
                  </a:lnTo>
                  <a:lnTo>
                    <a:pt x="1219" y="1280"/>
                  </a:lnTo>
                  <a:lnTo>
                    <a:pt x="1245" y="1213"/>
                  </a:lnTo>
                  <a:lnTo>
                    <a:pt x="1259" y="1146"/>
                  </a:lnTo>
                  <a:lnTo>
                    <a:pt x="1259" y="1073"/>
                  </a:lnTo>
                  <a:lnTo>
                    <a:pt x="1249" y="929"/>
                  </a:lnTo>
                  <a:lnTo>
                    <a:pt x="1242" y="909"/>
                  </a:lnTo>
                  <a:lnTo>
                    <a:pt x="1239" y="899"/>
                  </a:lnTo>
                  <a:lnTo>
                    <a:pt x="1232" y="886"/>
                  </a:lnTo>
                  <a:lnTo>
                    <a:pt x="1232" y="862"/>
                  </a:lnTo>
                  <a:lnTo>
                    <a:pt x="1235" y="846"/>
                  </a:lnTo>
                  <a:lnTo>
                    <a:pt x="1252" y="802"/>
                  </a:lnTo>
                  <a:lnTo>
                    <a:pt x="1262" y="765"/>
                  </a:lnTo>
                  <a:lnTo>
                    <a:pt x="1265" y="732"/>
                  </a:lnTo>
                  <a:lnTo>
                    <a:pt x="1262" y="702"/>
                  </a:lnTo>
                  <a:lnTo>
                    <a:pt x="1262" y="642"/>
                  </a:lnTo>
                  <a:lnTo>
                    <a:pt x="1245" y="642"/>
                  </a:lnTo>
                  <a:lnTo>
                    <a:pt x="1159" y="618"/>
                  </a:lnTo>
                  <a:lnTo>
                    <a:pt x="1122" y="598"/>
                  </a:lnTo>
                  <a:lnTo>
                    <a:pt x="1118" y="565"/>
                  </a:lnTo>
                  <a:lnTo>
                    <a:pt x="1112" y="548"/>
                  </a:lnTo>
                  <a:lnTo>
                    <a:pt x="1112" y="538"/>
                  </a:lnTo>
                  <a:lnTo>
                    <a:pt x="1115" y="531"/>
                  </a:lnTo>
                  <a:lnTo>
                    <a:pt x="1125" y="525"/>
                  </a:lnTo>
                  <a:lnTo>
                    <a:pt x="1125" y="511"/>
                  </a:lnTo>
                  <a:lnTo>
                    <a:pt x="1118" y="511"/>
                  </a:lnTo>
                  <a:lnTo>
                    <a:pt x="1108" y="521"/>
                  </a:lnTo>
                  <a:lnTo>
                    <a:pt x="1092" y="525"/>
                  </a:lnTo>
                  <a:lnTo>
                    <a:pt x="1078" y="521"/>
                  </a:lnTo>
                  <a:lnTo>
                    <a:pt x="1068" y="511"/>
                  </a:lnTo>
                  <a:lnTo>
                    <a:pt x="1045" y="518"/>
                  </a:lnTo>
                  <a:lnTo>
                    <a:pt x="998" y="488"/>
                  </a:lnTo>
                  <a:lnTo>
                    <a:pt x="958" y="478"/>
                  </a:lnTo>
                  <a:lnTo>
                    <a:pt x="948" y="468"/>
                  </a:lnTo>
                  <a:lnTo>
                    <a:pt x="945" y="458"/>
                  </a:lnTo>
                  <a:lnTo>
                    <a:pt x="938" y="451"/>
                  </a:lnTo>
                  <a:lnTo>
                    <a:pt x="935" y="448"/>
                  </a:lnTo>
                  <a:lnTo>
                    <a:pt x="905" y="424"/>
                  </a:lnTo>
                  <a:lnTo>
                    <a:pt x="898" y="424"/>
                  </a:lnTo>
                  <a:lnTo>
                    <a:pt x="858" y="254"/>
                  </a:lnTo>
                  <a:lnTo>
                    <a:pt x="838" y="231"/>
                  </a:lnTo>
                  <a:lnTo>
                    <a:pt x="811" y="221"/>
                  </a:lnTo>
                  <a:lnTo>
                    <a:pt x="691" y="201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xmlns="" id="{D71AFC36-2924-4DFB-8C13-C3F00696C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" y="3200"/>
              <a:ext cx="804" cy="2022"/>
            </a:xfrm>
            <a:custGeom>
              <a:avLst/>
              <a:gdLst>
                <a:gd name="T0" fmla="*/ 380 w 804"/>
                <a:gd name="T1" fmla="*/ 37 h 2022"/>
                <a:gd name="T2" fmla="*/ 434 w 804"/>
                <a:gd name="T3" fmla="*/ 110 h 2022"/>
                <a:gd name="T4" fmla="*/ 537 w 804"/>
                <a:gd name="T5" fmla="*/ 224 h 2022"/>
                <a:gd name="T6" fmla="*/ 557 w 804"/>
                <a:gd name="T7" fmla="*/ 271 h 2022"/>
                <a:gd name="T8" fmla="*/ 604 w 804"/>
                <a:gd name="T9" fmla="*/ 388 h 2022"/>
                <a:gd name="T10" fmla="*/ 561 w 804"/>
                <a:gd name="T11" fmla="*/ 414 h 2022"/>
                <a:gd name="T12" fmla="*/ 440 w 804"/>
                <a:gd name="T13" fmla="*/ 438 h 2022"/>
                <a:gd name="T14" fmla="*/ 397 w 804"/>
                <a:gd name="T15" fmla="*/ 655 h 2022"/>
                <a:gd name="T16" fmla="*/ 397 w 804"/>
                <a:gd name="T17" fmla="*/ 839 h 2022"/>
                <a:gd name="T18" fmla="*/ 126 w 804"/>
                <a:gd name="T19" fmla="*/ 946 h 2022"/>
                <a:gd name="T20" fmla="*/ 76 w 804"/>
                <a:gd name="T21" fmla="*/ 1076 h 2022"/>
                <a:gd name="T22" fmla="*/ 20 w 804"/>
                <a:gd name="T23" fmla="*/ 1100 h 2022"/>
                <a:gd name="T24" fmla="*/ 106 w 804"/>
                <a:gd name="T25" fmla="*/ 1156 h 2022"/>
                <a:gd name="T26" fmla="*/ 203 w 804"/>
                <a:gd name="T27" fmla="*/ 1170 h 2022"/>
                <a:gd name="T28" fmla="*/ 280 w 804"/>
                <a:gd name="T29" fmla="*/ 1233 h 2022"/>
                <a:gd name="T30" fmla="*/ 354 w 804"/>
                <a:gd name="T31" fmla="*/ 1260 h 2022"/>
                <a:gd name="T32" fmla="*/ 334 w 804"/>
                <a:gd name="T33" fmla="*/ 1300 h 2022"/>
                <a:gd name="T34" fmla="*/ 337 w 804"/>
                <a:gd name="T35" fmla="*/ 1340 h 2022"/>
                <a:gd name="T36" fmla="*/ 313 w 804"/>
                <a:gd name="T37" fmla="*/ 1357 h 2022"/>
                <a:gd name="T38" fmla="*/ 303 w 804"/>
                <a:gd name="T39" fmla="*/ 1410 h 2022"/>
                <a:gd name="T40" fmla="*/ 263 w 804"/>
                <a:gd name="T41" fmla="*/ 1437 h 2022"/>
                <a:gd name="T42" fmla="*/ 207 w 804"/>
                <a:gd name="T43" fmla="*/ 1611 h 2022"/>
                <a:gd name="T44" fmla="*/ 247 w 804"/>
                <a:gd name="T45" fmla="*/ 1634 h 2022"/>
                <a:gd name="T46" fmla="*/ 187 w 804"/>
                <a:gd name="T47" fmla="*/ 1711 h 2022"/>
                <a:gd name="T48" fmla="*/ 86 w 804"/>
                <a:gd name="T49" fmla="*/ 1818 h 2022"/>
                <a:gd name="T50" fmla="*/ 163 w 804"/>
                <a:gd name="T51" fmla="*/ 1922 h 2022"/>
                <a:gd name="T52" fmla="*/ 190 w 804"/>
                <a:gd name="T53" fmla="*/ 2008 h 2022"/>
                <a:gd name="T54" fmla="*/ 233 w 804"/>
                <a:gd name="T55" fmla="*/ 1978 h 2022"/>
                <a:gd name="T56" fmla="*/ 283 w 804"/>
                <a:gd name="T57" fmla="*/ 2002 h 2022"/>
                <a:gd name="T58" fmla="*/ 517 w 804"/>
                <a:gd name="T59" fmla="*/ 2022 h 2022"/>
                <a:gd name="T60" fmla="*/ 527 w 804"/>
                <a:gd name="T61" fmla="*/ 1972 h 2022"/>
                <a:gd name="T62" fmla="*/ 531 w 804"/>
                <a:gd name="T63" fmla="*/ 1935 h 2022"/>
                <a:gd name="T64" fmla="*/ 551 w 804"/>
                <a:gd name="T65" fmla="*/ 1861 h 2022"/>
                <a:gd name="T66" fmla="*/ 621 w 804"/>
                <a:gd name="T67" fmla="*/ 1818 h 2022"/>
                <a:gd name="T68" fmla="*/ 617 w 804"/>
                <a:gd name="T69" fmla="*/ 1728 h 2022"/>
                <a:gd name="T70" fmla="*/ 557 w 804"/>
                <a:gd name="T71" fmla="*/ 1678 h 2022"/>
                <a:gd name="T72" fmla="*/ 551 w 804"/>
                <a:gd name="T73" fmla="*/ 1607 h 2022"/>
                <a:gd name="T74" fmla="*/ 477 w 804"/>
                <a:gd name="T75" fmla="*/ 1577 h 2022"/>
                <a:gd name="T76" fmla="*/ 397 w 804"/>
                <a:gd name="T77" fmla="*/ 1597 h 2022"/>
                <a:gd name="T78" fmla="*/ 404 w 804"/>
                <a:gd name="T79" fmla="*/ 1427 h 2022"/>
                <a:gd name="T80" fmla="*/ 474 w 804"/>
                <a:gd name="T81" fmla="*/ 1470 h 2022"/>
                <a:gd name="T82" fmla="*/ 641 w 804"/>
                <a:gd name="T83" fmla="*/ 1297 h 2022"/>
                <a:gd name="T84" fmla="*/ 734 w 804"/>
                <a:gd name="T85" fmla="*/ 1186 h 2022"/>
                <a:gd name="T86" fmla="*/ 624 w 804"/>
                <a:gd name="T87" fmla="*/ 1196 h 2022"/>
                <a:gd name="T88" fmla="*/ 641 w 804"/>
                <a:gd name="T89" fmla="*/ 1056 h 2022"/>
                <a:gd name="T90" fmla="*/ 774 w 804"/>
                <a:gd name="T91" fmla="*/ 872 h 2022"/>
                <a:gd name="T92" fmla="*/ 804 w 804"/>
                <a:gd name="T93" fmla="*/ 772 h 2022"/>
                <a:gd name="T94" fmla="*/ 801 w 804"/>
                <a:gd name="T95" fmla="*/ 632 h 2022"/>
                <a:gd name="T96" fmla="*/ 657 w 804"/>
                <a:gd name="T97" fmla="*/ 361 h 2022"/>
                <a:gd name="T98" fmla="*/ 587 w 804"/>
                <a:gd name="T99" fmla="*/ 227 h 2022"/>
                <a:gd name="T100" fmla="*/ 537 w 804"/>
                <a:gd name="T101" fmla="*/ 104 h 2022"/>
                <a:gd name="T102" fmla="*/ 477 w 804"/>
                <a:gd name="T103" fmla="*/ 70 h 2022"/>
                <a:gd name="T104" fmla="*/ 440 w 804"/>
                <a:gd name="T105" fmla="*/ 40 h 2022"/>
                <a:gd name="T106" fmla="*/ 404 w 804"/>
                <a:gd name="T107" fmla="*/ 0 h 2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04" h="2022">
                  <a:moveTo>
                    <a:pt x="404" y="0"/>
                  </a:moveTo>
                  <a:lnTo>
                    <a:pt x="394" y="3"/>
                  </a:lnTo>
                  <a:lnTo>
                    <a:pt x="384" y="13"/>
                  </a:lnTo>
                  <a:lnTo>
                    <a:pt x="380" y="37"/>
                  </a:lnTo>
                  <a:lnTo>
                    <a:pt x="407" y="50"/>
                  </a:lnTo>
                  <a:lnTo>
                    <a:pt x="404" y="74"/>
                  </a:lnTo>
                  <a:lnTo>
                    <a:pt x="414" y="97"/>
                  </a:lnTo>
                  <a:lnTo>
                    <a:pt x="434" y="110"/>
                  </a:lnTo>
                  <a:lnTo>
                    <a:pt x="480" y="117"/>
                  </a:lnTo>
                  <a:lnTo>
                    <a:pt x="501" y="130"/>
                  </a:lnTo>
                  <a:lnTo>
                    <a:pt x="517" y="204"/>
                  </a:lnTo>
                  <a:lnTo>
                    <a:pt x="537" y="224"/>
                  </a:lnTo>
                  <a:lnTo>
                    <a:pt x="527" y="244"/>
                  </a:lnTo>
                  <a:lnTo>
                    <a:pt x="534" y="254"/>
                  </a:lnTo>
                  <a:lnTo>
                    <a:pt x="547" y="261"/>
                  </a:lnTo>
                  <a:lnTo>
                    <a:pt x="557" y="271"/>
                  </a:lnTo>
                  <a:lnTo>
                    <a:pt x="581" y="314"/>
                  </a:lnTo>
                  <a:lnTo>
                    <a:pt x="584" y="321"/>
                  </a:lnTo>
                  <a:lnTo>
                    <a:pt x="587" y="328"/>
                  </a:lnTo>
                  <a:lnTo>
                    <a:pt x="604" y="388"/>
                  </a:lnTo>
                  <a:lnTo>
                    <a:pt x="611" y="404"/>
                  </a:lnTo>
                  <a:lnTo>
                    <a:pt x="611" y="421"/>
                  </a:lnTo>
                  <a:lnTo>
                    <a:pt x="591" y="438"/>
                  </a:lnTo>
                  <a:lnTo>
                    <a:pt x="561" y="414"/>
                  </a:lnTo>
                  <a:lnTo>
                    <a:pt x="551" y="414"/>
                  </a:lnTo>
                  <a:lnTo>
                    <a:pt x="490" y="435"/>
                  </a:lnTo>
                  <a:lnTo>
                    <a:pt x="457" y="438"/>
                  </a:lnTo>
                  <a:lnTo>
                    <a:pt x="440" y="438"/>
                  </a:lnTo>
                  <a:lnTo>
                    <a:pt x="394" y="425"/>
                  </a:lnTo>
                  <a:lnTo>
                    <a:pt x="350" y="418"/>
                  </a:lnTo>
                  <a:lnTo>
                    <a:pt x="370" y="541"/>
                  </a:lnTo>
                  <a:lnTo>
                    <a:pt x="397" y="655"/>
                  </a:lnTo>
                  <a:lnTo>
                    <a:pt x="440" y="715"/>
                  </a:lnTo>
                  <a:lnTo>
                    <a:pt x="470" y="779"/>
                  </a:lnTo>
                  <a:lnTo>
                    <a:pt x="424" y="815"/>
                  </a:lnTo>
                  <a:lnTo>
                    <a:pt x="397" y="839"/>
                  </a:lnTo>
                  <a:lnTo>
                    <a:pt x="357" y="849"/>
                  </a:lnTo>
                  <a:lnTo>
                    <a:pt x="270" y="876"/>
                  </a:lnTo>
                  <a:lnTo>
                    <a:pt x="150" y="912"/>
                  </a:lnTo>
                  <a:lnTo>
                    <a:pt x="126" y="946"/>
                  </a:lnTo>
                  <a:lnTo>
                    <a:pt x="116" y="959"/>
                  </a:lnTo>
                  <a:lnTo>
                    <a:pt x="96" y="999"/>
                  </a:lnTo>
                  <a:lnTo>
                    <a:pt x="83" y="1063"/>
                  </a:lnTo>
                  <a:lnTo>
                    <a:pt x="76" y="1076"/>
                  </a:lnTo>
                  <a:lnTo>
                    <a:pt x="70" y="1086"/>
                  </a:lnTo>
                  <a:lnTo>
                    <a:pt x="60" y="1093"/>
                  </a:lnTo>
                  <a:lnTo>
                    <a:pt x="50" y="1090"/>
                  </a:lnTo>
                  <a:lnTo>
                    <a:pt x="20" y="1100"/>
                  </a:lnTo>
                  <a:lnTo>
                    <a:pt x="0" y="1106"/>
                  </a:lnTo>
                  <a:lnTo>
                    <a:pt x="20" y="1123"/>
                  </a:lnTo>
                  <a:lnTo>
                    <a:pt x="90" y="1146"/>
                  </a:lnTo>
                  <a:lnTo>
                    <a:pt x="106" y="1156"/>
                  </a:lnTo>
                  <a:lnTo>
                    <a:pt x="116" y="1170"/>
                  </a:lnTo>
                  <a:lnTo>
                    <a:pt x="130" y="1180"/>
                  </a:lnTo>
                  <a:lnTo>
                    <a:pt x="150" y="1180"/>
                  </a:lnTo>
                  <a:lnTo>
                    <a:pt x="203" y="1170"/>
                  </a:lnTo>
                  <a:lnTo>
                    <a:pt x="220" y="1170"/>
                  </a:lnTo>
                  <a:lnTo>
                    <a:pt x="240" y="1183"/>
                  </a:lnTo>
                  <a:lnTo>
                    <a:pt x="263" y="1220"/>
                  </a:lnTo>
                  <a:lnTo>
                    <a:pt x="280" y="1233"/>
                  </a:lnTo>
                  <a:lnTo>
                    <a:pt x="320" y="1223"/>
                  </a:lnTo>
                  <a:lnTo>
                    <a:pt x="340" y="1223"/>
                  </a:lnTo>
                  <a:lnTo>
                    <a:pt x="350" y="1250"/>
                  </a:lnTo>
                  <a:lnTo>
                    <a:pt x="354" y="1260"/>
                  </a:lnTo>
                  <a:lnTo>
                    <a:pt x="354" y="1260"/>
                  </a:lnTo>
                  <a:lnTo>
                    <a:pt x="350" y="1263"/>
                  </a:lnTo>
                  <a:lnTo>
                    <a:pt x="337" y="1277"/>
                  </a:lnTo>
                  <a:lnTo>
                    <a:pt x="334" y="1300"/>
                  </a:lnTo>
                  <a:lnTo>
                    <a:pt x="360" y="1327"/>
                  </a:lnTo>
                  <a:lnTo>
                    <a:pt x="360" y="1330"/>
                  </a:lnTo>
                  <a:lnTo>
                    <a:pt x="350" y="1337"/>
                  </a:lnTo>
                  <a:lnTo>
                    <a:pt x="337" y="1340"/>
                  </a:lnTo>
                  <a:lnTo>
                    <a:pt x="337" y="1340"/>
                  </a:lnTo>
                  <a:lnTo>
                    <a:pt x="323" y="1343"/>
                  </a:lnTo>
                  <a:lnTo>
                    <a:pt x="310" y="1340"/>
                  </a:lnTo>
                  <a:lnTo>
                    <a:pt x="313" y="1357"/>
                  </a:lnTo>
                  <a:lnTo>
                    <a:pt x="313" y="1360"/>
                  </a:lnTo>
                  <a:lnTo>
                    <a:pt x="317" y="1370"/>
                  </a:lnTo>
                  <a:lnTo>
                    <a:pt x="310" y="1397"/>
                  </a:lnTo>
                  <a:lnTo>
                    <a:pt x="303" y="1410"/>
                  </a:lnTo>
                  <a:lnTo>
                    <a:pt x="293" y="1424"/>
                  </a:lnTo>
                  <a:lnTo>
                    <a:pt x="280" y="1410"/>
                  </a:lnTo>
                  <a:lnTo>
                    <a:pt x="270" y="1417"/>
                  </a:lnTo>
                  <a:lnTo>
                    <a:pt x="263" y="1437"/>
                  </a:lnTo>
                  <a:lnTo>
                    <a:pt x="260" y="1460"/>
                  </a:lnTo>
                  <a:lnTo>
                    <a:pt x="277" y="1484"/>
                  </a:lnTo>
                  <a:lnTo>
                    <a:pt x="257" y="1531"/>
                  </a:lnTo>
                  <a:lnTo>
                    <a:pt x="207" y="1611"/>
                  </a:lnTo>
                  <a:lnTo>
                    <a:pt x="237" y="1601"/>
                  </a:lnTo>
                  <a:lnTo>
                    <a:pt x="247" y="1601"/>
                  </a:lnTo>
                  <a:lnTo>
                    <a:pt x="260" y="1611"/>
                  </a:lnTo>
                  <a:lnTo>
                    <a:pt x="247" y="1634"/>
                  </a:lnTo>
                  <a:lnTo>
                    <a:pt x="223" y="1678"/>
                  </a:lnTo>
                  <a:lnTo>
                    <a:pt x="207" y="1701"/>
                  </a:lnTo>
                  <a:lnTo>
                    <a:pt x="203" y="1708"/>
                  </a:lnTo>
                  <a:lnTo>
                    <a:pt x="187" y="1711"/>
                  </a:lnTo>
                  <a:lnTo>
                    <a:pt x="173" y="1718"/>
                  </a:lnTo>
                  <a:lnTo>
                    <a:pt x="173" y="1718"/>
                  </a:lnTo>
                  <a:lnTo>
                    <a:pt x="163" y="1731"/>
                  </a:lnTo>
                  <a:lnTo>
                    <a:pt x="86" y="1818"/>
                  </a:lnTo>
                  <a:lnTo>
                    <a:pt x="86" y="1861"/>
                  </a:lnTo>
                  <a:lnTo>
                    <a:pt x="106" y="1892"/>
                  </a:lnTo>
                  <a:lnTo>
                    <a:pt x="136" y="1908"/>
                  </a:lnTo>
                  <a:lnTo>
                    <a:pt x="163" y="1922"/>
                  </a:lnTo>
                  <a:lnTo>
                    <a:pt x="180" y="1928"/>
                  </a:lnTo>
                  <a:lnTo>
                    <a:pt x="180" y="1952"/>
                  </a:lnTo>
                  <a:lnTo>
                    <a:pt x="167" y="1995"/>
                  </a:lnTo>
                  <a:lnTo>
                    <a:pt x="190" y="2008"/>
                  </a:lnTo>
                  <a:lnTo>
                    <a:pt x="203" y="2012"/>
                  </a:lnTo>
                  <a:lnTo>
                    <a:pt x="213" y="2008"/>
                  </a:lnTo>
                  <a:lnTo>
                    <a:pt x="220" y="1998"/>
                  </a:lnTo>
                  <a:lnTo>
                    <a:pt x="233" y="1978"/>
                  </a:lnTo>
                  <a:lnTo>
                    <a:pt x="243" y="1972"/>
                  </a:lnTo>
                  <a:lnTo>
                    <a:pt x="247" y="1972"/>
                  </a:lnTo>
                  <a:lnTo>
                    <a:pt x="257" y="1975"/>
                  </a:lnTo>
                  <a:lnTo>
                    <a:pt x="283" y="2002"/>
                  </a:lnTo>
                  <a:lnTo>
                    <a:pt x="297" y="2012"/>
                  </a:lnTo>
                  <a:lnTo>
                    <a:pt x="404" y="2008"/>
                  </a:lnTo>
                  <a:lnTo>
                    <a:pt x="430" y="2019"/>
                  </a:lnTo>
                  <a:lnTo>
                    <a:pt x="517" y="2022"/>
                  </a:lnTo>
                  <a:lnTo>
                    <a:pt x="544" y="2015"/>
                  </a:lnTo>
                  <a:lnTo>
                    <a:pt x="547" y="1992"/>
                  </a:lnTo>
                  <a:lnTo>
                    <a:pt x="537" y="1978"/>
                  </a:lnTo>
                  <a:lnTo>
                    <a:pt x="527" y="1972"/>
                  </a:lnTo>
                  <a:lnTo>
                    <a:pt x="517" y="1955"/>
                  </a:lnTo>
                  <a:lnTo>
                    <a:pt x="511" y="1928"/>
                  </a:lnTo>
                  <a:lnTo>
                    <a:pt x="511" y="1928"/>
                  </a:lnTo>
                  <a:lnTo>
                    <a:pt x="531" y="1935"/>
                  </a:lnTo>
                  <a:lnTo>
                    <a:pt x="547" y="1918"/>
                  </a:lnTo>
                  <a:lnTo>
                    <a:pt x="554" y="1895"/>
                  </a:lnTo>
                  <a:lnTo>
                    <a:pt x="551" y="1878"/>
                  </a:lnTo>
                  <a:lnTo>
                    <a:pt x="551" y="1861"/>
                  </a:lnTo>
                  <a:lnTo>
                    <a:pt x="561" y="1841"/>
                  </a:lnTo>
                  <a:lnTo>
                    <a:pt x="577" y="1831"/>
                  </a:lnTo>
                  <a:lnTo>
                    <a:pt x="604" y="1835"/>
                  </a:lnTo>
                  <a:lnTo>
                    <a:pt x="621" y="1818"/>
                  </a:lnTo>
                  <a:lnTo>
                    <a:pt x="627" y="1798"/>
                  </a:lnTo>
                  <a:lnTo>
                    <a:pt x="627" y="1781"/>
                  </a:lnTo>
                  <a:lnTo>
                    <a:pt x="617" y="1741"/>
                  </a:lnTo>
                  <a:lnTo>
                    <a:pt x="617" y="1728"/>
                  </a:lnTo>
                  <a:lnTo>
                    <a:pt x="624" y="1718"/>
                  </a:lnTo>
                  <a:lnTo>
                    <a:pt x="627" y="1711"/>
                  </a:lnTo>
                  <a:lnTo>
                    <a:pt x="587" y="1698"/>
                  </a:lnTo>
                  <a:lnTo>
                    <a:pt x="557" y="1678"/>
                  </a:lnTo>
                  <a:lnTo>
                    <a:pt x="551" y="1668"/>
                  </a:lnTo>
                  <a:lnTo>
                    <a:pt x="547" y="1651"/>
                  </a:lnTo>
                  <a:lnTo>
                    <a:pt x="544" y="1624"/>
                  </a:lnTo>
                  <a:lnTo>
                    <a:pt x="551" y="1607"/>
                  </a:lnTo>
                  <a:lnTo>
                    <a:pt x="557" y="1591"/>
                  </a:lnTo>
                  <a:lnTo>
                    <a:pt x="554" y="1581"/>
                  </a:lnTo>
                  <a:lnTo>
                    <a:pt x="511" y="1587"/>
                  </a:lnTo>
                  <a:lnTo>
                    <a:pt x="477" y="1577"/>
                  </a:lnTo>
                  <a:lnTo>
                    <a:pt x="460" y="1574"/>
                  </a:lnTo>
                  <a:lnTo>
                    <a:pt x="444" y="1577"/>
                  </a:lnTo>
                  <a:lnTo>
                    <a:pt x="414" y="1594"/>
                  </a:lnTo>
                  <a:lnTo>
                    <a:pt x="397" y="1597"/>
                  </a:lnTo>
                  <a:lnTo>
                    <a:pt x="394" y="1547"/>
                  </a:lnTo>
                  <a:lnTo>
                    <a:pt x="377" y="1494"/>
                  </a:lnTo>
                  <a:lnTo>
                    <a:pt x="367" y="1447"/>
                  </a:lnTo>
                  <a:lnTo>
                    <a:pt x="404" y="1427"/>
                  </a:lnTo>
                  <a:lnTo>
                    <a:pt x="420" y="1437"/>
                  </a:lnTo>
                  <a:lnTo>
                    <a:pt x="434" y="1457"/>
                  </a:lnTo>
                  <a:lnTo>
                    <a:pt x="450" y="1474"/>
                  </a:lnTo>
                  <a:lnTo>
                    <a:pt x="474" y="1470"/>
                  </a:lnTo>
                  <a:lnTo>
                    <a:pt x="487" y="1454"/>
                  </a:lnTo>
                  <a:lnTo>
                    <a:pt x="511" y="1404"/>
                  </a:lnTo>
                  <a:lnTo>
                    <a:pt x="527" y="1384"/>
                  </a:lnTo>
                  <a:lnTo>
                    <a:pt x="641" y="1297"/>
                  </a:lnTo>
                  <a:lnTo>
                    <a:pt x="711" y="1257"/>
                  </a:lnTo>
                  <a:lnTo>
                    <a:pt x="731" y="1233"/>
                  </a:lnTo>
                  <a:lnTo>
                    <a:pt x="704" y="1210"/>
                  </a:lnTo>
                  <a:lnTo>
                    <a:pt x="734" y="1186"/>
                  </a:lnTo>
                  <a:lnTo>
                    <a:pt x="741" y="1180"/>
                  </a:lnTo>
                  <a:lnTo>
                    <a:pt x="714" y="1170"/>
                  </a:lnTo>
                  <a:lnTo>
                    <a:pt x="654" y="1213"/>
                  </a:lnTo>
                  <a:lnTo>
                    <a:pt x="624" y="1196"/>
                  </a:lnTo>
                  <a:lnTo>
                    <a:pt x="614" y="1160"/>
                  </a:lnTo>
                  <a:lnTo>
                    <a:pt x="621" y="1116"/>
                  </a:lnTo>
                  <a:lnTo>
                    <a:pt x="631" y="1076"/>
                  </a:lnTo>
                  <a:lnTo>
                    <a:pt x="641" y="1056"/>
                  </a:lnTo>
                  <a:lnTo>
                    <a:pt x="667" y="1026"/>
                  </a:lnTo>
                  <a:lnTo>
                    <a:pt x="731" y="909"/>
                  </a:lnTo>
                  <a:lnTo>
                    <a:pt x="744" y="896"/>
                  </a:lnTo>
                  <a:lnTo>
                    <a:pt x="774" y="872"/>
                  </a:lnTo>
                  <a:lnTo>
                    <a:pt x="788" y="856"/>
                  </a:lnTo>
                  <a:lnTo>
                    <a:pt x="794" y="832"/>
                  </a:lnTo>
                  <a:lnTo>
                    <a:pt x="798" y="789"/>
                  </a:lnTo>
                  <a:lnTo>
                    <a:pt x="804" y="772"/>
                  </a:lnTo>
                  <a:lnTo>
                    <a:pt x="788" y="749"/>
                  </a:lnTo>
                  <a:lnTo>
                    <a:pt x="788" y="712"/>
                  </a:lnTo>
                  <a:lnTo>
                    <a:pt x="798" y="672"/>
                  </a:lnTo>
                  <a:lnTo>
                    <a:pt x="801" y="632"/>
                  </a:lnTo>
                  <a:lnTo>
                    <a:pt x="794" y="595"/>
                  </a:lnTo>
                  <a:lnTo>
                    <a:pt x="788" y="531"/>
                  </a:lnTo>
                  <a:lnTo>
                    <a:pt x="738" y="475"/>
                  </a:lnTo>
                  <a:lnTo>
                    <a:pt x="657" y="361"/>
                  </a:lnTo>
                  <a:lnTo>
                    <a:pt x="651" y="338"/>
                  </a:lnTo>
                  <a:lnTo>
                    <a:pt x="657" y="308"/>
                  </a:lnTo>
                  <a:lnTo>
                    <a:pt x="671" y="264"/>
                  </a:lnTo>
                  <a:lnTo>
                    <a:pt x="587" y="227"/>
                  </a:lnTo>
                  <a:lnTo>
                    <a:pt x="561" y="191"/>
                  </a:lnTo>
                  <a:lnTo>
                    <a:pt x="577" y="137"/>
                  </a:lnTo>
                  <a:lnTo>
                    <a:pt x="564" y="124"/>
                  </a:lnTo>
                  <a:lnTo>
                    <a:pt x="537" y="104"/>
                  </a:lnTo>
                  <a:lnTo>
                    <a:pt x="524" y="97"/>
                  </a:lnTo>
                  <a:lnTo>
                    <a:pt x="487" y="97"/>
                  </a:lnTo>
                  <a:lnTo>
                    <a:pt x="474" y="90"/>
                  </a:lnTo>
                  <a:lnTo>
                    <a:pt x="477" y="70"/>
                  </a:lnTo>
                  <a:lnTo>
                    <a:pt x="480" y="64"/>
                  </a:lnTo>
                  <a:lnTo>
                    <a:pt x="477" y="67"/>
                  </a:lnTo>
                  <a:lnTo>
                    <a:pt x="447" y="44"/>
                  </a:lnTo>
                  <a:lnTo>
                    <a:pt x="440" y="40"/>
                  </a:lnTo>
                  <a:lnTo>
                    <a:pt x="420" y="10"/>
                  </a:lnTo>
                  <a:lnTo>
                    <a:pt x="414" y="3"/>
                  </a:lnTo>
                  <a:lnTo>
                    <a:pt x="410" y="3"/>
                  </a:lnTo>
                  <a:lnTo>
                    <a:pt x="404" y="0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xmlns="" id="{85587104-E898-4C27-9807-77EE5B604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9" y="1041"/>
              <a:ext cx="1549" cy="1501"/>
            </a:xfrm>
            <a:custGeom>
              <a:avLst/>
              <a:gdLst>
                <a:gd name="T0" fmla="*/ 327 w 1549"/>
                <a:gd name="T1" fmla="*/ 30 h 1501"/>
                <a:gd name="T2" fmla="*/ 320 w 1549"/>
                <a:gd name="T3" fmla="*/ 47 h 1501"/>
                <a:gd name="T4" fmla="*/ 237 w 1549"/>
                <a:gd name="T5" fmla="*/ 50 h 1501"/>
                <a:gd name="T6" fmla="*/ 210 w 1549"/>
                <a:gd name="T7" fmla="*/ 30 h 1501"/>
                <a:gd name="T8" fmla="*/ 170 w 1549"/>
                <a:gd name="T9" fmla="*/ 47 h 1501"/>
                <a:gd name="T10" fmla="*/ 150 w 1549"/>
                <a:gd name="T11" fmla="*/ 77 h 1501"/>
                <a:gd name="T12" fmla="*/ 63 w 1549"/>
                <a:gd name="T13" fmla="*/ 94 h 1501"/>
                <a:gd name="T14" fmla="*/ 90 w 1549"/>
                <a:gd name="T15" fmla="*/ 151 h 1501"/>
                <a:gd name="T16" fmla="*/ 187 w 1549"/>
                <a:gd name="T17" fmla="*/ 284 h 1501"/>
                <a:gd name="T18" fmla="*/ 173 w 1549"/>
                <a:gd name="T19" fmla="*/ 368 h 1501"/>
                <a:gd name="T20" fmla="*/ 237 w 1549"/>
                <a:gd name="T21" fmla="*/ 395 h 1501"/>
                <a:gd name="T22" fmla="*/ 190 w 1549"/>
                <a:gd name="T23" fmla="*/ 482 h 1501"/>
                <a:gd name="T24" fmla="*/ 133 w 1549"/>
                <a:gd name="T25" fmla="*/ 475 h 1501"/>
                <a:gd name="T26" fmla="*/ 87 w 1549"/>
                <a:gd name="T27" fmla="*/ 562 h 1501"/>
                <a:gd name="T28" fmla="*/ 130 w 1549"/>
                <a:gd name="T29" fmla="*/ 675 h 1501"/>
                <a:gd name="T30" fmla="*/ 190 w 1549"/>
                <a:gd name="T31" fmla="*/ 759 h 1501"/>
                <a:gd name="T32" fmla="*/ 317 w 1549"/>
                <a:gd name="T33" fmla="*/ 702 h 1501"/>
                <a:gd name="T34" fmla="*/ 364 w 1549"/>
                <a:gd name="T35" fmla="*/ 762 h 1501"/>
                <a:gd name="T36" fmla="*/ 401 w 1549"/>
                <a:gd name="T37" fmla="*/ 839 h 1501"/>
                <a:gd name="T38" fmla="*/ 427 w 1549"/>
                <a:gd name="T39" fmla="*/ 909 h 1501"/>
                <a:gd name="T40" fmla="*/ 364 w 1549"/>
                <a:gd name="T41" fmla="*/ 976 h 1501"/>
                <a:gd name="T42" fmla="*/ 347 w 1549"/>
                <a:gd name="T43" fmla="*/ 1060 h 1501"/>
                <a:gd name="T44" fmla="*/ 370 w 1549"/>
                <a:gd name="T45" fmla="*/ 1110 h 1501"/>
                <a:gd name="T46" fmla="*/ 414 w 1549"/>
                <a:gd name="T47" fmla="*/ 1200 h 1501"/>
                <a:gd name="T48" fmla="*/ 441 w 1549"/>
                <a:gd name="T49" fmla="*/ 1223 h 1501"/>
                <a:gd name="T50" fmla="*/ 437 w 1549"/>
                <a:gd name="T51" fmla="*/ 1250 h 1501"/>
                <a:gd name="T52" fmla="*/ 457 w 1549"/>
                <a:gd name="T53" fmla="*/ 1270 h 1501"/>
                <a:gd name="T54" fmla="*/ 484 w 1549"/>
                <a:gd name="T55" fmla="*/ 1243 h 1501"/>
                <a:gd name="T56" fmla="*/ 671 w 1549"/>
                <a:gd name="T57" fmla="*/ 1257 h 1501"/>
                <a:gd name="T58" fmla="*/ 775 w 1549"/>
                <a:gd name="T59" fmla="*/ 1243 h 1501"/>
                <a:gd name="T60" fmla="*/ 901 w 1549"/>
                <a:gd name="T61" fmla="*/ 1364 h 1501"/>
                <a:gd name="T62" fmla="*/ 998 w 1549"/>
                <a:gd name="T63" fmla="*/ 1364 h 1501"/>
                <a:gd name="T64" fmla="*/ 1008 w 1549"/>
                <a:gd name="T65" fmla="*/ 1391 h 1501"/>
                <a:gd name="T66" fmla="*/ 1078 w 1549"/>
                <a:gd name="T67" fmla="*/ 1387 h 1501"/>
                <a:gd name="T68" fmla="*/ 1089 w 1549"/>
                <a:gd name="T69" fmla="*/ 1424 h 1501"/>
                <a:gd name="T70" fmla="*/ 1212 w 1549"/>
                <a:gd name="T71" fmla="*/ 1501 h 1501"/>
                <a:gd name="T72" fmla="*/ 1349 w 1549"/>
                <a:gd name="T73" fmla="*/ 1397 h 1501"/>
                <a:gd name="T74" fmla="*/ 1469 w 1549"/>
                <a:gd name="T75" fmla="*/ 1290 h 1501"/>
                <a:gd name="T76" fmla="*/ 1506 w 1549"/>
                <a:gd name="T77" fmla="*/ 1187 h 1501"/>
                <a:gd name="T78" fmla="*/ 1539 w 1549"/>
                <a:gd name="T79" fmla="*/ 1060 h 1501"/>
                <a:gd name="T80" fmla="*/ 1453 w 1549"/>
                <a:gd name="T81" fmla="*/ 819 h 1501"/>
                <a:gd name="T82" fmla="*/ 1369 w 1549"/>
                <a:gd name="T83" fmla="*/ 852 h 1501"/>
                <a:gd name="T84" fmla="*/ 1142 w 1549"/>
                <a:gd name="T85" fmla="*/ 792 h 1501"/>
                <a:gd name="T86" fmla="*/ 1102 w 1549"/>
                <a:gd name="T87" fmla="*/ 665 h 1501"/>
                <a:gd name="T88" fmla="*/ 1135 w 1549"/>
                <a:gd name="T89" fmla="*/ 562 h 1501"/>
                <a:gd name="T90" fmla="*/ 1135 w 1549"/>
                <a:gd name="T91" fmla="*/ 498 h 1501"/>
                <a:gd name="T92" fmla="*/ 1132 w 1549"/>
                <a:gd name="T93" fmla="*/ 451 h 1501"/>
                <a:gd name="T94" fmla="*/ 1119 w 1549"/>
                <a:gd name="T95" fmla="*/ 411 h 1501"/>
                <a:gd name="T96" fmla="*/ 918 w 1549"/>
                <a:gd name="T97" fmla="*/ 408 h 1501"/>
                <a:gd name="T98" fmla="*/ 855 w 1549"/>
                <a:gd name="T99" fmla="*/ 468 h 1501"/>
                <a:gd name="T100" fmla="*/ 821 w 1549"/>
                <a:gd name="T101" fmla="*/ 478 h 1501"/>
                <a:gd name="T102" fmla="*/ 798 w 1549"/>
                <a:gd name="T103" fmla="*/ 462 h 1501"/>
                <a:gd name="T104" fmla="*/ 775 w 1549"/>
                <a:gd name="T105" fmla="*/ 468 h 1501"/>
                <a:gd name="T106" fmla="*/ 731 w 1549"/>
                <a:gd name="T107" fmla="*/ 472 h 1501"/>
                <a:gd name="T108" fmla="*/ 671 w 1549"/>
                <a:gd name="T109" fmla="*/ 395 h 1501"/>
                <a:gd name="T110" fmla="*/ 588 w 1549"/>
                <a:gd name="T111" fmla="*/ 375 h 1501"/>
                <a:gd name="T112" fmla="*/ 514 w 1549"/>
                <a:gd name="T113" fmla="*/ 351 h 1501"/>
                <a:gd name="T114" fmla="*/ 484 w 1549"/>
                <a:gd name="T115" fmla="*/ 351 h 1501"/>
                <a:gd name="T116" fmla="*/ 424 w 1549"/>
                <a:gd name="T117" fmla="*/ 214 h 1501"/>
                <a:gd name="T118" fmla="*/ 517 w 1549"/>
                <a:gd name="T119" fmla="*/ 117 h 1501"/>
                <a:gd name="T120" fmla="*/ 421 w 1549"/>
                <a:gd name="T121" fmla="*/ 0 h 1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49" h="1501">
                  <a:moveTo>
                    <a:pt x="421" y="0"/>
                  </a:moveTo>
                  <a:lnTo>
                    <a:pt x="370" y="24"/>
                  </a:lnTo>
                  <a:lnTo>
                    <a:pt x="347" y="24"/>
                  </a:lnTo>
                  <a:lnTo>
                    <a:pt x="327" y="30"/>
                  </a:lnTo>
                  <a:lnTo>
                    <a:pt x="324" y="34"/>
                  </a:lnTo>
                  <a:lnTo>
                    <a:pt x="324" y="37"/>
                  </a:lnTo>
                  <a:lnTo>
                    <a:pt x="320" y="44"/>
                  </a:lnTo>
                  <a:lnTo>
                    <a:pt x="320" y="47"/>
                  </a:lnTo>
                  <a:lnTo>
                    <a:pt x="304" y="67"/>
                  </a:lnTo>
                  <a:lnTo>
                    <a:pt x="254" y="64"/>
                  </a:lnTo>
                  <a:lnTo>
                    <a:pt x="247" y="60"/>
                  </a:lnTo>
                  <a:lnTo>
                    <a:pt x="237" y="50"/>
                  </a:lnTo>
                  <a:lnTo>
                    <a:pt x="224" y="30"/>
                  </a:lnTo>
                  <a:lnTo>
                    <a:pt x="217" y="27"/>
                  </a:lnTo>
                  <a:lnTo>
                    <a:pt x="214" y="27"/>
                  </a:lnTo>
                  <a:lnTo>
                    <a:pt x="210" y="30"/>
                  </a:lnTo>
                  <a:lnTo>
                    <a:pt x="207" y="34"/>
                  </a:lnTo>
                  <a:lnTo>
                    <a:pt x="180" y="40"/>
                  </a:lnTo>
                  <a:lnTo>
                    <a:pt x="173" y="44"/>
                  </a:lnTo>
                  <a:lnTo>
                    <a:pt x="170" y="47"/>
                  </a:lnTo>
                  <a:lnTo>
                    <a:pt x="167" y="54"/>
                  </a:lnTo>
                  <a:lnTo>
                    <a:pt x="163" y="64"/>
                  </a:lnTo>
                  <a:lnTo>
                    <a:pt x="157" y="71"/>
                  </a:lnTo>
                  <a:lnTo>
                    <a:pt x="150" y="77"/>
                  </a:lnTo>
                  <a:lnTo>
                    <a:pt x="113" y="97"/>
                  </a:lnTo>
                  <a:lnTo>
                    <a:pt x="107" y="101"/>
                  </a:lnTo>
                  <a:lnTo>
                    <a:pt x="100" y="101"/>
                  </a:lnTo>
                  <a:lnTo>
                    <a:pt x="63" y="94"/>
                  </a:lnTo>
                  <a:lnTo>
                    <a:pt x="60" y="94"/>
                  </a:lnTo>
                  <a:lnTo>
                    <a:pt x="43" y="81"/>
                  </a:lnTo>
                  <a:lnTo>
                    <a:pt x="0" y="104"/>
                  </a:lnTo>
                  <a:lnTo>
                    <a:pt x="90" y="151"/>
                  </a:lnTo>
                  <a:lnTo>
                    <a:pt x="147" y="198"/>
                  </a:lnTo>
                  <a:lnTo>
                    <a:pt x="160" y="218"/>
                  </a:lnTo>
                  <a:lnTo>
                    <a:pt x="170" y="231"/>
                  </a:lnTo>
                  <a:lnTo>
                    <a:pt x="187" y="284"/>
                  </a:lnTo>
                  <a:lnTo>
                    <a:pt x="197" y="335"/>
                  </a:lnTo>
                  <a:lnTo>
                    <a:pt x="190" y="348"/>
                  </a:lnTo>
                  <a:lnTo>
                    <a:pt x="183" y="358"/>
                  </a:lnTo>
                  <a:lnTo>
                    <a:pt x="173" y="368"/>
                  </a:lnTo>
                  <a:lnTo>
                    <a:pt x="173" y="371"/>
                  </a:lnTo>
                  <a:lnTo>
                    <a:pt x="177" y="375"/>
                  </a:lnTo>
                  <a:lnTo>
                    <a:pt x="187" y="378"/>
                  </a:lnTo>
                  <a:lnTo>
                    <a:pt x="237" y="395"/>
                  </a:lnTo>
                  <a:lnTo>
                    <a:pt x="260" y="408"/>
                  </a:lnTo>
                  <a:lnTo>
                    <a:pt x="287" y="438"/>
                  </a:lnTo>
                  <a:lnTo>
                    <a:pt x="247" y="462"/>
                  </a:lnTo>
                  <a:lnTo>
                    <a:pt x="190" y="482"/>
                  </a:lnTo>
                  <a:lnTo>
                    <a:pt x="177" y="482"/>
                  </a:lnTo>
                  <a:lnTo>
                    <a:pt x="157" y="478"/>
                  </a:lnTo>
                  <a:lnTo>
                    <a:pt x="150" y="475"/>
                  </a:lnTo>
                  <a:lnTo>
                    <a:pt x="133" y="475"/>
                  </a:lnTo>
                  <a:lnTo>
                    <a:pt x="70" y="505"/>
                  </a:lnTo>
                  <a:lnTo>
                    <a:pt x="67" y="508"/>
                  </a:lnTo>
                  <a:lnTo>
                    <a:pt x="80" y="528"/>
                  </a:lnTo>
                  <a:lnTo>
                    <a:pt x="87" y="562"/>
                  </a:lnTo>
                  <a:lnTo>
                    <a:pt x="103" y="635"/>
                  </a:lnTo>
                  <a:lnTo>
                    <a:pt x="110" y="672"/>
                  </a:lnTo>
                  <a:lnTo>
                    <a:pt x="110" y="672"/>
                  </a:lnTo>
                  <a:lnTo>
                    <a:pt x="130" y="675"/>
                  </a:lnTo>
                  <a:lnTo>
                    <a:pt x="143" y="699"/>
                  </a:lnTo>
                  <a:lnTo>
                    <a:pt x="170" y="749"/>
                  </a:lnTo>
                  <a:lnTo>
                    <a:pt x="180" y="756"/>
                  </a:lnTo>
                  <a:lnTo>
                    <a:pt x="190" y="759"/>
                  </a:lnTo>
                  <a:lnTo>
                    <a:pt x="227" y="749"/>
                  </a:lnTo>
                  <a:lnTo>
                    <a:pt x="264" y="715"/>
                  </a:lnTo>
                  <a:lnTo>
                    <a:pt x="300" y="695"/>
                  </a:lnTo>
                  <a:lnTo>
                    <a:pt x="317" y="702"/>
                  </a:lnTo>
                  <a:lnTo>
                    <a:pt x="324" y="705"/>
                  </a:lnTo>
                  <a:lnTo>
                    <a:pt x="334" y="719"/>
                  </a:lnTo>
                  <a:lnTo>
                    <a:pt x="340" y="739"/>
                  </a:lnTo>
                  <a:lnTo>
                    <a:pt x="364" y="762"/>
                  </a:lnTo>
                  <a:lnTo>
                    <a:pt x="374" y="769"/>
                  </a:lnTo>
                  <a:lnTo>
                    <a:pt x="380" y="782"/>
                  </a:lnTo>
                  <a:lnTo>
                    <a:pt x="391" y="812"/>
                  </a:lnTo>
                  <a:lnTo>
                    <a:pt x="401" y="839"/>
                  </a:lnTo>
                  <a:lnTo>
                    <a:pt x="427" y="876"/>
                  </a:lnTo>
                  <a:lnTo>
                    <a:pt x="427" y="883"/>
                  </a:lnTo>
                  <a:lnTo>
                    <a:pt x="431" y="886"/>
                  </a:lnTo>
                  <a:lnTo>
                    <a:pt x="427" y="909"/>
                  </a:lnTo>
                  <a:lnTo>
                    <a:pt x="411" y="959"/>
                  </a:lnTo>
                  <a:lnTo>
                    <a:pt x="370" y="973"/>
                  </a:lnTo>
                  <a:lnTo>
                    <a:pt x="367" y="976"/>
                  </a:lnTo>
                  <a:lnTo>
                    <a:pt x="364" y="976"/>
                  </a:lnTo>
                  <a:lnTo>
                    <a:pt x="370" y="993"/>
                  </a:lnTo>
                  <a:lnTo>
                    <a:pt x="370" y="1000"/>
                  </a:lnTo>
                  <a:lnTo>
                    <a:pt x="360" y="1016"/>
                  </a:lnTo>
                  <a:lnTo>
                    <a:pt x="347" y="1060"/>
                  </a:lnTo>
                  <a:lnTo>
                    <a:pt x="347" y="1076"/>
                  </a:lnTo>
                  <a:lnTo>
                    <a:pt x="350" y="1083"/>
                  </a:lnTo>
                  <a:lnTo>
                    <a:pt x="364" y="1100"/>
                  </a:lnTo>
                  <a:lnTo>
                    <a:pt x="370" y="1110"/>
                  </a:lnTo>
                  <a:lnTo>
                    <a:pt x="394" y="1120"/>
                  </a:lnTo>
                  <a:lnTo>
                    <a:pt x="417" y="1177"/>
                  </a:lnTo>
                  <a:lnTo>
                    <a:pt x="414" y="1193"/>
                  </a:lnTo>
                  <a:lnTo>
                    <a:pt x="414" y="1200"/>
                  </a:lnTo>
                  <a:lnTo>
                    <a:pt x="414" y="1207"/>
                  </a:lnTo>
                  <a:lnTo>
                    <a:pt x="421" y="1210"/>
                  </a:lnTo>
                  <a:lnTo>
                    <a:pt x="434" y="1217"/>
                  </a:lnTo>
                  <a:lnTo>
                    <a:pt x="441" y="1223"/>
                  </a:lnTo>
                  <a:lnTo>
                    <a:pt x="444" y="1233"/>
                  </a:lnTo>
                  <a:lnTo>
                    <a:pt x="437" y="1243"/>
                  </a:lnTo>
                  <a:lnTo>
                    <a:pt x="437" y="1247"/>
                  </a:lnTo>
                  <a:lnTo>
                    <a:pt x="437" y="1250"/>
                  </a:lnTo>
                  <a:lnTo>
                    <a:pt x="441" y="1253"/>
                  </a:lnTo>
                  <a:lnTo>
                    <a:pt x="444" y="1260"/>
                  </a:lnTo>
                  <a:lnTo>
                    <a:pt x="454" y="1270"/>
                  </a:lnTo>
                  <a:lnTo>
                    <a:pt x="457" y="1270"/>
                  </a:lnTo>
                  <a:lnTo>
                    <a:pt x="461" y="1270"/>
                  </a:lnTo>
                  <a:lnTo>
                    <a:pt x="467" y="1257"/>
                  </a:lnTo>
                  <a:lnTo>
                    <a:pt x="481" y="1247"/>
                  </a:lnTo>
                  <a:lnTo>
                    <a:pt x="484" y="1243"/>
                  </a:lnTo>
                  <a:lnTo>
                    <a:pt x="497" y="1243"/>
                  </a:lnTo>
                  <a:lnTo>
                    <a:pt x="581" y="1260"/>
                  </a:lnTo>
                  <a:lnTo>
                    <a:pt x="661" y="1260"/>
                  </a:lnTo>
                  <a:lnTo>
                    <a:pt x="671" y="1257"/>
                  </a:lnTo>
                  <a:lnTo>
                    <a:pt x="691" y="1243"/>
                  </a:lnTo>
                  <a:lnTo>
                    <a:pt x="731" y="1227"/>
                  </a:lnTo>
                  <a:lnTo>
                    <a:pt x="768" y="1230"/>
                  </a:lnTo>
                  <a:lnTo>
                    <a:pt x="775" y="1243"/>
                  </a:lnTo>
                  <a:lnTo>
                    <a:pt x="778" y="1247"/>
                  </a:lnTo>
                  <a:lnTo>
                    <a:pt x="835" y="1330"/>
                  </a:lnTo>
                  <a:lnTo>
                    <a:pt x="871" y="1364"/>
                  </a:lnTo>
                  <a:lnTo>
                    <a:pt x="901" y="1364"/>
                  </a:lnTo>
                  <a:lnTo>
                    <a:pt x="948" y="1367"/>
                  </a:lnTo>
                  <a:lnTo>
                    <a:pt x="982" y="1360"/>
                  </a:lnTo>
                  <a:lnTo>
                    <a:pt x="992" y="1360"/>
                  </a:lnTo>
                  <a:lnTo>
                    <a:pt x="998" y="1364"/>
                  </a:lnTo>
                  <a:lnTo>
                    <a:pt x="1002" y="1374"/>
                  </a:lnTo>
                  <a:lnTo>
                    <a:pt x="1002" y="1380"/>
                  </a:lnTo>
                  <a:lnTo>
                    <a:pt x="1002" y="1387"/>
                  </a:lnTo>
                  <a:lnTo>
                    <a:pt x="1008" y="1391"/>
                  </a:lnTo>
                  <a:lnTo>
                    <a:pt x="1012" y="1391"/>
                  </a:lnTo>
                  <a:lnTo>
                    <a:pt x="1055" y="1380"/>
                  </a:lnTo>
                  <a:lnTo>
                    <a:pt x="1065" y="1384"/>
                  </a:lnTo>
                  <a:lnTo>
                    <a:pt x="1078" y="1387"/>
                  </a:lnTo>
                  <a:lnTo>
                    <a:pt x="1082" y="1391"/>
                  </a:lnTo>
                  <a:lnTo>
                    <a:pt x="1085" y="1397"/>
                  </a:lnTo>
                  <a:lnTo>
                    <a:pt x="1089" y="1404"/>
                  </a:lnTo>
                  <a:lnTo>
                    <a:pt x="1089" y="1424"/>
                  </a:lnTo>
                  <a:lnTo>
                    <a:pt x="1089" y="1434"/>
                  </a:lnTo>
                  <a:lnTo>
                    <a:pt x="1075" y="1464"/>
                  </a:lnTo>
                  <a:lnTo>
                    <a:pt x="1195" y="1491"/>
                  </a:lnTo>
                  <a:lnTo>
                    <a:pt x="1212" y="1501"/>
                  </a:lnTo>
                  <a:lnTo>
                    <a:pt x="1282" y="1494"/>
                  </a:lnTo>
                  <a:lnTo>
                    <a:pt x="1299" y="1477"/>
                  </a:lnTo>
                  <a:lnTo>
                    <a:pt x="1326" y="1424"/>
                  </a:lnTo>
                  <a:lnTo>
                    <a:pt x="1349" y="1397"/>
                  </a:lnTo>
                  <a:lnTo>
                    <a:pt x="1402" y="1374"/>
                  </a:lnTo>
                  <a:lnTo>
                    <a:pt x="1426" y="1354"/>
                  </a:lnTo>
                  <a:lnTo>
                    <a:pt x="1456" y="1307"/>
                  </a:lnTo>
                  <a:lnTo>
                    <a:pt x="1469" y="1290"/>
                  </a:lnTo>
                  <a:lnTo>
                    <a:pt x="1523" y="1257"/>
                  </a:lnTo>
                  <a:lnTo>
                    <a:pt x="1529" y="1247"/>
                  </a:lnTo>
                  <a:lnTo>
                    <a:pt x="1516" y="1227"/>
                  </a:lnTo>
                  <a:lnTo>
                    <a:pt x="1506" y="1187"/>
                  </a:lnTo>
                  <a:lnTo>
                    <a:pt x="1506" y="1187"/>
                  </a:lnTo>
                  <a:lnTo>
                    <a:pt x="1506" y="1150"/>
                  </a:lnTo>
                  <a:lnTo>
                    <a:pt x="1516" y="1120"/>
                  </a:lnTo>
                  <a:lnTo>
                    <a:pt x="1539" y="1060"/>
                  </a:lnTo>
                  <a:lnTo>
                    <a:pt x="1549" y="990"/>
                  </a:lnTo>
                  <a:lnTo>
                    <a:pt x="1533" y="936"/>
                  </a:lnTo>
                  <a:lnTo>
                    <a:pt x="1459" y="816"/>
                  </a:lnTo>
                  <a:lnTo>
                    <a:pt x="1453" y="819"/>
                  </a:lnTo>
                  <a:lnTo>
                    <a:pt x="1443" y="832"/>
                  </a:lnTo>
                  <a:lnTo>
                    <a:pt x="1433" y="842"/>
                  </a:lnTo>
                  <a:lnTo>
                    <a:pt x="1402" y="852"/>
                  </a:lnTo>
                  <a:lnTo>
                    <a:pt x="1369" y="852"/>
                  </a:lnTo>
                  <a:lnTo>
                    <a:pt x="1336" y="849"/>
                  </a:lnTo>
                  <a:lnTo>
                    <a:pt x="1272" y="822"/>
                  </a:lnTo>
                  <a:lnTo>
                    <a:pt x="1172" y="809"/>
                  </a:lnTo>
                  <a:lnTo>
                    <a:pt x="1142" y="792"/>
                  </a:lnTo>
                  <a:lnTo>
                    <a:pt x="1119" y="766"/>
                  </a:lnTo>
                  <a:lnTo>
                    <a:pt x="1109" y="736"/>
                  </a:lnTo>
                  <a:lnTo>
                    <a:pt x="1109" y="699"/>
                  </a:lnTo>
                  <a:lnTo>
                    <a:pt x="1102" y="665"/>
                  </a:lnTo>
                  <a:lnTo>
                    <a:pt x="1089" y="632"/>
                  </a:lnTo>
                  <a:lnTo>
                    <a:pt x="1109" y="632"/>
                  </a:lnTo>
                  <a:lnTo>
                    <a:pt x="1175" y="595"/>
                  </a:lnTo>
                  <a:lnTo>
                    <a:pt x="1135" y="562"/>
                  </a:lnTo>
                  <a:lnTo>
                    <a:pt x="1129" y="548"/>
                  </a:lnTo>
                  <a:lnTo>
                    <a:pt x="1129" y="532"/>
                  </a:lnTo>
                  <a:lnTo>
                    <a:pt x="1132" y="515"/>
                  </a:lnTo>
                  <a:lnTo>
                    <a:pt x="1135" y="498"/>
                  </a:lnTo>
                  <a:lnTo>
                    <a:pt x="1125" y="475"/>
                  </a:lnTo>
                  <a:lnTo>
                    <a:pt x="1145" y="462"/>
                  </a:lnTo>
                  <a:lnTo>
                    <a:pt x="1145" y="462"/>
                  </a:lnTo>
                  <a:lnTo>
                    <a:pt x="1132" y="451"/>
                  </a:lnTo>
                  <a:lnTo>
                    <a:pt x="1129" y="435"/>
                  </a:lnTo>
                  <a:lnTo>
                    <a:pt x="1132" y="421"/>
                  </a:lnTo>
                  <a:lnTo>
                    <a:pt x="1125" y="415"/>
                  </a:lnTo>
                  <a:lnTo>
                    <a:pt x="1119" y="411"/>
                  </a:lnTo>
                  <a:lnTo>
                    <a:pt x="1032" y="368"/>
                  </a:lnTo>
                  <a:lnTo>
                    <a:pt x="1015" y="368"/>
                  </a:lnTo>
                  <a:lnTo>
                    <a:pt x="978" y="375"/>
                  </a:lnTo>
                  <a:lnTo>
                    <a:pt x="918" y="408"/>
                  </a:lnTo>
                  <a:lnTo>
                    <a:pt x="905" y="421"/>
                  </a:lnTo>
                  <a:lnTo>
                    <a:pt x="901" y="431"/>
                  </a:lnTo>
                  <a:lnTo>
                    <a:pt x="905" y="492"/>
                  </a:lnTo>
                  <a:lnTo>
                    <a:pt x="855" y="468"/>
                  </a:lnTo>
                  <a:lnTo>
                    <a:pt x="845" y="465"/>
                  </a:lnTo>
                  <a:lnTo>
                    <a:pt x="838" y="465"/>
                  </a:lnTo>
                  <a:lnTo>
                    <a:pt x="831" y="472"/>
                  </a:lnTo>
                  <a:lnTo>
                    <a:pt x="821" y="478"/>
                  </a:lnTo>
                  <a:lnTo>
                    <a:pt x="815" y="478"/>
                  </a:lnTo>
                  <a:lnTo>
                    <a:pt x="808" y="475"/>
                  </a:lnTo>
                  <a:lnTo>
                    <a:pt x="801" y="472"/>
                  </a:lnTo>
                  <a:lnTo>
                    <a:pt x="798" y="462"/>
                  </a:lnTo>
                  <a:lnTo>
                    <a:pt x="795" y="458"/>
                  </a:lnTo>
                  <a:lnTo>
                    <a:pt x="791" y="458"/>
                  </a:lnTo>
                  <a:lnTo>
                    <a:pt x="785" y="465"/>
                  </a:lnTo>
                  <a:lnTo>
                    <a:pt x="775" y="468"/>
                  </a:lnTo>
                  <a:lnTo>
                    <a:pt x="748" y="478"/>
                  </a:lnTo>
                  <a:lnTo>
                    <a:pt x="738" y="478"/>
                  </a:lnTo>
                  <a:lnTo>
                    <a:pt x="735" y="475"/>
                  </a:lnTo>
                  <a:lnTo>
                    <a:pt x="731" y="472"/>
                  </a:lnTo>
                  <a:lnTo>
                    <a:pt x="721" y="445"/>
                  </a:lnTo>
                  <a:lnTo>
                    <a:pt x="711" y="431"/>
                  </a:lnTo>
                  <a:lnTo>
                    <a:pt x="691" y="408"/>
                  </a:lnTo>
                  <a:lnTo>
                    <a:pt x="671" y="395"/>
                  </a:lnTo>
                  <a:lnTo>
                    <a:pt x="661" y="378"/>
                  </a:lnTo>
                  <a:lnTo>
                    <a:pt x="658" y="378"/>
                  </a:lnTo>
                  <a:lnTo>
                    <a:pt x="598" y="378"/>
                  </a:lnTo>
                  <a:lnTo>
                    <a:pt x="588" y="375"/>
                  </a:lnTo>
                  <a:lnTo>
                    <a:pt x="551" y="348"/>
                  </a:lnTo>
                  <a:lnTo>
                    <a:pt x="531" y="341"/>
                  </a:lnTo>
                  <a:lnTo>
                    <a:pt x="524" y="345"/>
                  </a:lnTo>
                  <a:lnTo>
                    <a:pt x="514" y="351"/>
                  </a:lnTo>
                  <a:lnTo>
                    <a:pt x="504" y="355"/>
                  </a:lnTo>
                  <a:lnTo>
                    <a:pt x="497" y="358"/>
                  </a:lnTo>
                  <a:lnTo>
                    <a:pt x="487" y="355"/>
                  </a:lnTo>
                  <a:lnTo>
                    <a:pt x="484" y="351"/>
                  </a:lnTo>
                  <a:lnTo>
                    <a:pt x="481" y="345"/>
                  </a:lnTo>
                  <a:lnTo>
                    <a:pt x="471" y="331"/>
                  </a:lnTo>
                  <a:lnTo>
                    <a:pt x="467" y="328"/>
                  </a:lnTo>
                  <a:lnTo>
                    <a:pt x="424" y="214"/>
                  </a:lnTo>
                  <a:lnTo>
                    <a:pt x="434" y="194"/>
                  </a:lnTo>
                  <a:lnTo>
                    <a:pt x="467" y="177"/>
                  </a:lnTo>
                  <a:lnTo>
                    <a:pt x="511" y="134"/>
                  </a:lnTo>
                  <a:lnTo>
                    <a:pt x="517" y="117"/>
                  </a:lnTo>
                  <a:lnTo>
                    <a:pt x="507" y="101"/>
                  </a:lnTo>
                  <a:lnTo>
                    <a:pt x="494" y="84"/>
                  </a:lnTo>
                  <a:lnTo>
                    <a:pt x="484" y="77"/>
                  </a:lnTo>
                  <a:lnTo>
                    <a:pt x="421" y="0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xmlns="" id="{32322A9B-44F1-4E5D-B4C1-B056969BC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7" y="1071"/>
              <a:ext cx="1089" cy="1143"/>
            </a:xfrm>
            <a:custGeom>
              <a:avLst/>
              <a:gdLst>
                <a:gd name="T0" fmla="*/ 722 w 1089"/>
                <a:gd name="T1" fmla="*/ 4 h 1143"/>
                <a:gd name="T2" fmla="*/ 678 w 1089"/>
                <a:gd name="T3" fmla="*/ 14 h 1143"/>
                <a:gd name="T4" fmla="*/ 611 w 1089"/>
                <a:gd name="T5" fmla="*/ 81 h 1143"/>
                <a:gd name="T6" fmla="*/ 578 w 1089"/>
                <a:gd name="T7" fmla="*/ 181 h 1143"/>
                <a:gd name="T8" fmla="*/ 571 w 1089"/>
                <a:gd name="T9" fmla="*/ 345 h 1143"/>
                <a:gd name="T10" fmla="*/ 608 w 1089"/>
                <a:gd name="T11" fmla="*/ 391 h 1143"/>
                <a:gd name="T12" fmla="*/ 648 w 1089"/>
                <a:gd name="T13" fmla="*/ 462 h 1143"/>
                <a:gd name="T14" fmla="*/ 828 w 1089"/>
                <a:gd name="T15" fmla="*/ 458 h 1143"/>
                <a:gd name="T16" fmla="*/ 869 w 1089"/>
                <a:gd name="T17" fmla="*/ 478 h 1143"/>
                <a:gd name="T18" fmla="*/ 935 w 1089"/>
                <a:gd name="T19" fmla="*/ 445 h 1143"/>
                <a:gd name="T20" fmla="*/ 959 w 1089"/>
                <a:gd name="T21" fmla="*/ 448 h 1143"/>
                <a:gd name="T22" fmla="*/ 992 w 1089"/>
                <a:gd name="T23" fmla="*/ 452 h 1143"/>
                <a:gd name="T24" fmla="*/ 1089 w 1089"/>
                <a:gd name="T25" fmla="*/ 408 h 1143"/>
                <a:gd name="T26" fmla="*/ 1039 w 1089"/>
                <a:gd name="T27" fmla="*/ 365 h 1143"/>
                <a:gd name="T28" fmla="*/ 979 w 1089"/>
                <a:gd name="T29" fmla="*/ 345 h 1143"/>
                <a:gd name="T30" fmla="*/ 975 w 1089"/>
                <a:gd name="T31" fmla="*/ 338 h 1143"/>
                <a:gd name="T32" fmla="*/ 992 w 1089"/>
                <a:gd name="T33" fmla="*/ 318 h 1143"/>
                <a:gd name="T34" fmla="*/ 989 w 1089"/>
                <a:gd name="T35" fmla="*/ 254 h 1143"/>
                <a:gd name="T36" fmla="*/ 962 w 1089"/>
                <a:gd name="T37" fmla="*/ 188 h 1143"/>
                <a:gd name="T38" fmla="*/ 892 w 1089"/>
                <a:gd name="T39" fmla="*/ 124 h 1143"/>
                <a:gd name="T40" fmla="*/ 788 w 1089"/>
                <a:gd name="T41" fmla="*/ 41 h 1143"/>
                <a:gd name="T42" fmla="*/ 745 w 1089"/>
                <a:gd name="T43" fmla="*/ 0 h 1143"/>
                <a:gd name="T44" fmla="*/ 618 w 1089"/>
                <a:gd name="T45" fmla="*/ 482 h 1143"/>
                <a:gd name="T46" fmla="*/ 525 w 1089"/>
                <a:gd name="T47" fmla="*/ 518 h 1143"/>
                <a:gd name="T48" fmla="*/ 458 w 1089"/>
                <a:gd name="T49" fmla="*/ 575 h 1143"/>
                <a:gd name="T50" fmla="*/ 424 w 1089"/>
                <a:gd name="T51" fmla="*/ 582 h 1143"/>
                <a:gd name="T52" fmla="*/ 378 w 1089"/>
                <a:gd name="T53" fmla="*/ 669 h 1143"/>
                <a:gd name="T54" fmla="*/ 277 w 1089"/>
                <a:gd name="T55" fmla="*/ 739 h 1143"/>
                <a:gd name="T56" fmla="*/ 130 w 1089"/>
                <a:gd name="T57" fmla="*/ 829 h 1143"/>
                <a:gd name="T58" fmla="*/ 20 w 1089"/>
                <a:gd name="T59" fmla="*/ 906 h 1143"/>
                <a:gd name="T60" fmla="*/ 10 w 1089"/>
                <a:gd name="T61" fmla="*/ 949 h 1143"/>
                <a:gd name="T62" fmla="*/ 24 w 1089"/>
                <a:gd name="T63" fmla="*/ 1000 h 1143"/>
                <a:gd name="T64" fmla="*/ 104 w 1089"/>
                <a:gd name="T65" fmla="*/ 1013 h 1143"/>
                <a:gd name="T66" fmla="*/ 211 w 1089"/>
                <a:gd name="T67" fmla="*/ 1046 h 1143"/>
                <a:gd name="T68" fmla="*/ 324 w 1089"/>
                <a:gd name="T69" fmla="*/ 1127 h 1143"/>
                <a:gd name="T70" fmla="*/ 438 w 1089"/>
                <a:gd name="T71" fmla="*/ 1140 h 1143"/>
                <a:gd name="T72" fmla="*/ 508 w 1089"/>
                <a:gd name="T73" fmla="*/ 1086 h 1143"/>
                <a:gd name="T74" fmla="*/ 505 w 1089"/>
                <a:gd name="T75" fmla="*/ 973 h 1143"/>
                <a:gd name="T76" fmla="*/ 555 w 1089"/>
                <a:gd name="T77" fmla="*/ 949 h 1143"/>
                <a:gd name="T78" fmla="*/ 595 w 1089"/>
                <a:gd name="T79" fmla="*/ 939 h 1143"/>
                <a:gd name="T80" fmla="*/ 635 w 1089"/>
                <a:gd name="T81" fmla="*/ 889 h 1143"/>
                <a:gd name="T82" fmla="*/ 725 w 1089"/>
                <a:gd name="T83" fmla="*/ 856 h 1143"/>
                <a:gd name="T84" fmla="*/ 795 w 1089"/>
                <a:gd name="T85" fmla="*/ 836 h 1143"/>
                <a:gd name="T86" fmla="*/ 855 w 1089"/>
                <a:gd name="T87" fmla="*/ 766 h 1143"/>
                <a:gd name="T88" fmla="*/ 892 w 1089"/>
                <a:gd name="T89" fmla="*/ 675 h 1143"/>
                <a:gd name="T90" fmla="*/ 869 w 1089"/>
                <a:gd name="T91" fmla="*/ 545 h 1143"/>
                <a:gd name="T92" fmla="*/ 638 w 1089"/>
                <a:gd name="T93" fmla="*/ 462 h 1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89" h="1143">
                  <a:moveTo>
                    <a:pt x="745" y="0"/>
                  </a:moveTo>
                  <a:lnTo>
                    <a:pt x="722" y="4"/>
                  </a:lnTo>
                  <a:lnTo>
                    <a:pt x="722" y="4"/>
                  </a:lnTo>
                  <a:lnTo>
                    <a:pt x="678" y="14"/>
                  </a:lnTo>
                  <a:lnTo>
                    <a:pt x="641" y="41"/>
                  </a:lnTo>
                  <a:lnTo>
                    <a:pt x="611" y="81"/>
                  </a:lnTo>
                  <a:lnTo>
                    <a:pt x="588" y="131"/>
                  </a:lnTo>
                  <a:lnTo>
                    <a:pt x="578" y="181"/>
                  </a:lnTo>
                  <a:lnTo>
                    <a:pt x="568" y="264"/>
                  </a:lnTo>
                  <a:lnTo>
                    <a:pt x="571" y="345"/>
                  </a:lnTo>
                  <a:lnTo>
                    <a:pt x="591" y="381"/>
                  </a:lnTo>
                  <a:lnTo>
                    <a:pt x="608" y="391"/>
                  </a:lnTo>
                  <a:lnTo>
                    <a:pt x="638" y="448"/>
                  </a:lnTo>
                  <a:lnTo>
                    <a:pt x="648" y="462"/>
                  </a:lnTo>
                  <a:lnTo>
                    <a:pt x="668" y="468"/>
                  </a:lnTo>
                  <a:lnTo>
                    <a:pt x="828" y="458"/>
                  </a:lnTo>
                  <a:lnTo>
                    <a:pt x="852" y="465"/>
                  </a:lnTo>
                  <a:lnTo>
                    <a:pt x="869" y="478"/>
                  </a:lnTo>
                  <a:lnTo>
                    <a:pt x="869" y="478"/>
                  </a:lnTo>
                  <a:lnTo>
                    <a:pt x="935" y="445"/>
                  </a:lnTo>
                  <a:lnTo>
                    <a:pt x="952" y="445"/>
                  </a:lnTo>
                  <a:lnTo>
                    <a:pt x="959" y="448"/>
                  </a:lnTo>
                  <a:lnTo>
                    <a:pt x="979" y="452"/>
                  </a:lnTo>
                  <a:lnTo>
                    <a:pt x="992" y="452"/>
                  </a:lnTo>
                  <a:lnTo>
                    <a:pt x="1049" y="432"/>
                  </a:lnTo>
                  <a:lnTo>
                    <a:pt x="1089" y="408"/>
                  </a:lnTo>
                  <a:lnTo>
                    <a:pt x="1062" y="378"/>
                  </a:lnTo>
                  <a:lnTo>
                    <a:pt x="1039" y="365"/>
                  </a:lnTo>
                  <a:lnTo>
                    <a:pt x="989" y="348"/>
                  </a:lnTo>
                  <a:lnTo>
                    <a:pt x="979" y="345"/>
                  </a:lnTo>
                  <a:lnTo>
                    <a:pt x="975" y="341"/>
                  </a:lnTo>
                  <a:lnTo>
                    <a:pt x="975" y="338"/>
                  </a:lnTo>
                  <a:lnTo>
                    <a:pt x="985" y="328"/>
                  </a:lnTo>
                  <a:lnTo>
                    <a:pt x="992" y="318"/>
                  </a:lnTo>
                  <a:lnTo>
                    <a:pt x="999" y="305"/>
                  </a:lnTo>
                  <a:lnTo>
                    <a:pt x="989" y="254"/>
                  </a:lnTo>
                  <a:lnTo>
                    <a:pt x="972" y="201"/>
                  </a:lnTo>
                  <a:lnTo>
                    <a:pt x="962" y="188"/>
                  </a:lnTo>
                  <a:lnTo>
                    <a:pt x="949" y="168"/>
                  </a:lnTo>
                  <a:lnTo>
                    <a:pt x="892" y="124"/>
                  </a:lnTo>
                  <a:lnTo>
                    <a:pt x="802" y="74"/>
                  </a:lnTo>
                  <a:lnTo>
                    <a:pt x="788" y="41"/>
                  </a:lnTo>
                  <a:lnTo>
                    <a:pt x="758" y="10"/>
                  </a:lnTo>
                  <a:lnTo>
                    <a:pt x="745" y="0"/>
                  </a:lnTo>
                  <a:close/>
                  <a:moveTo>
                    <a:pt x="638" y="462"/>
                  </a:moveTo>
                  <a:lnTo>
                    <a:pt x="618" y="482"/>
                  </a:lnTo>
                  <a:lnTo>
                    <a:pt x="545" y="505"/>
                  </a:lnTo>
                  <a:lnTo>
                    <a:pt x="525" y="518"/>
                  </a:lnTo>
                  <a:lnTo>
                    <a:pt x="471" y="572"/>
                  </a:lnTo>
                  <a:lnTo>
                    <a:pt x="458" y="575"/>
                  </a:lnTo>
                  <a:lnTo>
                    <a:pt x="434" y="572"/>
                  </a:lnTo>
                  <a:lnTo>
                    <a:pt x="424" y="582"/>
                  </a:lnTo>
                  <a:lnTo>
                    <a:pt x="394" y="655"/>
                  </a:lnTo>
                  <a:lnTo>
                    <a:pt x="378" y="669"/>
                  </a:lnTo>
                  <a:lnTo>
                    <a:pt x="331" y="689"/>
                  </a:lnTo>
                  <a:lnTo>
                    <a:pt x="277" y="739"/>
                  </a:lnTo>
                  <a:lnTo>
                    <a:pt x="184" y="779"/>
                  </a:lnTo>
                  <a:lnTo>
                    <a:pt x="130" y="829"/>
                  </a:lnTo>
                  <a:lnTo>
                    <a:pt x="54" y="873"/>
                  </a:lnTo>
                  <a:lnTo>
                    <a:pt x="20" y="906"/>
                  </a:lnTo>
                  <a:lnTo>
                    <a:pt x="0" y="919"/>
                  </a:lnTo>
                  <a:lnTo>
                    <a:pt x="10" y="949"/>
                  </a:lnTo>
                  <a:lnTo>
                    <a:pt x="14" y="980"/>
                  </a:lnTo>
                  <a:lnTo>
                    <a:pt x="24" y="1000"/>
                  </a:lnTo>
                  <a:lnTo>
                    <a:pt x="50" y="1016"/>
                  </a:lnTo>
                  <a:lnTo>
                    <a:pt x="104" y="1013"/>
                  </a:lnTo>
                  <a:lnTo>
                    <a:pt x="127" y="1016"/>
                  </a:lnTo>
                  <a:lnTo>
                    <a:pt x="211" y="1046"/>
                  </a:lnTo>
                  <a:lnTo>
                    <a:pt x="251" y="1070"/>
                  </a:lnTo>
                  <a:lnTo>
                    <a:pt x="324" y="1127"/>
                  </a:lnTo>
                  <a:lnTo>
                    <a:pt x="358" y="1143"/>
                  </a:lnTo>
                  <a:lnTo>
                    <a:pt x="438" y="1140"/>
                  </a:lnTo>
                  <a:lnTo>
                    <a:pt x="481" y="1120"/>
                  </a:lnTo>
                  <a:lnTo>
                    <a:pt x="508" y="1086"/>
                  </a:lnTo>
                  <a:lnTo>
                    <a:pt x="515" y="1033"/>
                  </a:lnTo>
                  <a:lnTo>
                    <a:pt x="505" y="973"/>
                  </a:lnTo>
                  <a:lnTo>
                    <a:pt x="538" y="953"/>
                  </a:lnTo>
                  <a:lnTo>
                    <a:pt x="555" y="949"/>
                  </a:lnTo>
                  <a:lnTo>
                    <a:pt x="575" y="946"/>
                  </a:lnTo>
                  <a:lnTo>
                    <a:pt x="595" y="939"/>
                  </a:lnTo>
                  <a:lnTo>
                    <a:pt x="618" y="899"/>
                  </a:lnTo>
                  <a:lnTo>
                    <a:pt x="635" y="889"/>
                  </a:lnTo>
                  <a:lnTo>
                    <a:pt x="665" y="883"/>
                  </a:lnTo>
                  <a:lnTo>
                    <a:pt x="725" y="856"/>
                  </a:lnTo>
                  <a:lnTo>
                    <a:pt x="762" y="849"/>
                  </a:lnTo>
                  <a:lnTo>
                    <a:pt x="795" y="836"/>
                  </a:lnTo>
                  <a:lnTo>
                    <a:pt x="828" y="806"/>
                  </a:lnTo>
                  <a:lnTo>
                    <a:pt x="855" y="766"/>
                  </a:lnTo>
                  <a:lnTo>
                    <a:pt x="875" y="726"/>
                  </a:lnTo>
                  <a:lnTo>
                    <a:pt x="892" y="675"/>
                  </a:lnTo>
                  <a:lnTo>
                    <a:pt x="892" y="635"/>
                  </a:lnTo>
                  <a:lnTo>
                    <a:pt x="869" y="545"/>
                  </a:lnTo>
                  <a:lnTo>
                    <a:pt x="672" y="498"/>
                  </a:lnTo>
                  <a:lnTo>
                    <a:pt x="638" y="462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xmlns="" id="{FFFC5EF5-6391-4F7A-B77C-1BD3B2DAD2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3" y="3260"/>
              <a:ext cx="1146" cy="1070"/>
            </a:xfrm>
            <a:custGeom>
              <a:avLst/>
              <a:gdLst>
                <a:gd name="T0" fmla="*/ 417 w 1146"/>
                <a:gd name="T1" fmla="*/ 47 h 1070"/>
                <a:gd name="T2" fmla="*/ 511 w 1146"/>
                <a:gd name="T3" fmla="*/ 137 h 1070"/>
                <a:gd name="T4" fmla="*/ 578 w 1146"/>
                <a:gd name="T5" fmla="*/ 104 h 1070"/>
                <a:gd name="T6" fmla="*/ 661 w 1146"/>
                <a:gd name="T7" fmla="*/ 157 h 1070"/>
                <a:gd name="T8" fmla="*/ 751 w 1146"/>
                <a:gd name="T9" fmla="*/ 248 h 1070"/>
                <a:gd name="T10" fmla="*/ 912 w 1146"/>
                <a:gd name="T11" fmla="*/ 207 h 1070"/>
                <a:gd name="T12" fmla="*/ 845 w 1146"/>
                <a:gd name="T13" fmla="*/ 124 h 1070"/>
                <a:gd name="T14" fmla="*/ 775 w 1146"/>
                <a:gd name="T15" fmla="*/ 37 h 1070"/>
                <a:gd name="T16" fmla="*/ 591 w 1146"/>
                <a:gd name="T17" fmla="*/ 0 h 1070"/>
                <a:gd name="T18" fmla="*/ 938 w 1146"/>
                <a:gd name="T19" fmla="*/ 201 h 1070"/>
                <a:gd name="T20" fmla="*/ 969 w 1146"/>
                <a:gd name="T21" fmla="*/ 254 h 1070"/>
                <a:gd name="T22" fmla="*/ 1042 w 1146"/>
                <a:gd name="T23" fmla="*/ 221 h 1070"/>
                <a:gd name="T24" fmla="*/ 591 w 1146"/>
                <a:gd name="T25" fmla="*/ 268 h 1070"/>
                <a:gd name="T26" fmla="*/ 127 w 1146"/>
                <a:gd name="T27" fmla="*/ 431 h 1070"/>
                <a:gd name="T28" fmla="*/ 210 w 1146"/>
                <a:gd name="T29" fmla="*/ 542 h 1070"/>
                <a:gd name="T30" fmla="*/ 351 w 1146"/>
                <a:gd name="T31" fmla="*/ 598 h 1070"/>
                <a:gd name="T32" fmla="*/ 541 w 1146"/>
                <a:gd name="T33" fmla="*/ 662 h 1070"/>
                <a:gd name="T34" fmla="*/ 618 w 1146"/>
                <a:gd name="T35" fmla="*/ 692 h 1070"/>
                <a:gd name="T36" fmla="*/ 731 w 1146"/>
                <a:gd name="T37" fmla="*/ 588 h 1070"/>
                <a:gd name="T38" fmla="*/ 888 w 1146"/>
                <a:gd name="T39" fmla="*/ 649 h 1070"/>
                <a:gd name="T40" fmla="*/ 1075 w 1146"/>
                <a:gd name="T41" fmla="*/ 669 h 1070"/>
                <a:gd name="T42" fmla="*/ 1102 w 1146"/>
                <a:gd name="T43" fmla="*/ 695 h 1070"/>
                <a:gd name="T44" fmla="*/ 1146 w 1146"/>
                <a:gd name="T45" fmla="*/ 749 h 1070"/>
                <a:gd name="T46" fmla="*/ 1122 w 1146"/>
                <a:gd name="T47" fmla="*/ 672 h 1070"/>
                <a:gd name="T48" fmla="*/ 1132 w 1146"/>
                <a:gd name="T49" fmla="*/ 629 h 1070"/>
                <a:gd name="T50" fmla="*/ 1072 w 1146"/>
                <a:gd name="T51" fmla="*/ 602 h 1070"/>
                <a:gd name="T52" fmla="*/ 928 w 1146"/>
                <a:gd name="T53" fmla="*/ 598 h 1070"/>
                <a:gd name="T54" fmla="*/ 822 w 1146"/>
                <a:gd name="T55" fmla="*/ 428 h 1070"/>
                <a:gd name="T56" fmla="*/ 651 w 1146"/>
                <a:gd name="T57" fmla="*/ 375 h 1070"/>
                <a:gd name="T58" fmla="*/ 655 w 1146"/>
                <a:gd name="T59" fmla="*/ 301 h 1070"/>
                <a:gd name="T60" fmla="*/ 885 w 1146"/>
                <a:gd name="T61" fmla="*/ 271 h 1070"/>
                <a:gd name="T62" fmla="*/ 912 w 1146"/>
                <a:gd name="T63" fmla="*/ 421 h 1070"/>
                <a:gd name="T64" fmla="*/ 1039 w 1146"/>
                <a:gd name="T65" fmla="*/ 445 h 1070"/>
                <a:gd name="T66" fmla="*/ 1099 w 1146"/>
                <a:gd name="T67" fmla="*/ 381 h 1070"/>
                <a:gd name="T68" fmla="*/ 1055 w 1146"/>
                <a:gd name="T69" fmla="*/ 311 h 1070"/>
                <a:gd name="T70" fmla="*/ 237 w 1146"/>
                <a:gd name="T71" fmla="*/ 655 h 1070"/>
                <a:gd name="T72" fmla="*/ 10 w 1146"/>
                <a:gd name="T73" fmla="*/ 812 h 1070"/>
                <a:gd name="T74" fmla="*/ 53 w 1146"/>
                <a:gd name="T75" fmla="*/ 989 h 1070"/>
                <a:gd name="T76" fmla="*/ 190 w 1146"/>
                <a:gd name="T77" fmla="*/ 983 h 1070"/>
                <a:gd name="T78" fmla="*/ 204 w 1146"/>
                <a:gd name="T79" fmla="*/ 919 h 1070"/>
                <a:gd name="T80" fmla="*/ 321 w 1146"/>
                <a:gd name="T81" fmla="*/ 903 h 1070"/>
                <a:gd name="T82" fmla="*/ 531 w 1146"/>
                <a:gd name="T83" fmla="*/ 999 h 1070"/>
                <a:gd name="T84" fmla="*/ 564 w 1146"/>
                <a:gd name="T85" fmla="*/ 1070 h 1070"/>
                <a:gd name="T86" fmla="*/ 795 w 1146"/>
                <a:gd name="T87" fmla="*/ 1013 h 1070"/>
                <a:gd name="T88" fmla="*/ 1062 w 1146"/>
                <a:gd name="T89" fmla="*/ 802 h 1070"/>
                <a:gd name="T90" fmla="*/ 1045 w 1146"/>
                <a:gd name="T91" fmla="*/ 735 h 1070"/>
                <a:gd name="T92" fmla="*/ 952 w 1146"/>
                <a:gd name="T93" fmla="*/ 769 h 1070"/>
                <a:gd name="T94" fmla="*/ 888 w 1146"/>
                <a:gd name="T95" fmla="*/ 745 h 1070"/>
                <a:gd name="T96" fmla="*/ 835 w 1146"/>
                <a:gd name="T97" fmla="*/ 679 h 1070"/>
                <a:gd name="T98" fmla="*/ 761 w 1146"/>
                <a:gd name="T99" fmla="*/ 722 h 1070"/>
                <a:gd name="T100" fmla="*/ 551 w 1146"/>
                <a:gd name="T101" fmla="*/ 786 h 1070"/>
                <a:gd name="T102" fmla="*/ 314 w 1146"/>
                <a:gd name="T103" fmla="*/ 705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46" h="1070">
                  <a:moveTo>
                    <a:pt x="571" y="0"/>
                  </a:moveTo>
                  <a:lnTo>
                    <a:pt x="568" y="0"/>
                  </a:lnTo>
                  <a:lnTo>
                    <a:pt x="464" y="17"/>
                  </a:lnTo>
                  <a:lnTo>
                    <a:pt x="417" y="47"/>
                  </a:lnTo>
                  <a:lnTo>
                    <a:pt x="414" y="111"/>
                  </a:lnTo>
                  <a:lnTo>
                    <a:pt x="431" y="134"/>
                  </a:lnTo>
                  <a:lnTo>
                    <a:pt x="458" y="141"/>
                  </a:lnTo>
                  <a:lnTo>
                    <a:pt x="511" y="137"/>
                  </a:lnTo>
                  <a:lnTo>
                    <a:pt x="521" y="131"/>
                  </a:lnTo>
                  <a:lnTo>
                    <a:pt x="551" y="94"/>
                  </a:lnTo>
                  <a:lnTo>
                    <a:pt x="568" y="97"/>
                  </a:lnTo>
                  <a:lnTo>
                    <a:pt x="578" y="104"/>
                  </a:lnTo>
                  <a:lnTo>
                    <a:pt x="584" y="117"/>
                  </a:lnTo>
                  <a:lnTo>
                    <a:pt x="591" y="124"/>
                  </a:lnTo>
                  <a:lnTo>
                    <a:pt x="641" y="144"/>
                  </a:lnTo>
                  <a:lnTo>
                    <a:pt x="661" y="157"/>
                  </a:lnTo>
                  <a:lnTo>
                    <a:pt x="668" y="184"/>
                  </a:lnTo>
                  <a:lnTo>
                    <a:pt x="681" y="211"/>
                  </a:lnTo>
                  <a:lnTo>
                    <a:pt x="705" y="231"/>
                  </a:lnTo>
                  <a:lnTo>
                    <a:pt x="751" y="248"/>
                  </a:lnTo>
                  <a:lnTo>
                    <a:pt x="775" y="248"/>
                  </a:lnTo>
                  <a:lnTo>
                    <a:pt x="868" y="227"/>
                  </a:lnTo>
                  <a:lnTo>
                    <a:pt x="892" y="221"/>
                  </a:lnTo>
                  <a:lnTo>
                    <a:pt x="912" y="207"/>
                  </a:lnTo>
                  <a:lnTo>
                    <a:pt x="922" y="187"/>
                  </a:lnTo>
                  <a:lnTo>
                    <a:pt x="922" y="154"/>
                  </a:lnTo>
                  <a:lnTo>
                    <a:pt x="898" y="137"/>
                  </a:lnTo>
                  <a:lnTo>
                    <a:pt x="845" y="124"/>
                  </a:lnTo>
                  <a:lnTo>
                    <a:pt x="835" y="114"/>
                  </a:lnTo>
                  <a:lnTo>
                    <a:pt x="825" y="104"/>
                  </a:lnTo>
                  <a:lnTo>
                    <a:pt x="818" y="94"/>
                  </a:lnTo>
                  <a:lnTo>
                    <a:pt x="775" y="37"/>
                  </a:lnTo>
                  <a:lnTo>
                    <a:pt x="755" y="20"/>
                  </a:lnTo>
                  <a:lnTo>
                    <a:pt x="725" y="14"/>
                  </a:lnTo>
                  <a:lnTo>
                    <a:pt x="608" y="10"/>
                  </a:lnTo>
                  <a:lnTo>
                    <a:pt x="591" y="0"/>
                  </a:lnTo>
                  <a:lnTo>
                    <a:pt x="571" y="0"/>
                  </a:lnTo>
                  <a:close/>
                  <a:moveTo>
                    <a:pt x="962" y="177"/>
                  </a:moveTo>
                  <a:lnTo>
                    <a:pt x="942" y="194"/>
                  </a:lnTo>
                  <a:lnTo>
                    <a:pt x="938" y="201"/>
                  </a:lnTo>
                  <a:lnTo>
                    <a:pt x="938" y="214"/>
                  </a:lnTo>
                  <a:lnTo>
                    <a:pt x="945" y="234"/>
                  </a:lnTo>
                  <a:lnTo>
                    <a:pt x="955" y="244"/>
                  </a:lnTo>
                  <a:lnTo>
                    <a:pt x="969" y="254"/>
                  </a:lnTo>
                  <a:lnTo>
                    <a:pt x="982" y="258"/>
                  </a:lnTo>
                  <a:lnTo>
                    <a:pt x="1029" y="261"/>
                  </a:lnTo>
                  <a:lnTo>
                    <a:pt x="1029" y="258"/>
                  </a:lnTo>
                  <a:lnTo>
                    <a:pt x="1042" y="221"/>
                  </a:lnTo>
                  <a:lnTo>
                    <a:pt x="1015" y="207"/>
                  </a:lnTo>
                  <a:lnTo>
                    <a:pt x="989" y="187"/>
                  </a:lnTo>
                  <a:lnTo>
                    <a:pt x="962" y="177"/>
                  </a:lnTo>
                  <a:close/>
                  <a:moveTo>
                    <a:pt x="591" y="268"/>
                  </a:moveTo>
                  <a:lnTo>
                    <a:pt x="261" y="304"/>
                  </a:lnTo>
                  <a:lnTo>
                    <a:pt x="134" y="381"/>
                  </a:lnTo>
                  <a:lnTo>
                    <a:pt x="120" y="401"/>
                  </a:lnTo>
                  <a:lnTo>
                    <a:pt x="127" y="431"/>
                  </a:lnTo>
                  <a:lnTo>
                    <a:pt x="140" y="451"/>
                  </a:lnTo>
                  <a:lnTo>
                    <a:pt x="180" y="488"/>
                  </a:lnTo>
                  <a:lnTo>
                    <a:pt x="194" y="512"/>
                  </a:lnTo>
                  <a:lnTo>
                    <a:pt x="210" y="542"/>
                  </a:lnTo>
                  <a:lnTo>
                    <a:pt x="230" y="572"/>
                  </a:lnTo>
                  <a:lnTo>
                    <a:pt x="251" y="582"/>
                  </a:lnTo>
                  <a:lnTo>
                    <a:pt x="321" y="598"/>
                  </a:lnTo>
                  <a:lnTo>
                    <a:pt x="351" y="598"/>
                  </a:lnTo>
                  <a:lnTo>
                    <a:pt x="401" y="578"/>
                  </a:lnTo>
                  <a:lnTo>
                    <a:pt x="417" y="582"/>
                  </a:lnTo>
                  <a:lnTo>
                    <a:pt x="468" y="629"/>
                  </a:lnTo>
                  <a:lnTo>
                    <a:pt x="541" y="662"/>
                  </a:lnTo>
                  <a:lnTo>
                    <a:pt x="574" y="699"/>
                  </a:lnTo>
                  <a:lnTo>
                    <a:pt x="588" y="705"/>
                  </a:lnTo>
                  <a:lnTo>
                    <a:pt x="601" y="702"/>
                  </a:lnTo>
                  <a:lnTo>
                    <a:pt x="618" y="692"/>
                  </a:lnTo>
                  <a:lnTo>
                    <a:pt x="661" y="689"/>
                  </a:lnTo>
                  <a:lnTo>
                    <a:pt x="681" y="679"/>
                  </a:lnTo>
                  <a:lnTo>
                    <a:pt x="695" y="659"/>
                  </a:lnTo>
                  <a:lnTo>
                    <a:pt x="731" y="588"/>
                  </a:lnTo>
                  <a:lnTo>
                    <a:pt x="748" y="578"/>
                  </a:lnTo>
                  <a:lnTo>
                    <a:pt x="798" y="582"/>
                  </a:lnTo>
                  <a:lnTo>
                    <a:pt x="818" y="592"/>
                  </a:lnTo>
                  <a:lnTo>
                    <a:pt x="888" y="649"/>
                  </a:lnTo>
                  <a:lnTo>
                    <a:pt x="912" y="665"/>
                  </a:lnTo>
                  <a:lnTo>
                    <a:pt x="938" y="675"/>
                  </a:lnTo>
                  <a:lnTo>
                    <a:pt x="1049" y="675"/>
                  </a:lnTo>
                  <a:lnTo>
                    <a:pt x="1075" y="669"/>
                  </a:lnTo>
                  <a:lnTo>
                    <a:pt x="1089" y="649"/>
                  </a:lnTo>
                  <a:lnTo>
                    <a:pt x="1102" y="659"/>
                  </a:lnTo>
                  <a:lnTo>
                    <a:pt x="1105" y="675"/>
                  </a:lnTo>
                  <a:lnTo>
                    <a:pt x="1102" y="695"/>
                  </a:lnTo>
                  <a:lnTo>
                    <a:pt x="1105" y="719"/>
                  </a:lnTo>
                  <a:lnTo>
                    <a:pt x="1115" y="742"/>
                  </a:lnTo>
                  <a:lnTo>
                    <a:pt x="1122" y="745"/>
                  </a:lnTo>
                  <a:lnTo>
                    <a:pt x="1146" y="749"/>
                  </a:lnTo>
                  <a:lnTo>
                    <a:pt x="1146" y="732"/>
                  </a:lnTo>
                  <a:lnTo>
                    <a:pt x="1139" y="722"/>
                  </a:lnTo>
                  <a:lnTo>
                    <a:pt x="1129" y="712"/>
                  </a:lnTo>
                  <a:lnTo>
                    <a:pt x="1122" y="672"/>
                  </a:lnTo>
                  <a:lnTo>
                    <a:pt x="1122" y="652"/>
                  </a:lnTo>
                  <a:lnTo>
                    <a:pt x="1126" y="645"/>
                  </a:lnTo>
                  <a:lnTo>
                    <a:pt x="1126" y="639"/>
                  </a:lnTo>
                  <a:lnTo>
                    <a:pt x="1132" y="629"/>
                  </a:lnTo>
                  <a:lnTo>
                    <a:pt x="1126" y="602"/>
                  </a:lnTo>
                  <a:lnTo>
                    <a:pt x="1126" y="602"/>
                  </a:lnTo>
                  <a:lnTo>
                    <a:pt x="1112" y="605"/>
                  </a:lnTo>
                  <a:lnTo>
                    <a:pt x="1072" y="602"/>
                  </a:lnTo>
                  <a:lnTo>
                    <a:pt x="1049" y="608"/>
                  </a:lnTo>
                  <a:lnTo>
                    <a:pt x="1022" y="598"/>
                  </a:lnTo>
                  <a:lnTo>
                    <a:pt x="959" y="605"/>
                  </a:lnTo>
                  <a:lnTo>
                    <a:pt x="928" y="598"/>
                  </a:lnTo>
                  <a:lnTo>
                    <a:pt x="912" y="572"/>
                  </a:lnTo>
                  <a:lnTo>
                    <a:pt x="888" y="505"/>
                  </a:lnTo>
                  <a:lnTo>
                    <a:pt x="872" y="475"/>
                  </a:lnTo>
                  <a:lnTo>
                    <a:pt x="822" y="428"/>
                  </a:lnTo>
                  <a:lnTo>
                    <a:pt x="761" y="405"/>
                  </a:lnTo>
                  <a:lnTo>
                    <a:pt x="641" y="395"/>
                  </a:lnTo>
                  <a:lnTo>
                    <a:pt x="641" y="381"/>
                  </a:lnTo>
                  <a:lnTo>
                    <a:pt x="651" y="375"/>
                  </a:lnTo>
                  <a:lnTo>
                    <a:pt x="671" y="358"/>
                  </a:lnTo>
                  <a:lnTo>
                    <a:pt x="685" y="354"/>
                  </a:lnTo>
                  <a:lnTo>
                    <a:pt x="675" y="324"/>
                  </a:lnTo>
                  <a:lnTo>
                    <a:pt x="655" y="301"/>
                  </a:lnTo>
                  <a:lnTo>
                    <a:pt x="635" y="281"/>
                  </a:lnTo>
                  <a:lnTo>
                    <a:pt x="618" y="271"/>
                  </a:lnTo>
                  <a:lnTo>
                    <a:pt x="591" y="268"/>
                  </a:lnTo>
                  <a:close/>
                  <a:moveTo>
                    <a:pt x="885" y="271"/>
                  </a:moveTo>
                  <a:lnTo>
                    <a:pt x="852" y="281"/>
                  </a:lnTo>
                  <a:lnTo>
                    <a:pt x="785" y="311"/>
                  </a:lnTo>
                  <a:lnTo>
                    <a:pt x="882" y="405"/>
                  </a:lnTo>
                  <a:lnTo>
                    <a:pt x="912" y="421"/>
                  </a:lnTo>
                  <a:lnTo>
                    <a:pt x="932" y="425"/>
                  </a:lnTo>
                  <a:lnTo>
                    <a:pt x="972" y="421"/>
                  </a:lnTo>
                  <a:lnTo>
                    <a:pt x="989" y="421"/>
                  </a:lnTo>
                  <a:lnTo>
                    <a:pt x="1039" y="445"/>
                  </a:lnTo>
                  <a:lnTo>
                    <a:pt x="1085" y="451"/>
                  </a:lnTo>
                  <a:lnTo>
                    <a:pt x="1099" y="415"/>
                  </a:lnTo>
                  <a:lnTo>
                    <a:pt x="1099" y="405"/>
                  </a:lnTo>
                  <a:lnTo>
                    <a:pt x="1099" y="381"/>
                  </a:lnTo>
                  <a:lnTo>
                    <a:pt x="1092" y="358"/>
                  </a:lnTo>
                  <a:lnTo>
                    <a:pt x="1089" y="351"/>
                  </a:lnTo>
                  <a:lnTo>
                    <a:pt x="1055" y="314"/>
                  </a:lnTo>
                  <a:lnTo>
                    <a:pt x="1055" y="311"/>
                  </a:lnTo>
                  <a:lnTo>
                    <a:pt x="1025" y="288"/>
                  </a:lnTo>
                  <a:lnTo>
                    <a:pt x="995" y="278"/>
                  </a:lnTo>
                  <a:lnTo>
                    <a:pt x="885" y="271"/>
                  </a:lnTo>
                  <a:close/>
                  <a:moveTo>
                    <a:pt x="237" y="655"/>
                  </a:moveTo>
                  <a:lnTo>
                    <a:pt x="217" y="659"/>
                  </a:lnTo>
                  <a:lnTo>
                    <a:pt x="200" y="672"/>
                  </a:lnTo>
                  <a:lnTo>
                    <a:pt x="0" y="735"/>
                  </a:lnTo>
                  <a:lnTo>
                    <a:pt x="10" y="812"/>
                  </a:lnTo>
                  <a:lnTo>
                    <a:pt x="7" y="859"/>
                  </a:lnTo>
                  <a:lnTo>
                    <a:pt x="3" y="906"/>
                  </a:lnTo>
                  <a:lnTo>
                    <a:pt x="23" y="956"/>
                  </a:lnTo>
                  <a:lnTo>
                    <a:pt x="53" y="989"/>
                  </a:lnTo>
                  <a:lnTo>
                    <a:pt x="90" y="1006"/>
                  </a:lnTo>
                  <a:lnTo>
                    <a:pt x="130" y="1009"/>
                  </a:lnTo>
                  <a:lnTo>
                    <a:pt x="187" y="999"/>
                  </a:lnTo>
                  <a:lnTo>
                    <a:pt x="190" y="983"/>
                  </a:lnTo>
                  <a:lnTo>
                    <a:pt x="187" y="956"/>
                  </a:lnTo>
                  <a:lnTo>
                    <a:pt x="190" y="933"/>
                  </a:lnTo>
                  <a:lnTo>
                    <a:pt x="197" y="926"/>
                  </a:lnTo>
                  <a:lnTo>
                    <a:pt x="204" y="919"/>
                  </a:lnTo>
                  <a:lnTo>
                    <a:pt x="220" y="916"/>
                  </a:lnTo>
                  <a:lnTo>
                    <a:pt x="240" y="916"/>
                  </a:lnTo>
                  <a:lnTo>
                    <a:pt x="291" y="903"/>
                  </a:lnTo>
                  <a:lnTo>
                    <a:pt x="321" y="903"/>
                  </a:lnTo>
                  <a:lnTo>
                    <a:pt x="351" y="906"/>
                  </a:lnTo>
                  <a:lnTo>
                    <a:pt x="501" y="956"/>
                  </a:lnTo>
                  <a:lnTo>
                    <a:pt x="524" y="973"/>
                  </a:lnTo>
                  <a:lnTo>
                    <a:pt x="531" y="999"/>
                  </a:lnTo>
                  <a:lnTo>
                    <a:pt x="531" y="1019"/>
                  </a:lnTo>
                  <a:lnTo>
                    <a:pt x="531" y="1040"/>
                  </a:lnTo>
                  <a:lnTo>
                    <a:pt x="551" y="1063"/>
                  </a:lnTo>
                  <a:lnTo>
                    <a:pt x="564" y="1070"/>
                  </a:lnTo>
                  <a:lnTo>
                    <a:pt x="711" y="1066"/>
                  </a:lnTo>
                  <a:lnTo>
                    <a:pt x="738" y="1060"/>
                  </a:lnTo>
                  <a:lnTo>
                    <a:pt x="738" y="1056"/>
                  </a:lnTo>
                  <a:lnTo>
                    <a:pt x="795" y="1013"/>
                  </a:lnTo>
                  <a:lnTo>
                    <a:pt x="945" y="936"/>
                  </a:lnTo>
                  <a:lnTo>
                    <a:pt x="1005" y="889"/>
                  </a:lnTo>
                  <a:lnTo>
                    <a:pt x="1055" y="822"/>
                  </a:lnTo>
                  <a:lnTo>
                    <a:pt x="1062" y="802"/>
                  </a:lnTo>
                  <a:lnTo>
                    <a:pt x="1072" y="759"/>
                  </a:lnTo>
                  <a:lnTo>
                    <a:pt x="1072" y="749"/>
                  </a:lnTo>
                  <a:lnTo>
                    <a:pt x="1072" y="749"/>
                  </a:lnTo>
                  <a:lnTo>
                    <a:pt x="1045" y="735"/>
                  </a:lnTo>
                  <a:lnTo>
                    <a:pt x="1022" y="732"/>
                  </a:lnTo>
                  <a:lnTo>
                    <a:pt x="1015" y="739"/>
                  </a:lnTo>
                  <a:lnTo>
                    <a:pt x="992" y="772"/>
                  </a:lnTo>
                  <a:lnTo>
                    <a:pt x="952" y="769"/>
                  </a:lnTo>
                  <a:lnTo>
                    <a:pt x="942" y="766"/>
                  </a:lnTo>
                  <a:lnTo>
                    <a:pt x="932" y="755"/>
                  </a:lnTo>
                  <a:lnTo>
                    <a:pt x="902" y="749"/>
                  </a:lnTo>
                  <a:lnTo>
                    <a:pt x="888" y="745"/>
                  </a:lnTo>
                  <a:lnTo>
                    <a:pt x="875" y="732"/>
                  </a:lnTo>
                  <a:lnTo>
                    <a:pt x="862" y="702"/>
                  </a:lnTo>
                  <a:lnTo>
                    <a:pt x="855" y="689"/>
                  </a:lnTo>
                  <a:lnTo>
                    <a:pt x="835" y="679"/>
                  </a:lnTo>
                  <a:lnTo>
                    <a:pt x="808" y="669"/>
                  </a:lnTo>
                  <a:lnTo>
                    <a:pt x="782" y="665"/>
                  </a:lnTo>
                  <a:lnTo>
                    <a:pt x="768" y="685"/>
                  </a:lnTo>
                  <a:lnTo>
                    <a:pt x="761" y="722"/>
                  </a:lnTo>
                  <a:lnTo>
                    <a:pt x="748" y="742"/>
                  </a:lnTo>
                  <a:lnTo>
                    <a:pt x="625" y="796"/>
                  </a:lnTo>
                  <a:lnTo>
                    <a:pt x="598" y="799"/>
                  </a:lnTo>
                  <a:lnTo>
                    <a:pt x="551" y="786"/>
                  </a:lnTo>
                  <a:lnTo>
                    <a:pt x="501" y="786"/>
                  </a:lnTo>
                  <a:lnTo>
                    <a:pt x="474" y="776"/>
                  </a:lnTo>
                  <a:lnTo>
                    <a:pt x="434" y="739"/>
                  </a:lnTo>
                  <a:lnTo>
                    <a:pt x="314" y="705"/>
                  </a:lnTo>
                  <a:lnTo>
                    <a:pt x="237" y="655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xmlns="" id="{DE03A4F2-FB77-4D45-B11B-2E1C4A6043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2" y="3090"/>
              <a:ext cx="2291" cy="1216"/>
            </a:xfrm>
            <a:custGeom>
              <a:avLst/>
              <a:gdLst>
                <a:gd name="T0" fmla="*/ 1543 w 2291"/>
                <a:gd name="T1" fmla="*/ 37 h 1216"/>
                <a:gd name="T2" fmla="*/ 1452 w 2291"/>
                <a:gd name="T3" fmla="*/ 117 h 1216"/>
                <a:gd name="T4" fmla="*/ 1165 w 2291"/>
                <a:gd name="T5" fmla="*/ 197 h 1216"/>
                <a:gd name="T6" fmla="*/ 1125 w 2291"/>
                <a:gd name="T7" fmla="*/ 97 h 1216"/>
                <a:gd name="T8" fmla="*/ 1015 w 2291"/>
                <a:gd name="T9" fmla="*/ 47 h 1216"/>
                <a:gd name="T10" fmla="*/ 921 w 2291"/>
                <a:gd name="T11" fmla="*/ 7 h 1216"/>
                <a:gd name="T12" fmla="*/ 744 w 2291"/>
                <a:gd name="T13" fmla="*/ 63 h 1216"/>
                <a:gd name="T14" fmla="*/ 601 w 2291"/>
                <a:gd name="T15" fmla="*/ 227 h 1216"/>
                <a:gd name="T16" fmla="*/ 441 w 2291"/>
                <a:gd name="T17" fmla="*/ 274 h 1216"/>
                <a:gd name="T18" fmla="*/ 180 w 2291"/>
                <a:gd name="T19" fmla="*/ 351 h 1216"/>
                <a:gd name="T20" fmla="*/ 0 w 2291"/>
                <a:gd name="T21" fmla="*/ 428 h 1216"/>
                <a:gd name="T22" fmla="*/ 20 w 2291"/>
                <a:gd name="T23" fmla="*/ 444 h 1216"/>
                <a:gd name="T24" fmla="*/ 60 w 2291"/>
                <a:gd name="T25" fmla="*/ 521 h 1216"/>
                <a:gd name="T26" fmla="*/ 70 w 2291"/>
                <a:gd name="T27" fmla="*/ 585 h 1216"/>
                <a:gd name="T28" fmla="*/ 127 w 2291"/>
                <a:gd name="T29" fmla="*/ 675 h 1216"/>
                <a:gd name="T30" fmla="*/ 97 w 2291"/>
                <a:gd name="T31" fmla="*/ 772 h 1216"/>
                <a:gd name="T32" fmla="*/ 93 w 2291"/>
                <a:gd name="T33" fmla="*/ 822 h 1216"/>
                <a:gd name="T34" fmla="*/ 117 w 2291"/>
                <a:gd name="T35" fmla="*/ 902 h 1216"/>
                <a:gd name="T36" fmla="*/ 197 w 2291"/>
                <a:gd name="T37" fmla="*/ 952 h 1216"/>
                <a:gd name="T38" fmla="*/ 274 w 2291"/>
                <a:gd name="T39" fmla="*/ 889 h 1216"/>
                <a:gd name="T40" fmla="*/ 247 w 2291"/>
                <a:gd name="T41" fmla="*/ 802 h 1216"/>
                <a:gd name="T42" fmla="*/ 364 w 2291"/>
                <a:gd name="T43" fmla="*/ 712 h 1216"/>
                <a:gd name="T44" fmla="*/ 424 w 2291"/>
                <a:gd name="T45" fmla="*/ 758 h 1216"/>
                <a:gd name="T46" fmla="*/ 451 w 2291"/>
                <a:gd name="T47" fmla="*/ 819 h 1216"/>
                <a:gd name="T48" fmla="*/ 561 w 2291"/>
                <a:gd name="T49" fmla="*/ 815 h 1216"/>
                <a:gd name="T50" fmla="*/ 671 w 2291"/>
                <a:gd name="T51" fmla="*/ 688 h 1216"/>
                <a:gd name="T52" fmla="*/ 771 w 2291"/>
                <a:gd name="T53" fmla="*/ 692 h 1216"/>
                <a:gd name="T54" fmla="*/ 774 w 2291"/>
                <a:gd name="T55" fmla="*/ 795 h 1216"/>
                <a:gd name="T56" fmla="*/ 714 w 2291"/>
                <a:gd name="T57" fmla="*/ 809 h 1216"/>
                <a:gd name="T58" fmla="*/ 821 w 2291"/>
                <a:gd name="T59" fmla="*/ 845 h 1216"/>
                <a:gd name="T60" fmla="*/ 948 w 2291"/>
                <a:gd name="T61" fmla="*/ 835 h 1216"/>
                <a:gd name="T62" fmla="*/ 1008 w 2291"/>
                <a:gd name="T63" fmla="*/ 722 h 1216"/>
                <a:gd name="T64" fmla="*/ 1075 w 2291"/>
                <a:gd name="T65" fmla="*/ 735 h 1216"/>
                <a:gd name="T66" fmla="*/ 1075 w 2291"/>
                <a:gd name="T67" fmla="*/ 889 h 1216"/>
                <a:gd name="T68" fmla="*/ 1145 w 2291"/>
                <a:gd name="T69" fmla="*/ 1016 h 1216"/>
                <a:gd name="T70" fmla="*/ 1242 w 2291"/>
                <a:gd name="T71" fmla="*/ 1036 h 1216"/>
                <a:gd name="T72" fmla="*/ 1332 w 2291"/>
                <a:gd name="T73" fmla="*/ 1129 h 1216"/>
                <a:gd name="T74" fmla="*/ 1579 w 2291"/>
                <a:gd name="T75" fmla="*/ 1076 h 1216"/>
                <a:gd name="T76" fmla="*/ 1666 w 2291"/>
                <a:gd name="T77" fmla="*/ 1166 h 1216"/>
                <a:gd name="T78" fmla="*/ 1730 w 2291"/>
                <a:gd name="T79" fmla="*/ 1200 h 1216"/>
                <a:gd name="T80" fmla="*/ 1763 w 2291"/>
                <a:gd name="T81" fmla="*/ 1173 h 1216"/>
                <a:gd name="T82" fmla="*/ 1830 w 2291"/>
                <a:gd name="T83" fmla="*/ 1022 h 1216"/>
                <a:gd name="T84" fmla="*/ 2104 w 2291"/>
                <a:gd name="T85" fmla="*/ 925 h 1216"/>
                <a:gd name="T86" fmla="*/ 2050 w 2291"/>
                <a:gd name="T87" fmla="*/ 651 h 1216"/>
                <a:gd name="T88" fmla="*/ 2137 w 2291"/>
                <a:gd name="T89" fmla="*/ 548 h 1216"/>
                <a:gd name="T90" fmla="*/ 2271 w 2291"/>
                <a:gd name="T91" fmla="*/ 548 h 1216"/>
                <a:gd name="T92" fmla="*/ 2267 w 2291"/>
                <a:gd name="T93" fmla="*/ 438 h 1216"/>
                <a:gd name="T94" fmla="*/ 2227 w 2291"/>
                <a:gd name="T95" fmla="*/ 371 h 1216"/>
                <a:gd name="T96" fmla="*/ 2197 w 2291"/>
                <a:gd name="T97" fmla="*/ 314 h 1216"/>
                <a:gd name="T98" fmla="*/ 2094 w 2291"/>
                <a:gd name="T99" fmla="*/ 207 h 1216"/>
                <a:gd name="T100" fmla="*/ 1933 w 2291"/>
                <a:gd name="T101" fmla="*/ 144 h 1216"/>
                <a:gd name="T102" fmla="*/ 1800 w 2291"/>
                <a:gd name="T103" fmla="*/ 30 h 1216"/>
                <a:gd name="T104" fmla="*/ 1639 w 2291"/>
                <a:gd name="T105" fmla="*/ 13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91" h="1216">
                  <a:moveTo>
                    <a:pt x="1616" y="0"/>
                  </a:moveTo>
                  <a:lnTo>
                    <a:pt x="1593" y="7"/>
                  </a:lnTo>
                  <a:lnTo>
                    <a:pt x="1569" y="27"/>
                  </a:lnTo>
                  <a:lnTo>
                    <a:pt x="1543" y="37"/>
                  </a:lnTo>
                  <a:lnTo>
                    <a:pt x="1493" y="30"/>
                  </a:lnTo>
                  <a:lnTo>
                    <a:pt x="1469" y="43"/>
                  </a:lnTo>
                  <a:lnTo>
                    <a:pt x="1459" y="83"/>
                  </a:lnTo>
                  <a:lnTo>
                    <a:pt x="1452" y="117"/>
                  </a:lnTo>
                  <a:lnTo>
                    <a:pt x="1436" y="144"/>
                  </a:lnTo>
                  <a:lnTo>
                    <a:pt x="1416" y="160"/>
                  </a:lnTo>
                  <a:lnTo>
                    <a:pt x="1392" y="170"/>
                  </a:lnTo>
                  <a:lnTo>
                    <a:pt x="1165" y="197"/>
                  </a:lnTo>
                  <a:lnTo>
                    <a:pt x="1155" y="194"/>
                  </a:lnTo>
                  <a:lnTo>
                    <a:pt x="1169" y="160"/>
                  </a:lnTo>
                  <a:lnTo>
                    <a:pt x="1169" y="130"/>
                  </a:lnTo>
                  <a:lnTo>
                    <a:pt x="1125" y="97"/>
                  </a:lnTo>
                  <a:lnTo>
                    <a:pt x="1112" y="103"/>
                  </a:lnTo>
                  <a:lnTo>
                    <a:pt x="1082" y="100"/>
                  </a:lnTo>
                  <a:lnTo>
                    <a:pt x="1035" y="67"/>
                  </a:lnTo>
                  <a:lnTo>
                    <a:pt x="1015" y="47"/>
                  </a:lnTo>
                  <a:lnTo>
                    <a:pt x="1012" y="30"/>
                  </a:lnTo>
                  <a:lnTo>
                    <a:pt x="1012" y="17"/>
                  </a:lnTo>
                  <a:lnTo>
                    <a:pt x="982" y="20"/>
                  </a:lnTo>
                  <a:lnTo>
                    <a:pt x="921" y="7"/>
                  </a:lnTo>
                  <a:lnTo>
                    <a:pt x="888" y="10"/>
                  </a:lnTo>
                  <a:lnTo>
                    <a:pt x="841" y="53"/>
                  </a:lnTo>
                  <a:lnTo>
                    <a:pt x="811" y="60"/>
                  </a:lnTo>
                  <a:lnTo>
                    <a:pt x="744" y="63"/>
                  </a:lnTo>
                  <a:lnTo>
                    <a:pt x="708" y="90"/>
                  </a:lnTo>
                  <a:lnTo>
                    <a:pt x="681" y="120"/>
                  </a:lnTo>
                  <a:lnTo>
                    <a:pt x="664" y="154"/>
                  </a:lnTo>
                  <a:lnTo>
                    <a:pt x="601" y="227"/>
                  </a:lnTo>
                  <a:lnTo>
                    <a:pt x="564" y="227"/>
                  </a:lnTo>
                  <a:lnTo>
                    <a:pt x="534" y="237"/>
                  </a:lnTo>
                  <a:lnTo>
                    <a:pt x="484" y="260"/>
                  </a:lnTo>
                  <a:lnTo>
                    <a:pt x="441" y="274"/>
                  </a:lnTo>
                  <a:lnTo>
                    <a:pt x="394" y="274"/>
                  </a:lnTo>
                  <a:lnTo>
                    <a:pt x="267" y="250"/>
                  </a:lnTo>
                  <a:lnTo>
                    <a:pt x="230" y="317"/>
                  </a:lnTo>
                  <a:lnTo>
                    <a:pt x="180" y="351"/>
                  </a:lnTo>
                  <a:lnTo>
                    <a:pt x="117" y="367"/>
                  </a:lnTo>
                  <a:lnTo>
                    <a:pt x="66" y="374"/>
                  </a:lnTo>
                  <a:lnTo>
                    <a:pt x="13" y="391"/>
                  </a:lnTo>
                  <a:lnTo>
                    <a:pt x="0" y="428"/>
                  </a:lnTo>
                  <a:lnTo>
                    <a:pt x="0" y="431"/>
                  </a:lnTo>
                  <a:lnTo>
                    <a:pt x="0" y="431"/>
                  </a:lnTo>
                  <a:lnTo>
                    <a:pt x="6" y="431"/>
                  </a:lnTo>
                  <a:lnTo>
                    <a:pt x="20" y="444"/>
                  </a:lnTo>
                  <a:lnTo>
                    <a:pt x="26" y="481"/>
                  </a:lnTo>
                  <a:lnTo>
                    <a:pt x="26" y="481"/>
                  </a:lnTo>
                  <a:lnTo>
                    <a:pt x="26" y="484"/>
                  </a:lnTo>
                  <a:lnTo>
                    <a:pt x="60" y="521"/>
                  </a:lnTo>
                  <a:lnTo>
                    <a:pt x="63" y="528"/>
                  </a:lnTo>
                  <a:lnTo>
                    <a:pt x="73" y="551"/>
                  </a:lnTo>
                  <a:lnTo>
                    <a:pt x="70" y="575"/>
                  </a:lnTo>
                  <a:lnTo>
                    <a:pt x="70" y="585"/>
                  </a:lnTo>
                  <a:lnTo>
                    <a:pt x="56" y="621"/>
                  </a:lnTo>
                  <a:lnTo>
                    <a:pt x="66" y="625"/>
                  </a:lnTo>
                  <a:lnTo>
                    <a:pt x="100" y="645"/>
                  </a:lnTo>
                  <a:lnTo>
                    <a:pt x="127" y="675"/>
                  </a:lnTo>
                  <a:lnTo>
                    <a:pt x="137" y="718"/>
                  </a:lnTo>
                  <a:lnTo>
                    <a:pt x="120" y="765"/>
                  </a:lnTo>
                  <a:lnTo>
                    <a:pt x="97" y="772"/>
                  </a:lnTo>
                  <a:lnTo>
                    <a:pt x="97" y="772"/>
                  </a:lnTo>
                  <a:lnTo>
                    <a:pt x="103" y="799"/>
                  </a:lnTo>
                  <a:lnTo>
                    <a:pt x="97" y="809"/>
                  </a:lnTo>
                  <a:lnTo>
                    <a:pt x="97" y="815"/>
                  </a:lnTo>
                  <a:lnTo>
                    <a:pt x="93" y="822"/>
                  </a:lnTo>
                  <a:lnTo>
                    <a:pt x="93" y="842"/>
                  </a:lnTo>
                  <a:lnTo>
                    <a:pt x="100" y="882"/>
                  </a:lnTo>
                  <a:lnTo>
                    <a:pt x="110" y="892"/>
                  </a:lnTo>
                  <a:lnTo>
                    <a:pt x="117" y="902"/>
                  </a:lnTo>
                  <a:lnTo>
                    <a:pt x="117" y="919"/>
                  </a:lnTo>
                  <a:lnTo>
                    <a:pt x="127" y="919"/>
                  </a:lnTo>
                  <a:lnTo>
                    <a:pt x="173" y="942"/>
                  </a:lnTo>
                  <a:lnTo>
                    <a:pt x="197" y="952"/>
                  </a:lnTo>
                  <a:lnTo>
                    <a:pt x="253" y="956"/>
                  </a:lnTo>
                  <a:lnTo>
                    <a:pt x="277" y="942"/>
                  </a:lnTo>
                  <a:lnTo>
                    <a:pt x="284" y="909"/>
                  </a:lnTo>
                  <a:lnTo>
                    <a:pt x="274" y="889"/>
                  </a:lnTo>
                  <a:lnTo>
                    <a:pt x="247" y="855"/>
                  </a:lnTo>
                  <a:lnTo>
                    <a:pt x="237" y="839"/>
                  </a:lnTo>
                  <a:lnTo>
                    <a:pt x="240" y="819"/>
                  </a:lnTo>
                  <a:lnTo>
                    <a:pt x="247" y="802"/>
                  </a:lnTo>
                  <a:lnTo>
                    <a:pt x="250" y="788"/>
                  </a:lnTo>
                  <a:lnTo>
                    <a:pt x="233" y="772"/>
                  </a:lnTo>
                  <a:lnTo>
                    <a:pt x="300" y="735"/>
                  </a:lnTo>
                  <a:lnTo>
                    <a:pt x="364" y="712"/>
                  </a:lnTo>
                  <a:lnTo>
                    <a:pt x="400" y="705"/>
                  </a:lnTo>
                  <a:lnTo>
                    <a:pt x="417" y="708"/>
                  </a:lnTo>
                  <a:lnTo>
                    <a:pt x="427" y="725"/>
                  </a:lnTo>
                  <a:lnTo>
                    <a:pt x="424" y="758"/>
                  </a:lnTo>
                  <a:lnTo>
                    <a:pt x="414" y="782"/>
                  </a:lnTo>
                  <a:lnTo>
                    <a:pt x="414" y="802"/>
                  </a:lnTo>
                  <a:lnTo>
                    <a:pt x="434" y="819"/>
                  </a:lnTo>
                  <a:lnTo>
                    <a:pt x="451" y="819"/>
                  </a:lnTo>
                  <a:lnTo>
                    <a:pt x="487" y="812"/>
                  </a:lnTo>
                  <a:lnTo>
                    <a:pt x="527" y="822"/>
                  </a:lnTo>
                  <a:lnTo>
                    <a:pt x="547" y="822"/>
                  </a:lnTo>
                  <a:lnTo>
                    <a:pt x="561" y="815"/>
                  </a:lnTo>
                  <a:lnTo>
                    <a:pt x="574" y="805"/>
                  </a:lnTo>
                  <a:lnTo>
                    <a:pt x="577" y="805"/>
                  </a:lnTo>
                  <a:lnTo>
                    <a:pt x="581" y="799"/>
                  </a:lnTo>
                  <a:lnTo>
                    <a:pt x="671" y="688"/>
                  </a:lnTo>
                  <a:lnTo>
                    <a:pt x="711" y="668"/>
                  </a:lnTo>
                  <a:lnTo>
                    <a:pt x="728" y="668"/>
                  </a:lnTo>
                  <a:lnTo>
                    <a:pt x="751" y="678"/>
                  </a:lnTo>
                  <a:lnTo>
                    <a:pt x="771" y="692"/>
                  </a:lnTo>
                  <a:lnTo>
                    <a:pt x="784" y="708"/>
                  </a:lnTo>
                  <a:lnTo>
                    <a:pt x="788" y="738"/>
                  </a:lnTo>
                  <a:lnTo>
                    <a:pt x="778" y="765"/>
                  </a:lnTo>
                  <a:lnTo>
                    <a:pt x="774" y="795"/>
                  </a:lnTo>
                  <a:lnTo>
                    <a:pt x="781" y="825"/>
                  </a:lnTo>
                  <a:lnTo>
                    <a:pt x="768" y="822"/>
                  </a:lnTo>
                  <a:lnTo>
                    <a:pt x="728" y="805"/>
                  </a:lnTo>
                  <a:lnTo>
                    <a:pt x="714" y="809"/>
                  </a:lnTo>
                  <a:lnTo>
                    <a:pt x="714" y="809"/>
                  </a:lnTo>
                  <a:lnTo>
                    <a:pt x="708" y="832"/>
                  </a:lnTo>
                  <a:lnTo>
                    <a:pt x="734" y="842"/>
                  </a:lnTo>
                  <a:lnTo>
                    <a:pt x="821" y="845"/>
                  </a:lnTo>
                  <a:lnTo>
                    <a:pt x="841" y="852"/>
                  </a:lnTo>
                  <a:lnTo>
                    <a:pt x="891" y="872"/>
                  </a:lnTo>
                  <a:lnTo>
                    <a:pt x="918" y="865"/>
                  </a:lnTo>
                  <a:lnTo>
                    <a:pt x="948" y="835"/>
                  </a:lnTo>
                  <a:lnTo>
                    <a:pt x="975" y="799"/>
                  </a:lnTo>
                  <a:lnTo>
                    <a:pt x="995" y="765"/>
                  </a:lnTo>
                  <a:lnTo>
                    <a:pt x="1005" y="742"/>
                  </a:lnTo>
                  <a:lnTo>
                    <a:pt x="1008" y="722"/>
                  </a:lnTo>
                  <a:lnTo>
                    <a:pt x="1015" y="712"/>
                  </a:lnTo>
                  <a:lnTo>
                    <a:pt x="1035" y="705"/>
                  </a:lnTo>
                  <a:lnTo>
                    <a:pt x="1038" y="712"/>
                  </a:lnTo>
                  <a:lnTo>
                    <a:pt x="1075" y="735"/>
                  </a:lnTo>
                  <a:lnTo>
                    <a:pt x="1098" y="782"/>
                  </a:lnTo>
                  <a:lnTo>
                    <a:pt x="1095" y="815"/>
                  </a:lnTo>
                  <a:lnTo>
                    <a:pt x="1082" y="845"/>
                  </a:lnTo>
                  <a:lnTo>
                    <a:pt x="1075" y="889"/>
                  </a:lnTo>
                  <a:lnTo>
                    <a:pt x="1085" y="909"/>
                  </a:lnTo>
                  <a:lnTo>
                    <a:pt x="1125" y="956"/>
                  </a:lnTo>
                  <a:lnTo>
                    <a:pt x="1132" y="972"/>
                  </a:lnTo>
                  <a:lnTo>
                    <a:pt x="1145" y="1016"/>
                  </a:lnTo>
                  <a:lnTo>
                    <a:pt x="1152" y="1026"/>
                  </a:lnTo>
                  <a:lnTo>
                    <a:pt x="1172" y="1039"/>
                  </a:lnTo>
                  <a:lnTo>
                    <a:pt x="1219" y="1036"/>
                  </a:lnTo>
                  <a:lnTo>
                    <a:pt x="1242" y="1036"/>
                  </a:lnTo>
                  <a:lnTo>
                    <a:pt x="1265" y="1066"/>
                  </a:lnTo>
                  <a:lnTo>
                    <a:pt x="1265" y="1136"/>
                  </a:lnTo>
                  <a:lnTo>
                    <a:pt x="1285" y="1139"/>
                  </a:lnTo>
                  <a:lnTo>
                    <a:pt x="1332" y="1129"/>
                  </a:lnTo>
                  <a:lnTo>
                    <a:pt x="1479" y="1136"/>
                  </a:lnTo>
                  <a:lnTo>
                    <a:pt x="1506" y="1126"/>
                  </a:lnTo>
                  <a:lnTo>
                    <a:pt x="1556" y="1089"/>
                  </a:lnTo>
                  <a:lnTo>
                    <a:pt x="1579" y="1076"/>
                  </a:lnTo>
                  <a:lnTo>
                    <a:pt x="1606" y="1079"/>
                  </a:lnTo>
                  <a:lnTo>
                    <a:pt x="1636" y="1099"/>
                  </a:lnTo>
                  <a:lnTo>
                    <a:pt x="1660" y="1129"/>
                  </a:lnTo>
                  <a:lnTo>
                    <a:pt x="1666" y="1166"/>
                  </a:lnTo>
                  <a:lnTo>
                    <a:pt x="1670" y="1210"/>
                  </a:lnTo>
                  <a:lnTo>
                    <a:pt x="1680" y="1216"/>
                  </a:lnTo>
                  <a:lnTo>
                    <a:pt x="1700" y="1210"/>
                  </a:lnTo>
                  <a:lnTo>
                    <a:pt x="1730" y="1200"/>
                  </a:lnTo>
                  <a:lnTo>
                    <a:pt x="1740" y="1203"/>
                  </a:lnTo>
                  <a:lnTo>
                    <a:pt x="1750" y="1196"/>
                  </a:lnTo>
                  <a:lnTo>
                    <a:pt x="1756" y="1186"/>
                  </a:lnTo>
                  <a:lnTo>
                    <a:pt x="1763" y="1173"/>
                  </a:lnTo>
                  <a:lnTo>
                    <a:pt x="1776" y="1109"/>
                  </a:lnTo>
                  <a:lnTo>
                    <a:pt x="1796" y="1069"/>
                  </a:lnTo>
                  <a:lnTo>
                    <a:pt x="1806" y="1056"/>
                  </a:lnTo>
                  <a:lnTo>
                    <a:pt x="1830" y="1022"/>
                  </a:lnTo>
                  <a:lnTo>
                    <a:pt x="1950" y="986"/>
                  </a:lnTo>
                  <a:lnTo>
                    <a:pt x="2037" y="959"/>
                  </a:lnTo>
                  <a:lnTo>
                    <a:pt x="2077" y="949"/>
                  </a:lnTo>
                  <a:lnTo>
                    <a:pt x="2104" y="925"/>
                  </a:lnTo>
                  <a:lnTo>
                    <a:pt x="2150" y="889"/>
                  </a:lnTo>
                  <a:lnTo>
                    <a:pt x="2120" y="825"/>
                  </a:lnTo>
                  <a:lnTo>
                    <a:pt x="2077" y="765"/>
                  </a:lnTo>
                  <a:lnTo>
                    <a:pt x="2050" y="651"/>
                  </a:lnTo>
                  <a:lnTo>
                    <a:pt x="2030" y="528"/>
                  </a:lnTo>
                  <a:lnTo>
                    <a:pt x="2074" y="535"/>
                  </a:lnTo>
                  <a:lnTo>
                    <a:pt x="2120" y="548"/>
                  </a:lnTo>
                  <a:lnTo>
                    <a:pt x="2137" y="548"/>
                  </a:lnTo>
                  <a:lnTo>
                    <a:pt x="2170" y="545"/>
                  </a:lnTo>
                  <a:lnTo>
                    <a:pt x="2231" y="524"/>
                  </a:lnTo>
                  <a:lnTo>
                    <a:pt x="2241" y="524"/>
                  </a:lnTo>
                  <a:lnTo>
                    <a:pt x="2271" y="548"/>
                  </a:lnTo>
                  <a:lnTo>
                    <a:pt x="2291" y="531"/>
                  </a:lnTo>
                  <a:lnTo>
                    <a:pt x="2291" y="514"/>
                  </a:lnTo>
                  <a:lnTo>
                    <a:pt x="2284" y="498"/>
                  </a:lnTo>
                  <a:lnTo>
                    <a:pt x="2267" y="438"/>
                  </a:lnTo>
                  <a:lnTo>
                    <a:pt x="2264" y="431"/>
                  </a:lnTo>
                  <a:lnTo>
                    <a:pt x="2261" y="424"/>
                  </a:lnTo>
                  <a:lnTo>
                    <a:pt x="2237" y="381"/>
                  </a:lnTo>
                  <a:lnTo>
                    <a:pt x="2227" y="371"/>
                  </a:lnTo>
                  <a:lnTo>
                    <a:pt x="2214" y="364"/>
                  </a:lnTo>
                  <a:lnTo>
                    <a:pt x="2207" y="354"/>
                  </a:lnTo>
                  <a:lnTo>
                    <a:pt x="2217" y="334"/>
                  </a:lnTo>
                  <a:lnTo>
                    <a:pt x="2197" y="314"/>
                  </a:lnTo>
                  <a:lnTo>
                    <a:pt x="2181" y="240"/>
                  </a:lnTo>
                  <a:lnTo>
                    <a:pt x="2160" y="227"/>
                  </a:lnTo>
                  <a:lnTo>
                    <a:pt x="2114" y="220"/>
                  </a:lnTo>
                  <a:lnTo>
                    <a:pt x="2094" y="207"/>
                  </a:lnTo>
                  <a:lnTo>
                    <a:pt x="2084" y="184"/>
                  </a:lnTo>
                  <a:lnTo>
                    <a:pt x="2087" y="160"/>
                  </a:lnTo>
                  <a:lnTo>
                    <a:pt x="2060" y="147"/>
                  </a:lnTo>
                  <a:lnTo>
                    <a:pt x="1933" y="144"/>
                  </a:lnTo>
                  <a:lnTo>
                    <a:pt x="1850" y="83"/>
                  </a:lnTo>
                  <a:lnTo>
                    <a:pt x="1826" y="77"/>
                  </a:lnTo>
                  <a:lnTo>
                    <a:pt x="1813" y="67"/>
                  </a:lnTo>
                  <a:lnTo>
                    <a:pt x="1800" y="30"/>
                  </a:lnTo>
                  <a:lnTo>
                    <a:pt x="1790" y="20"/>
                  </a:lnTo>
                  <a:lnTo>
                    <a:pt x="1736" y="7"/>
                  </a:lnTo>
                  <a:lnTo>
                    <a:pt x="1656" y="20"/>
                  </a:lnTo>
                  <a:lnTo>
                    <a:pt x="1639" y="13"/>
                  </a:lnTo>
                  <a:lnTo>
                    <a:pt x="1616" y="0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xmlns="" id="{FC4AC425-08E6-4FFB-8152-C23CB7699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" y="2191"/>
              <a:ext cx="1049" cy="685"/>
            </a:xfrm>
            <a:custGeom>
              <a:avLst/>
              <a:gdLst>
                <a:gd name="T0" fmla="*/ 217 w 1049"/>
                <a:gd name="T1" fmla="*/ 20 h 685"/>
                <a:gd name="T2" fmla="*/ 194 w 1049"/>
                <a:gd name="T3" fmla="*/ 27 h 685"/>
                <a:gd name="T4" fmla="*/ 101 w 1049"/>
                <a:gd name="T5" fmla="*/ 77 h 685"/>
                <a:gd name="T6" fmla="*/ 0 w 1049"/>
                <a:gd name="T7" fmla="*/ 127 h 685"/>
                <a:gd name="T8" fmla="*/ 30 w 1049"/>
                <a:gd name="T9" fmla="*/ 170 h 685"/>
                <a:gd name="T10" fmla="*/ 107 w 1049"/>
                <a:gd name="T11" fmla="*/ 244 h 685"/>
                <a:gd name="T12" fmla="*/ 121 w 1049"/>
                <a:gd name="T13" fmla="*/ 294 h 685"/>
                <a:gd name="T14" fmla="*/ 114 w 1049"/>
                <a:gd name="T15" fmla="*/ 304 h 685"/>
                <a:gd name="T16" fmla="*/ 84 w 1049"/>
                <a:gd name="T17" fmla="*/ 291 h 685"/>
                <a:gd name="T18" fmla="*/ 67 w 1049"/>
                <a:gd name="T19" fmla="*/ 291 h 685"/>
                <a:gd name="T20" fmla="*/ 47 w 1049"/>
                <a:gd name="T21" fmla="*/ 344 h 685"/>
                <a:gd name="T22" fmla="*/ 137 w 1049"/>
                <a:gd name="T23" fmla="*/ 428 h 685"/>
                <a:gd name="T24" fmla="*/ 40 w 1049"/>
                <a:gd name="T25" fmla="*/ 525 h 685"/>
                <a:gd name="T26" fmla="*/ 107 w 1049"/>
                <a:gd name="T27" fmla="*/ 555 h 685"/>
                <a:gd name="T28" fmla="*/ 74 w 1049"/>
                <a:gd name="T29" fmla="*/ 568 h 685"/>
                <a:gd name="T30" fmla="*/ 121 w 1049"/>
                <a:gd name="T31" fmla="*/ 645 h 685"/>
                <a:gd name="T32" fmla="*/ 184 w 1049"/>
                <a:gd name="T33" fmla="*/ 675 h 685"/>
                <a:gd name="T34" fmla="*/ 271 w 1049"/>
                <a:gd name="T35" fmla="*/ 611 h 685"/>
                <a:gd name="T36" fmla="*/ 338 w 1049"/>
                <a:gd name="T37" fmla="*/ 615 h 685"/>
                <a:gd name="T38" fmla="*/ 394 w 1049"/>
                <a:gd name="T39" fmla="*/ 575 h 685"/>
                <a:gd name="T40" fmla="*/ 431 w 1049"/>
                <a:gd name="T41" fmla="*/ 565 h 685"/>
                <a:gd name="T42" fmla="*/ 475 w 1049"/>
                <a:gd name="T43" fmla="*/ 621 h 685"/>
                <a:gd name="T44" fmla="*/ 528 w 1049"/>
                <a:gd name="T45" fmla="*/ 638 h 685"/>
                <a:gd name="T46" fmla="*/ 598 w 1049"/>
                <a:gd name="T47" fmla="*/ 611 h 685"/>
                <a:gd name="T48" fmla="*/ 728 w 1049"/>
                <a:gd name="T49" fmla="*/ 615 h 685"/>
                <a:gd name="T50" fmla="*/ 802 w 1049"/>
                <a:gd name="T51" fmla="*/ 621 h 685"/>
                <a:gd name="T52" fmla="*/ 855 w 1049"/>
                <a:gd name="T53" fmla="*/ 595 h 685"/>
                <a:gd name="T54" fmla="*/ 1042 w 1049"/>
                <a:gd name="T55" fmla="*/ 672 h 685"/>
                <a:gd name="T56" fmla="*/ 1046 w 1049"/>
                <a:gd name="T57" fmla="*/ 621 h 685"/>
                <a:gd name="T58" fmla="*/ 1032 w 1049"/>
                <a:gd name="T59" fmla="*/ 585 h 685"/>
                <a:gd name="T60" fmla="*/ 979 w 1049"/>
                <a:gd name="T61" fmla="*/ 471 h 685"/>
                <a:gd name="T62" fmla="*/ 979 w 1049"/>
                <a:gd name="T63" fmla="*/ 401 h 685"/>
                <a:gd name="T64" fmla="*/ 952 w 1049"/>
                <a:gd name="T65" fmla="*/ 381 h 685"/>
                <a:gd name="T66" fmla="*/ 946 w 1049"/>
                <a:gd name="T67" fmla="*/ 404 h 685"/>
                <a:gd name="T68" fmla="*/ 929 w 1049"/>
                <a:gd name="T69" fmla="*/ 414 h 685"/>
                <a:gd name="T70" fmla="*/ 902 w 1049"/>
                <a:gd name="T71" fmla="*/ 431 h 685"/>
                <a:gd name="T72" fmla="*/ 862 w 1049"/>
                <a:gd name="T73" fmla="*/ 404 h 685"/>
                <a:gd name="T74" fmla="*/ 882 w 1049"/>
                <a:gd name="T75" fmla="*/ 384 h 685"/>
                <a:gd name="T76" fmla="*/ 912 w 1049"/>
                <a:gd name="T77" fmla="*/ 344 h 685"/>
                <a:gd name="T78" fmla="*/ 912 w 1049"/>
                <a:gd name="T79" fmla="*/ 331 h 685"/>
                <a:gd name="T80" fmla="*/ 915 w 1049"/>
                <a:gd name="T81" fmla="*/ 297 h 685"/>
                <a:gd name="T82" fmla="*/ 895 w 1049"/>
                <a:gd name="T83" fmla="*/ 274 h 685"/>
                <a:gd name="T84" fmla="*/ 869 w 1049"/>
                <a:gd name="T85" fmla="*/ 247 h 685"/>
                <a:gd name="T86" fmla="*/ 809 w 1049"/>
                <a:gd name="T87" fmla="*/ 220 h 685"/>
                <a:gd name="T88" fmla="*/ 819 w 1049"/>
                <a:gd name="T89" fmla="*/ 207 h 685"/>
                <a:gd name="T90" fmla="*/ 782 w 1049"/>
                <a:gd name="T91" fmla="*/ 140 h 685"/>
                <a:gd name="T92" fmla="*/ 782 w 1049"/>
                <a:gd name="T93" fmla="*/ 73 h 685"/>
                <a:gd name="T94" fmla="*/ 732 w 1049"/>
                <a:gd name="T95" fmla="*/ 30 h 685"/>
                <a:gd name="T96" fmla="*/ 625 w 1049"/>
                <a:gd name="T97" fmla="*/ 10 h 685"/>
                <a:gd name="T98" fmla="*/ 588 w 1049"/>
                <a:gd name="T99" fmla="*/ 57 h 685"/>
                <a:gd name="T100" fmla="*/ 551 w 1049"/>
                <a:gd name="T101" fmla="*/ 157 h 685"/>
                <a:gd name="T102" fmla="*/ 511 w 1049"/>
                <a:gd name="T103" fmla="*/ 210 h 685"/>
                <a:gd name="T104" fmla="*/ 374 w 1049"/>
                <a:gd name="T105" fmla="*/ 227 h 685"/>
                <a:gd name="T106" fmla="*/ 328 w 1049"/>
                <a:gd name="T107" fmla="*/ 160 h 685"/>
                <a:gd name="T108" fmla="*/ 351 w 1049"/>
                <a:gd name="T109" fmla="*/ 83 h 685"/>
                <a:gd name="T110" fmla="*/ 344 w 1049"/>
                <a:gd name="T111" fmla="*/ 70 h 685"/>
                <a:gd name="T112" fmla="*/ 334 w 1049"/>
                <a:gd name="T113" fmla="*/ 63 h 685"/>
                <a:gd name="T114" fmla="*/ 328 w 1049"/>
                <a:gd name="T115" fmla="*/ 43 h 685"/>
                <a:gd name="T116" fmla="*/ 368 w 1049"/>
                <a:gd name="T117" fmla="*/ 10 h 685"/>
                <a:gd name="T118" fmla="*/ 291 w 1049"/>
                <a:gd name="T119" fmla="*/ 7 h 685"/>
                <a:gd name="T120" fmla="*/ 271 w 1049"/>
                <a:gd name="T121" fmla="*/ 0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49" h="685">
                  <a:moveTo>
                    <a:pt x="271" y="0"/>
                  </a:moveTo>
                  <a:lnTo>
                    <a:pt x="241" y="17"/>
                  </a:lnTo>
                  <a:lnTo>
                    <a:pt x="217" y="20"/>
                  </a:lnTo>
                  <a:lnTo>
                    <a:pt x="204" y="20"/>
                  </a:lnTo>
                  <a:lnTo>
                    <a:pt x="197" y="23"/>
                  </a:lnTo>
                  <a:lnTo>
                    <a:pt x="194" y="27"/>
                  </a:lnTo>
                  <a:lnTo>
                    <a:pt x="177" y="57"/>
                  </a:lnTo>
                  <a:lnTo>
                    <a:pt x="127" y="63"/>
                  </a:lnTo>
                  <a:lnTo>
                    <a:pt x="101" y="77"/>
                  </a:lnTo>
                  <a:lnTo>
                    <a:pt x="84" y="97"/>
                  </a:lnTo>
                  <a:lnTo>
                    <a:pt x="57" y="110"/>
                  </a:lnTo>
                  <a:lnTo>
                    <a:pt x="0" y="127"/>
                  </a:lnTo>
                  <a:lnTo>
                    <a:pt x="17" y="157"/>
                  </a:lnTo>
                  <a:lnTo>
                    <a:pt x="24" y="164"/>
                  </a:lnTo>
                  <a:lnTo>
                    <a:pt x="30" y="170"/>
                  </a:lnTo>
                  <a:lnTo>
                    <a:pt x="57" y="184"/>
                  </a:lnTo>
                  <a:lnTo>
                    <a:pt x="117" y="234"/>
                  </a:lnTo>
                  <a:lnTo>
                    <a:pt x="107" y="244"/>
                  </a:lnTo>
                  <a:lnTo>
                    <a:pt x="111" y="264"/>
                  </a:lnTo>
                  <a:lnTo>
                    <a:pt x="121" y="287"/>
                  </a:lnTo>
                  <a:lnTo>
                    <a:pt x="121" y="294"/>
                  </a:lnTo>
                  <a:lnTo>
                    <a:pt x="121" y="297"/>
                  </a:lnTo>
                  <a:lnTo>
                    <a:pt x="117" y="301"/>
                  </a:lnTo>
                  <a:lnTo>
                    <a:pt x="114" y="304"/>
                  </a:lnTo>
                  <a:lnTo>
                    <a:pt x="94" y="294"/>
                  </a:lnTo>
                  <a:lnTo>
                    <a:pt x="87" y="291"/>
                  </a:lnTo>
                  <a:lnTo>
                    <a:pt x="84" y="291"/>
                  </a:lnTo>
                  <a:lnTo>
                    <a:pt x="81" y="287"/>
                  </a:lnTo>
                  <a:lnTo>
                    <a:pt x="74" y="287"/>
                  </a:lnTo>
                  <a:lnTo>
                    <a:pt x="67" y="291"/>
                  </a:lnTo>
                  <a:lnTo>
                    <a:pt x="37" y="321"/>
                  </a:lnTo>
                  <a:lnTo>
                    <a:pt x="30" y="331"/>
                  </a:lnTo>
                  <a:lnTo>
                    <a:pt x="47" y="344"/>
                  </a:lnTo>
                  <a:lnTo>
                    <a:pt x="64" y="351"/>
                  </a:lnTo>
                  <a:lnTo>
                    <a:pt x="81" y="428"/>
                  </a:lnTo>
                  <a:lnTo>
                    <a:pt x="137" y="428"/>
                  </a:lnTo>
                  <a:lnTo>
                    <a:pt x="127" y="441"/>
                  </a:lnTo>
                  <a:lnTo>
                    <a:pt x="81" y="464"/>
                  </a:lnTo>
                  <a:lnTo>
                    <a:pt x="40" y="525"/>
                  </a:lnTo>
                  <a:lnTo>
                    <a:pt x="47" y="538"/>
                  </a:lnTo>
                  <a:lnTo>
                    <a:pt x="101" y="528"/>
                  </a:lnTo>
                  <a:lnTo>
                    <a:pt x="107" y="555"/>
                  </a:lnTo>
                  <a:lnTo>
                    <a:pt x="91" y="561"/>
                  </a:lnTo>
                  <a:lnTo>
                    <a:pt x="84" y="568"/>
                  </a:lnTo>
                  <a:lnTo>
                    <a:pt x="74" y="568"/>
                  </a:lnTo>
                  <a:lnTo>
                    <a:pt x="70" y="575"/>
                  </a:lnTo>
                  <a:lnTo>
                    <a:pt x="81" y="595"/>
                  </a:lnTo>
                  <a:lnTo>
                    <a:pt x="121" y="645"/>
                  </a:lnTo>
                  <a:lnTo>
                    <a:pt x="147" y="685"/>
                  </a:lnTo>
                  <a:lnTo>
                    <a:pt x="157" y="675"/>
                  </a:lnTo>
                  <a:lnTo>
                    <a:pt x="184" y="675"/>
                  </a:lnTo>
                  <a:lnTo>
                    <a:pt x="197" y="672"/>
                  </a:lnTo>
                  <a:lnTo>
                    <a:pt x="231" y="635"/>
                  </a:lnTo>
                  <a:lnTo>
                    <a:pt x="271" y="611"/>
                  </a:lnTo>
                  <a:lnTo>
                    <a:pt x="274" y="608"/>
                  </a:lnTo>
                  <a:lnTo>
                    <a:pt x="324" y="621"/>
                  </a:lnTo>
                  <a:lnTo>
                    <a:pt x="338" y="615"/>
                  </a:lnTo>
                  <a:lnTo>
                    <a:pt x="354" y="591"/>
                  </a:lnTo>
                  <a:lnTo>
                    <a:pt x="364" y="585"/>
                  </a:lnTo>
                  <a:lnTo>
                    <a:pt x="394" y="575"/>
                  </a:lnTo>
                  <a:lnTo>
                    <a:pt x="404" y="568"/>
                  </a:lnTo>
                  <a:lnTo>
                    <a:pt x="414" y="561"/>
                  </a:lnTo>
                  <a:lnTo>
                    <a:pt x="431" y="565"/>
                  </a:lnTo>
                  <a:lnTo>
                    <a:pt x="448" y="578"/>
                  </a:lnTo>
                  <a:lnTo>
                    <a:pt x="465" y="608"/>
                  </a:lnTo>
                  <a:lnTo>
                    <a:pt x="475" y="621"/>
                  </a:lnTo>
                  <a:lnTo>
                    <a:pt x="498" y="635"/>
                  </a:lnTo>
                  <a:lnTo>
                    <a:pt x="511" y="635"/>
                  </a:lnTo>
                  <a:lnTo>
                    <a:pt x="528" y="638"/>
                  </a:lnTo>
                  <a:lnTo>
                    <a:pt x="558" y="631"/>
                  </a:lnTo>
                  <a:lnTo>
                    <a:pt x="581" y="615"/>
                  </a:lnTo>
                  <a:lnTo>
                    <a:pt x="598" y="611"/>
                  </a:lnTo>
                  <a:lnTo>
                    <a:pt x="668" y="648"/>
                  </a:lnTo>
                  <a:lnTo>
                    <a:pt x="695" y="642"/>
                  </a:lnTo>
                  <a:lnTo>
                    <a:pt x="728" y="615"/>
                  </a:lnTo>
                  <a:lnTo>
                    <a:pt x="758" y="608"/>
                  </a:lnTo>
                  <a:lnTo>
                    <a:pt x="789" y="621"/>
                  </a:lnTo>
                  <a:lnTo>
                    <a:pt x="802" y="621"/>
                  </a:lnTo>
                  <a:lnTo>
                    <a:pt x="815" y="615"/>
                  </a:lnTo>
                  <a:lnTo>
                    <a:pt x="839" y="598"/>
                  </a:lnTo>
                  <a:lnTo>
                    <a:pt x="855" y="595"/>
                  </a:lnTo>
                  <a:lnTo>
                    <a:pt x="909" y="605"/>
                  </a:lnTo>
                  <a:lnTo>
                    <a:pt x="1002" y="662"/>
                  </a:lnTo>
                  <a:lnTo>
                    <a:pt x="1042" y="672"/>
                  </a:lnTo>
                  <a:lnTo>
                    <a:pt x="1049" y="662"/>
                  </a:lnTo>
                  <a:lnTo>
                    <a:pt x="1049" y="631"/>
                  </a:lnTo>
                  <a:lnTo>
                    <a:pt x="1046" y="621"/>
                  </a:lnTo>
                  <a:lnTo>
                    <a:pt x="1046" y="615"/>
                  </a:lnTo>
                  <a:lnTo>
                    <a:pt x="1039" y="605"/>
                  </a:lnTo>
                  <a:lnTo>
                    <a:pt x="1032" y="585"/>
                  </a:lnTo>
                  <a:lnTo>
                    <a:pt x="1006" y="558"/>
                  </a:lnTo>
                  <a:lnTo>
                    <a:pt x="989" y="531"/>
                  </a:lnTo>
                  <a:lnTo>
                    <a:pt x="979" y="471"/>
                  </a:lnTo>
                  <a:lnTo>
                    <a:pt x="982" y="424"/>
                  </a:lnTo>
                  <a:lnTo>
                    <a:pt x="979" y="411"/>
                  </a:lnTo>
                  <a:lnTo>
                    <a:pt x="979" y="401"/>
                  </a:lnTo>
                  <a:lnTo>
                    <a:pt x="966" y="361"/>
                  </a:lnTo>
                  <a:lnTo>
                    <a:pt x="946" y="364"/>
                  </a:lnTo>
                  <a:lnTo>
                    <a:pt x="952" y="381"/>
                  </a:lnTo>
                  <a:lnTo>
                    <a:pt x="952" y="388"/>
                  </a:lnTo>
                  <a:lnTo>
                    <a:pt x="949" y="394"/>
                  </a:lnTo>
                  <a:lnTo>
                    <a:pt x="946" y="404"/>
                  </a:lnTo>
                  <a:lnTo>
                    <a:pt x="939" y="411"/>
                  </a:lnTo>
                  <a:lnTo>
                    <a:pt x="935" y="414"/>
                  </a:lnTo>
                  <a:lnTo>
                    <a:pt x="929" y="414"/>
                  </a:lnTo>
                  <a:lnTo>
                    <a:pt x="925" y="414"/>
                  </a:lnTo>
                  <a:lnTo>
                    <a:pt x="912" y="424"/>
                  </a:lnTo>
                  <a:lnTo>
                    <a:pt x="902" y="431"/>
                  </a:lnTo>
                  <a:lnTo>
                    <a:pt x="869" y="414"/>
                  </a:lnTo>
                  <a:lnTo>
                    <a:pt x="865" y="411"/>
                  </a:lnTo>
                  <a:lnTo>
                    <a:pt x="862" y="404"/>
                  </a:lnTo>
                  <a:lnTo>
                    <a:pt x="872" y="398"/>
                  </a:lnTo>
                  <a:lnTo>
                    <a:pt x="879" y="391"/>
                  </a:lnTo>
                  <a:lnTo>
                    <a:pt x="882" y="384"/>
                  </a:lnTo>
                  <a:lnTo>
                    <a:pt x="889" y="361"/>
                  </a:lnTo>
                  <a:lnTo>
                    <a:pt x="899" y="341"/>
                  </a:lnTo>
                  <a:lnTo>
                    <a:pt x="912" y="344"/>
                  </a:lnTo>
                  <a:lnTo>
                    <a:pt x="912" y="341"/>
                  </a:lnTo>
                  <a:lnTo>
                    <a:pt x="912" y="337"/>
                  </a:lnTo>
                  <a:lnTo>
                    <a:pt x="912" y="331"/>
                  </a:lnTo>
                  <a:lnTo>
                    <a:pt x="912" y="317"/>
                  </a:lnTo>
                  <a:lnTo>
                    <a:pt x="915" y="304"/>
                  </a:lnTo>
                  <a:lnTo>
                    <a:pt x="915" y="297"/>
                  </a:lnTo>
                  <a:lnTo>
                    <a:pt x="915" y="294"/>
                  </a:lnTo>
                  <a:lnTo>
                    <a:pt x="905" y="281"/>
                  </a:lnTo>
                  <a:lnTo>
                    <a:pt x="895" y="274"/>
                  </a:lnTo>
                  <a:lnTo>
                    <a:pt x="889" y="271"/>
                  </a:lnTo>
                  <a:lnTo>
                    <a:pt x="879" y="254"/>
                  </a:lnTo>
                  <a:lnTo>
                    <a:pt x="869" y="247"/>
                  </a:lnTo>
                  <a:lnTo>
                    <a:pt x="845" y="244"/>
                  </a:lnTo>
                  <a:lnTo>
                    <a:pt x="815" y="234"/>
                  </a:lnTo>
                  <a:lnTo>
                    <a:pt x="809" y="220"/>
                  </a:lnTo>
                  <a:lnTo>
                    <a:pt x="809" y="214"/>
                  </a:lnTo>
                  <a:lnTo>
                    <a:pt x="812" y="214"/>
                  </a:lnTo>
                  <a:lnTo>
                    <a:pt x="819" y="207"/>
                  </a:lnTo>
                  <a:lnTo>
                    <a:pt x="822" y="197"/>
                  </a:lnTo>
                  <a:lnTo>
                    <a:pt x="825" y="177"/>
                  </a:lnTo>
                  <a:lnTo>
                    <a:pt x="782" y="140"/>
                  </a:lnTo>
                  <a:lnTo>
                    <a:pt x="775" y="130"/>
                  </a:lnTo>
                  <a:lnTo>
                    <a:pt x="779" y="107"/>
                  </a:lnTo>
                  <a:lnTo>
                    <a:pt x="782" y="73"/>
                  </a:lnTo>
                  <a:lnTo>
                    <a:pt x="785" y="53"/>
                  </a:lnTo>
                  <a:lnTo>
                    <a:pt x="785" y="53"/>
                  </a:lnTo>
                  <a:lnTo>
                    <a:pt x="732" y="30"/>
                  </a:lnTo>
                  <a:lnTo>
                    <a:pt x="702" y="10"/>
                  </a:lnTo>
                  <a:lnTo>
                    <a:pt x="695" y="10"/>
                  </a:lnTo>
                  <a:lnTo>
                    <a:pt x="625" y="10"/>
                  </a:lnTo>
                  <a:lnTo>
                    <a:pt x="618" y="13"/>
                  </a:lnTo>
                  <a:lnTo>
                    <a:pt x="612" y="17"/>
                  </a:lnTo>
                  <a:lnTo>
                    <a:pt x="588" y="57"/>
                  </a:lnTo>
                  <a:lnTo>
                    <a:pt x="565" y="117"/>
                  </a:lnTo>
                  <a:lnTo>
                    <a:pt x="558" y="140"/>
                  </a:lnTo>
                  <a:lnTo>
                    <a:pt x="551" y="157"/>
                  </a:lnTo>
                  <a:lnTo>
                    <a:pt x="545" y="177"/>
                  </a:lnTo>
                  <a:lnTo>
                    <a:pt x="535" y="194"/>
                  </a:lnTo>
                  <a:lnTo>
                    <a:pt x="511" y="210"/>
                  </a:lnTo>
                  <a:lnTo>
                    <a:pt x="441" y="207"/>
                  </a:lnTo>
                  <a:lnTo>
                    <a:pt x="398" y="217"/>
                  </a:lnTo>
                  <a:lnTo>
                    <a:pt x="374" y="227"/>
                  </a:lnTo>
                  <a:lnTo>
                    <a:pt x="341" y="234"/>
                  </a:lnTo>
                  <a:lnTo>
                    <a:pt x="338" y="190"/>
                  </a:lnTo>
                  <a:lnTo>
                    <a:pt x="328" y="160"/>
                  </a:lnTo>
                  <a:lnTo>
                    <a:pt x="338" y="120"/>
                  </a:lnTo>
                  <a:lnTo>
                    <a:pt x="358" y="93"/>
                  </a:lnTo>
                  <a:lnTo>
                    <a:pt x="351" y="83"/>
                  </a:lnTo>
                  <a:lnTo>
                    <a:pt x="348" y="77"/>
                  </a:lnTo>
                  <a:lnTo>
                    <a:pt x="348" y="73"/>
                  </a:lnTo>
                  <a:lnTo>
                    <a:pt x="344" y="70"/>
                  </a:lnTo>
                  <a:lnTo>
                    <a:pt x="341" y="67"/>
                  </a:lnTo>
                  <a:lnTo>
                    <a:pt x="338" y="63"/>
                  </a:lnTo>
                  <a:lnTo>
                    <a:pt x="334" y="63"/>
                  </a:lnTo>
                  <a:lnTo>
                    <a:pt x="331" y="57"/>
                  </a:lnTo>
                  <a:lnTo>
                    <a:pt x="331" y="50"/>
                  </a:lnTo>
                  <a:lnTo>
                    <a:pt x="328" y="43"/>
                  </a:lnTo>
                  <a:lnTo>
                    <a:pt x="324" y="37"/>
                  </a:lnTo>
                  <a:lnTo>
                    <a:pt x="331" y="27"/>
                  </a:lnTo>
                  <a:lnTo>
                    <a:pt x="368" y="10"/>
                  </a:lnTo>
                  <a:lnTo>
                    <a:pt x="318" y="7"/>
                  </a:lnTo>
                  <a:lnTo>
                    <a:pt x="298" y="17"/>
                  </a:lnTo>
                  <a:lnTo>
                    <a:pt x="291" y="7"/>
                  </a:lnTo>
                  <a:lnTo>
                    <a:pt x="288" y="0"/>
                  </a:lnTo>
                  <a:lnTo>
                    <a:pt x="278" y="0"/>
                  </a:lnTo>
                  <a:lnTo>
                    <a:pt x="271" y="0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xmlns="" id="{D225BBB0-E22F-4502-8797-42BAA3690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4" y="2107"/>
              <a:ext cx="1623" cy="1374"/>
            </a:xfrm>
            <a:custGeom>
              <a:avLst/>
              <a:gdLst>
                <a:gd name="T0" fmla="*/ 521 w 1623"/>
                <a:gd name="T1" fmla="*/ 428 h 1374"/>
                <a:gd name="T2" fmla="*/ 254 w 1623"/>
                <a:gd name="T3" fmla="*/ 679 h 1374"/>
                <a:gd name="T4" fmla="*/ 151 w 1623"/>
                <a:gd name="T5" fmla="*/ 689 h 1374"/>
                <a:gd name="T6" fmla="*/ 187 w 1623"/>
                <a:gd name="T7" fmla="*/ 799 h 1374"/>
                <a:gd name="T8" fmla="*/ 221 w 1623"/>
                <a:gd name="T9" fmla="*/ 839 h 1374"/>
                <a:gd name="T10" fmla="*/ 207 w 1623"/>
                <a:gd name="T11" fmla="*/ 876 h 1374"/>
                <a:gd name="T12" fmla="*/ 224 w 1623"/>
                <a:gd name="T13" fmla="*/ 903 h 1374"/>
                <a:gd name="T14" fmla="*/ 261 w 1623"/>
                <a:gd name="T15" fmla="*/ 969 h 1374"/>
                <a:gd name="T16" fmla="*/ 227 w 1623"/>
                <a:gd name="T17" fmla="*/ 983 h 1374"/>
                <a:gd name="T18" fmla="*/ 147 w 1623"/>
                <a:gd name="T19" fmla="*/ 956 h 1374"/>
                <a:gd name="T20" fmla="*/ 37 w 1623"/>
                <a:gd name="T21" fmla="*/ 993 h 1374"/>
                <a:gd name="T22" fmla="*/ 24 w 1623"/>
                <a:gd name="T23" fmla="*/ 1073 h 1374"/>
                <a:gd name="T24" fmla="*/ 60 w 1623"/>
                <a:gd name="T25" fmla="*/ 1056 h 1374"/>
                <a:gd name="T26" fmla="*/ 147 w 1623"/>
                <a:gd name="T27" fmla="*/ 1030 h 1374"/>
                <a:gd name="T28" fmla="*/ 231 w 1623"/>
                <a:gd name="T29" fmla="*/ 1123 h 1374"/>
                <a:gd name="T30" fmla="*/ 344 w 1623"/>
                <a:gd name="T31" fmla="*/ 1240 h 1374"/>
                <a:gd name="T32" fmla="*/ 344 w 1623"/>
                <a:gd name="T33" fmla="*/ 1280 h 1374"/>
                <a:gd name="T34" fmla="*/ 304 w 1623"/>
                <a:gd name="T35" fmla="*/ 1324 h 1374"/>
                <a:gd name="T36" fmla="*/ 311 w 1623"/>
                <a:gd name="T37" fmla="*/ 1347 h 1374"/>
                <a:gd name="T38" fmla="*/ 384 w 1623"/>
                <a:gd name="T39" fmla="*/ 1360 h 1374"/>
                <a:gd name="T40" fmla="*/ 515 w 1623"/>
                <a:gd name="T41" fmla="*/ 1350 h 1374"/>
                <a:gd name="T42" fmla="*/ 665 w 1623"/>
                <a:gd name="T43" fmla="*/ 1233 h 1374"/>
                <a:gd name="T44" fmla="*/ 882 w 1623"/>
                <a:gd name="T45" fmla="*/ 1243 h 1374"/>
                <a:gd name="T46" fmla="*/ 999 w 1623"/>
                <a:gd name="T47" fmla="*/ 1210 h 1374"/>
                <a:gd name="T48" fmla="*/ 1106 w 1623"/>
                <a:gd name="T49" fmla="*/ 1073 h 1374"/>
                <a:gd name="T50" fmla="*/ 1239 w 1623"/>
                <a:gd name="T51" fmla="*/ 1036 h 1374"/>
                <a:gd name="T52" fmla="*/ 1380 w 1623"/>
                <a:gd name="T53" fmla="*/ 1003 h 1374"/>
                <a:gd name="T54" fmla="*/ 1413 w 1623"/>
                <a:gd name="T55" fmla="*/ 966 h 1374"/>
                <a:gd name="T56" fmla="*/ 1440 w 1623"/>
                <a:gd name="T57" fmla="*/ 946 h 1374"/>
                <a:gd name="T58" fmla="*/ 1547 w 1623"/>
                <a:gd name="T59" fmla="*/ 896 h 1374"/>
                <a:gd name="T60" fmla="*/ 1543 w 1623"/>
                <a:gd name="T61" fmla="*/ 869 h 1374"/>
                <a:gd name="T62" fmla="*/ 1623 w 1623"/>
                <a:gd name="T63" fmla="*/ 719 h 1374"/>
                <a:gd name="T64" fmla="*/ 1577 w 1623"/>
                <a:gd name="T65" fmla="*/ 692 h 1374"/>
                <a:gd name="T66" fmla="*/ 1526 w 1623"/>
                <a:gd name="T67" fmla="*/ 645 h 1374"/>
                <a:gd name="T68" fmla="*/ 1476 w 1623"/>
                <a:gd name="T69" fmla="*/ 669 h 1374"/>
                <a:gd name="T70" fmla="*/ 1436 w 1623"/>
                <a:gd name="T71" fmla="*/ 705 h 1374"/>
                <a:gd name="T72" fmla="*/ 1343 w 1623"/>
                <a:gd name="T73" fmla="*/ 719 h 1374"/>
                <a:gd name="T74" fmla="*/ 1269 w 1623"/>
                <a:gd name="T75" fmla="*/ 759 h 1374"/>
                <a:gd name="T76" fmla="*/ 1193 w 1623"/>
                <a:gd name="T77" fmla="*/ 679 h 1374"/>
                <a:gd name="T78" fmla="*/ 1196 w 1623"/>
                <a:gd name="T79" fmla="*/ 652 h 1374"/>
                <a:gd name="T80" fmla="*/ 1213 w 1623"/>
                <a:gd name="T81" fmla="*/ 612 h 1374"/>
                <a:gd name="T82" fmla="*/ 1193 w 1623"/>
                <a:gd name="T83" fmla="*/ 548 h 1374"/>
                <a:gd name="T84" fmla="*/ 1193 w 1623"/>
                <a:gd name="T85" fmla="*/ 512 h 1374"/>
                <a:gd name="T86" fmla="*/ 1142 w 1623"/>
                <a:gd name="T87" fmla="*/ 415 h 1374"/>
                <a:gd name="T88" fmla="*/ 1186 w 1623"/>
                <a:gd name="T89" fmla="*/ 371 h 1374"/>
                <a:gd name="T90" fmla="*/ 1199 w 1623"/>
                <a:gd name="T91" fmla="*/ 375 h 1374"/>
                <a:gd name="T92" fmla="*/ 1229 w 1623"/>
                <a:gd name="T93" fmla="*/ 385 h 1374"/>
                <a:gd name="T94" fmla="*/ 1233 w 1623"/>
                <a:gd name="T95" fmla="*/ 371 h 1374"/>
                <a:gd name="T96" fmla="*/ 1229 w 1623"/>
                <a:gd name="T97" fmla="*/ 318 h 1374"/>
                <a:gd name="T98" fmla="*/ 1136 w 1623"/>
                <a:gd name="T99" fmla="*/ 248 h 1374"/>
                <a:gd name="T100" fmla="*/ 1076 w 1623"/>
                <a:gd name="T101" fmla="*/ 238 h 1374"/>
                <a:gd name="T102" fmla="*/ 1052 w 1623"/>
                <a:gd name="T103" fmla="*/ 191 h 1374"/>
                <a:gd name="T104" fmla="*/ 992 w 1623"/>
                <a:gd name="T105" fmla="*/ 201 h 1374"/>
                <a:gd name="T106" fmla="*/ 882 w 1623"/>
                <a:gd name="T107" fmla="*/ 228 h 1374"/>
                <a:gd name="T108" fmla="*/ 859 w 1623"/>
                <a:gd name="T109" fmla="*/ 211 h 1374"/>
                <a:gd name="T110" fmla="*/ 859 w 1623"/>
                <a:gd name="T111" fmla="*/ 171 h 1374"/>
                <a:gd name="T112" fmla="*/ 865 w 1623"/>
                <a:gd name="T113" fmla="*/ 117 h 1374"/>
                <a:gd name="T114" fmla="*/ 892 w 1623"/>
                <a:gd name="T115" fmla="*/ 20 h 1374"/>
                <a:gd name="T116" fmla="*/ 839 w 1623"/>
                <a:gd name="T117" fmla="*/ 24 h 1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23" h="1374">
                  <a:moveTo>
                    <a:pt x="782" y="0"/>
                  </a:moveTo>
                  <a:lnTo>
                    <a:pt x="672" y="208"/>
                  </a:lnTo>
                  <a:lnTo>
                    <a:pt x="521" y="428"/>
                  </a:lnTo>
                  <a:lnTo>
                    <a:pt x="344" y="642"/>
                  </a:lnTo>
                  <a:lnTo>
                    <a:pt x="301" y="669"/>
                  </a:lnTo>
                  <a:lnTo>
                    <a:pt x="254" y="679"/>
                  </a:lnTo>
                  <a:lnTo>
                    <a:pt x="197" y="665"/>
                  </a:lnTo>
                  <a:lnTo>
                    <a:pt x="187" y="679"/>
                  </a:lnTo>
                  <a:lnTo>
                    <a:pt x="151" y="689"/>
                  </a:lnTo>
                  <a:lnTo>
                    <a:pt x="114" y="732"/>
                  </a:lnTo>
                  <a:lnTo>
                    <a:pt x="144" y="792"/>
                  </a:lnTo>
                  <a:lnTo>
                    <a:pt x="187" y="799"/>
                  </a:lnTo>
                  <a:lnTo>
                    <a:pt x="221" y="802"/>
                  </a:lnTo>
                  <a:lnTo>
                    <a:pt x="224" y="836"/>
                  </a:lnTo>
                  <a:lnTo>
                    <a:pt x="221" y="839"/>
                  </a:lnTo>
                  <a:lnTo>
                    <a:pt x="214" y="849"/>
                  </a:lnTo>
                  <a:lnTo>
                    <a:pt x="211" y="859"/>
                  </a:lnTo>
                  <a:lnTo>
                    <a:pt x="207" y="876"/>
                  </a:lnTo>
                  <a:lnTo>
                    <a:pt x="211" y="889"/>
                  </a:lnTo>
                  <a:lnTo>
                    <a:pt x="217" y="896"/>
                  </a:lnTo>
                  <a:lnTo>
                    <a:pt x="224" y="903"/>
                  </a:lnTo>
                  <a:lnTo>
                    <a:pt x="257" y="946"/>
                  </a:lnTo>
                  <a:lnTo>
                    <a:pt x="264" y="963"/>
                  </a:lnTo>
                  <a:lnTo>
                    <a:pt x="261" y="969"/>
                  </a:lnTo>
                  <a:lnTo>
                    <a:pt x="251" y="976"/>
                  </a:lnTo>
                  <a:lnTo>
                    <a:pt x="237" y="983"/>
                  </a:lnTo>
                  <a:lnTo>
                    <a:pt x="227" y="983"/>
                  </a:lnTo>
                  <a:lnTo>
                    <a:pt x="224" y="983"/>
                  </a:lnTo>
                  <a:lnTo>
                    <a:pt x="187" y="963"/>
                  </a:lnTo>
                  <a:lnTo>
                    <a:pt x="147" y="956"/>
                  </a:lnTo>
                  <a:lnTo>
                    <a:pt x="124" y="956"/>
                  </a:lnTo>
                  <a:lnTo>
                    <a:pt x="114" y="969"/>
                  </a:lnTo>
                  <a:lnTo>
                    <a:pt x="37" y="993"/>
                  </a:lnTo>
                  <a:lnTo>
                    <a:pt x="0" y="1020"/>
                  </a:lnTo>
                  <a:lnTo>
                    <a:pt x="10" y="1073"/>
                  </a:lnTo>
                  <a:lnTo>
                    <a:pt x="24" y="1073"/>
                  </a:lnTo>
                  <a:lnTo>
                    <a:pt x="34" y="1073"/>
                  </a:lnTo>
                  <a:lnTo>
                    <a:pt x="37" y="1063"/>
                  </a:lnTo>
                  <a:lnTo>
                    <a:pt x="60" y="1056"/>
                  </a:lnTo>
                  <a:lnTo>
                    <a:pt x="94" y="1056"/>
                  </a:lnTo>
                  <a:lnTo>
                    <a:pt x="124" y="1050"/>
                  </a:lnTo>
                  <a:lnTo>
                    <a:pt x="147" y="1030"/>
                  </a:lnTo>
                  <a:lnTo>
                    <a:pt x="181" y="1056"/>
                  </a:lnTo>
                  <a:lnTo>
                    <a:pt x="211" y="1083"/>
                  </a:lnTo>
                  <a:lnTo>
                    <a:pt x="231" y="1123"/>
                  </a:lnTo>
                  <a:lnTo>
                    <a:pt x="241" y="1190"/>
                  </a:lnTo>
                  <a:lnTo>
                    <a:pt x="257" y="1213"/>
                  </a:lnTo>
                  <a:lnTo>
                    <a:pt x="344" y="1240"/>
                  </a:lnTo>
                  <a:lnTo>
                    <a:pt x="374" y="1264"/>
                  </a:lnTo>
                  <a:lnTo>
                    <a:pt x="388" y="1277"/>
                  </a:lnTo>
                  <a:lnTo>
                    <a:pt x="344" y="1280"/>
                  </a:lnTo>
                  <a:lnTo>
                    <a:pt x="324" y="1290"/>
                  </a:lnTo>
                  <a:lnTo>
                    <a:pt x="307" y="1307"/>
                  </a:lnTo>
                  <a:lnTo>
                    <a:pt x="304" y="1324"/>
                  </a:lnTo>
                  <a:lnTo>
                    <a:pt x="304" y="1347"/>
                  </a:lnTo>
                  <a:lnTo>
                    <a:pt x="307" y="1354"/>
                  </a:lnTo>
                  <a:lnTo>
                    <a:pt x="311" y="1347"/>
                  </a:lnTo>
                  <a:lnTo>
                    <a:pt x="331" y="1330"/>
                  </a:lnTo>
                  <a:lnTo>
                    <a:pt x="358" y="1340"/>
                  </a:lnTo>
                  <a:lnTo>
                    <a:pt x="384" y="1360"/>
                  </a:lnTo>
                  <a:lnTo>
                    <a:pt x="411" y="1374"/>
                  </a:lnTo>
                  <a:lnTo>
                    <a:pt x="464" y="1357"/>
                  </a:lnTo>
                  <a:lnTo>
                    <a:pt x="515" y="1350"/>
                  </a:lnTo>
                  <a:lnTo>
                    <a:pt x="578" y="1334"/>
                  </a:lnTo>
                  <a:lnTo>
                    <a:pt x="628" y="1300"/>
                  </a:lnTo>
                  <a:lnTo>
                    <a:pt x="665" y="1233"/>
                  </a:lnTo>
                  <a:lnTo>
                    <a:pt x="792" y="1257"/>
                  </a:lnTo>
                  <a:lnTo>
                    <a:pt x="839" y="1257"/>
                  </a:lnTo>
                  <a:lnTo>
                    <a:pt x="882" y="1243"/>
                  </a:lnTo>
                  <a:lnTo>
                    <a:pt x="932" y="1220"/>
                  </a:lnTo>
                  <a:lnTo>
                    <a:pt x="962" y="1210"/>
                  </a:lnTo>
                  <a:lnTo>
                    <a:pt x="999" y="1210"/>
                  </a:lnTo>
                  <a:lnTo>
                    <a:pt x="1062" y="1137"/>
                  </a:lnTo>
                  <a:lnTo>
                    <a:pt x="1079" y="1103"/>
                  </a:lnTo>
                  <a:lnTo>
                    <a:pt x="1106" y="1073"/>
                  </a:lnTo>
                  <a:lnTo>
                    <a:pt x="1142" y="1046"/>
                  </a:lnTo>
                  <a:lnTo>
                    <a:pt x="1209" y="1043"/>
                  </a:lnTo>
                  <a:lnTo>
                    <a:pt x="1239" y="1036"/>
                  </a:lnTo>
                  <a:lnTo>
                    <a:pt x="1286" y="993"/>
                  </a:lnTo>
                  <a:lnTo>
                    <a:pt x="1319" y="990"/>
                  </a:lnTo>
                  <a:lnTo>
                    <a:pt x="1380" y="1003"/>
                  </a:lnTo>
                  <a:lnTo>
                    <a:pt x="1410" y="1000"/>
                  </a:lnTo>
                  <a:lnTo>
                    <a:pt x="1410" y="983"/>
                  </a:lnTo>
                  <a:lnTo>
                    <a:pt x="1413" y="966"/>
                  </a:lnTo>
                  <a:lnTo>
                    <a:pt x="1413" y="963"/>
                  </a:lnTo>
                  <a:lnTo>
                    <a:pt x="1403" y="949"/>
                  </a:lnTo>
                  <a:lnTo>
                    <a:pt x="1440" y="946"/>
                  </a:lnTo>
                  <a:lnTo>
                    <a:pt x="1533" y="906"/>
                  </a:lnTo>
                  <a:lnTo>
                    <a:pt x="1547" y="899"/>
                  </a:lnTo>
                  <a:lnTo>
                    <a:pt x="1547" y="896"/>
                  </a:lnTo>
                  <a:lnTo>
                    <a:pt x="1547" y="889"/>
                  </a:lnTo>
                  <a:lnTo>
                    <a:pt x="1547" y="879"/>
                  </a:lnTo>
                  <a:lnTo>
                    <a:pt x="1543" y="869"/>
                  </a:lnTo>
                  <a:lnTo>
                    <a:pt x="1587" y="792"/>
                  </a:lnTo>
                  <a:lnTo>
                    <a:pt x="1593" y="782"/>
                  </a:lnTo>
                  <a:lnTo>
                    <a:pt x="1623" y="719"/>
                  </a:lnTo>
                  <a:lnTo>
                    <a:pt x="1610" y="719"/>
                  </a:lnTo>
                  <a:lnTo>
                    <a:pt x="1587" y="705"/>
                  </a:lnTo>
                  <a:lnTo>
                    <a:pt x="1577" y="692"/>
                  </a:lnTo>
                  <a:lnTo>
                    <a:pt x="1560" y="662"/>
                  </a:lnTo>
                  <a:lnTo>
                    <a:pt x="1543" y="649"/>
                  </a:lnTo>
                  <a:lnTo>
                    <a:pt x="1526" y="645"/>
                  </a:lnTo>
                  <a:lnTo>
                    <a:pt x="1516" y="652"/>
                  </a:lnTo>
                  <a:lnTo>
                    <a:pt x="1506" y="659"/>
                  </a:lnTo>
                  <a:lnTo>
                    <a:pt x="1476" y="669"/>
                  </a:lnTo>
                  <a:lnTo>
                    <a:pt x="1466" y="675"/>
                  </a:lnTo>
                  <a:lnTo>
                    <a:pt x="1450" y="699"/>
                  </a:lnTo>
                  <a:lnTo>
                    <a:pt x="1436" y="705"/>
                  </a:lnTo>
                  <a:lnTo>
                    <a:pt x="1386" y="692"/>
                  </a:lnTo>
                  <a:lnTo>
                    <a:pt x="1383" y="695"/>
                  </a:lnTo>
                  <a:lnTo>
                    <a:pt x="1343" y="719"/>
                  </a:lnTo>
                  <a:lnTo>
                    <a:pt x="1309" y="756"/>
                  </a:lnTo>
                  <a:lnTo>
                    <a:pt x="1296" y="759"/>
                  </a:lnTo>
                  <a:lnTo>
                    <a:pt x="1269" y="759"/>
                  </a:lnTo>
                  <a:lnTo>
                    <a:pt x="1259" y="769"/>
                  </a:lnTo>
                  <a:lnTo>
                    <a:pt x="1233" y="729"/>
                  </a:lnTo>
                  <a:lnTo>
                    <a:pt x="1193" y="679"/>
                  </a:lnTo>
                  <a:lnTo>
                    <a:pt x="1182" y="659"/>
                  </a:lnTo>
                  <a:lnTo>
                    <a:pt x="1186" y="652"/>
                  </a:lnTo>
                  <a:lnTo>
                    <a:pt x="1196" y="652"/>
                  </a:lnTo>
                  <a:lnTo>
                    <a:pt x="1203" y="645"/>
                  </a:lnTo>
                  <a:lnTo>
                    <a:pt x="1219" y="639"/>
                  </a:lnTo>
                  <a:lnTo>
                    <a:pt x="1213" y="612"/>
                  </a:lnTo>
                  <a:lnTo>
                    <a:pt x="1159" y="622"/>
                  </a:lnTo>
                  <a:lnTo>
                    <a:pt x="1152" y="609"/>
                  </a:lnTo>
                  <a:lnTo>
                    <a:pt x="1193" y="548"/>
                  </a:lnTo>
                  <a:lnTo>
                    <a:pt x="1239" y="525"/>
                  </a:lnTo>
                  <a:lnTo>
                    <a:pt x="1249" y="512"/>
                  </a:lnTo>
                  <a:lnTo>
                    <a:pt x="1193" y="512"/>
                  </a:lnTo>
                  <a:lnTo>
                    <a:pt x="1176" y="435"/>
                  </a:lnTo>
                  <a:lnTo>
                    <a:pt x="1159" y="428"/>
                  </a:lnTo>
                  <a:lnTo>
                    <a:pt x="1142" y="415"/>
                  </a:lnTo>
                  <a:lnTo>
                    <a:pt x="1149" y="405"/>
                  </a:lnTo>
                  <a:lnTo>
                    <a:pt x="1179" y="375"/>
                  </a:lnTo>
                  <a:lnTo>
                    <a:pt x="1186" y="371"/>
                  </a:lnTo>
                  <a:lnTo>
                    <a:pt x="1193" y="371"/>
                  </a:lnTo>
                  <a:lnTo>
                    <a:pt x="1196" y="375"/>
                  </a:lnTo>
                  <a:lnTo>
                    <a:pt x="1199" y="375"/>
                  </a:lnTo>
                  <a:lnTo>
                    <a:pt x="1206" y="378"/>
                  </a:lnTo>
                  <a:lnTo>
                    <a:pt x="1226" y="388"/>
                  </a:lnTo>
                  <a:lnTo>
                    <a:pt x="1229" y="385"/>
                  </a:lnTo>
                  <a:lnTo>
                    <a:pt x="1233" y="381"/>
                  </a:lnTo>
                  <a:lnTo>
                    <a:pt x="1233" y="378"/>
                  </a:lnTo>
                  <a:lnTo>
                    <a:pt x="1233" y="371"/>
                  </a:lnTo>
                  <a:lnTo>
                    <a:pt x="1223" y="348"/>
                  </a:lnTo>
                  <a:lnTo>
                    <a:pt x="1219" y="328"/>
                  </a:lnTo>
                  <a:lnTo>
                    <a:pt x="1229" y="318"/>
                  </a:lnTo>
                  <a:lnTo>
                    <a:pt x="1169" y="268"/>
                  </a:lnTo>
                  <a:lnTo>
                    <a:pt x="1142" y="254"/>
                  </a:lnTo>
                  <a:lnTo>
                    <a:pt x="1136" y="248"/>
                  </a:lnTo>
                  <a:lnTo>
                    <a:pt x="1129" y="241"/>
                  </a:lnTo>
                  <a:lnTo>
                    <a:pt x="1112" y="211"/>
                  </a:lnTo>
                  <a:lnTo>
                    <a:pt x="1076" y="238"/>
                  </a:lnTo>
                  <a:lnTo>
                    <a:pt x="1062" y="231"/>
                  </a:lnTo>
                  <a:lnTo>
                    <a:pt x="1059" y="221"/>
                  </a:lnTo>
                  <a:lnTo>
                    <a:pt x="1052" y="191"/>
                  </a:lnTo>
                  <a:lnTo>
                    <a:pt x="1049" y="187"/>
                  </a:lnTo>
                  <a:lnTo>
                    <a:pt x="1042" y="184"/>
                  </a:lnTo>
                  <a:lnTo>
                    <a:pt x="992" y="201"/>
                  </a:lnTo>
                  <a:lnTo>
                    <a:pt x="965" y="214"/>
                  </a:lnTo>
                  <a:lnTo>
                    <a:pt x="915" y="228"/>
                  </a:lnTo>
                  <a:lnTo>
                    <a:pt x="882" y="228"/>
                  </a:lnTo>
                  <a:lnTo>
                    <a:pt x="875" y="228"/>
                  </a:lnTo>
                  <a:lnTo>
                    <a:pt x="869" y="224"/>
                  </a:lnTo>
                  <a:lnTo>
                    <a:pt x="859" y="211"/>
                  </a:lnTo>
                  <a:lnTo>
                    <a:pt x="842" y="214"/>
                  </a:lnTo>
                  <a:lnTo>
                    <a:pt x="842" y="198"/>
                  </a:lnTo>
                  <a:lnTo>
                    <a:pt x="859" y="171"/>
                  </a:lnTo>
                  <a:lnTo>
                    <a:pt x="862" y="144"/>
                  </a:lnTo>
                  <a:lnTo>
                    <a:pt x="865" y="127"/>
                  </a:lnTo>
                  <a:lnTo>
                    <a:pt x="865" y="117"/>
                  </a:lnTo>
                  <a:lnTo>
                    <a:pt x="869" y="114"/>
                  </a:lnTo>
                  <a:lnTo>
                    <a:pt x="919" y="27"/>
                  </a:lnTo>
                  <a:lnTo>
                    <a:pt x="892" y="20"/>
                  </a:lnTo>
                  <a:lnTo>
                    <a:pt x="865" y="34"/>
                  </a:lnTo>
                  <a:lnTo>
                    <a:pt x="845" y="27"/>
                  </a:lnTo>
                  <a:lnTo>
                    <a:pt x="839" y="24"/>
                  </a:lnTo>
                  <a:lnTo>
                    <a:pt x="782" y="0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53" name="Freeform 16">
              <a:extLst>
                <a:ext uri="{FF2B5EF4-FFF2-40B4-BE49-F238E27FC236}">
                  <a16:creationId xmlns:a16="http://schemas.microsoft.com/office/drawing/2014/main" xmlns="" id="{E05B1749-A468-4580-9BFF-6E89553D15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66" y="360"/>
              <a:ext cx="1032" cy="2065"/>
            </a:xfrm>
            <a:custGeom>
              <a:avLst/>
              <a:gdLst>
                <a:gd name="T0" fmla="*/ 320 w 1032"/>
                <a:gd name="T1" fmla="*/ 163 h 2065"/>
                <a:gd name="T2" fmla="*/ 280 w 1032"/>
                <a:gd name="T3" fmla="*/ 377 h 2065"/>
                <a:gd name="T4" fmla="*/ 451 w 1032"/>
                <a:gd name="T5" fmla="*/ 284 h 2065"/>
                <a:gd name="T6" fmla="*/ 484 w 1032"/>
                <a:gd name="T7" fmla="*/ 170 h 2065"/>
                <a:gd name="T8" fmla="*/ 494 w 1032"/>
                <a:gd name="T9" fmla="*/ 73 h 2065"/>
                <a:gd name="T10" fmla="*/ 481 w 1032"/>
                <a:gd name="T11" fmla="*/ 16 h 2065"/>
                <a:gd name="T12" fmla="*/ 714 w 1032"/>
                <a:gd name="T13" fmla="*/ 478 h 2065"/>
                <a:gd name="T14" fmla="*/ 537 w 1032"/>
                <a:gd name="T15" fmla="*/ 561 h 2065"/>
                <a:gd name="T16" fmla="*/ 384 w 1032"/>
                <a:gd name="T17" fmla="*/ 528 h 2065"/>
                <a:gd name="T18" fmla="*/ 304 w 1032"/>
                <a:gd name="T19" fmla="*/ 451 h 2065"/>
                <a:gd name="T20" fmla="*/ 274 w 1032"/>
                <a:gd name="T21" fmla="*/ 598 h 2065"/>
                <a:gd name="T22" fmla="*/ 197 w 1032"/>
                <a:gd name="T23" fmla="*/ 892 h 2065"/>
                <a:gd name="T24" fmla="*/ 97 w 1032"/>
                <a:gd name="T25" fmla="*/ 1450 h 2065"/>
                <a:gd name="T26" fmla="*/ 57 w 1032"/>
                <a:gd name="T27" fmla="*/ 1774 h 2065"/>
                <a:gd name="T28" fmla="*/ 137 w 1032"/>
                <a:gd name="T29" fmla="*/ 1774 h 2065"/>
                <a:gd name="T30" fmla="*/ 80 w 1032"/>
                <a:gd name="T31" fmla="*/ 1891 h 2065"/>
                <a:gd name="T32" fmla="*/ 77 w 1032"/>
                <a:gd name="T33" fmla="*/ 1958 h 2065"/>
                <a:gd name="T34" fmla="*/ 133 w 1032"/>
                <a:gd name="T35" fmla="*/ 1975 h 2065"/>
                <a:gd name="T36" fmla="*/ 267 w 1032"/>
                <a:gd name="T37" fmla="*/ 1934 h 2065"/>
                <a:gd name="T38" fmla="*/ 294 w 1032"/>
                <a:gd name="T39" fmla="*/ 1985 h 2065"/>
                <a:gd name="T40" fmla="*/ 431 w 1032"/>
                <a:gd name="T41" fmla="*/ 1911 h 2065"/>
                <a:gd name="T42" fmla="*/ 527 w 1032"/>
                <a:gd name="T43" fmla="*/ 1854 h 2065"/>
                <a:gd name="T44" fmla="*/ 601 w 1032"/>
                <a:gd name="T45" fmla="*/ 1831 h 2065"/>
                <a:gd name="T46" fmla="*/ 628 w 1032"/>
                <a:gd name="T47" fmla="*/ 1848 h 2065"/>
                <a:gd name="T48" fmla="*/ 654 w 1032"/>
                <a:gd name="T49" fmla="*/ 1868 h 2065"/>
                <a:gd name="T50" fmla="*/ 664 w 1032"/>
                <a:gd name="T51" fmla="*/ 1894 h 2065"/>
                <a:gd name="T52" fmla="*/ 678 w 1032"/>
                <a:gd name="T53" fmla="*/ 1904 h 2065"/>
                <a:gd name="T54" fmla="*/ 668 w 1032"/>
                <a:gd name="T55" fmla="*/ 1951 h 2065"/>
                <a:gd name="T56" fmla="*/ 704 w 1032"/>
                <a:gd name="T57" fmla="*/ 2058 h 2065"/>
                <a:gd name="T58" fmla="*/ 865 w 1032"/>
                <a:gd name="T59" fmla="*/ 2025 h 2065"/>
                <a:gd name="T60" fmla="*/ 895 w 1032"/>
                <a:gd name="T61" fmla="*/ 1948 h 2065"/>
                <a:gd name="T62" fmla="*/ 955 w 1032"/>
                <a:gd name="T63" fmla="*/ 1841 h 2065"/>
                <a:gd name="T64" fmla="*/ 921 w 1032"/>
                <a:gd name="T65" fmla="*/ 1774 h 2065"/>
                <a:gd name="T66" fmla="*/ 755 w 1032"/>
                <a:gd name="T67" fmla="*/ 1724 h 2065"/>
                <a:gd name="T68" fmla="*/ 578 w 1032"/>
                <a:gd name="T69" fmla="*/ 1657 h 2065"/>
                <a:gd name="T70" fmla="*/ 594 w 1032"/>
                <a:gd name="T71" fmla="*/ 1630 h 2065"/>
                <a:gd name="T72" fmla="*/ 628 w 1032"/>
                <a:gd name="T73" fmla="*/ 1630 h 2065"/>
                <a:gd name="T74" fmla="*/ 681 w 1032"/>
                <a:gd name="T75" fmla="*/ 1577 h 2065"/>
                <a:gd name="T76" fmla="*/ 728 w 1032"/>
                <a:gd name="T77" fmla="*/ 1520 h 2065"/>
                <a:gd name="T78" fmla="*/ 678 w 1032"/>
                <a:gd name="T79" fmla="*/ 1463 h 2065"/>
                <a:gd name="T80" fmla="*/ 704 w 1032"/>
                <a:gd name="T81" fmla="*/ 1423 h 2065"/>
                <a:gd name="T82" fmla="*/ 661 w 1032"/>
                <a:gd name="T83" fmla="*/ 1196 h 2065"/>
                <a:gd name="T84" fmla="*/ 755 w 1032"/>
                <a:gd name="T85" fmla="*/ 1116 h 2065"/>
                <a:gd name="T86" fmla="*/ 821 w 1032"/>
                <a:gd name="T87" fmla="*/ 1136 h 2065"/>
                <a:gd name="T88" fmla="*/ 948 w 1032"/>
                <a:gd name="T89" fmla="*/ 1002 h 2065"/>
                <a:gd name="T90" fmla="*/ 978 w 1032"/>
                <a:gd name="T91" fmla="*/ 905 h 2065"/>
                <a:gd name="T92" fmla="*/ 871 w 1032"/>
                <a:gd name="T93" fmla="*/ 868 h 2065"/>
                <a:gd name="T94" fmla="*/ 811 w 1032"/>
                <a:gd name="T95" fmla="*/ 892 h 2065"/>
                <a:gd name="T96" fmla="*/ 765 w 1032"/>
                <a:gd name="T97" fmla="*/ 711 h 2065"/>
                <a:gd name="T98" fmla="*/ 721 w 1032"/>
                <a:gd name="T99" fmla="*/ 498 h 2065"/>
                <a:gd name="T100" fmla="*/ 841 w 1032"/>
                <a:gd name="T101" fmla="*/ 377 h 2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32" h="2065">
                  <a:moveTo>
                    <a:pt x="437" y="0"/>
                  </a:moveTo>
                  <a:lnTo>
                    <a:pt x="407" y="53"/>
                  </a:lnTo>
                  <a:lnTo>
                    <a:pt x="370" y="103"/>
                  </a:lnTo>
                  <a:lnTo>
                    <a:pt x="320" y="163"/>
                  </a:lnTo>
                  <a:lnTo>
                    <a:pt x="290" y="214"/>
                  </a:lnTo>
                  <a:lnTo>
                    <a:pt x="264" y="274"/>
                  </a:lnTo>
                  <a:lnTo>
                    <a:pt x="257" y="327"/>
                  </a:lnTo>
                  <a:lnTo>
                    <a:pt x="280" y="377"/>
                  </a:lnTo>
                  <a:lnTo>
                    <a:pt x="324" y="397"/>
                  </a:lnTo>
                  <a:lnTo>
                    <a:pt x="367" y="384"/>
                  </a:lnTo>
                  <a:lnTo>
                    <a:pt x="394" y="330"/>
                  </a:lnTo>
                  <a:lnTo>
                    <a:pt x="451" y="284"/>
                  </a:lnTo>
                  <a:lnTo>
                    <a:pt x="484" y="230"/>
                  </a:lnTo>
                  <a:lnTo>
                    <a:pt x="501" y="197"/>
                  </a:lnTo>
                  <a:lnTo>
                    <a:pt x="511" y="170"/>
                  </a:lnTo>
                  <a:lnTo>
                    <a:pt x="484" y="170"/>
                  </a:lnTo>
                  <a:lnTo>
                    <a:pt x="484" y="157"/>
                  </a:lnTo>
                  <a:lnTo>
                    <a:pt x="507" y="143"/>
                  </a:lnTo>
                  <a:lnTo>
                    <a:pt x="507" y="110"/>
                  </a:lnTo>
                  <a:lnTo>
                    <a:pt x="494" y="73"/>
                  </a:lnTo>
                  <a:lnTo>
                    <a:pt x="477" y="46"/>
                  </a:lnTo>
                  <a:lnTo>
                    <a:pt x="484" y="36"/>
                  </a:lnTo>
                  <a:lnTo>
                    <a:pt x="484" y="26"/>
                  </a:lnTo>
                  <a:lnTo>
                    <a:pt x="481" y="16"/>
                  </a:lnTo>
                  <a:lnTo>
                    <a:pt x="477" y="3"/>
                  </a:lnTo>
                  <a:lnTo>
                    <a:pt x="437" y="0"/>
                  </a:lnTo>
                  <a:close/>
                  <a:moveTo>
                    <a:pt x="835" y="367"/>
                  </a:moveTo>
                  <a:lnTo>
                    <a:pt x="714" y="478"/>
                  </a:lnTo>
                  <a:lnTo>
                    <a:pt x="664" y="501"/>
                  </a:lnTo>
                  <a:lnTo>
                    <a:pt x="614" y="508"/>
                  </a:lnTo>
                  <a:lnTo>
                    <a:pt x="591" y="514"/>
                  </a:lnTo>
                  <a:lnTo>
                    <a:pt x="537" y="561"/>
                  </a:lnTo>
                  <a:lnTo>
                    <a:pt x="511" y="578"/>
                  </a:lnTo>
                  <a:lnTo>
                    <a:pt x="461" y="581"/>
                  </a:lnTo>
                  <a:lnTo>
                    <a:pt x="411" y="564"/>
                  </a:lnTo>
                  <a:lnTo>
                    <a:pt x="384" y="528"/>
                  </a:lnTo>
                  <a:lnTo>
                    <a:pt x="400" y="467"/>
                  </a:lnTo>
                  <a:lnTo>
                    <a:pt x="390" y="451"/>
                  </a:lnTo>
                  <a:lnTo>
                    <a:pt x="380" y="461"/>
                  </a:lnTo>
                  <a:lnTo>
                    <a:pt x="304" y="451"/>
                  </a:lnTo>
                  <a:lnTo>
                    <a:pt x="290" y="467"/>
                  </a:lnTo>
                  <a:lnTo>
                    <a:pt x="280" y="511"/>
                  </a:lnTo>
                  <a:lnTo>
                    <a:pt x="277" y="558"/>
                  </a:lnTo>
                  <a:lnTo>
                    <a:pt x="274" y="598"/>
                  </a:lnTo>
                  <a:lnTo>
                    <a:pt x="264" y="665"/>
                  </a:lnTo>
                  <a:lnTo>
                    <a:pt x="210" y="798"/>
                  </a:lnTo>
                  <a:lnTo>
                    <a:pt x="200" y="862"/>
                  </a:lnTo>
                  <a:lnTo>
                    <a:pt x="197" y="892"/>
                  </a:lnTo>
                  <a:lnTo>
                    <a:pt x="173" y="992"/>
                  </a:lnTo>
                  <a:lnTo>
                    <a:pt x="120" y="1383"/>
                  </a:lnTo>
                  <a:lnTo>
                    <a:pt x="97" y="1437"/>
                  </a:lnTo>
                  <a:lnTo>
                    <a:pt x="97" y="1450"/>
                  </a:lnTo>
                  <a:lnTo>
                    <a:pt x="87" y="1510"/>
                  </a:lnTo>
                  <a:lnTo>
                    <a:pt x="13" y="1727"/>
                  </a:lnTo>
                  <a:lnTo>
                    <a:pt x="0" y="1747"/>
                  </a:lnTo>
                  <a:lnTo>
                    <a:pt x="57" y="1774"/>
                  </a:lnTo>
                  <a:lnTo>
                    <a:pt x="63" y="1774"/>
                  </a:lnTo>
                  <a:lnTo>
                    <a:pt x="83" y="1781"/>
                  </a:lnTo>
                  <a:lnTo>
                    <a:pt x="110" y="1767"/>
                  </a:lnTo>
                  <a:lnTo>
                    <a:pt x="137" y="1774"/>
                  </a:lnTo>
                  <a:lnTo>
                    <a:pt x="87" y="1861"/>
                  </a:lnTo>
                  <a:lnTo>
                    <a:pt x="83" y="1864"/>
                  </a:lnTo>
                  <a:lnTo>
                    <a:pt x="83" y="1874"/>
                  </a:lnTo>
                  <a:lnTo>
                    <a:pt x="80" y="1891"/>
                  </a:lnTo>
                  <a:lnTo>
                    <a:pt x="77" y="1918"/>
                  </a:lnTo>
                  <a:lnTo>
                    <a:pt x="60" y="1945"/>
                  </a:lnTo>
                  <a:lnTo>
                    <a:pt x="60" y="1961"/>
                  </a:lnTo>
                  <a:lnTo>
                    <a:pt x="77" y="1958"/>
                  </a:lnTo>
                  <a:lnTo>
                    <a:pt x="87" y="1971"/>
                  </a:lnTo>
                  <a:lnTo>
                    <a:pt x="93" y="1975"/>
                  </a:lnTo>
                  <a:lnTo>
                    <a:pt x="100" y="1975"/>
                  </a:lnTo>
                  <a:lnTo>
                    <a:pt x="133" y="1975"/>
                  </a:lnTo>
                  <a:lnTo>
                    <a:pt x="183" y="1961"/>
                  </a:lnTo>
                  <a:lnTo>
                    <a:pt x="210" y="1948"/>
                  </a:lnTo>
                  <a:lnTo>
                    <a:pt x="260" y="1931"/>
                  </a:lnTo>
                  <a:lnTo>
                    <a:pt x="267" y="1934"/>
                  </a:lnTo>
                  <a:lnTo>
                    <a:pt x="270" y="1938"/>
                  </a:lnTo>
                  <a:lnTo>
                    <a:pt x="274" y="1968"/>
                  </a:lnTo>
                  <a:lnTo>
                    <a:pt x="280" y="1978"/>
                  </a:lnTo>
                  <a:lnTo>
                    <a:pt x="294" y="1985"/>
                  </a:lnTo>
                  <a:lnTo>
                    <a:pt x="330" y="1958"/>
                  </a:lnTo>
                  <a:lnTo>
                    <a:pt x="387" y="1941"/>
                  </a:lnTo>
                  <a:lnTo>
                    <a:pt x="414" y="1928"/>
                  </a:lnTo>
                  <a:lnTo>
                    <a:pt x="431" y="1911"/>
                  </a:lnTo>
                  <a:lnTo>
                    <a:pt x="457" y="1898"/>
                  </a:lnTo>
                  <a:lnTo>
                    <a:pt x="507" y="1891"/>
                  </a:lnTo>
                  <a:lnTo>
                    <a:pt x="524" y="1858"/>
                  </a:lnTo>
                  <a:lnTo>
                    <a:pt x="527" y="1854"/>
                  </a:lnTo>
                  <a:lnTo>
                    <a:pt x="534" y="1851"/>
                  </a:lnTo>
                  <a:lnTo>
                    <a:pt x="547" y="1851"/>
                  </a:lnTo>
                  <a:lnTo>
                    <a:pt x="571" y="1848"/>
                  </a:lnTo>
                  <a:lnTo>
                    <a:pt x="601" y="1831"/>
                  </a:lnTo>
                  <a:lnTo>
                    <a:pt x="608" y="1831"/>
                  </a:lnTo>
                  <a:lnTo>
                    <a:pt x="618" y="1834"/>
                  </a:lnTo>
                  <a:lnTo>
                    <a:pt x="621" y="1838"/>
                  </a:lnTo>
                  <a:lnTo>
                    <a:pt x="628" y="1848"/>
                  </a:lnTo>
                  <a:lnTo>
                    <a:pt x="648" y="1838"/>
                  </a:lnTo>
                  <a:lnTo>
                    <a:pt x="698" y="1841"/>
                  </a:lnTo>
                  <a:lnTo>
                    <a:pt x="661" y="1858"/>
                  </a:lnTo>
                  <a:lnTo>
                    <a:pt x="654" y="1868"/>
                  </a:lnTo>
                  <a:lnTo>
                    <a:pt x="658" y="1874"/>
                  </a:lnTo>
                  <a:lnTo>
                    <a:pt x="661" y="1881"/>
                  </a:lnTo>
                  <a:lnTo>
                    <a:pt x="661" y="1888"/>
                  </a:lnTo>
                  <a:lnTo>
                    <a:pt x="664" y="1894"/>
                  </a:lnTo>
                  <a:lnTo>
                    <a:pt x="668" y="1898"/>
                  </a:lnTo>
                  <a:lnTo>
                    <a:pt x="671" y="1898"/>
                  </a:lnTo>
                  <a:lnTo>
                    <a:pt x="674" y="1901"/>
                  </a:lnTo>
                  <a:lnTo>
                    <a:pt x="678" y="1904"/>
                  </a:lnTo>
                  <a:lnTo>
                    <a:pt x="678" y="1911"/>
                  </a:lnTo>
                  <a:lnTo>
                    <a:pt x="681" y="1914"/>
                  </a:lnTo>
                  <a:lnTo>
                    <a:pt x="688" y="1928"/>
                  </a:lnTo>
                  <a:lnTo>
                    <a:pt x="668" y="1951"/>
                  </a:lnTo>
                  <a:lnTo>
                    <a:pt x="658" y="1991"/>
                  </a:lnTo>
                  <a:lnTo>
                    <a:pt x="664" y="2021"/>
                  </a:lnTo>
                  <a:lnTo>
                    <a:pt x="671" y="2065"/>
                  </a:lnTo>
                  <a:lnTo>
                    <a:pt x="704" y="2058"/>
                  </a:lnTo>
                  <a:lnTo>
                    <a:pt x="728" y="2048"/>
                  </a:lnTo>
                  <a:lnTo>
                    <a:pt x="771" y="2038"/>
                  </a:lnTo>
                  <a:lnTo>
                    <a:pt x="841" y="2041"/>
                  </a:lnTo>
                  <a:lnTo>
                    <a:pt x="865" y="2025"/>
                  </a:lnTo>
                  <a:lnTo>
                    <a:pt x="875" y="2008"/>
                  </a:lnTo>
                  <a:lnTo>
                    <a:pt x="881" y="1988"/>
                  </a:lnTo>
                  <a:lnTo>
                    <a:pt x="888" y="1971"/>
                  </a:lnTo>
                  <a:lnTo>
                    <a:pt x="895" y="1948"/>
                  </a:lnTo>
                  <a:lnTo>
                    <a:pt x="918" y="1888"/>
                  </a:lnTo>
                  <a:lnTo>
                    <a:pt x="942" y="1848"/>
                  </a:lnTo>
                  <a:lnTo>
                    <a:pt x="948" y="1844"/>
                  </a:lnTo>
                  <a:lnTo>
                    <a:pt x="955" y="1841"/>
                  </a:lnTo>
                  <a:lnTo>
                    <a:pt x="1025" y="1841"/>
                  </a:lnTo>
                  <a:lnTo>
                    <a:pt x="1032" y="1841"/>
                  </a:lnTo>
                  <a:lnTo>
                    <a:pt x="948" y="1777"/>
                  </a:lnTo>
                  <a:lnTo>
                    <a:pt x="921" y="1774"/>
                  </a:lnTo>
                  <a:lnTo>
                    <a:pt x="868" y="1781"/>
                  </a:lnTo>
                  <a:lnTo>
                    <a:pt x="838" y="1777"/>
                  </a:lnTo>
                  <a:lnTo>
                    <a:pt x="818" y="1767"/>
                  </a:lnTo>
                  <a:lnTo>
                    <a:pt x="755" y="1724"/>
                  </a:lnTo>
                  <a:lnTo>
                    <a:pt x="731" y="1717"/>
                  </a:lnTo>
                  <a:lnTo>
                    <a:pt x="674" y="1711"/>
                  </a:lnTo>
                  <a:lnTo>
                    <a:pt x="654" y="1704"/>
                  </a:lnTo>
                  <a:lnTo>
                    <a:pt x="578" y="1657"/>
                  </a:lnTo>
                  <a:lnTo>
                    <a:pt x="584" y="1647"/>
                  </a:lnTo>
                  <a:lnTo>
                    <a:pt x="591" y="1644"/>
                  </a:lnTo>
                  <a:lnTo>
                    <a:pt x="594" y="1644"/>
                  </a:lnTo>
                  <a:lnTo>
                    <a:pt x="594" y="1630"/>
                  </a:lnTo>
                  <a:lnTo>
                    <a:pt x="611" y="1630"/>
                  </a:lnTo>
                  <a:lnTo>
                    <a:pt x="621" y="1637"/>
                  </a:lnTo>
                  <a:lnTo>
                    <a:pt x="628" y="1644"/>
                  </a:lnTo>
                  <a:lnTo>
                    <a:pt x="628" y="1630"/>
                  </a:lnTo>
                  <a:lnTo>
                    <a:pt x="648" y="1644"/>
                  </a:lnTo>
                  <a:lnTo>
                    <a:pt x="658" y="1624"/>
                  </a:lnTo>
                  <a:lnTo>
                    <a:pt x="668" y="1590"/>
                  </a:lnTo>
                  <a:lnTo>
                    <a:pt x="681" y="1577"/>
                  </a:lnTo>
                  <a:lnTo>
                    <a:pt x="694" y="1570"/>
                  </a:lnTo>
                  <a:lnTo>
                    <a:pt x="708" y="1560"/>
                  </a:lnTo>
                  <a:lnTo>
                    <a:pt x="721" y="1540"/>
                  </a:lnTo>
                  <a:lnTo>
                    <a:pt x="728" y="1520"/>
                  </a:lnTo>
                  <a:lnTo>
                    <a:pt x="711" y="1510"/>
                  </a:lnTo>
                  <a:lnTo>
                    <a:pt x="701" y="1493"/>
                  </a:lnTo>
                  <a:lnTo>
                    <a:pt x="691" y="1477"/>
                  </a:lnTo>
                  <a:lnTo>
                    <a:pt x="678" y="1463"/>
                  </a:lnTo>
                  <a:lnTo>
                    <a:pt x="701" y="1453"/>
                  </a:lnTo>
                  <a:lnTo>
                    <a:pt x="711" y="1453"/>
                  </a:lnTo>
                  <a:lnTo>
                    <a:pt x="708" y="1430"/>
                  </a:lnTo>
                  <a:lnTo>
                    <a:pt x="704" y="1423"/>
                  </a:lnTo>
                  <a:lnTo>
                    <a:pt x="728" y="1396"/>
                  </a:lnTo>
                  <a:lnTo>
                    <a:pt x="718" y="1346"/>
                  </a:lnTo>
                  <a:lnTo>
                    <a:pt x="678" y="1256"/>
                  </a:lnTo>
                  <a:lnTo>
                    <a:pt x="661" y="1196"/>
                  </a:lnTo>
                  <a:lnTo>
                    <a:pt x="661" y="1146"/>
                  </a:lnTo>
                  <a:lnTo>
                    <a:pt x="678" y="1112"/>
                  </a:lnTo>
                  <a:lnTo>
                    <a:pt x="721" y="1106"/>
                  </a:lnTo>
                  <a:lnTo>
                    <a:pt x="755" y="1116"/>
                  </a:lnTo>
                  <a:lnTo>
                    <a:pt x="765" y="1122"/>
                  </a:lnTo>
                  <a:lnTo>
                    <a:pt x="785" y="1146"/>
                  </a:lnTo>
                  <a:lnTo>
                    <a:pt x="801" y="1143"/>
                  </a:lnTo>
                  <a:lnTo>
                    <a:pt x="821" y="1136"/>
                  </a:lnTo>
                  <a:lnTo>
                    <a:pt x="895" y="1089"/>
                  </a:lnTo>
                  <a:lnTo>
                    <a:pt x="915" y="1066"/>
                  </a:lnTo>
                  <a:lnTo>
                    <a:pt x="932" y="1019"/>
                  </a:lnTo>
                  <a:lnTo>
                    <a:pt x="948" y="1002"/>
                  </a:lnTo>
                  <a:lnTo>
                    <a:pt x="992" y="982"/>
                  </a:lnTo>
                  <a:lnTo>
                    <a:pt x="985" y="962"/>
                  </a:lnTo>
                  <a:lnTo>
                    <a:pt x="982" y="932"/>
                  </a:lnTo>
                  <a:lnTo>
                    <a:pt x="978" y="905"/>
                  </a:lnTo>
                  <a:lnTo>
                    <a:pt x="968" y="895"/>
                  </a:lnTo>
                  <a:lnTo>
                    <a:pt x="908" y="868"/>
                  </a:lnTo>
                  <a:lnTo>
                    <a:pt x="888" y="868"/>
                  </a:lnTo>
                  <a:lnTo>
                    <a:pt x="871" y="868"/>
                  </a:lnTo>
                  <a:lnTo>
                    <a:pt x="855" y="875"/>
                  </a:lnTo>
                  <a:lnTo>
                    <a:pt x="845" y="889"/>
                  </a:lnTo>
                  <a:lnTo>
                    <a:pt x="825" y="902"/>
                  </a:lnTo>
                  <a:lnTo>
                    <a:pt x="811" y="892"/>
                  </a:lnTo>
                  <a:lnTo>
                    <a:pt x="798" y="875"/>
                  </a:lnTo>
                  <a:lnTo>
                    <a:pt x="785" y="868"/>
                  </a:lnTo>
                  <a:lnTo>
                    <a:pt x="768" y="842"/>
                  </a:lnTo>
                  <a:lnTo>
                    <a:pt x="765" y="711"/>
                  </a:lnTo>
                  <a:lnTo>
                    <a:pt x="758" y="668"/>
                  </a:lnTo>
                  <a:lnTo>
                    <a:pt x="698" y="541"/>
                  </a:lnTo>
                  <a:lnTo>
                    <a:pt x="671" y="521"/>
                  </a:lnTo>
                  <a:lnTo>
                    <a:pt x="721" y="498"/>
                  </a:lnTo>
                  <a:lnTo>
                    <a:pt x="775" y="467"/>
                  </a:lnTo>
                  <a:lnTo>
                    <a:pt x="848" y="404"/>
                  </a:lnTo>
                  <a:lnTo>
                    <a:pt x="841" y="384"/>
                  </a:lnTo>
                  <a:lnTo>
                    <a:pt x="841" y="377"/>
                  </a:lnTo>
                  <a:lnTo>
                    <a:pt x="835" y="367"/>
                  </a:lnTo>
                  <a:close/>
                </a:path>
              </a:pathLst>
            </a:custGeom>
            <a:grpFill/>
            <a:ln w="15875" cap="sq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55" name="Ovaal 54">
            <a:extLst>
              <a:ext uri="{FF2B5EF4-FFF2-40B4-BE49-F238E27FC236}">
                <a16:creationId xmlns:a16="http://schemas.microsoft.com/office/drawing/2014/main" xmlns="" id="{F6507475-B687-4E7B-A254-7E881F4B018F}"/>
              </a:ext>
            </a:extLst>
          </p:cNvPr>
          <p:cNvSpPr/>
          <p:nvPr/>
        </p:nvSpPr>
        <p:spPr>
          <a:xfrm>
            <a:off x="8462052" y="4044650"/>
            <a:ext cx="648000" cy="648000"/>
          </a:xfrm>
          <a:prstGeom prst="ellipse">
            <a:avLst/>
          </a:prstGeom>
          <a:solidFill>
            <a:schemeClr val="accent3">
              <a:alpha val="77000"/>
            </a:schemeClr>
          </a:solidFill>
          <a:ln w="9525">
            <a:solidFill>
              <a:schemeClr val="bg1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56" name="Ovaal 55">
            <a:extLst>
              <a:ext uri="{FF2B5EF4-FFF2-40B4-BE49-F238E27FC236}">
                <a16:creationId xmlns:a16="http://schemas.microsoft.com/office/drawing/2014/main" xmlns="" id="{E881958B-5E76-4070-970D-42CD67C8FFCA}"/>
              </a:ext>
            </a:extLst>
          </p:cNvPr>
          <p:cNvSpPr/>
          <p:nvPr/>
        </p:nvSpPr>
        <p:spPr>
          <a:xfrm>
            <a:off x="8258520" y="3555721"/>
            <a:ext cx="648000" cy="648000"/>
          </a:xfrm>
          <a:prstGeom prst="ellipse">
            <a:avLst/>
          </a:prstGeom>
          <a:solidFill>
            <a:schemeClr val="accent3">
              <a:alpha val="77000"/>
            </a:schemeClr>
          </a:solidFill>
          <a:ln w="9525">
            <a:solidFill>
              <a:schemeClr val="bg1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57" name="Ovaal 56">
            <a:extLst>
              <a:ext uri="{FF2B5EF4-FFF2-40B4-BE49-F238E27FC236}">
                <a16:creationId xmlns:a16="http://schemas.microsoft.com/office/drawing/2014/main" xmlns="" id="{6D514B00-760D-476D-9B4D-8817CF9B829F}"/>
              </a:ext>
            </a:extLst>
          </p:cNvPr>
          <p:cNvSpPr/>
          <p:nvPr/>
        </p:nvSpPr>
        <p:spPr>
          <a:xfrm>
            <a:off x="7498964" y="3748545"/>
            <a:ext cx="702011" cy="702011"/>
          </a:xfrm>
          <a:prstGeom prst="ellipse">
            <a:avLst/>
          </a:prstGeom>
          <a:solidFill>
            <a:schemeClr val="accent3">
              <a:alpha val="77000"/>
            </a:schemeClr>
          </a:solidFill>
          <a:ln w="9525">
            <a:solidFill>
              <a:schemeClr val="bg1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58" name="Ovaal 57">
            <a:extLst>
              <a:ext uri="{FF2B5EF4-FFF2-40B4-BE49-F238E27FC236}">
                <a16:creationId xmlns:a16="http://schemas.microsoft.com/office/drawing/2014/main" xmlns="" id="{F4821F3E-F408-400B-844D-AE947D1EA3B4}"/>
              </a:ext>
            </a:extLst>
          </p:cNvPr>
          <p:cNvSpPr/>
          <p:nvPr/>
        </p:nvSpPr>
        <p:spPr>
          <a:xfrm>
            <a:off x="5961553" y="3694696"/>
            <a:ext cx="1365672" cy="1365672"/>
          </a:xfrm>
          <a:prstGeom prst="ellipse">
            <a:avLst/>
          </a:prstGeom>
          <a:solidFill>
            <a:schemeClr val="accent3">
              <a:alpha val="77000"/>
            </a:schemeClr>
          </a:solidFill>
          <a:ln w="9525">
            <a:solidFill>
              <a:schemeClr val="bg1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59" name="Ovaal 58">
            <a:extLst>
              <a:ext uri="{FF2B5EF4-FFF2-40B4-BE49-F238E27FC236}">
                <a16:creationId xmlns:a16="http://schemas.microsoft.com/office/drawing/2014/main" xmlns="" id="{7FB7808E-2B71-4135-9AFF-4306FF9B7DD7}"/>
              </a:ext>
            </a:extLst>
          </p:cNvPr>
          <p:cNvSpPr/>
          <p:nvPr/>
        </p:nvSpPr>
        <p:spPr>
          <a:xfrm>
            <a:off x="7962087" y="2961000"/>
            <a:ext cx="468000" cy="468000"/>
          </a:xfrm>
          <a:prstGeom prst="ellipse">
            <a:avLst/>
          </a:prstGeom>
          <a:solidFill>
            <a:schemeClr val="accent3">
              <a:alpha val="77000"/>
            </a:schemeClr>
          </a:solidFill>
          <a:ln w="9525">
            <a:solidFill>
              <a:schemeClr val="bg1"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65" name="Tijdelijke aanduiding voor tekst 64">
            <a:extLst>
              <a:ext uri="{FF2B5EF4-FFF2-40B4-BE49-F238E27FC236}">
                <a16:creationId xmlns:a16="http://schemas.microsoft.com/office/drawing/2014/main" xmlns="" id="{23BA2578-7F06-4927-A94B-ECB9F1804E1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66" name="Tijdelijke aanduiding voor tekst 65">
            <a:extLst>
              <a:ext uri="{FF2B5EF4-FFF2-40B4-BE49-F238E27FC236}">
                <a16:creationId xmlns:a16="http://schemas.microsoft.com/office/drawing/2014/main" xmlns="" id="{7C078AF9-9FFD-48F3-8833-BFCF6C8A38F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nl-NL" dirty="0"/>
              <a:t>  </a:t>
            </a:r>
          </a:p>
        </p:txBody>
      </p:sp>
      <p:sp>
        <p:nvSpPr>
          <p:cNvPr id="63" name="Tijdelijke aanduiding voor tekst 62">
            <a:extLst>
              <a:ext uri="{FF2B5EF4-FFF2-40B4-BE49-F238E27FC236}">
                <a16:creationId xmlns:a16="http://schemas.microsoft.com/office/drawing/2014/main" xmlns="" id="{434EA71C-8EDD-4587-80FC-E25E7E13835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62" name="Tijdelijke aanduiding voor tekst 61">
            <a:extLst>
              <a:ext uri="{FF2B5EF4-FFF2-40B4-BE49-F238E27FC236}">
                <a16:creationId xmlns:a16="http://schemas.microsoft.com/office/drawing/2014/main" xmlns="" id="{5BA2B5A0-7B73-42C4-ADA6-4A9999106C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61" name="Tijdelijke aanduiding voor tekst 60">
            <a:extLst>
              <a:ext uri="{FF2B5EF4-FFF2-40B4-BE49-F238E27FC236}">
                <a16:creationId xmlns:a16="http://schemas.microsoft.com/office/drawing/2014/main" xmlns="" id="{F2CE9985-2371-492D-A856-43B8539053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67" name="Tijdelijke aanduiding voor tekst 66">
            <a:extLst>
              <a:ext uri="{FF2B5EF4-FFF2-40B4-BE49-F238E27FC236}">
                <a16:creationId xmlns:a16="http://schemas.microsoft.com/office/drawing/2014/main" xmlns="" id="{7289E52A-B8B3-43E1-A2E6-00AD70E7AE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nl-NL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19537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mph" presetSubtype="0" repeatCount="indefinite" accel="50000" decel="50000" autoRev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5" dur="3000" fill="hold"/>
                                        <p:tgtEl>
                                          <p:spTgt spid="58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mph" presetSubtype="0" repeatCount="indefinite" accel="50000" decel="50000" autoRev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22" dur="3000" fill="hold"/>
                                        <p:tgtEl>
                                          <p:spTgt spid="57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mph" presetSubtype="0" repeatCount="indefinite" accel="50000" decel="50000" autoRev="1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29" dur="3000" fill="hold"/>
                                        <p:tgtEl>
                                          <p:spTgt spid="59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" presetClass="emph" presetSubtype="0" repeatCount="indefinite" accel="50000" decel="50000" autoRev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36" dur="3000" fill="hold"/>
                                        <p:tgtEl>
                                          <p:spTgt spid="56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mph" presetSubtype="0" repeatCount="indefinite" accel="50000" decel="50000" autoRev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43" dur="3000" fill="hold"/>
                                        <p:tgtEl>
                                          <p:spTgt spid="55"/>
                                        </p:tgtEl>
                                      </p:cBhvr>
                                      <p:by x="85000" y="8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5" grpId="1" animBg="1"/>
      <p:bldP spid="56" grpId="0" animBg="1"/>
      <p:bldP spid="56" grpId="1" animBg="1"/>
      <p:bldP spid="57" grpId="0" animBg="1"/>
      <p:bldP spid="57" grpId="1" animBg="1"/>
      <p:bldP spid="58" grpId="0" animBg="1"/>
      <p:bldP spid="58" grpId="1" animBg="1"/>
      <p:bldP spid="59" grpId="0" animBg="1"/>
      <p:bldP spid="59" grpId="1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xmlns="" id="{FE4996B2-CF69-4229-A0F3-A24F862784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3005" y="541467"/>
            <a:ext cx="11102416" cy="341035"/>
          </a:xfrm>
        </p:spPr>
        <p:txBody>
          <a:bodyPr>
            <a:normAutofit fontScale="90000"/>
          </a:bodyPr>
          <a:lstStyle/>
          <a:p>
            <a:r>
              <a:rPr lang="en-US" dirty="0"/>
              <a:t>A/B testing for real-time measurement of promo effectiveness</a:t>
            </a:r>
            <a:endParaRPr lang="nl-NL" dirty="0"/>
          </a:p>
        </p:txBody>
      </p:sp>
      <p:grpSp>
        <p:nvGrpSpPr>
          <p:cNvPr id="97" name="Groep 96">
            <a:extLst>
              <a:ext uri="{FF2B5EF4-FFF2-40B4-BE49-F238E27FC236}">
                <a16:creationId xmlns:a16="http://schemas.microsoft.com/office/drawing/2014/main" xmlns="" id="{1F35C95F-7723-4E20-B8C3-89ABBDEFEA0D}"/>
              </a:ext>
            </a:extLst>
          </p:cNvPr>
          <p:cNvGrpSpPr/>
          <p:nvPr/>
        </p:nvGrpSpPr>
        <p:grpSpPr>
          <a:xfrm>
            <a:off x="543004" y="3283739"/>
            <a:ext cx="2520000" cy="1146002"/>
            <a:chOff x="543004" y="3037063"/>
            <a:chExt cx="2520000" cy="1333325"/>
          </a:xfrm>
        </p:grpSpPr>
        <p:grpSp>
          <p:nvGrpSpPr>
            <p:cNvPr id="92" name="Groep 91">
              <a:extLst>
                <a:ext uri="{FF2B5EF4-FFF2-40B4-BE49-F238E27FC236}">
                  <a16:creationId xmlns:a16="http://schemas.microsoft.com/office/drawing/2014/main" xmlns="" id="{DE25C30C-0BA6-486A-A1F1-F5F78113CB84}"/>
                </a:ext>
              </a:extLst>
            </p:cNvPr>
            <p:cNvGrpSpPr/>
            <p:nvPr/>
          </p:nvGrpSpPr>
          <p:grpSpPr>
            <a:xfrm>
              <a:off x="543004" y="3037063"/>
              <a:ext cx="2520000" cy="1333325"/>
              <a:chOff x="543004" y="2852057"/>
              <a:chExt cx="2160000" cy="1333325"/>
            </a:xfrm>
          </p:grpSpPr>
          <p:sp>
            <p:nvSpPr>
              <p:cNvPr id="93" name="Rechthoek: afgeronde bovenhoeken 92">
                <a:extLst>
                  <a:ext uri="{FF2B5EF4-FFF2-40B4-BE49-F238E27FC236}">
                    <a16:creationId xmlns:a16="http://schemas.microsoft.com/office/drawing/2014/main" xmlns="" id="{4B259B0F-51CF-4AE5-B5D7-AB278AB212B2}"/>
                  </a:ext>
                </a:extLst>
              </p:cNvPr>
              <p:cNvSpPr/>
              <p:nvPr/>
            </p:nvSpPr>
            <p:spPr>
              <a:xfrm>
                <a:off x="543004" y="3243994"/>
                <a:ext cx="2160000" cy="941388"/>
              </a:xfrm>
              <a:prstGeom prst="round2SameRect">
                <a:avLst>
                  <a:gd name="adj1" fmla="val 0"/>
                  <a:gd name="adj2" fmla="val 8187"/>
                </a:avLst>
              </a:prstGeom>
              <a:solidFill>
                <a:schemeClr val="bg1"/>
              </a:solidFill>
              <a:ln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72000" rIns="144000" bIns="144000" rtlCol="0" anchor="ctr"/>
              <a:lstStyle/>
              <a:p>
                <a:pPr>
                  <a:lnSpc>
                    <a:spcPct val="150000"/>
                  </a:lnSpc>
                </a:pPr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A</a:t>
                </a:r>
              </a:p>
              <a:p>
                <a:pPr>
                  <a:lnSpc>
                    <a:spcPct val="150000"/>
                  </a:lnSpc>
                </a:pPr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B</a:t>
                </a:r>
              </a:p>
            </p:txBody>
          </p:sp>
          <p:sp>
            <p:nvSpPr>
              <p:cNvPr id="94" name="Rechthoek: afgeronde bovenhoeken 93">
                <a:extLst>
                  <a:ext uri="{FF2B5EF4-FFF2-40B4-BE49-F238E27FC236}">
                    <a16:creationId xmlns:a16="http://schemas.microsoft.com/office/drawing/2014/main" xmlns="" id="{40A0A215-16D2-467E-89B0-50E0790F1E49}"/>
                  </a:ext>
                </a:extLst>
              </p:cNvPr>
              <p:cNvSpPr/>
              <p:nvPr/>
            </p:nvSpPr>
            <p:spPr>
              <a:xfrm>
                <a:off x="543004" y="2852057"/>
                <a:ext cx="2160000" cy="391938"/>
              </a:xfrm>
              <a:prstGeom prst="round2SameRect">
                <a:avLst>
                  <a:gd name="adj1" fmla="val 23690"/>
                  <a:gd name="adj2" fmla="val 0"/>
                </a:avLst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108000" rtlCol="0" anchor="ctr"/>
              <a:lstStyle/>
              <a:p>
                <a:pPr algn="ctr"/>
                <a:r>
                  <a:rPr lang="nl-NL" sz="1100" dirty="0" err="1"/>
                  <a:t>Spend</a:t>
                </a:r>
                <a:r>
                  <a:rPr lang="nl-NL" sz="1100" dirty="0"/>
                  <a:t> per customer per </a:t>
                </a:r>
                <a:r>
                  <a:rPr lang="nl-NL" sz="1100" dirty="0" err="1"/>
                  <a:t>period</a:t>
                </a:r>
                <a:r>
                  <a:rPr lang="nl-NL" sz="1100" dirty="0"/>
                  <a:t> (€)</a:t>
                </a:r>
              </a:p>
            </p:txBody>
          </p:sp>
        </p:grpSp>
        <p:sp>
          <p:nvSpPr>
            <p:cNvPr id="95" name="Rechthoek 94">
              <a:extLst>
                <a:ext uri="{FF2B5EF4-FFF2-40B4-BE49-F238E27FC236}">
                  <a16:creationId xmlns:a16="http://schemas.microsoft.com/office/drawing/2014/main" xmlns="" id="{6A9A6D61-3CAA-49F1-BDCC-CE2EE36208F2}"/>
                </a:ext>
              </a:extLst>
            </p:cNvPr>
            <p:cNvSpPr/>
            <p:nvPr/>
          </p:nvSpPr>
          <p:spPr>
            <a:xfrm>
              <a:off x="968829" y="3557083"/>
              <a:ext cx="1915489" cy="28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r>
                <a:rPr lang="nl-NL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€0.187</a:t>
              </a:r>
            </a:p>
          </p:txBody>
        </p: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xmlns="" id="{BAEA32B8-8B7A-4069-B95A-C4C77E7D20FD}"/>
                </a:ext>
              </a:extLst>
            </p:cNvPr>
            <p:cNvSpPr/>
            <p:nvPr/>
          </p:nvSpPr>
          <p:spPr>
            <a:xfrm>
              <a:off x="968829" y="3962641"/>
              <a:ext cx="1915489" cy="28800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r>
                <a:rPr lang="nl-NL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€0.178</a:t>
              </a:r>
            </a:p>
          </p:txBody>
        </p: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xmlns="" id="{D493BC61-4D54-4B0F-BDA4-6BFBD7057531}"/>
              </a:ext>
            </a:extLst>
          </p:cNvPr>
          <p:cNvGrpSpPr/>
          <p:nvPr/>
        </p:nvGrpSpPr>
        <p:grpSpPr>
          <a:xfrm>
            <a:off x="3075799" y="2665487"/>
            <a:ext cx="2849203" cy="2374573"/>
            <a:chOff x="3075799" y="2665487"/>
            <a:chExt cx="2849203" cy="2374573"/>
          </a:xfrm>
        </p:grpSpPr>
        <p:grpSp>
          <p:nvGrpSpPr>
            <p:cNvPr id="223" name="Groep 222">
              <a:extLst>
                <a:ext uri="{FF2B5EF4-FFF2-40B4-BE49-F238E27FC236}">
                  <a16:creationId xmlns:a16="http://schemas.microsoft.com/office/drawing/2014/main" xmlns="" id="{F547A645-9813-41CA-8EBA-12AA6FF9CB27}"/>
                </a:ext>
              </a:extLst>
            </p:cNvPr>
            <p:cNvGrpSpPr/>
            <p:nvPr/>
          </p:nvGrpSpPr>
          <p:grpSpPr>
            <a:xfrm>
              <a:off x="3075799" y="3237895"/>
              <a:ext cx="337235" cy="1237690"/>
              <a:chOff x="3075799" y="3137388"/>
              <a:chExt cx="337235" cy="1440000"/>
            </a:xfrm>
          </p:grpSpPr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xmlns="" id="{55D0747D-FCB6-4768-B2FF-B435892B8C2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251034" y="4567468"/>
                <a:ext cx="162000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Rechte verbindingslijn 218">
                <a:extLst>
                  <a:ext uri="{FF2B5EF4-FFF2-40B4-BE49-F238E27FC236}">
                    <a16:creationId xmlns:a16="http://schemas.microsoft.com/office/drawing/2014/main" xmlns="" id="{2B443428-8797-4E9C-A688-C986DE47FC42}"/>
                  </a:ext>
                </a:extLst>
              </p:cNvPr>
              <p:cNvCxnSpPr/>
              <p:nvPr/>
            </p:nvCxnSpPr>
            <p:spPr>
              <a:xfrm flipH="1">
                <a:off x="3075799" y="3857387"/>
                <a:ext cx="180000" cy="0"/>
              </a:xfrm>
              <a:prstGeom prst="line">
                <a:avLst/>
              </a:prstGeom>
              <a:ln w="22225">
                <a:solidFill>
                  <a:schemeClr val="bg1">
                    <a:lumMod val="65000"/>
                  </a:schemeClr>
                </a:solidFill>
                <a:headEnd type="none" w="lg" len="lg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Rechte verbindingslijn 219">
                <a:extLst>
                  <a:ext uri="{FF2B5EF4-FFF2-40B4-BE49-F238E27FC236}">
                    <a16:creationId xmlns:a16="http://schemas.microsoft.com/office/drawing/2014/main" xmlns="" id="{841ED955-CCD6-4F16-9EF6-36A110A0945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258623" y="3137388"/>
                <a:ext cx="0" cy="144000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Rechte verbindingslijn 221">
                <a:extLst>
                  <a:ext uri="{FF2B5EF4-FFF2-40B4-BE49-F238E27FC236}">
                    <a16:creationId xmlns:a16="http://schemas.microsoft.com/office/drawing/2014/main" xmlns="" id="{97B0D0B7-5CF1-4258-83AE-8B2D40F6981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251034" y="3138077"/>
                <a:ext cx="162000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0" name="Groep 169">
              <a:extLst>
                <a:ext uri="{FF2B5EF4-FFF2-40B4-BE49-F238E27FC236}">
                  <a16:creationId xmlns:a16="http://schemas.microsoft.com/office/drawing/2014/main" xmlns="" id="{81C3A870-F120-41A2-BF29-88E55B8B2ED4}"/>
                </a:ext>
              </a:extLst>
            </p:cNvPr>
            <p:cNvGrpSpPr/>
            <p:nvPr/>
          </p:nvGrpSpPr>
          <p:grpSpPr>
            <a:xfrm>
              <a:off x="3405002" y="2665487"/>
              <a:ext cx="2520000" cy="1146002"/>
              <a:chOff x="543004" y="3037063"/>
              <a:chExt cx="2520000" cy="1333325"/>
            </a:xfrm>
          </p:grpSpPr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xmlns="" id="{EE73E522-F1F9-4C70-9A53-F06E8E14F027}"/>
                  </a:ext>
                </a:extLst>
              </p:cNvPr>
              <p:cNvGrpSpPr/>
              <p:nvPr/>
            </p:nvGrpSpPr>
            <p:grpSpPr>
              <a:xfrm>
                <a:off x="543004" y="3037063"/>
                <a:ext cx="2520000" cy="1333325"/>
                <a:chOff x="543004" y="2852057"/>
                <a:chExt cx="2160000" cy="1333325"/>
              </a:xfrm>
            </p:grpSpPr>
            <p:sp>
              <p:nvSpPr>
                <p:cNvPr id="174" name="Rechthoek: afgeronde bovenhoeken 173">
                  <a:extLst>
                    <a:ext uri="{FF2B5EF4-FFF2-40B4-BE49-F238E27FC236}">
                      <a16:creationId xmlns:a16="http://schemas.microsoft.com/office/drawing/2014/main" xmlns="" id="{7AB911FF-5B2E-4587-8D74-A54DCB3BB0EB}"/>
                    </a:ext>
                  </a:extLst>
                </p:cNvPr>
                <p:cNvSpPr/>
                <p:nvPr/>
              </p:nvSpPr>
              <p:spPr>
                <a:xfrm>
                  <a:off x="543004" y="3243994"/>
                  <a:ext cx="2160000" cy="941388"/>
                </a:xfrm>
                <a:prstGeom prst="round2SameRect">
                  <a:avLst>
                    <a:gd name="adj1" fmla="val 0"/>
                    <a:gd name="adj2" fmla="val 8187"/>
                  </a:avLst>
                </a:prstGeom>
                <a:solidFill>
                  <a:schemeClr val="bg1"/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72000" rIns="144000" bIns="144000" rtlCol="0" anchor="ctr"/>
                <a:lstStyle/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A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B</a:t>
                  </a:r>
                </a:p>
              </p:txBody>
            </p:sp>
            <p:sp>
              <p:nvSpPr>
                <p:cNvPr id="175" name="Rechthoek: afgeronde bovenhoeken 174">
                  <a:extLst>
                    <a:ext uri="{FF2B5EF4-FFF2-40B4-BE49-F238E27FC236}">
                      <a16:creationId xmlns:a16="http://schemas.microsoft.com/office/drawing/2014/main" xmlns="" id="{C01F29F9-845F-4405-8E7E-4AFBE73E9ECB}"/>
                    </a:ext>
                  </a:extLst>
                </p:cNvPr>
                <p:cNvSpPr/>
                <p:nvPr/>
              </p:nvSpPr>
              <p:spPr>
                <a:xfrm>
                  <a:off x="543004" y="2852057"/>
                  <a:ext cx="2160000" cy="391938"/>
                </a:xfrm>
                <a:prstGeom prst="round2SameRect">
                  <a:avLst>
                    <a:gd name="adj1" fmla="val 23690"/>
                    <a:gd name="adj2" fmla="val 0"/>
                  </a:avLst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108000" rtlCol="0" anchor="ctr"/>
                <a:lstStyle/>
                <a:p>
                  <a:pPr algn="ctr"/>
                  <a:r>
                    <a:rPr lang="nl-NL" sz="1100" dirty="0" err="1"/>
                    <a:t>Spend</a:t>
                  </a:r>
                  <a:r>
                    <a:rPr lang="nl-NL" sz="1100" dirty="0"/>
                    <a:t> per  </a:t>
                  </a:r>
                  <a:r>
                    <a:rPr lang="nl-NL" sz="1100" dirty="0" err="1"/>
                    <a:t>buying</a:t>
                  </a:r>
                  <a:r>
                    <a:rPr lang="nl-NL" sz="1100" dirty="0"/>
                    <a:t> customer </a:t>
                  </a:r>
                  <a:br>
                    <a:rPr lang="nl-NL" sz="1100" dirty="0"/>
                  </a:br>
                  <a:r>
                    <a:rPr lang="nl-NL" sz="1100" dirty="0"/>
                    <a:t>per </a:t>
                  </a:r>
                  <a:r>
                    <a:rPr lang="nl-NL" sz="1100" dirty="0" err="1"/>
                    <a:t>period</a:t>
                  </a:r>
                  <a:r>
                    <a:rPr lang="nl-NL" sz="1100" dirty="0"/>
                    <a:t> (€)</a:t>
                  </a:r>
                </a:p>
              </p:txBody>
            </p:sp>
          </p:grpSp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xmlns="" id="{AF1A4E53-553F-449C-AB46-240341962799}"/>
                  </a:ext>
                </a:extLst>
              </p:cNvPr>
              <p:cNvSpPr/>
              <p:nvPr/>
            </p:nvSpPr>
            <p:spPr>
              <a:xfrm>
                <a:off x="968829" y="3557083"/>
                <a:ext cx="1915489" cy="288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€1.36</a:t>
                </a:r>
              </a:p>
            </p:txBody>
          </p: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xmlns="" id="{E6CCF218-61C3-458A-826A-5B6416E5E8CB}"/>
                  </a:ext>
                </a:extLst>
              </p:cNvPr>
              <p:cNvSpPr/>
              <p:nvPr/>
            </p:nvSpPr>
            <p:spPr>
              <a:xfrm>
                <a:off x="968829" y="3962641"/>
                <a:ext cx="1915489" cy="28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€2.28</a:t>
                </a:r>
              </a:p>
            </p:txBody>
          </p:sp>
        </p:grpSp>
        <p:grpSp>
          <p:nvGrpSpPr>
            <p:cNvPr id="182" name="Groep 181">
              <a:extLst>
                <a:ext uri="{FF2B5EF4-FFF2-40B4-BE49-F238E27FC236}">
                  <a16:creationId xmlns:a16="http://schemas.microsoft.com/office/drawing/2014/main" xmlns="" id="{D7C78FBE-B1DB-4C13-8802-EA942A23D137}"/>
                </a:ext>
              </a:extLst>
            </p:cNvPr>
            <p:cNvGrpSpPr/>
            <p:nvPr/>
          </p:nvGrpSpPr>
          <p:grpSpPr>
            <a:xfrm>
              <a:off x="3405002" y="3894058"/>
              <a:ext cx="2520000" cy="1146002"/>
              <a:chOff x="543004" y="3037063"/>
              <a:chExt cx="2520000" cy="1333325"/>
            </a:xfrm>
          </p:grpSpPr>
          <p:grpSp>
            <p:nvGrpSpPr>
              <p:cNvPr id="183" name="Groep 182">
                <a:extLst>
                  <a:ext uri="{FF2B5EF4-FFF2-40B4-BE49-F238E27FC236}">
                    <a16:creationId xmlns:a16="http://schemas.microsoft.com/office/drawing/2014/main" xmlns="" id="{6FAB669C-F177-4A5F-82EE-CCF3DB2465F7}"/>
                  </a:ext>
                </a:extLst>
              </p:cNvPr>
              <p:cNvGrpSpPr/>
              <p:nvPr/>
            </p:nvGrpSpPr>
            <p:grpSpPr>
              <a:xfrm>
                <a:off x="543004" y="3037063"/>
                <a:ext cx="2520000" cy="1333325"/>
                <a:chOff x="543004" y="2852057"/>
                <a:chExt cx="2160000" cy="1333325"/>
              </a:xfrm>
            </p:grpSpPr>
            <p:sp>
              <p:nvSpPr>
                <p:cNvPr id="186" name="Rechthoek: afgeronde bovenhoeken 185">
                  <a:extLst>
                    <a:ext uri="{FF2B5EF4-FFF2-40B4-BE49-F238E27FC236}">
                      <a16:creationId xmlns:a16="http://schemas.microsoft.com/office/drawing/2014/main" xmlns="" id="{CC4E7589-0C7F-48BE-8329-08AB3FCB54AD}"/>
                    </a:ext>
                  </a:extLst>
                </p:cNvPr>
                <p:cNvSpPr/>
                <p:nvPr/>
              </p:nvSpPr>
              <p:spPr>
                <a:xfrm>
                  <a:off x="543004" y="3243994"/>
                  <a:ext cx="2160000" cy="941388"/>
                </a:xfrm>
                <a:prstGeom prst="round2SameRect">
                  <a:avLst>
                    <a:gd name="adj1" fmla="val 0"/>
                    <a:gd name="adj2" fmla="val 8187"/>
                  </a:avLst>
                </a:prstGeom>
                <a:solidFill>
                  <a:schemeClr val="bg1"/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72000" rIns="144000" bIns="144000" rtlCol="0" anchor="ctr"/>
                <a:lstStyle/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A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B</a:t>
                  </a:r>
                </a:p>
              </p:txBody>
            </p:sp>
            <p:sp>
              <p:nvSpPr>
                <p:cNvPr id="187" name="Rechthoek: afgeronde bovenhoeken 186">
                  <a:extLst>
                    <a:ext uri="{FF2B5EF4-FFF2-40B4-BE49-F238E27FC236}">
                      <a16:creationId xmlns:a16="http://schemas.microsoft.com/office/drawing/2014/main" xmlns="" id="{474A47C4-26C6-41F8-AB99-EB78173173B1}"/>
                    </a:ext>
                  </a:extLst>
                </p:cNvPr>
                <p:cNvSpPr/>
                <p:nvPr/>
              </p:nvSpPr>
              <p:spPr>
                <a:xfrm>
                  <a:off x="543004" y="2852057"/>
                  <a:ext cx="2160000" cy="391938"/>
                </a:xfrm>
                <a:prstGeom prst="round2SameRect">
                  <a:avLst>
                    <a:gd name="adj1" fmla="val 23690"/>
                    <a:gd name="adj2" fmla="val 0"/>
                  </a:avLst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108000" rtlCol="0" anchor="ctr"/>
                <a:lstStyle/>
                <a:p>
                  <a:pPr algn="ctr"/>
                  <a:r>
                    <a:rPr lang="nl-NL" sz="1100" dirty="0"/>
                    <a:t>Customer </a:t>
                  </a:r>
                  <a:r>
                    <a:rPr lang="nl-NL" sz="1100" dirty="0" err="1"/>
                    <a:t>penetration</a:t>
                  </a:r>
                  <a:r>
                    <a:rPr lang="nl-NL" sz="1100" dirty="0"/>
                    <a:t> (%)</a:t>
                  </a:r>
                </a:p>
              </p:txBody>
            </p:sp>
          </p:grpSp>
          <p:sp>
            <p:nvSpPr>
              <p:cNvPr id="184" name="Rechthoek 183">
                <a:extLst>
                  <a:ext uri="{FF2B5EF4-FFF2-40B4-BE49-F238E27FC236}">
                    <a16:creationId xmlns:a16="http://schemas.microsoft.com/office/drawing/2014/main" xmlns="" id="{607CD162-4EA6-4FEE-A1EC-DB98A09FDD5F}"/>
                  </a:ext>
                </a:extLst>
              </p:cNvPr>
              <p:cNvSpPr/>
              <p:nvPr/>
            </p:nvSpPr>
            <p:spPr>
              <a:xfrm>
                <a:off x="968829" y="3557083"/>
                <a:ext cx="1915489" cy="288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13.69%</a:t>
                </a:r>
              </a:p>
            </p:txBody>
          </p:sp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xmlns="" id="{97F55D24-9C80-4AB5-B8D9-646F94AA227B}"/>
                  </a:ext>
                </a:extLst>
              </p:cNvPr>
              <p:cNvSpPr/>
              <p:nvPr/>
            </p:nvSpPr>
            <p:spPr>
              <a:xfrm>
                <a:off x="968829" y="3962641"/>
                <a:ext cx="1915489" cy="28800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7.80%</a:t>
                </a:r>
              </a:p>
            </p:txBody>
          </p:sp>
        </p:grpSp>
      </p:grpSp>
      <p:grpSp>
        <p:nvGrpSpPr>
          <p:cNvPr id="8" name="Groep 7">
            <a:extLst>
              <a:ext uri="{FF2B5EF4-FFF2-40B4-BE49-F238E27FC236}">
                <a16:creationId xmlns:a16="http://schemas.microsoft.com/office/drawing/2014/main" xmlns="" id="{A03D6FBE-248A-4D2F-935A-1D33731C043F}"/>
              </a:ext>
            </a:extLst>
          </p:cNvPr>
          <p:cNvGrpSpPr/>
          <p:nvPr/>
        </p:nvGrpSpPr>
        <p:grpSpPr>
          <a:xfrm>
            <a:off x="8791763" y="2665487"/>
            <a:ext cx="2857235" cy="2374573"/>
            <a:chOff x="8791763" y="2665487"/>
            <a:chExt cx="2857235" cy="2374573"/>
          </a:xfrm>
        </p:grpSpPr>
        <p:grpSp>
          <p:nvGrpSpPr>
            <p:cNvPr id="216" name="Groep 215">
              <a:extLst>
                <a:ext uri="{FF2B5EF4-FFF2-40B4-BE49-F238E27FC236}">
                  <a16:creationId xmlns:a16="http://schemas.microsoft.com/office/drawing/2014/main" xmlns="" id="{DFDB8F65-0FCB-4954-982A-3B0A6CAF382C}"/>
                </a:ext>
              </a:extLst>
            </p:cNvPr>
            <p:cNvGrpSpPr/>
            <p:nvPr/>
          </p:nvGrpSpPr>
          <p:grpSpPr>
            <a:xfrm>
              <a:off x="8791763" y="3258754"/>
              <a:ext cx="342000" cy="1216030"/>
              <a:chOff x="8791763" y="3161657"/>
              <a:chExt cx="342000" cy="1414800"/>
            </a:xfrm>
          </p:grpSpPr>
          <p:cxnSp>
            <p:nvCxnSpPr>
              <p:cNvPr id="199" name="Rechte verbindingslijn 198">
                <a:extLst>
                  <a:ext uri="{FF2B5EF4-FFF2-40B4-BE49-F238E27FC236}">
                    <a16:creationId xmlns:a16="http://schemas.microsoft.com/office/drawing/2014/main" xmlns="" id="{198F3B44-CE47-49C4-842A-1219C1D1BB1F}"/>
                  </a:ext>
                </a:extLst>
              </p:cNvPr>
              <p:cNvCxnSpPr/>
              <p:nvPr/>
            </p:nvCxnSpPr>
            <p:spPr>
              <a:xfrm flipH="1">
                <a:off x="8966998" y="4567468"/>
                <a:ext cx="162000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Rechte verbindingslijn 199">
                <a:extLst>
                  <a:ext uri="{FF2B5EF4-FFF2-40B4-BE49-F238E27FC236}">
                    <a16:creationId xmlns:a16="http://schemas.microsoft.com/office/drawing/2014/main" xmlns="" id="{AB47ADEB-4FEE-4A90-8D55-3B1CAA0D9930}"/>
                  </a:ext>
                </a:extLst>
              </p:cNvPr>
              <p:cNvCxnSpPr/>
              <p:nvPr/>
            </p:nvCxnSpPr>
            <p:spPr>
              <a:xfrm flipH="1">
                <a:off x="8791763" y="3168650"/>
                <a:ext cx="342000" cy="0"/>
              </a:xfrm>
              <a:prstGeom prst="line">
                <a:avLst/>
              </a:prstGeom>
              <a:ln w="22225">
                <a:solidFill>
                  <a:schemeClr val="bg1">
                    <a:lumMod val="65000"/>
                  </a:schemeClr>
                </a:solidFill>
                <a:headEnd type="none" w="lg" len="lg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Rechte verbindingslijn 201">
                <a:extLst>
                  <a:ext uri="{FF2B5EF4-FFF2-40B4-BE49-F238E27FC236}">
                    <a16:creationId xmlns:a16="http://schemas.microsoft.com/office/drawing/2014/main" xmlns="" id="{F5F25F11-84CA-4009-83E2-9BC2A1F1725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961887" y="3161657"/>
                <a:ext cx="0" cy="141480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6" name="Groep 175">
              <a:extLst>
                <a:ext uri="{FF2B5EF4-FFF2-40B4-BE49-F238E27FC236}">
                  <a16:creationId xmlns:a16="http://schemas.microsoft.com/office/drawing/2014/main" xmlns="" id="{4375423E-E828-40EF-B451-C91E1482A482}"/>
                </a:ext>
              </a:extLst>
            </p:cNvPr>
            <p:cNvGrpSpPr/>
            <p:nvPr/>
          </p:nvGrpSpPr>
          <p:grpSpPr>
            <a:xfrm>
              <a:off x="9128998" y="2665487"/>
              <a:ext cx="2520000" cy="1146002"/>
              <a:chOff x="543004" y="3037063"/>
              <a:chExt cx="2520000" cy="1333325"/>
            </a:xfrm>
          </p:grpSpPr>
          <p:grpSp>
            <p:nvGrpSpPr>
              <p:cNvPr id="177" name="Groep 176">
                <a:extLst>
                  <a:ext uri="{FF2B5EF4-FFF2-40B4-BE49-F238E27FC236}">
                    <a16:creationId xmlns:a16="http://schemas.microsoft.com/office/drawing/2014/main" xmlns="" id="{7E7D3ECA-651F-45A7-88D2-9AA2CD25F7F0}"/>
                  </a:ext>
                </a:extLst>
              </p:cNvPr>
              <p:cNvGrpSpPr/>
              <p:nvPr/>
            </p:nvGrpSpPr>
            <p:grpSpPr>
              <a:xfrm>
                <a:off x="543004" y="3037063"/>
                <a:ext cx="2520000" cy="1333325"/>
                <a:chOff x="543004" y="2852057"/>
                <a:chExt cx="2160000" cy="1333325"/>
              </a:xfrm>
            </p:grpSpPr>
            <p:sp>
              <p:nvSpPr>
                <p:cNvPr id="180" name="Rechthoek: afgeronde bovenhoeken 179">
                  <a:extLst>
                    <a:ext uri="{FF2B5EF4-FFF2-40B4-BE49-F238E27FC236}">
                      <a16:creationId xmlns:a16="http://schemas.microsoft.com/office/drawing/2014/main" xmlns="" id="{92C1EA29-6888-467F-BBD5-E29EBD8D1FEA}"/>
                    </a:ext>
                  </a:extLst>
                </p:cNvPr>
                <p:cNvSpPr/>
                <p:nvPr/>
              </p:nvSpPr>
              <p:spPr>
                <a:xfrm>
                  <a:off x="543004" y="3243994"/>
                  <a:ext cx="2160000" cy="941388"/>
                </a:xfrm>
                <a:prstGeom prst="round2SameRect">
                  <a:avLst>
                    <a:gd name="adj1" fmla="val 0"/>
                    <a:gd name="adj2" fmla="val 8187"/>
                  </a:avLst>
                </a:prstGeom>
                <a:solidFill>
                  <a:schemeClr val="bg1"/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72000" rIns="144000" bIns="144000" rtlCol="0" anchor="ctr"/>
                <a:lstStyle/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A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B</a:t>
                  </a:r>
                </a:p>
              </p:txBody>
            </p:sp>
            <p:sp>
              <p:nvSpPr>
                <p:cNvPr id="181" name="Rechthoek: afgeronde bovenhoeken 180">
                  <a:extLst>
                    <a:ext uri="{FF2B5EF4-FFF2-40B4-BE49-F238E27FC236}">
                      <a16:creationId xmlns:a16="http://schemas.microsoft.com/office/drawing/2014/main" xmlns="" id="{146B04BF-F2AC-4351-BEC1-CA574FB655F4}"/>
                    </a:ext>
                  </a:extLst>
                </p:cNvPr>
                <p:cNvSpPr/>
                <p:nvPr/>
              </p:nvSpPr>
              <p:spPr>
                <a:xfrm>
                  <a:off x="543004" y="2852057"/>
                  <a:ext cx="2160000" cy="391938"/>
                </a:xfrm>
                <a:prstGeom prst="round2SameRect">
                  <a:avLst>
                    <a:gd name="adj1" fmla="val 23690"/>
                    <a:gd name="adj2" fmla="val 0"/>
                  </a:avLst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108000" rtlCol="0" anchor="ctr"/>
                <a:lstStyle/>
                <a:p>
                  <a:pPr algn="ctr"/>
                  <a:r>
                    <a:rPr lang="nl-NL" sz="1100" dirty="0" err="1"/>
                    <a:t>Average</a:t>
                  </a:r>
                  <a:r>
                    <a:rPr lang="nl-NL" sz="1100" dirty="0"/>
                    <a:t> </a:t>
                  </a:r>
                  <a:r>
                    <a:rPr lang="nl-NL" sz="1100" dirty="0" err="1"/>
                    <a:t>price</a:t>
                  </a:r>
                  <a:r>
                    <a:rPr lang="nl-NL" sz="1100" dirty="0"/>
                    <a:t> per unit (€)</a:t>
                  </a:r>
                </a:p>
              </p:txBody>
            </p:sp>
          </p:grp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xmlns="" id="{A4072334-47FA-47CB-9DF6-504098E088D1}"/>
                  </a:ext>
                </a:extLst>
              </p:cNvPr>
              <p:cNvSpPr/>
              <p:nvPr/>
            </p:nvSpPr>
            <p:spPr>
              <a:xfrm>
                <a:off x="968829" y="3557083"/>
                <a:ext cx="1915489" cy="288000"/>
              </a:xfrm>
              <a:prstGeom prst="rect">
                <a:avLst/>
              </a:prstGeom>
              <a:solidFill>
                <a:schemeClr val="bg1">
                  <a:lumMod val="85000"/>
                  <a:alpha val="7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  <a:alpha val="60000"/>
                      </a:schemeClr>
                    </a:solidFill>
                  </a:rPr>
                  <a:t>€1.09</a:t>
                </a:r>
              </a:p>
            </p:txBody>
          </p:sp>
          <p:sp>
            <p:nvSpPr>
              <p:cNvPr id="179" name="Rechthoek 178">
                <a:extLst>
                  <a:ext uri="{FF2B5EF4-FFF2-40B4-BE49-F238E27FC236}">
                    <a16:creationId xmlns:a16="http://schemas.microsoft.com/office/drawing/2014/main" xmlns="" id="{86C02784-FAA8-435C-BF54-72EC5F07C671}"/>
                  </a:ext>
                </a:extLst>
              </p:cNvPr>
              <p:cNvSpPr/>
              <p:nvPr/>
            </p:nvSpPr>
            <p:spPr>
              <a:xfrm>
                <a:off x="968829" y="3962641"/>
                <a:ext cx="1915489" cy="288000"/>
              </a:xfrm>
              <a:prstGeom prst="rect">
                <a:avLst/>
              </a:prstGeom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€1.13</a:t>
                </a:r>
              </a:p>
            </p:txBody>
          </p:sp>
        </p:grpSp>
        <p:grpSp>
          <p:nvGrpSpPr>
            <p:cNvPr id="188" name="Groep 187">
              <a:extLst>
                <a:ext uri="{FF2B5EF4-FFF2-40B4-BE49-F238E27FC236}">
                  <a16:creationId xmlns:a16="http://schemas.microsoft.com/office/drawing/2014/main" xmlns="" id="{90AC7EEF-0EBF-4450-B9E7-DDE24ADECA0F}"/>
                </a:ext>
              </a:extLst>
            </p:cNvPr>
            <p:cNvGrpSpPr/>
            <p:nvPr/>
          </p:nvGrpSpPr>
          <p:grpSpPr>
            <a:xfrm>
              <a:off x="9128998" y="3894058"/>
              <a:ext cx="2520000" cy="1146002"/>
              <a:chOff x="543004" y="3037063"/>
              <a:chExt cx="2520000" cy="1333325"/>
            </a:xfrm>
          </p:grpSpPr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xmlns="" id="{7BE2E914-DA17-46D7-A33A-B341C25DC7B0}"/>
                  </a:ext>
                </a:extLst>
              </p:cNvPr>
              <p:cNvGrpSpPr/>
              <p:nvPr/>
            </p:nvGrpSpPr>
            <p:grpSpPr>
              <a:xfrm>
                <a:off x="543004" y="3037063"/>
                <a:ext cx="2520000" cy="1333325"/>
                <a:chOff x="543004" y="2852057"/>
                <a:chExt cx="2160000" cy="1333325"/>
              </a:xfrm>
            </p:grpSpPr>
            <p:sp>
              <p:nvSpPr>
                <p:cNvPr id="192" name="Rechthoek: afgeronde bovenhoeken 191">
                  <a:extLst>
                    <a:ext uri="{FF2B5EF4-FFF2-40B4-BE49-F238E27FC236}">
                      <a16:creationId xmlns:a16="http://schemas.microsoft.com/office/drawing/2014/main" xmlns="" id="{50031164-AAE0-4FE5-BDB4-76D12F26234B}"/>
                    </a:ext>
                  </a:extLst>
                </p:cNvPr>
                <p:cNvSpPr/>
                <p:nvPr/>
              </p:nvSpPr>
              <p:spPr>
                <a:xfrm>
                  <a:off x="543004" y="3243994"/>
                  <a:ext cx="2160000" cy="941388"/>
                </a:xfrm>
                <a:prstGeom prst="round2SameRect">
                  <a:avLst>
                    <a:gd name="adj1" fmla="val 0"/>
                    <a:gd name="adj2" fmla="val 8187"/>
                  </a:avLst>
                </a:prstGeom>
                <a:solidFill>
                  <a:schemeClr val="bg1"/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72000" rIns="144000" bIns="144000" rtlCol="0" anchor="ctr"/>
                <a:lstStyle/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A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B</a:t>
                  </a:r>
                </a:p>
              </p:txBody>
            </p:sp>
            <p:sp>
              <p:nvSpPr>
                <p:cNvPr id="193" name="Rechthoek: afgeronde bovenhoeken 192">
                  <a:extLst>
                    <a:ext uri="{FF2B5EF4-FFF2-40B4-BE49-F238E27FC236}">
                      <a16:creationId xmlns:a16="http://schemas.microsoft.com/office/drawing/2014/main" xmlns="" id="{1CBEE690-9A72-4EA0-95F7-098821A514F3}"/>
                    </a:ext>
                  </a:extLst>
                </p:cNvPr>
                <p:cNvSpPr/>
                <p:nvPr/>
              </p:nvSpPr>
              <p:spPr>
                <a:xfrm>
                  <a:off x="543004" y="2852057"/>
                  <a:ext cx="2160000" cy="391938"/>
                </a:xfrm>
                <a:prstGeom prst="round2SameRect">
                  <a:avLst>
                    <a:gd name="adj1" fmla="val 23690"/>
                    <a:gd name="adj2" fmla="val 0"/>
                  </a:avLst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108000" rtlCol="0" anchor="ctr"/>
                <a:lstStyle/>
                <a:p>
                  <a:pPr algn="ctr"/>
                  <a:r>
                    <a:rPr lang="nl-NL" sz="1100" dirty="0"/>
                    <a:t>Units per order (#)</a:t>
                  </a:r>
                </a:p>
              </p:txBody>
            </p:sp>
          </p:grpSp>
          <p:sp>
            <p:nvSpPr>
              <p:cNvPr id="190" name="Rechthoek 189">
                <a:extLst>
                  <a:ext uri="{FF2B5EF4-FFF2-40B4-BE49-F238E27FC236}">
                    <a16:creationId xmlns:a16="http://schemas.microsoft.com/office/drawing/2014/main" xmlns="" id="{52552B14-ACDB-45FA-938B-8F149C6F2480}"/>
                  </a:ext>
                </a:extLst>
              </p:cNvPr>
              <p:cNvSpPr/>
              <p:nvPr/>
            </p:nvSpPr>
            <p:spPr>
              <a:xfrm>
                <a:off x="968829" y="3557083"/>
                <a:ext cx="1915489" cy="288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1.21</a:t>
                </a:r>
              </a:p>
            </p:txBody>
          </p:sp>
          <p:sp>
            <p:nvSpPr>
              <p:cNvPr id="191" name="Rechthoek 190">
                <a:extLst>
                  <a:ext uri="{FF2B5EF4-FFF2-40B4-BE49-F238E27FC236}">
                    <a16:creationId xmlns:a16="http://schemas.microsoft.com/office/drawing/2014/main" xmlns="" id="{33C9D458-A3CC-4A20-9628-8AFCC0D5F786}"/>
                  </a:ext>
                </a:extLst>
              </p:cNvPr>
              <p:cNvSpPr/>
              <p:nvPr/>
            </p:nvSpPr>
            <p:spPr>
              <a:xfrm>
                <a:off x="968829" y="3962641"/>
                <a:ext cx="1915489" cy="28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1.97</a:t>
                </a:r>
              </a:p>
            </p:txBody>
          </p:sp>
        </p:grpSp>
      </p:grpSp>
      <p:grpSp>
        <p:nvGrpSpPr>
          <p:cNvPr id="7" name="Groep 6">
            <a:extLst>
              <a:ext uri="{FF2B5EF4-FFF2-40B4-BE49-F238E27FC236}">
                <a16:creationId xmlns:a16="http://schemas.microsoft.com/office/drawing/2014/main" xmlns="" id="{C3239FFF-0A13-4E02-AA20-8C0A777BB7C8}"/>
              </a:ext>
            </a:extLst>
          </p:cNvPr>
          <p:cNvGrpSpPr/>
          <p:nvPr/>
        </p:nvGrpSpPr>
        <p:grpSpPr>
          <a:xfrm>
            <a:off x="5921563" y="1436915"/>
            <a:ext cx="2938677" cy="4831716"/>
            <a:chOff x="5921563" y="1436915"/>
            <a:chExt cx="2938677" cy="4831716"/>
          </a:xfrm>
        </p:grpSpPr>
        <p:grpSp>
          <p:nvGrpSpPr>
            <p:cNvPr id="215" name="Groep 214">
              <a:extLst>
                <a:ext uri="{FF2B5EF4-FFF2-40B4-BE49-F238E27FC236}">
                  <a16:creationId xmlns:a16="http://schemas.microsoft.com/office/drawing/2014/main" xmlns="" id="{9B5E7CBF-7EC3-4653-858E-9A4A7C4C80D7}"/>
                </a:ext>
              </a:extLst>
            </p:cNvPr>
            <p:cNvGrpSpPr/>
            <p:nvPr/>
          </p:nvGrpSpPr>
          <p:grpSpPr>
            <a:xfrm>
              <a:off x="5925876" y="2022457"/>
              <a:ext cx="342000" cy="1216030"/>
              <a:chOff x="5925876" y="1723277"/>
              <a:chExt cx="342000" cy="1414800"/>
            </a:xfrm>
          </p:grpSpPr>
          <p:cxnSp>
            <p:nvCxnSpPr>
              <p:cNvPr id="208" name="Rechte verbindingslijn 207">
                <a:extLst>
                  <a:ext uri="{FF2B5EF4-FFF2-40B4-BE49-F238E27FC236}">
                    <a16:creationId xmlns:a16="http://schemas.microsoft.com/office/drawing/2014/main" xmlns="" id="{AE787B70-BE5D-4BB7-9794-857CC83D42D7}"/>
                  </a:ext>
                </a:extLst>
              </p:cNvPr>
              <p:cNvCxnSpPr/>
              <p:nvPr/>
            </p:nvCxnSpPr>
            <p:spPr>
              <a:xfrm flipH="1">
                <a:off x="6093968" y="1723277"/>
                <a:ext cx="162000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9" name="Rechte verbindingslijn 208">
                <a:extLst>
                  <a:ext uri="{FF2B5EF4-FFF2-40B4-BE49-F238E27FC236}">
                    <a16:creationId xmlns:a16="http://schemas.microsoft.com/office/drawing/2014/main" xmlns="" id="{953ED47F-D0B8-4A3D-B704-1A46E8DDD74B}"/>
                  </a:ext>
                </a:extLst>
              </p:cNvPr>
              <p:cNvCxnSpPr/>
              <p:nvPr/>
            </p:nvCxnSpPr>
            <p:spPr>
              <a:xfrm flipH="1">
                <a:off x="5925876" y="3138077"/>
                <a:ext cx="342000" cy="0"/>
              </a:xfrm>
              <a:prstGeom prst="line">
                <a:avLst/>
              </a:prstGeom>
              <a:ln w="22225">
                <a:solidFill>
                  <a:schemeClr val="bg1">
                    <a:lumMod val="65000"/>
                  </a:schemeClr>
                </a:solidFill>
                <a:headEnd type="none" w="lg" len="lg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Rechte verbindingslijn 209">
                <a:extLst>
                  <a:ext uri="{FF2B5EF4-FFF2-40B4-BE49-F238E27FC236}">
                    <a16:creationId xmlns:a16="http://schemas.microsoft.com/office/drawing/2014/main" xmlns="" id="{78FD3F80-BC9C-48BB-9C08-F525D3EED60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6000" y="1723277"/>
                <a:ext cx="0" cy="141480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4" name="Groep 213">
              <a:extLst>
                <a:ext uri="{FF2B5EF4-FFF2-40B4-BE49-F238E27FC236}">
                  <a16:creationId xmlns:a16="http://schemas.microsoft.com/office/drawing/2014/main" xmlns="" id="{F00256E6-F12D-4A5E-A135-CE20C5A58CA2}"/>
                </a:ext>
              </a:extLst>
            </p:cNvPr>
            <p:cNvGrpSpPr/>
            <p:nvPr/>
          </p:nvGrpSpPr>
          <p:grpSpPr>
            <a:xfrm>
              <a:off x="5921563" y="4464792"/>
              <a:ext cx="342000" cy="1216030"/>
              <a:chOff x="5921563" y="4564831"/>
              <a:chExt cx="342000" cy="1414800"/>
            </a:xfrm>
          </p:grpSpPr>
          <p:cxnSp>
            <p:nvCxnSpPr>
              <p:cNvPr id="211" name="Rechte verbindingslijn 210">
                <a:extLst>
                  <a:ext uri="{FF2B5EF4-FFF2-40B4-BE49-F238E27FC236}">
                    <a16:creationId xmlns:a16="http://schemas.microsoft.com/office/drawing/2014/main" xmlns="" id="{1D79BD56-9C92-49C9-B5F6-9A583857E430}"/>
                  </a:ext>
                </a:extLst>
              </p:cNvPr>
              <p:cNvCxnSpPr/>
              <p:nvPr/>
            </p:nvCxnSpPr>
            <p:spPr>
              <a:xfrm flipH="1">
                <a:off x="6096798" y="5970642"/>
                <a:ext cx="162000" cy="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Rechte verbindingslijn 211">
                <a:extLst>
                  <a:ext uri="{FF2B5EF4-FFF2-40B4-BE49-F238E27FC236}">
                    <a16:creationId xmlns:a16="http://schemas.microsoft.com/office/drawing/2014/main" xmlns="" id="{751FA3F7-2482-43A8-8685-31A0AE97C02B}"/>
                  </a:ext>
                </a:extLst>
              </p:cNvPr>
              <p:cNvCxnSpPr/>
              <p:nvPr/>
            </p:nvCxnSpPr>
            <p:spPr>
              <a:xfrm flipH="1">
                <a:off x="5921563" y="4567468"/>
                <a:ext cx="342000" cy="0"/>
              </a:xfrm>
              <a:prstGeom prst="line">
                <a:avLst/>
              </a:prstGeom>
              <a:ln w="22225">
                <a:solidFill>
                  <a:schemeClr val="bg1">
                    <a:lumMod val="65000"/>
                  </a:schemeClr>
                </a:solidFill>
                <a:headEnd type="none" w="lg" len="lg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3" name="Rechte verbindingslijn 212">
                <a:extLst>
                  <a:ext uri="{FF2B5EF4-FFF2-40B4-BE49-F238E27FC236}">
                    <a16:creationId xmlns:a16="http://schemas.microsoft.com/office/drawing/2014/main" xmlns="" id="{95476D6D-F0DE-453F-AED8-3261C1C3238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91687" y="4564831"/>
                <a:ext cx="0" cy="1414800"/>
              </a:xfrm>
              <a:prstGeom prst="line">
                <a:avLst/>
              </a:prstGeom>
              <a:ln w="19050">
                <a:solidFill>
                  <a:schemeClr val="bg1">
                    <a:lumMod val="6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6" name="Groep 145">
              <a:extLst>
                <a:ext uri="{FF2B5EF4-FFF2-40B4-BE49-F238E27FC236}">
                  <a16:creationId xmlns:a16="http://schemas.microsoft.com/office/drawing/2014/main" xmlns="" id="{0579D76A-2EEB-43F0-89F0-0381E70DF266}"/>
                </a:ext>
              </a:extLst>
            </p:cNvPr>
            <p:cNvGrpSpPr/>
            <p:nvPr/>
          </p:nvGrpSpPr>
          <p:grpSpPr>
            <a:xfrm>
              <a:off x="6267000" y="2665487"/>
              <a:ext cx="2520000" cy="1146002"/>
              <a:chOff x="543004" y="3037063"/>
              <a:chExt cx="2520000" cy="1333325"/>
            </a:xfrm>
          </p:grpSpPr>
          <p:grpSp>
            <p:nvGrpSpPr>
              <p:cNvPr id="147" name="Groep 146">
                <a:extLst>
                  <a:ext uri="{FF2B5EF4-FFF2-40B4-BE49-F238E27FC236}">
                    <a16:creationId xmlns:a16="http://schemas.microsoft.com/office/drawing/2014/main" xmlns="" id="{EAA85662-6567-4263-A818-686E6864D34D}"/>
                  </a:ext>
                </a:extLst>
              </p:cNvPr>
              <p:cNvGrpSpPr/>
              <p:nvPr/>
            </p:nvGrpSpPr>
            <p:grpSpPr>
              <a:xfrm>
                <a:off x="543004" y="3037063"/>
                <a:ext cx="2520000" cy="1333325"/>
                <a:chOff x="543004" y="2852057"/>
                <a:chExt cx="2160000" cy="1333325"/>
              </a:xfrm>
            </p:grpSpPr>
            <p:sp>
              <p:nvSpPr>
                <p:cNvPr id="150" name="Rechthoek: afgeronde bovenhoeken 149">
                  <a:extLst>
                    <a:ext uri="{FF2B5EF4-FFF2-40B4-BE49-F238E27FC236}">
                      <a16:creationId xmlns:a16="http://schemas.microsoft.com/office/drawing/2014/main" xmlns="" id="{85ED74F2-00E0-4615-AE29-DC17EDC98A00}"/>
                    </a:ext>
                  </a:extLst>
                </p:cNvPr>
                <p:cNvSpPr/>
                <p:nvPr/>
              </p:nvSpPr>
              <p:spPr>
                <a:xfrm>
                  <a:off x="543004" y="3243994"/>
                  <a:ext cx="2160000" cy="941388"/>
                </a:xfrm>
                <a:prstGeom prst="round2SameRect">
                  <a:avLst>
                    <a:gd name="adj1" fmla="val 0"/>
                    <a:gd name="adj2" fmla="val 8187"/>
                  </a:avLst>
                </a:prstGeom>
                <a:solidFill>
                  <a:schemeClr val="bg1"/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72000" rIns="144000" bIns="144000" rtlCol="0" anchor="ctr"/>
                <a:lstStyle/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A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B</a:t>
                  </a:r>
                </a:p>
              </p:txBody>
            </p:sp>
            <p:sp>
              <p:nvSpPr>
                <p:cNvPr id="151" name="Rechthoek: afgeronde bovenhoeken 150">
                  <a:extLst>
                    <a:ext uri="{FF2B5EF4-FFF2-40B4-BE49-F238E27FC236}">
                      <a16:creationId xmlns:a16="http://schemas.microsoft.com/office/drawing/2014/main" xmlns="" id="{CFB25D1C-0E5C-4271-BD4C-F366A19D4A95}"/>
                    </a:ext>
                  </a:extLst>
                </p:cNvPr>
                <p:cNvSpPr/>
                <p:nvPr/>
              </p:nvSpPr>
              <p:spPr>
                <a:xfrm>
                  <a:off x="543004" y="2852057"/>
                  <a:ext cx="2160000" cy="391938"/>
                </a:xfrm>
                <a:prstGeom prst="round2SameRect">
                  <a:avLst>
                    <a:gd name="adj1" fmla="val 23690"/>
                    <a:gd name="adj2" fmla="val 0"/>
                  </a:avLst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108000" rtlCol="0" anchor="ctr"/>
                <a:lstStyle/>
                <a:p>
                  <a:pPr algn="ctr"/>
                  <a:r>
                    <a:rPr lang="nl-NL" sz="1100" dirty="0" err="1"/>
                    <a:t>Spend</a:t>
                  </a:r>
                  <a:r>
                    <a:rPr lang="nl-NL" sz="1100" dirty="0"/>
                    <a:t> per order (€)</a:t>
                  </a:r>
                </a:p>
              </p:txBody>
            </p:sp>
          </p:grpSp>
          <p:sp>
            <p:nvSpPr>
              <p:cNvPr id="148" name="Rechthoek 147">
                <a:extLst>
                  <a:ext uri="{FF2B5EF4-FFF2-40B4-BE49-F238E27FC236}">
                    <a16:creationId xmlns:a16="http://schemas.microsoft.com/office/drawing/2014/main" xmlns="" id="{065F7C24-5736-424F-9ACE-689BB779DDB3}"/>
                  </a:ext>
                </a:extLst>
              </p:cNvPr>
              <p:cNvSpPr/>
              <p:nvPr/>
            </p:nvSpPr>
            <p:spPr>
              <a:xfrm>
                <a:off x="968829" y="3557083"/>
                <a:ext cx="1915489" cy="288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€1.33</a:t>
                </a:r>
              </a:p>
            </p:txBody>
          </p:sp>
          <p:sp>
            <p:nvSpPr>
              <p:cNvPr id="149" name="Rechthoek 148">
                <a:extLst>
                  <a:ext uri="{FF2B5EF4-FFF2-40B4-BE49-F238E27FC236}">
                    <a16:creationId xmlns:a16="http://schemas.microsoft.com/office/drawing/2014/main" xmlns="" id="{196FA177-D5BC-44D9-8891-7931922D82F2}"/>
                  </a:ext>
                </a:extLst>
              </p:cNvPr>
              <p:cNvSpPr/>
              <p:nvPr/>
            </p:nvSpPr>
            <p:spPr>
              <a:xfrm>
                <a:off x="968829" y="3962641"/>
                <a:ext cx="1915489" cy="28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€2.22</a:t>
                </a:r>
              </a:p>
            </p:txBody>
          </p:sp>
        </p:grpSp>
        <p:grpSp>
          <p:nvGrpSpPr>
            <p:cNvPr id="152" name="Groep 151">
              <a:extLst>
                <a:ext uri="{FF2B5EF4-FFF2-40B4-BE49-F238E27FC236}">
                  <a16:creationId xmlns:a16="http://schemas.microsoft.com/office/drawing/2014/main" xmlns="" id="{339D83B6-FAF7-438B-8B4D-8B3880E604D7}"/>
                </a:ext>
              </a:extLst>
            </p:cNvPr>
            <p:cNvGrpSpPr/>
            <p:nvPr/>
          </p:nvGrpSpPr>
          <p:grpSpPr>
            <a:xfrm>
              <a:off x="6267000" y="1436915"/>
              <a:ext cx="2520000" cy="1146001"/>
              <a:chOff x="543004" y="3037063"/>
              <a:chExt cx="2520000" cy="1333324"/>
            </a:xfrm>
          </p:grpSpPr>
          <p:grpSp>
            <p:nvGrpSpPr>
              <p:cNvPr id="153" name="Groep 152">
                <a:extLst>
                  <a:ext uri="{FF2B5EF4-FFF2-40B4-BE49-F238E27FC236}">
                    <a16:creationId xmlns:a16="http://schemas.microsoft.com/office/drawing/2014/main" xmlns="" id="{6F3484B6-F4B6-487D-A7E6-8814B56D81ED}"/>
                  </a:ext>
                </a:extLst>
              </p:cNvPr>
              <p:cNvGrpSpPr/>
              <p:nvPr/>
            </p:nvGrpSpPr>
            <p:grpSpPr>
              <a:xfrm>
                <a:off x="543004" y="3037063"/>
                <a:ext cx="2520000" cy="1333324"/>
                <a:chOff x="543004" y="2852057"/>
                <a:chExt cx="2160000" cy="1333324"/>
              </a:xfrm>
            </p:grpSpPr>
            <p:sp>
              <p:nvSpPr>
                <p:cNvPr id="156" name="Rechthoek: afgeronde bovenhoeken 155">
                  <a:extLst>
                    <a:ext uri="{FF2B5EF4-FFF2-40B4-BE49-F238E27FC236}">
                      <a16:creationId xmlns:a16="http://schemas.microsoft.com/office/drawing/2014/main" xmlns="" id="{B2152524-545D-4D6E-AFFD-26C2A07B8CB9}"/>
                    </a:ext>
                  </a:extLst>
                </p:cNvPr>
                <p:cNvSpPr/>
                <p:nvPr/>
              </p:nvSpPr>
              <p:spPr>
                <a:xfrm>
                  <a:off x="543004" y="3243994"/>
                  <a:ext cx="2160000" cy="941387"/>
                </a:xfrm>
                <a:prstGeom prst="round2SameRect">
                  <a:avLst>
                    <a:gd name="adj1" fmla="val 0"/>
                    <a:gd name="adj2" fmla="val 8187"/>
                  </a:avLst>
                </a:prstGeom>
                <a:solidFill>
                  <a:schemeClr val="bg1"/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72000" rIns="144000" bIns="144000" rtlCol="0" anchor="ctr"/>
                <a:lstStyle/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A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B</a:t>
                  </a:r>
                </a:p>
              </p:txBody>
            </p:sp>
            <p:sp>
              <p:nvSpPr>
                <p:cNvPr id="157" name="Rechthoek: afgeronde bovenhoeken 156">
                  <a:extLst>
                    <a:ext uri="{FF2B5EF4-FFF2-40B4-BE49-F238E27FC236}">
                      <a16:creationId xmlns:a16="http://schemas.microsoft.com/office/drawing/2014/main" xmlns="" id="{28FCFADC-E1E9-4747-9E4E-05E90D291E4F}"/>
                    </a:ext>
                  </a:extLst>
                </p:cNvPr>
                <p:cNvSpPr/>
                <p:nvPr/>
              </p:nvSpPr>
              <p:spPr>
                <a:xfrm>
                  <a:off x="543004" y="2852057"/>
                  <a:ext cx="2160000" cy="391938"/>
                </a:xfrm>
                <a:prstGeom prst="round2SameRect">
                  <a:avLst>
                    <a:gd name="adj1" fmla="val 23690"/>
                    <a:gd name="adj2" fmla="val 0"/>
                  </a:avLst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108000" rtlCol="0" anchor="ctr"/>
                <a:lstStyle/>
                <a:p>
                  <a:pPr algn="ctr"/>
                  <a:r>
                    <a:rPr lang="nl-NL" sz="1100" dirty="0"/>
                    <a:t>Orders per </a:t>
                  </a:r>
                  <a:r>
                    <a:rPr lang="nl-NL" sz="1100" dirty="0" err="1"/>
                    <a:t>buying</a:t>
                  </a:r>
                  <a:r>
                    <a:rPr lang="nl-NL" sz="1100" dirty="0"/>
                    <a:t> customer </a:t>
                  </a:r>
                  <a:br>
                    <a:rPr lang="nl-NL" sz="1100" dirty="0"/>
                  </a:br>
                  <a:r>
                    <a:rPr lang="nl-NL" sz="1100" dirty="0"/>
                    <a:t>per </a:t>
                  </a:r>
                  <a:r>
                    <a:rPr lang="nl-NL" sz="1100" dirty="0" err="1"/>
                    <a:t>period</a:t>
                  </a:r>
                  <a:r>
                    <a:rPr lang="nl-NL" sz="1100" dirty="0"/>
                    <a:t> (#)</a:t>
                  </a:r>
                </a:p>
              </p:txBody>
            </p:sp>
          </p:grpSp>
          <p:sp>
            <p:nvSpPr>
              <p:cNvPr id="154" name="Rechthoek 153">
                <a:extLst>
                  <a:ext uri="{FF2B5EF4-FFF2-40B4-BE49-F238E27FC236}">
                    <a16:creationId xmlns:a16="http://schemas.microsoft.com/office/drawing/2014/main" xmlns="" id="{82691A90-DECE-4F17-BA95-DCAB60D2DDEA}"/>
                  </a:ext>
                </a:extLst>
              </p:cNvPr>
              <p:cNvSpPr/>
              <p:nvPr/>
            </p:nvSpPr>
            <p:spPr>
              <a:xfrm>
                <a:off x="968829" y="3557083"/>
                <a:ext cx="1915489" cy="288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1.03</a:t>
                </a:r>
              </a:p>
            </p:txBody>
          </p:sp>
          <p:sp>
            <p:nvSpPr>
              <p:cNvPr id="155" name="Rechthoek 154">
                <a:extLst>
                  <a:ext uri="{FF2B5EF4-FFF2-40B4-BE49-F238E27FC236}">
                    <a16:creationId xmlns:a16="http://schemas.microsoft.com/office/drawing/2014/main" xmlns="" id="{BC397B30-58FC-40DF-965A-B493F895D70F}"/>
                  </a:ext>
                </a:extLst>
              </p:cNvPr>
              <p:cNvSpPr/>
              <p:nvPr/>
            </p:nvSpPr>
            <p:spPr>
              <a:xfrm>
                <a:off x="968829" y="3962641"/>
                <a:ext cx="1915489" cy="288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1.02</a:t>
                </a:r>
              </a:p>
            </p:txBody>
          </p:sp>
        </p:grpSp>
        <p:grpSp>
          <p:nvGrpSpPr>
            <p:cNvPr id="158" name="Groep 157">
              <a:extLst>
                <a:ext uri="{FF2B5EF4-FFF2-40B4-BE49-F238E27FC236}">
                  <a16:creationId xmlns:a16="http://schemas.microsoft.com/office/drawing/2014/main" xmlns="" id="{7DF84AEF-F605-49AF-ADEA-2D4808A1D2FB}"/>
                </a:ext>
              </a:extLst>
            </p:cNvPr>
            <p:cNvGrpSpPr/>
            <p:nvPr/>
          </p:nvGrpSpPr>
          <p:grpSpPr>
            <a:xfrm>
              <a:off x="6267000" y="3894058"/>
              <a:ext cx="2520000" cy="1146002"/>
              <a:chOff x="543004" y="3037063"/>
              <a:chExt cx="2520000" cy="1333325"/>
            </a:xfrm>
          </p:grpSpPr>
          <p:grpSp>
            <p:nvGrpSpPr>
              <p:cNvPr id="159" name="Groep 158">
                <a:extLst>
                  <a:ext uri="{FF2B5EF4-FFF2-40B4-BE49-F238E27FC236}">
                    <a16:creationId xmlns:a16="http://schemas.microsoft.com/office/drawing/2014/main" xmlns="" id="{4BF41DBE-D54B-4F5D-A606-320F15919324}"/>
                  </a:ext>
                </a:extLst>
              </p:cNvPr>
              <p:cNvGrpSpPr/>
              <p:nvPr/>
            </p:nvGrpSpPr>
            <p:grpSpPr>
              <a:xfrm>
                <a:off x="543004" y="3037063"/>
                <a:ext cx="2520000" cy="1333325"/>
                <a:chOff x="543004" y="2852057"/>
                <a:chExt cx="2160000" cy="1333325"/>
              </a:xfrm>
            </p:grpSpPr>
            <p:sp>
              <p:nvSpPr>
                <p:cNvPr id="162" name="Rechthoek: afgeronde bovenhoeken 161">
                  <a:extLst>
                    <a:ext uri="{FF2B5EF4-FFF2-40B4-BE49-F238E27FC236}">
                      <a16:creationId xmlns:a16="http://schemas.microsoft.com/office/drawing/2014/main" xmlns="" id="{6857FE63-43D5-448C-A916-0B7E1D5F29E6}"/>
                    </a:ext>
                  </a:extLst>
                </p:cNvPr>
                <p:cNvSpPr/>
                <p:nvPr/>
              </p:nvSpPr>
              <p:spPr>
                <a:xfrm>
                  <a:off x="543004" y="3243994"/>
                  <a:ext cx="2160000" cy="941388"/>
                </a:xfrm>
                <a:prstGeom prst="round2SameRect">
                  <a:avLst>
                    <a:gd name="adj1" fmla="val 0"/>
                    <a:gd name="adj2" fmla="val 8187"/>
                  </a:avLst>
                </a:prstGeom>
                <a:solidFill>
                  <a:schemeClr val="bg1"/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72000" rIns="144000" bIns="144000" rtlCol="0" anchor="ctr"/>
                <a:lstStyle/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A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B</a:t>
                  </a:r>
                </a:p>
              </p:txBody>
            </p:sp>
            <p:sp>
              <p:nvSpPr>
                <p:cNvPr id="163" name="Rechthoek: afgeronde bovenhoeken 162">
                  <a:extLst>
                    <a:ext uri="{FF2B5EF4-FFF2-40B4-BE49-F238E27FC236}">
                      <a16:creationId xmlns:a16="http://schemas.microsoft.com/office/drawing/2014/main" xmlns="" id="{5C23B92A-7F72-4548-986B-8BC5EBC67517}"/>
                    </a:ext>
                  </a:extLst>
                </p:cNvPr>
                <p:cNvSpPr/>
                <p:nvPr/>
              </p:nvSpPr>
              <p:spPr>
                <a:xfrm>
                  <a:off x="543004" y="2852057"/>
                  <a:ext cx="2160000" cy="391938"/>
                </a:xfrm>
                <a:prstGeom prst="round2SameRect">
                  <a:avLst>
                    <a:gd name="adj1" fmla="val 23690"/>
                    <a:gd name="adj2" fmla="val 0"/>
                  </a:avLst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108000" rtlCol="0" anchor="ctr"/>
                <a:lstStyle/>
                <a:p>
                  <a:pPr algn="ctr"/>
                  <a:r>
                    <a:rPr lang="nl-NL" sz="1100" dirty="0"/>
                    <a:t>Conversion </a:t>
                  </a:r>
                  <a:r>
                    <a:rPr lang="nl-NL" sz="1100" dirty="0" err="1"/>
                    <a:t>rate</a:t>
                  </a:r>
                  <a:r>
                    <a:rPr lang="nl-NL" sz="1100" dirty="0"/>
                    <a:t> (%)</a:t>
                  </a:r>
                </a:p>
              </p:txBody>
            </p:sp>
          </p:grpSp>
          <p:sp>
            <p:nvSpPr>
              <p:cNvPr id="160" name="Rechthoek 159">
                <a:extLst>
                  <a:ext uri="{FF2B5EF4-FFF2-40B4-BE49-F238E27FC236}">
                    <a16:creationId xmlns:a16="http://schemas.microsoft.com/office/drawing/2014/main" xmlns="" id="{298B2433-28C6-4446-8850-122E853D8185}"/>
                  </a:ext>
                </a:extLst>
              </p:cNvPr>
              <p:cNvSpPr/>
              <p:nvPr/>
            </p:nvSpPr>
            <p:spPr>
              <a:xfrm>
                <a:off x="968829" y="3557083"/>
                <a:ext cx="1915489" cy="288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22.11%</a:t>
                </a:r>
              </a:p>
            </p:txBody>
          </p:sp>
          <p:sp>
            <p:nvSpPr>
              <p:cNvPr id="161" name="Rechthoek 160">
                <a:extLst>
                  <a:ext uri="{FF2B5EF4-FFF2-40B4-BE49-F238E27FC236}">
                    <a16:creationId xmlns:a16="http://schemas.microsoft.com/office/drawing/2014/main" xmlns="" id="{A7CA23BF-CAA6-4FF4-A226-37D6282D433D}"/>
                  </a:ext>
                </a:extLst>
              </p:cNvPr>
              <p:cNvSpPr/>
              <p:nvPr/>
            </p:nvSpPr>
            <p:spPr>
              <a:xfrm>
                <a:off x="968829" y="3962641"/>
                <a:ext cx="1915489" cy="28800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12.38%</a:t>
                </a:r>
              </a:p>
            </p:txBody>
          </p:sp>
        </p:grpSp>
        <p:grpSp>
          <p:nvGrpSpPr>
            <p:cNvPr id="164" name="Groep 163">
              <a:extLst>
                <a:ext uri="{FF2B5EF4-FFF2-40B4-BE49-F238E27FC236}">
                  <a16:creationId xmlns:a16="http://schemas.microsoft.com/office/drawing/2014/main" xmlns="" id="{3D3C825B-E984-4352-B2C0-740C47B4C8DA}"/>
                </a:ext>
              </a:extLst>
            </p:cNvPr>
            <p:cNvGrpSpPr/>
            <p:nvPr/>
          </p:nvGrpSpPr>
          <p:grpSpPr>
            <a:xfrm>
              <a:off x="6267000" y="5122630"/>
              <a:ext cx="2520000" cy="1146001"/>
              <a:chOff x="543004" y="3037063"/>
              <a:chExt cx="2520000" cy="1333324"/>
            </a:xfrm>
          </p:grpSpPr>
          <p:grpSp>
            <p:nvGrpSpPr>
              <p:cNvPr id="165" name="Groep 164">
                <a:extLst>
                  <a:ext uri="{FF2B5EF4-FFF2-40B4-BE49-F238E27FC236}">
                    <a16:creationId xmlns:a16="http://schemas.microsoft.com/office/drawing/2014/main" xmlns="" id="{E2A39093-CAAF-42A2-BB64-A87BA8265076}"/>
                  </a:ext>
                </a:extLst>
              </p:cNvPr>
              <p:cNvGrpSpPr/>
              <p:nvPr/>
            </p:nvGrpSpPr>
            <p:grpSpPr>
              <a:xfrm>
                <a:off x="543004" y="3037063"/>
                <a:ext cx="2520000" cy="1333324"/>
                <a:chOff x="543004" y="2852057"/>
                <a:chExt cx="2160000" cy="1333324"/>
              </a:xfrm>
            </p:grpSpPr>
            <p:sp>
              <p:nvSpPr>
                <p:cNvPr id="168" name="Rechthoek: afgeronde bovenhoeken 167">
                  <a:extLst>
                    <a:ext uri="{FF2B5EF4-FFF2-40B4-BE49-F238E27FC236}">
                      <a16:creationId xmlns:a16="http://schemas.microsoft.com/office/drawing/2014/main" xmlns="" id="{453C3C91-2F3B-4642-8C1D-9A3F01496612}"/>
                    </a:ext>
                  </a:extLst>
                </p:cNvPr>
                <p:cNvSpPr/>
                <p:nvPr/>
              </p:nvSpPr>
              <p:spPr>
                <a:xfrm>
                  <a:off x="543004" y="3243994"/>
                  <a:ext cx="2160000" cy="941387"/>
                </a:xfrm>
                <a:prstGeom prst="round2SameRect">
                  <a:avLst>
                    <a:gd name="adj1" fmla="val 0"/>
                    <a:gd name="adj2" fmla="val 8187"/>
                  </a:avLst>
                </a:prstGeom>
                <a:solidFill>
                  <a:schemeClr val="bg1"/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44000" tIns="72000" rIns="144000" bIns="144000" rtlCol="0" anchor="ctr"/>
                <a:lstStyle/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A</a:t>
                  </a:r>
                </a:p>
                <a:p>
                  <a:pPr>
                    <a:lnSpc>
                      <a:spcPct val="150000"/>
                    </a:lnSpc>
                  </a:pPr>
                  <a:r>
                    <a:rPr lang="nl-NL" sz="16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</a:rPr>
                    <a:t>B</a:t>
                  </a:r>
                </a:p>
              </p:txBody>
            </p:sp>
            <p:sp>
              <p:nvSpPr>
                <p:cNvPr id="169" name="Rechthoek: afgeronde bovenhoeken 168">
                  <a:extLst>
                    <a:ext uri="{FF2B5EF4-FFF2-40B4-BE49-F238E27FC236}">
                      <a16:creationId xmlns:a16="http://schemas.microsoft.com/office/drawing/2014/main" xmlns="" id="{B154544C-C756-49AD-AEB3-49BA3E0881E0}"/>
                    </a:ext>
                  </a:extLst>
                </p:cNvPr>
                <p:cNvSpPr/>
                <p:nvPr/>
              </p:nvSpPr>
              <p:spPr>
                <a:xfrm>
                  <a:off x="543004" y="2852057"/>
                  <a:ext cx="2160000" cy="391938"/>
                </a:xfrm>
                <a:prstGeom prst="round2SameRect">
                  <a:avLst>
                    <a:gd name="adj1" fmla="val 23690"/>
                    <a:gd name="adj2" fmla="val 0"/>
                  </a:avLst>
                </a:pr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108000" rtlCol="0" anchor="ctr"/>
                <a:lstStyle/>
                <a:p>
                  <a:pPr algn="ctr"/>
                  <a:r>
                    <a:rPr lang="nl-NL" sz="1100" dirty="0"/>
                    <a:t>View </a:t>
                  </a:r>
                  <a:r>
                    <a:rPr lang="nl-NL" sz="1100" dirty="0" err="1"/>
                    <a:t>rate</a:t>
                  </a:r>
                  <a:r>
                    <a:rPr lang="nl-NL" sz="1100" dirty="0"/>
                    <a:t> (%)</a:t>
                  </a:r>
                </a:p>
              </p:txBody>
            </p:sp>
          </p:grpSp>
          <p:sp>
            <p:nvSpPr>
              <p:cNvPr id="166" name="Rechthoek 165">
                <a:extLst>
                  <a:ext uri="{FF2B5EF4-FFF2-40B4-BE49-F238E27FC236}">
                    <a16:creationId xmlns:a16="http://schemas.microsoft.com/office/drawing/2014/main" xmlns="" id="{40AA62C1-627A-4437-83FB-0EDFA50C412A}"/>
                  </a:ext>
                </a:extLst>
              </p:cNvPr>
              <p:cNvSpPr/>
              <p:nvPr/>
            </p:nvSpPr>
            <p:spPr>
              <a:xfrm>
                <a:off x="968829" y="3557083"/>
                <a:ext cx="1915489" cy="288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61.90%</a:t>
                </a:r>
              </a:p>
            </p:txBody>
          </p:sp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xmlns="" id="{DB7079E4-88AC-4C91-AFBC-40D83F64544A}"/>
                  </a:ext>
                </a:extLst>
              </p:cNvPr>
              <p:cNvSpPr/>
              <p:nvPr/>
            </p:nvSpPr>
            <p:spPr>
              <a:xfrm>
                <a:off x="968829" y="3962641"/>
                <a:ext cx="1915489" cy="288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44000" tIns="144000" rIns="144000" bIns="144000" rtlCol="0" anchor="ctr"/>
              <a:lstStyle/>
              <a:p>
                <a:r>
                  <a:rPr lang="nl-NL" sz="16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62.97%</a:t>
                </a:r>
              </a:p>
            </p:txBody>
          </p:sp>
        </p:grpSp>
        <p:sp>
          <p:nvSpPr>
            <p:cNvPr id="196" name="Rechthoek: afgeronde hoeken 195">
              <a:extLst>
                <a:ext uri="{FF2B5EF4-FFF2-40B4-BE49-F238E27FC236}">
                  <a16:creationId xmlns:a16="http://schemas.microsoft.com/office/drawing/2014/main" xmlns="" id="{0658133A-1F01-45D3-A4C3-94820A03590C}"/>
                </a:ext>
              </a:extLst>
            </p:cNvPr>
            <p:cNvSpPr/>
            <p:nvPr/>
          </p:nvSpPr>
          <p:spPr>
            <a:xfrm>
              <a:off x="6196240" y="3846164"/>
              <a:ext cx="2664000" cy="1247035"/>
            </a:xfrm>
            <a:prstGeom prst="roundRect">
              <a:avLst>
                <a:gd name="adj" fmla="val 7476"/>
              </a:avLst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/>
              <a:endParaRPr lang="nl-NL" sz="1600" dirty="0"/>
            </a:p>
          </p:txBody>
        </p:sp>
      </p:grpSp>
      <p:sp>
        <p:nvSpPr>
          <p:cNvPr id="224" name="Rechthoek 223">
            <a:extLst>
              <a:ext uri="{FF2B5EF4-FFF2-40B4-BE49-F238E27FC236}">
                <a16:creationId xmlns:a16="http://schemas.microsoft.com/office/drawing/2014/main" xmlns="" id="{8B47E6BC-0A7A-49B9-9F0C-F5310B84FF57}"/>
              </a:ext>
            </a:extLst>
          </p:cNvPr>
          <p:cNvSpPr/>
          <p:nvPr/>
        </p:nvSpPr>
        <p:spPr>
          <a:xfrm>
            <a:off x="543005" y="1414838"/>
            <a:ext cx="5372277" cy="938719"/>
          </a:xfrm>
          <a:prstGeom prst="rect">
            <a:avLst/>
          </a:prstGeom>
        </p:spPr>
        <p:txBody>
          <a:bodyPr wrap="square" lIns="0" tIns="0">
            <a:spAutoFit/>
          </a:bodyPr>
          <a:lstStyle/>
          <a:p>
            <a:r>
              <a:rPr lang="en-US" sz="1600" b="1" dirty="0">
                <a:solidFill>
                  <a:schemeClr val="accent2"/>
                </a:solidFill>
              </a:rPr>
              <a:t>A/B testing is a great way to measure promo effectiveness: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Formulate overall theme per number of weeks to take differences </a:t>
            </a:r>
            <a:br>
              <a:rPr lang="en-US" sz="1400" dirty="0"/>
            </a:br>
            <a:r>
              <a:rPr lang="en-US" sz="1400" dirty="0"/>
              <a:t>between brands in to account (for example single buy versus multi )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Determine funnel KPI’s such as in image below</a:t>
            </a:r>
          </a:p>
        </p:txBody>
      </p:sp>
      <p:sp>
        <p:nvSpPr>
          <p:cNvPr id="225" name="Text Placeholder 2">
            <a:extLst>
              <a:ext uri="{FF2B5EF4-FFF2-40B4-BE49-F238E27FC236}">
                <a16:creationId xmlns:a16="http://schemas.microsoft.com/office/drawing/2014/main" xmlns="" id="{EDF35138-AF42-433E-BE40-AD6AB9972B33}"/>
              </a:ext>
            </a:extLst>
          </p:cNvPr>
          <p:cNvSpPr txBox="1">
            <a:spLocks/>
          </p:cNvSpPr>
          <p:nvPr/>
        </p:nvSpPr>
        <p:spPr>
          <a:xfrm>
            <a:off x="543005" y="5190127"/>
            <a:ext cx="5378558" cy="813366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●"/>
              <a:defRPr sz="2000" kern="1200">
                <a:solidFill>
                  <a:schemeClr val="tx2"/>
                </a:solidFill>
                <a:latin typeface="Verdana" pitchFamily="34" charset="0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SzPct val="90000"/>
              <a:buFont typeface="Verdana" pitchFamily="34" charset="0"/>
              <a:buChar char="●"/>
              <a:defRPr sz="2000" kern="1200">
                <a:solidFill>
                  <a:schemeClr val="tx2"/>
                </a:solidFill>
                <a:latin typeface="Verdana" pitchFamily="34" charset="0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spcBef>
                <a:spcPts val="300"/>
              </a:spcBef>
              <a:buClr>
                <a:schemeClr val="accent1"/>
              </a:buClr>
              <a:buSzPct val="90000"/>
              <a:buFont typeface="Verdana" pitchFamily="34" charset="0"/>
              <a:buChar char="●"/>
              <a:defRPr sz="2000" kern="1200">
                <a:solidFill>
                  <a:schemeClr val="tx2"/>
                </a:solidFill>
                <a:latin typeface="Verdana" pitchFamily="34" charset="0"/>
                <a:ea typeface="+mn-ea"/>
                <a:cs typeface="+mn-cs"/>
              </a:defRPr>
            </a:lvl3pPr>
            <a:lvl4pPr marL="985838" indent="-265113" algn="l" defTabSz="914400" rtl="0" eaLnBrk="1" latinLnBrk="0" hangingPunct="1">
              <a:spcBef>
                <a:spcPts val="300"/>
              </a:spcBef>
              <a:buClr>
                <a:schemeClr val="tx1"/>
              </a:buClr>
              <a:buSzPct val="90000"/>
              <a:buFont typeface="Verdana" pitchFamily="34" charset="0"/>
              <a:buChar char="●"/>
              <a:defRPr sz="1600" kern="1200">
                <a:solidFill>
                  <a:schemeClr val="tx2"/>
                </a:solidFill>
                <a:latin typeface="Verdana" pitchFamily="34" charset="0"/>
                <a:ea typeface="+mn-ea"/>
                <a:cs typeface="+mn-cs"/>
              </a:defRPr>
            </a:lvl4pPr>
            <a:lvl5pPr marL="1341438" indent="-265113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Verdana" pitchFamily="34" charset="0"/>
              <a:buChar char="›"/>
              <a:defRPr sz="1600" kern="1200">
                <a:solidFill>
                  <a:schemeClr val="tx2"/>
                </a:solidFill>
                <a:latin typeface="Verdan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Example product X: 25% SPO (A) vs 2</a:t>
            </a:r>
            <a:r>
              <a:rPr lang="en-US" sz="1600" b="1" baseline="30000" dirty="0">
                <a:solidFill>
                  <a:schemeClr val="accent2"/>
                </a:solidFill>
                <a:latin typeface="+mj-lt"/>
              </a:rPr>
              <a:t>nd</a:t>
            </a:r>
            <a:r>
              <a:rPr lang="en-US" sz="1600" b="1" dirty="0">
                <a:solidFill>
                  <a:schemeClr val="accent2"/>
                </a:solidFill>
                <a:latin typeface="+mj-lt"/>
              </a:rPr>
              <a:t> half off (B)</a:t>
            </a:r>
          </a:p>
          <a:p>
            <a:pPr marL="0" indent="0">
              <a:buNone/>
            </a:pPr>
            <a:r>
              <a:rPr lang="en-US" sz="1400" dirty="0">
                <a:latin typeface="+mj-lt"/>
              </a:rPr>
              <a:t>Conclusion: Significantly less consumers buy product when promotion is a multi-buy written as a percentage discount. </a:t>
            </a:r>
          </a:p>
          <a:p>
            <a:pPr marL="0" indent="0">
              <a:buNone/>
            </a:pPr>
            <a:endParaRPr lang="en-US" sz="1500" dirty="0"/>
          </a:p>
          <a:p>
            <a:pPr marL="0" indent="0">
              <a:buNone/>
            </a:pPr>
            <a:endParaRPr lang="nl-NL" sz="1500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E6C5399D-0C8E-4615-B6A7-A35EFD22C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</p:spTree>
    <p:extLst>
      <p:ext uri="{BB962C8B-B14F-4D97-AF65-F5344CB8AC3E}">
        <p14:creationId xmlns:p14="http://schemas.microsoft.com/office/powerpoint/2010/main" val="2115429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4" grpId="0"/>
      <p:bldP spid="225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jdelijke aanduiding voor afbeelding 20">
            <a:extLst>
              <a:ext uri="{FF2B5EF4-FFF2-40B4-BE49-F238E27FC236}">
                <a16:creationId xmlns:a16="http://schemas.microsoft.com/office/drawing/2014/main" xmlns="" id="{36A0E1FE-EBE2-4772-8454-CDAADB1231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80908" y="1301503"/>
            <a:ext cx="7830184" cy="4476998"/>
          </a:xfrm>
          <a:prstGeom prst="roundRect">
            <a:avLst>
              <a:gd name="adj" fmla="val 1577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xmlns="" id="{59F337C5-7842-4D54-B2E3-BBCC9056A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xmlns="" id="{45C86BFF-2257-4201-8972-7DCA2EAB6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From hero to zero; role of promotions in total package of assets with NPDs</a:t>
            </a:r>
            <a:endParaRPr lang="nl-NL" dirty="0"/>
          </a:p>
        </p:txBody>
      </p:sp>
      <p:pic>
        <p:nvPicPr>
          <p:cNvPr id="22" name="Picture 43">
            <a:extLst>
              <a:ext uri="{FF2B5EF4-FFF2-40B4-BE49-F238E27FC236}">
                <a16:creationId xmlns:a16="http://schemas.microsoft.com/office/drawing/2014/main" xmlns="" id="{B4B05A7E-F31D-45DF-949F-D77B65ED087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1973" y="2051307"/>
            <a:ext cx="5572627" cy="2749293"/>
          </a:xfrm>
          <a:prstGeom prst="rect">
            <a:avLst/>
          </a:prstGeom>
        </p:spPr>
      </p:pic>
      <p:sp>
        <p:nvSpPr>
          <p:cNvPr id="23" name="Rechthoek 22">
            <a:extLst>
              <a:ext uri="{FF2B5EF4-FFF2-40B4-BE49-F238E27FC236}">
                <a16:creationId xmlns:a16="http://schemas.microsoft.com/office/drawing/2014/main" xmlns="" id="{543864DA-A0D0-451F-A587-7999002694C2}"/>
              </a:ext>
            </a:extLst>
          </p:cNvPr>
          <p:cNvSpPr/>
          <p:nvPr/>
        </p:nvSpPr>
        <p:spPr>
          <a:xfrm>
            <a:off x="3280848" y="1879478"/>
            <a:ext cx="5601623" cy="1737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r>
              <a:rPr lang="nl-NL" sz="900" b="1" dirty="0" err="1"/>
              <a:t>Commercialized</a:t>
            </a:r>
            <a:r>
              <a:rPr lang="nl-NL" sz="900" b="1" dirty="0"/>
              <a:t> Digital Assets</a:t>
            </a:r>
          </a:p>
        </p:txBody>
      </p:sp>
    </p:spTree>
    <p:extLst>
      <p:ext uri="{BB962C8B-B14F-4D97-AF65-F5344CB8AC3E}">
        <p14:creationId xmlns:p14="http://schemas.microsoft.com/office/powerpoint/2010/main" val="1384439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xmlns="" id="{6A11F18D-7E34-4E46-AB83-00EFC14484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31373" y="-232229"/>
            <a:ext cx="13601716" cy="7322458"/>
          </a:xfrm>
          <a:prstGeom prst="rect">
            <a:avLst/>
          </a:prstGeom>
        </p:spPr>
      </p:pic>
      <p:pic>
        <p:nvPicPr>
          <p:cNvPr id="8" name="BOER">
            <a:extLst>
              <a:ext uri="{FF2B5EF4-FFF2-40B4-BE49-F238E27FC236}">
                <a16:creationId xmlns:a16="http://schemas.microsoft.com/office/drawing/2014/main" xmlns="" id="{7B265E71-73A1-4A32-AD14-85B70ADC0F0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069" r="-3715"/>
          <a:stretch/>
        </p:blipFill>
        <p:spPr>
          <a:xfrm flipH="1">
            <a:off x="1591327" y="0"/>
            <a:ext cx="10287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845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44000" decel="39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0 L -0.03256 0 " pathEditMode="relative" rAng="0" ptsTypes="AA">
                                      <p:cBhvr>
                                        <p:cTn id="6" dur="6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28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accel="44000" decel="39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6000" fill="hold"/>
                                        <p:tgtEl>
                                          <p:spTgt spid="8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35" presetClass="path" presetSubtype="0" accel="44000" decel="39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0 L -0.02057 0 " pathEditMode="relative" rAng="0" ptsTypes="AA">
                                      <p:cBhvr>
                                        <p:cTn id="10" dur="6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29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accel="44000" decel="39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6000" fill="hold"/>
                                        <p:tgtEl>
                                          <p:spTgt spid="6"/>
                                        </p:tgtEl>
                                      </p:cBhvr>
                                      <p:by x="97000" y="97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1341282"/>
      </p:ext>
    </p:extLst>
  </p:cSld>
  <p:clrMapOvr>
    <a:masterClrMapping/>
  </p:clrMapOvr>
  <p:transition xmlns:p14="http://schemas.microsoft.com/office/powerpoint/2010/main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ep 15">
            <a:extLst>
              <a:ext uri="{FF2B5EF4-FFF2-40B4-BE49-F238E27FC236}">
                <a16:creationId xmlns:a16="http://schemas.microsoft.com/office/drawing/2014/main" xmlns="" id="{799DE4D6-DB9C-4265-AEEF-D86760AA454D}"/>
              </a:ext>
            </a:extLst>
          </p:cNvPr>
          <p:cNvGrpSpPr/>
          <p:nvPr/>
        </p:nvGrpSpPr>
        <p:grpSpPr>
          <a:xfrm>
            <a:off x="3654865" y="3700811"/>
            <a:ext cx="862060" cy="2292049"/>
            <a:chOff x="3654865" y="3700811"/>
            <a:chExt cx="862060" cy="2292049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xmlns="" id="{CEC51A3B-9733-41D2-8EF5-917DA7D1F22D}"/>
                </a:ext>
              </a:extLst>
            </p:cNvPr>
            <p:cNvGrpSpPr/>
            <p:nvPr/>
          </p:nvGrpSpPr>
          <p:grpSpPr>
            <a:xfrm>
              <a:off x="3756256" y="4695455"/>
              <a:ext cx="659278" cy="1297405"/>
              <a:chOff x="5766361" y="4688346"/>
              <a:chExt cx="659278" cy="1297405"/>
            </a:xfrm>
          </p:grpSpPr>
          <p:sp>
            <p:nvSpPr>
              <p:cNvPr id="97" name="Vrije vorm: vorm 96">
                <a:extLst>
                  <a:ext uri="{FF2B5EF4-FFF2-40B4-BE49-F238E27FC236}">
                    <a16:creationId xmlns:a16="http://schemas.microsoft.com/office/drawing/2014/main" xmlns="" id="{A2B80D5A-E280-422E-9092-789155B775DE}"/>
                  </a:ext>
                </a:extLst>
              </p:cNvPr>
              <p:cNvSpPr/>
              <p:nvPr/>
            </p:nvSpPr>
            <p:spPr>
              <a:xfrm rot="5400000">
                <a:off x="6005090" y="4721358"/>
                <a:ext cx="174826" cy="108801"/>
              </a:xfrm>
              <a:custGeom>
                <a:avLst/>
                <a:gdLst>
                  <a:gd name="connsiteX0" fmla="*/ 0 w 228600"/>
                  <a:gd name="connsiteY0" fmla="*/ 0 h 142266"/>
                  <a:gd name="connsiteX1" fmla="*/ 54095 w 228600"/>
                  <a:gd name="connsiteY1" fmla="*/ 0 h 142266"/>
                  <a:gd name="connsiteX2" fmla="*/ 59008 w 228600"/>
                  <a:gd name="connsiteY2" fmla="*/ 24335 h 142266"/>
                  <a:gd name="connsiteX3" fmla="*/ 116616 w 228600"/>
                  <a:gd name="connsiteY3" fmla="*/ 62520 h 142266"/>
                  <a:gd name="connsiteX4" fmla="*/ 174224 w 228600"/>
                  <a:gd name="connsiteY4" fmla="*/ 24335 h 142266"/>
                  <a:gd name="connsiteX5" fmla="*/ 179137 w 228600"/>
                  <a:gd name="connsiteY5" fmla="*/ 0 h 142266"/>
                  <a:gd name="connsiteX6" fmla="*/ 228600 w 228600"/>
                  <a:gd name="connsiteY6" fmla="*/ 0 h 142266"/>
                  <a:gd name="connsiteX7" fmla="*/ 228600 w 228600"/>
                  <a:gd name="connsiteY7" fmla="*/ 142266 h 142266"/>
                  <a:gd name="connsiteX8" fmla="*/ 179014 w 228600"/>
                  <a:gd name="connsiteY8" fmla="*/ 142266 h 142266"/>
                  <a:gd name="connsiteX9" fmla="*/ 179137 w 228600"/>
                  <a:gd name="connsiteY9" fmla="*/ 141657 h 142266"/>
                  <a:gd name="connsiteX10" fmla="*/ 116616 w 228600"/>
                  <a:gd name="connsiteY10" fmla="*/ 79136 h 142266"/>
                  <a:gd name="connsiteX11" fmla="*/ 54095 w 228600"/>
                  <a:gd name="connsiteY11" fmla="*/ 141657 h 142266"/>
                  <a:gd name="connsiteX12" fmla="*/ 54218 w 228600"/>
                  <a:gd name="connsiteY12" fmla="*/ 142266 h 142266"/>
                  <a:gd name="connsiteX13" fmla="*/ 0 w 228600"/>
                  <a:gd name="connsiteY13" fmla="*/ 142266 h 142266"/>
                  <a:gd name="connsiteX14" fmla="*/ 0 w 228600"/>
                  <a:gd name="connsiteY14" fmla="*/ 0 h 142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8600" h="142266">
                    <a:moveTo>
                      <a:pt x="0" y="0"/>
                    </a:moveTo>
                    <a:lnTo>
                      <a:pt x="54095" y="0"/>
                    </a:lnTo>
                    <a:lnTo>
                      <a:pt x="59008" y="24335"/>
                    </a:lnTo>
                    <a:cubicBezTo>
                      <a:pt x="68500" y="46775"/>
                      <a:pt x="90719" y="62520"/>
                      <a:pt x="116616" y="62520"/>
                    </a:cubicBezTo>
                    <a:cubicBezTo>
                      <a:pt x="142513" y="62520"/>
                      <a:pt x="164733" y="46775"/>
                      <a:pt x="174224" y="24335"/>
                    </a:cubicBezTo>
                    <a:lnTo>
                      <a:pt x="179137" y="0"/>
                    </a:lnTo>
                    <a:lnTo>
                      <a:pt x="228600" y="0"/>
                    </a:lnTo>
                    <a:lnTo>
                      <a:pt x="228600" y="142266"/>
                    </a:lnTo>
                    <a:lnTo>
                      <a:pt x="179014" y="142266"/>
                    </a:lnTo>
                    <a:lnTo>
                      <a:pt x="179137" y="141657"/>
                    </a:lnTo>
                    <a:cubicBezTo>
                      <a:pt x="179137" y="107128"/>
                      <a:pt x="151145" y="79136"/>
                      <a:pt x="116616" y="79136"/>
                    </a:cubicBezTo>
                    <a:cubicBezTo>
                      <a:pt x="82087" y="79136"/>
                      <a:pt x="54095" y="107128"/>
                      <a:pt x="54095" y="141657"/>
                    </a:cubicBezTo>
                    <a:lnTo>
                      <a:pt x="54218" y="142266"/>
                    </a:lnTo>
                    <a:lnTo>
                      <a:pt x="0" y="142266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64800" rtlCol="0" anchor="ctr"/>
              <a:lstStyle/>
              <a:p>
                <a:pPr algn="ctr"/>
                <a:endParaRPr lang="en-US" sz="1200" b="1"/>
              </a:p>
            </p:txBody>
          </p:sp>
          <p:sp>
            <p:nvSpPr>
              <p:cNvPr id="99" name="Ovaal 98">
                <a:extLst>
                  <a:ext uri="{FF2B5EF4-FFF2-40B4-BE49-F238E27FC236}">
                    <a16:creationId xmlns:a16="http://schemas.microsoft.com/office/drawing/2014/main" xmlns="" id="{6C385031-0939-4000-A8C3-18742E3DABC6}"/>
                  </a:ext>
                </a:extLst>
              </p:cNvPr>
              <p:cNvSpPr/>
              <p:nvPr/>
            </p:nvSpPr>
            <p:spPr>
              <a:xfrm>
                <a:off x="5766361" y="4821277"/>
                <a:ext cx="659278" cy="659278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b="1" dirty="0"/>
              </a:p>
            </p:txBody>
          </p:sp>
          <p:sp>
            <p:nvSpPr>
              <p:cNvPr id="100" name="Vrije vorm: vorm 99">
                <a:extLst>
                  <a:ext uri="{FF2B5EF4-FFF2-40B4-BE49-F238E27FC236}">
                    <a16:creationId xmlns:a16="http://schemas.microsoft.com/office/drawing/2014/main" xmlns="" id="{2A03280E-3D09-41F1-9D8E-651BB1A2CF02}"/>
                  </a:ext>
                </a:extLst>
              </p:cNvPr>
              <p:cNvSpPr/>
              <p:nvPr/>
            </p:nvSpPr>
            <p:spPr>
              <a:xfrm rot="5400000">
                <a:off x="6034269" y="5470226"/>
                <a:ext cx="118714" cy="73880"/>
              </a:xfrm>
              <a:custGeom>
                <a:avLst/>
                <a:gdLst>
                  <a:gd name="connsiteX0" fmla="*/ 0 w 228600"/>
                  <a:gd name="connsiteY0" fmla="*/ 0 h 142266"/>
                  <a:gd name="connsiteX1" fmla="*/ 54095 w 228600"/>
                  <a:gd name="connsiteY1" fmla="*/ 0 h 142266"/>
                  <a:gd name="connsiteX2" fmla="*/ 59008 w 228600"/>
                  <a:gd name="connsiteY2" fmla="*/ 24335 h 142266"/>
                  <a:gd name="connsiteX3" fmla="*/ 116616 w 228600"/>
                  <a:gd name="connsiteY3" fmla="*/ 62520 h 142266"/>
                  <a:gd name="connsiteX4" fmla="*/ 174224 w 228600"/>
                  <a:gd name="connsiteY4" fmla="*/ 24335 h 142266"/>
                  <a:gd name="connsiteX5" fmla="*/ 179137 w 228600"/>
                  <a:gd name="connsiteY5" fmla="*/ 0 h 142266"/>
                  <a:gd name="connsiteX6" fmla="*/ 228600 w 228600"/>
                  <a:gd name="connsiteY6" fmla="*/ 0 h 142266"/>
                  <a:gd name="connsiteX7" fmla="*/ 228600 w 228600"/>
                  <a:gd name="connsiteY7" fmla="*/ 142266 h 142266"/>
                  <a:gd name="connsiteX8" fmla="*/ 179014 w 228600"/>
                  <a:gd name="connsiteY8" fmla="*/ 142266 h 142266"/>
                  <a:gd name="connsiteX9" fmla="*/ 179137 w 228600"/>
                  <a:gd name="connsiteY9" fmla="*/ 141657 h 142266"/>
                  <a:gd name="connsiteX10" fmla="*/ 116616 w 228600"/>
                  <a:gd name="connsiteY10" fmla="*/ 79136 h 142266"/>
                  <a:gd name="connsiteX11" fmla="*/ 54095 w 228600"/>
                  <a:gd name="connsiteY11" fmla="*/ 141657 h 142266"/>
                  <a:gd name="connsiteX12" fmla="*/ 54218 w 228600"/>
                  <a:gd name="connsiteY12" fmla="*/ 142266 h 142266"/>
                  <a:gd name="connsiteX13" fmla="*/ 0 w 228600"/>
                  <a:gd name="connsiteY13" fmla="*/ 142266 h 142266"/>
                  <a:gd name="connsiteX14" fmla="*/ 0 w 228600"/>
                  <a:gd name="connsiteY14" fmla="*/ 0 h 142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8600" h="142266">
                    <a:moveTo>
                      <a:pt x="0" y="0"/>
                    </a:moveTo>
                    <a:lnTo>
                      <a:pt x="54095" y="0"/>
                    </a:lnTo>
                    <a:lnTo>
                      <a:pt x="59008" y="24335"/>
                    </a:lnTo>
                    <a:cubicBezTo>
                      <a:pt x="68500" y="46775"/>
                      <a:pt x="90719" y="62520"/>
                      <a:pt x="116616" y="62520"/>
                    </a:cubicBezTo>
                    <a:cubicBezTo>
                      <a:pt x="142513" y="62520"/>
                      <a:pt x="164733" y="46775"/>
                      <a:pt x="174224" y="24335"/>
                    </a:cubicBezTo>
                    <a:lnTo>
                      <a:pt x="179137" y="0"/>
                    </a:lnTo>
                    <a:lnTo>
                      <a:pt x="228600" y="0"/>
                    </a:lnTo>
                    <a:lnTo>
                      <a:pt x="228600" y="142266"/>
                    </a:lnTo>
                    <a:lnTo>
                      <a:pt x="179014" y="142266"/>
                    </a:lnTo>
                    <a:lnTo>
                      <a:pt x="179137" y="141657"/>
                    </a:lnTo>
                    <a:cubicBezTo>
                      <a:pt x="179137" y="107128"/>
                      <a:pt x="151145" y="79136"/>
                      <a:pt x="116616" y="79136"/>
                    </a:cubicBezTo>
                    <a:cubicBezTo>
                      <a:pt x="82087" y="79136"/>
                      <a:pt x="54095" y="107128"/>
                      <a:pt x="54095" y="141657"/>
                    </a:cubicBezTo>
                    <a:lnTo>
                      <a:pt x="54218" y="142266"/>
                    </a:lnTo>
                    <a:lnTo>
                      <a:pt x="0" y="142266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64800" rtlCol="0" anchor="ctr"/>
              <a:lstStyle/>
              <a:p>
                <a:pPr algn="ctr"/>
                <a:endParaRPr lang="en-US" sz="1200" b="1"/>
              </a:p>
            </p:txBody>
          </p:sp>
          <p:sp>
            <p:nvSpPr>
              <p:cNvPr id="101" name="Ovaal 100">
                <a:extLst>
                  <a:ext uri="{FF2B5EF4-FFF2-40B4-BE49-F238E27FC236}">
                    <a16:creationId xmlns:a16="http://schemas.microsoft.com/office/drawing/2014/main" xmlns="" id="{6365C1DF-983E-4BB5-AD84-4BDC92AEA1EB}"/>
                  </a:ext>
                </a:extLst>
              </p:cNvPr>
              <p:cNvSpPr/>
              <p:nvPr/>
            </p:nvSpPr>
            <p:spPr>
              <a:xfrm>
                <a:off x="5872162" y="5538075"/>
                <a:ext cx="447676" cy="447676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b="1" dirty="0"/>
              </a:p>
            </p:txBody>
          </p:sp>
          <p:sp>
            <p:nvSpPr>
              <p:cNvPr id="103" name="Ovaal 102">
                <a:extLst>
                  <a:ext uri="{FF2B5EF4-FFF2-40B4-BE49-F238E27FC236}">
                    <a16:creationId xmlns:a16="http://schemas.microsoft.com/office/drawing/2014/main" xmlns="" id="{3A02145A-5EDB-4782-9BA4-C5EA4FB951EA}"/>
                  </a:ext>
                </a:extLst>
              </p:cNvPr>
              <p:cNvSpPr/>
              <p:nvPr/>
            </p:nvSpPr>
            <p:spPr>
              <a:xfrm>
                <a:off x="5793309" y="4848225"/>
                <a:ext cx="605382" cy="60538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b="1" dirty="0"/>
              </a:p>
            </p:txBody>
          </p:sp>
          <p:sp>
            <p:nvSpPr>
              <p:cNvPr id="104" name="Ovaal 103">
                <a:extLst>
                  <a:ext uri="{FF2B5EF4-FFF2-40B4-BE49-F238E27FC236}">
                    <a16:creationId xmlns:a16="http://schemas.microsoft.com/office/drawing/2014/main" xmlns="" id="{E9AD30BF-99A4-4FE2-B4AF-816847562F15}"/>
                  </a:ext>
                </a:extLst>
              </p:cNvPr>
              <p:cNvSpPr/>
              <p:nvPr/>
            </p:nvSpPr>
            <p:spPr>
              <a:xfrm>
                <a:off x="5889541" y="5555456"/>
                <a:ext cx="412918" cy="4129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b="1" dirty="0"/>
              </a:p>
            </p:txBody>
          </p:sp>
        </p:grpSp>
        <p:grpSp>
          <p:nvGrpSpPr>
            <p:cNvPr id="5" name="Groep 4">
              <a:extLst>
                <a:ext uri="{FF2B5EF4-FFF2-40B4-BE49-F238E27FC236}">
                  <a16:creationId xmlns:a16="http://schemas.microsoft.com/office/drawing/2014/main" xmlns="" id="{31F71AA5-1B7E-48B3-A191-FD24CDF1345E}"/>
                </a:ext>
              </a:extLst>
            </p:cNvPr>
            <p:cNvGrpSpPr/>
            <p:nvPr/>
          </p:nvGrpSpPr>
          <p:grpSpPr>
            <a:xfrm>
              <a:off x="3654865" y="3700811"/>
              <a:ext cx="862060" cy="1035880"/>
              <a:chOff x="3654865" y="3700811"/>
              <a:chExt cx="862060" cy="1035880"/>
            </a:xfrm>
          </p:grpSpPr>
          <p:sp>
            <p:nvSpPr>
              <p:cNvPr id="55" name="Vrije vorm: vorm 54">
                <a:extLst>
                  <a:ext uri="{FF2B5EF4-FFF2-40B4-BE49-F238E27FC236}">
                    <a16:creationId xmlns:a16="http://schemas.microsoft.com/office/drawing/2014/main" xmlns="" id="{2F858394-68AF-498A-92F3-6AF4C00F861D}"/>
                  </a:ext>
                </a:extLst>
              </p:cNvPr>
              <p:cNvSpPr/>
              <p:nvPr/>
            </p:nvSpPr>
            <p:spPr>
              <a:xfrm rot="5400000">
                <a:off x="3971595" y="3743978"/>
                <a:ext cx="228600" cy="142266"/>
              </a:xfrm>
              <a:custGeom>
                <a:avLst/>
                <a:gdLst>
                  <a:gd name="connsiteX0" fmla="*/ 0 w 228600"/>
                  <a:gd name="connsiteY0" fmla="*/ 0 h 142266"/>
                  <a:gd name="connsiteX1" fmla="*/ 54095 w 228600"/>
                  <a:gd name="connsiteY1" fmla="*/ 0 h 142266"/>
                  <a:gd name="connsiteX2" fmla="*/ 59008 w 228600"/>
                  <a:gd name="connsiteY2" fmla="*/ 24335 h 142266"/>
                  <a:gd name="connsiteX3" fmla="*/ 116616 w 228600"/>
                  <a:gd name="connsiteY3" fmla="*/ 62520 h 142266"/>
                  <a:gd name="connsiteX4" fmla="*/ 174224 w 228600"/>
                  <a:gd name="connsiteY4" fmla="*/ 24335 h 142266"/>
                  <a:gd name="connsiteX5" fmla="*/ 179137 w 228600"/>
                  <a:gd name="connsiteY5" fmla="*/ 0 h 142266"/>
                  <a:gd name="connsiteX6" fmla="*/ 228600 w 228600"/>
                  <a:gd name="connsiteY6" fmla="*/ 0 h 142266"/>
                  <a:gd name="connsiteX7" fmla="*/ 228600 w 228600"/>
                  <a:gd name="connsiteY7" fmla="*/ 142266 h 142266"/>
                  <a:gd name="connsiteX8" fmla="*/ 179014 w 228600"/>
                  <a:gd name="connsiteY8" fmla="*/ 142266 h 142266"/>
                  <a:gd name="connsiteX9" fmla="*/ 179137 w 228600"/>
                  <a:gd name="connsiteY9" fmla="*/ 141657 h 142266"/>
                  <a:gd name="connsiteX10" fmla="*/ 116616 w 228600"/>
                  <a:gd name="connsiteY10" fmla="*/ 79136 h 142266"/>
                  <a:gd name="connsiteX11" fmla="*/ 54095 w 228600"/>
                  <a:gd name="connsiteY11" fmla="*/ 141657 h 142266"/>
                  <a:gd name="connsiteX12" fmla="*/ 54218 w 228600"/>
                  <a:gd name="connsiteY12" fmla="*/ 142266 h 142266"/>
                  <a:gd name="connsiteX13" fmla="*/ 0 w 228600"/>
                  <a:gd name="connsiteY13" fmla="*/ 142266 h 142266"/>
                  <a:gd name="connsiteX14" fmla="*/ 0 w 228600"/>
                  <a:gd name="connsiteY14" fmla="*/ 0 h 142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8600" h="142266">
                    <a:moveTo>
                      <a:pt x="0" y="0"/>
                    </a:moveTo>
                    <a:lnTo>
                      <a:pt x="54095" y="0"/>
                    </a:lnTo>
                    <a:lnTo>
                      <a:pt x="59008" y="24335"/>
                    </a:lnTo>
                    <a:cubicBezTo>
                      <a:pt x="68500" y="46775"/>
                      <a:pt x="90719" y="62520"/>
                      <a:pt x="116616" y="62520"/>
                    </a:cubicBezTo>
                    <a:cubicBezTo>
                      <a:pt x="142513" y="62520"/>
                      <a:pt x="164733" y="46775"/>
                      <a:pt x="174224" y="24335"/>
                    </a:cubicBezTo>
                    <a:lnTo>
                      <a:pt x="179137" y="0"/>
                    </a:lnTo>
                    <a:lnTo>
                      <a:pt x="228600" y="0"/>
                    </a:lnTo>
                    <a:lnTo>
                      <a:pt x="228600" y="142266"/>
                    </a:lnTo>
                    <a:lnTo>
                      <a:pt x="179014" y="142266"/>
                    </a:lnTo>
                    <a:lnTo>
                      <a:pt x="179137" y="141657"/>
                    </a:lnTo>
                    <a:cubicBezTo>
                      <a:pt x="179137" y="107128"/>
                      <a:pt x="151145" y="79136"/>
                      <a:pt x="116616" y="79136"/>
                    </a:cubicBezTo>
                    <a:cubicBezTo>
                      <a:pt x="82087" y="79136"/>
                      <a:pt x="54095" y="107128"/>
                      <a:pt x="54095" y="141657"/>
                    </a:cubicBezTo>
                    <a:lnTo>
                      <a:pt x="54218" y="142266"/>
                    </a:lnTo>
                    <a:lnTo>
                      <a:pt x="0" y="142266"/>
                    </a:lnTo>
                    <a:lnTo>
                      <a:pt x="0" y="0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64800" rtlCol="0" anchor="ctr"/>
              <a:lstStyle/>
              <a:p>
                <a:pPr algn="ctr"/>
                <a:endParaRPr lang="en-US" sz="1200" b="1"/>
              </a:p>
            </p:txBody>
          </p:sp>
          <p:sp>
            <p:nvSpPr>
              <p:cNvPr id="60" name="Ovaal 59">
                <a:extLst>
                  <a:ext uri="{FF2B5EF4-FFF2-40B4-BE49-F238E27FC236}">
                    <a16:creationId xmlns:a16="http://schemas.microsoft.com/office/drawing/2014/main" xmlns="" id="{43E6F37A-55A7-4461-97F7-6EB3A2A4407E}"/>
                  </a:ext>
                </a:extLst>
              </p:cNvPr>
              <p:cNvSpPr/>
              <p:nvPr/>
            </p:nvSpPr>
            <p:spPr>
              <a:xfrm>
                <a:off x="3654865" y="3874631"/>
                <a:ext cx="862060" cy="86206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b="1" dirty="0"/>
              </a:p>
            </p:txBody>
          </p:sp>
          <p:sp>
            <p:nvSpPr>
              <p:cNvPr id="78" name="Ovaal 77">
                <a:extLst>
                  <a:ext uri="{FF2B5EF4-FFF2-40B4-BE49-F238E27FC236}">
                    <a16:creationId xmlns:a16="http://schemas.microsoft.com/office/drawing/2014/main" xmlns="" id="{20A1DEE0-7BCA-4D80-A171-A685594DA919}"/>
                  </a:ext>
                </a:extLst>
              </p:cNvPr>
              <p:cNvSpPr/>
              <p:nvPr/>
            </p:nvSpPr>
            <p:spPr>
              <a:xfrm>
                <a:off x="3680752" y="3900518"/>
                <a:ext cx="810286" cy="81028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000" b="1" dirty="0"/>
              </a:p>
            </p:txBody>
          </p:sp>
          <p:pic>
            <p:nvPicPr>
              <p:cNvPr id="87" name="Picture 7">
                <a:extLst>
                  <a:ext uri="{FF2B5EF4-FFF2-40B4-BE49-F238E27FC236}">
                    <a16:creationId xmlns:a16="http://schemas.microsoft.com/office/drawing/2014/main" xmlns="" id="{B28153EF-13EB-40F4-B382-012059E344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90503" y="4109514"/>
                <a:ext cx="390783" cy="390783"/>
              </a:xfrm>
              <a:prstGeom prst="rect">
                <a:avLst/>
              </a:prstGeom>
            </p:spPr>
          </p:pic>
        </p:grpSp>
        <p:pic>
          <p:nvPicPr>
            <p:cNvPr id="9" name="Afbeelding 8">
              <a:extLst>
                <a:ext uri="{FF2B5EF4-FFF2-40B4-BE49-F238E27FC236}">
                  <a16:creationId xmlns:a16="http://schemas.microsoft.com/office/drawing/2014/main" xmlns="" id="{CCEF6D83-AB56-4F02-B680-CC171BABE8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91476" y="5038179"/>
              <a:ext cx="389810" cy="267209"/>
            </a:xfrm>
            <a:prstGeom prst="rect">
              <a:avLst/>
            </a:prstGeom>
          </p:spPr>
        </p:pic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xmlns="" id="{15C6A411-8DFD-4913-9CC6-A8258DF01F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04441" y="5620662"/>
              <a:ext cx="172656" cy="297506"/>
            </a:xfrm>
            <a:prstGeom prst="rect">
              <a:avLst/>
            </a:prstGeom>
          </p:spPr>
        </p:pic>
      </p:grpSp>
      <p:grpSp>
        <p:nvGrpSpPr>
          <p:cNvPr id="4" name="Groep 3">
            <a:extLst>
              <a:ext uri="{FF2B5EF4-FFF2-40B4-BE49-F238E27FC236}">
                <a16:creationId xmlns:a16="http://schemas.microsoft.com/office/drawing/2014/main" xmlns="" id="{3CD46D1B-8EB3-4AC2-B2F1-7350C9A73AB9}"/>
              </a:ext>
            </a:extLst>
          </p:cNvPr>
          <p:cNvGrpSpPr/>
          <p:nvPr/>
        </p:nvGrpSpPr>
        <p:grpSpPr>
          <a:xfrm>
            <a:off x="1454094" y="3700811"/>
            <a:ext cx="862060" cy="1035880"/>
            <a:chOff x="1454094" y="3700811"/>
            <a:chExt cx="862060" cy="1035880"/>
          </a:xfrm>
        </p:grpSpPr>
        <p:sp>
          <p:nvSpPr>
            <p:cNvPr id="54" name="Vrije vorm: vorm 53">
              <a:extLst>
                <a:ext uri="{FF2B5EF4-FFF2-40B4-BE49-F238E27FC236}">
                  <a16:creationId xmlns:a16="http://schemas.microsoft.com/office/drawing/2014/main" xmlns="" id="{95F1AA8A-76F7-4893-B33C-B7C75133AD8D}"/>
                </a:ext>
              </a:extLst>
            </p:cNvPr>
            <p:cNvSpPr/>
            <p:nvPr/>
          </p:nvSpPr>
          <p:spPr>
            <a:xfrm rot="5400000">
              <a:off x="1770989" y="3743978"/>
              <a:ext cx="228600" cy="142266"/>
            </a:xfrm>
            <a:custGeom>
              <a:avLst/>
              <a:gdLst>
                <a:gd name="connsiteX0" fmla="*/ 0 w 228600"/>
                <a:gd name="connsiteY0" fmla="*/ 0 h 142266"/>
                <a:gd name="connsiteX1" fmla="*/ 54095 w 228600"/>
                <a:gd name="connsiteY1" fmla="*/ 0 h 142266"/>
                <a:gd name="connsiteX2" fmla="*/ 59008 w 228600"/>
                <a:gd name="connsiteY2" fmla="*/ 24335 h 142266"/>
                <a:gd name="connsiteX3" fmla="*/ 116616 w 228600"/>
                <a:gd name="connsiteY3" fmla="*/ 62520 h 142266"/>
                <a:gd name="connsiteX4" fmla="*/ 174224 w 228600"/>
                <a:gd name="connsiteY4" fmla="*/ 24335 h 142266"/>
                <a:gd name="connsiteX5" fmla="*/ 179137 w 228600"/>
                <a:gd name="connsiteY5" fmla="*/ 0 h 142266"/>
                <a:gd name="connsiteX6" fmla="*/ 228600 w 228600"/>
                <a:gd name="connsiteY6" fmla="*/ 0 h 142266"/>
                <a:gd name="connsiteX7" fmla="*/ 228600 w 228600"/>
                <a:gd name="connsiteY7" fmla="*/ 142266 h 142266"/>
                <a:gd name="connsiteX8" fmla="*/ 179014 w 228600"/>
                <a:gd name="connsiteY8" fmla="*/ 142266 h 142266"/>
                <a:gd name="connsiteX9" fmla="*/ 179137 w 228600"/>
                <a:gd name="connsiteY9" fmla="*/ 141657 h 142266"/>
                <a:gd name="connsiteX10" fmla="*/ 116616 w 228600"/>
                <a:gd name="connsiteY10" fmla="*/ 79136 h 142266"/>
                <a:gd name="connsiteX11" fmla="*/ 54095 w 228600"/>
                <a:gd name="connsiteY11" fmla="*/ 141657 h 142266"/>
                <a:gd name="connsiteX12" fmla="*/ 54218 w 228600"/>
                <a:gd name="connsiteY12" fmla="*/ 142266 h 142266"/>
                <a:gd name="connsiteX13" fmla="*/ 0 w 228600"/>
                <a:gd name="connsiteY13" fmla="*/ 142266 h 142266"/>
                <a:gd name="connsiteX14" fmla="*/ 0 w 228600"/>
                <a:gd name="connsiteY14" fmla="*/ 0 h 142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600" h="142266">
                  <a:moveTo>
                    <a:pt x="0" y="0"/>
                  </a:moveTo>
                  <a:lnTo>
                    <a:pt x="54095" y="0"/>
                  </a:lnTo>
                  <a:lnTo>
                    <a:pt x="59008" y="24335"/>
                  </a:lnTo>
                  <a:cubicBezTo>
                    <a:pt x="68500" y="46775"/>
                    <a:pt x="90719" y="62520"/>
                    <a:pt x="116616" y="62520"/>
                  </a:cubicBezTo>
                  <a:cubicBezTo>
                    <a:pt x="142513" y="62520"/>
                    <a:pt x="164733" y="46775"/>
                    <a:pt x="174224" y="24335"/>
                  </a:cubicBezTo>
                  <a:lnTo>
                    <a:pt x="179137" y="0"/>
                  </a:lnTo>
                  <a:lnTo>
                    <a:pt x="228600" y="0"/>
                  </a:lnTo>
                  <a:lnTo>
                    <a:pt x="228600" y="142266"/>
                  </a:lnTo>
                  <a:lnTo>
                    <a:pt x="179014" y="142266"/>
                  </a:lnTo>
                  <a:lnTo>
                    <a:pt x="179137" y="141657"/>
                  </a:lnTo>
                  <a:cubicBezTo>
                    <a:pt x="179137" y="107128"/>
                    <a:pt x="151145" y="79136"/>
                    <a:pt x="116616" y="79136"/>
                  </a:cubicBezTo>
                  <a:cubicBezTo>
                    <a:pt x="82087" y="79136"/>
                    <a:pt x="54095" y="107128"/>
                    <a:pt x="54095" y="141657"/>
                  </a:cubicBezTo>
                  <a:lnTo>
                    <a:pt x="54218" y="142266"/>
                  </a:lnTo>
                  <a:lnTo>
                    <a:pt x="0" y="142266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64800"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59" name="Ovaal 58">
              <a:extLst>
                <a:ext uri="{FF2B5EF4-FFF2-40B4-BE49-F238E27FC236}">
                  <a16:creationId xmlns:a16="http://schemas.microsoft.com/office/drawing/2014/main" xmlns="" id="{49AE459F-D380-4BFF-99EE-DE5C412BD005}"/>
                </a:ext>
              </a:extLst>
            </p:cNvPr>
            <p:cNvSpPr/>
            <p:nvPr/>
          </p:nvSpPr>
          <p:spPr>
            <a:xfrm>
              <a:off x="1454094" y="3874631"/>
              <a:ext cx="862060" cy="86206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77" name="Ovaal 76">
              <a:extLst>
                <a:ext uri="{FF2B5EF4-FFF2-40B4-BE49-F238E27FC236}">
                  <a16:creationId xmlns:a16="http://schemas.microsoft.com/office/drawing/2014/main" xmlns="" id="{859094BB-D48F-4989-9834-97BCE0E56AA7}"/>
                </a:ext>
              </a:extLst>
            </p:cNvPr>
            <p:cNvSpPr/>
            <p:nvPr/>
          </p:nvSpPr>
          <p:spPr>
            <a:xfrm>
              <a:off x="1474723" y="3895260"/>
              <a:ext cx="820802" cy="8208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pic>
          <p:nvPicPr>
            <p:cNvPr id="86" name="Picture 5">
              <a:extLst>
                <a:ext uri="{FF2B5EF4-FFF2-40B4-BE49-F238E27FC236}">
                  <a16:creationId xmlns:a16="http://schemas.microsoft.com/office/drawing/2014/main" xmlns="" id="{C4766A13-7731-4C14-BD96-4AFDA71D1E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16789" y="4056313"/>
              <a:ext cx="536670" cy="498696"/>
            </a:xfrm>
            <a:prstGeom prst="rect">
              <a:avLst/>
            </a:prstGeom>
          </p:spPr>
        </p:pic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xmlns="" id="{215E519A-2D3B-476B-902A-04B5903BDA63}"/>
              </a:ext>
            </a:extLst>
          </p:cNvPr>
          <p:cNvGrpSpPr/>
          <p:nvPr/>
        </p:nvGrpSpPr>
        <p:grpSpPr>
          <a:xfrm>
            <a:off x="5664971" y="3700811"/>
            <a:ext cx="862060" cy="2284940"/>
            <a:chOff x="5664971" y="3700811"/>
            <a:chExt cx="862060" cy="2284940"/>
          </a:xfrm>
        </p:grpSpPr>
        <p:sp>
          <p:nvSpPr>
            <p:cNvPr id="56" name="Vrije vorm: vorm 55">
              <a:extLst>
                <a:ext uri="{FF2B5EF4-FFF2-40B4-BE49-F238E27FC236}">
                  <a16:creationId xmlns:a16="http://schemas.microsoft.com/office/drawing/2014/main" xmlns="" id="{CF430E2E-ED57-49BF-B393-54046197BA13}"/>
                </a:ext>
              </a:extLst>
            </p:cNvPr>
            <p:cNvSpPr/>
            <p:nvPr/>
          </p:nvSpPr>
          <p:spPr>
            <a:xfrm rot="5400000">
              <a:off x="5977129" y="3743978"/>
              <a:ext cx="228600" cy="142266"/>
            </a:xfrm>
            <a:custGeom>
              <a:avLst/>
              <a:gdLst>
                <a:gd name="connsiteX0" fmla="*/ 0 w 228600"/>
                <a:gd name="connsiteY0" fmla="*/ 0 h 142266"/>
                <a:gd name="connsiteX1" fmla="*/ 54095 w 228600"/>
                <a:gd name="connsiteY1" fmla="*/ 0 h 142266"/>
                <a:gd name="connsiteX2" fmla="*/ 59008 w 228600"/>
                <a:gd name="connsiteY2" fmla="*/ 24335 h 142266"/>
                <a:gd name="connsiteX3" fmla="*/ 116616 w 228600"/>
                <a:gd name="connsiteY3" fmla="*/ 62520 h 142266"/>
                <a:gd name="connsiteX4" fmla="*/ 174224 w 228600"/>
                <a:gd name="connsiteY4" fmla="*/ 24335 h 142266"/>
                <a:gd name="connsiteX5" fmla="*/ 179137 w 228600"/>
                <a:gd name="connsiteY5" fmla="*/ 0 h 142266"/>
                <a:gd name="connsiteX6" fmla="*/ 228600 w 228600"/>
                <a:gd name="connsiteY6" fmla="*/ 0 h 142266"/>
                <a:gd name="connsiteX7" fmla="*/ 228600 w 228600"/>
                <a:gd name="connsiteY7" fmla="*/ 142266 h 142266"/>
                <a:gd name="connsiteX8" fmla="*/ 179014 w 228600"/>
                <a:gd name="connsiteY8" fmla="*/ 142266 h 142266"/>
                <a:gd name="connsiteX9" fmla="*/ 179137 w 228600"/>
                <a:gd name="connsiteY9" fmla="*/ 141657 h 142266"/>
                <a:gd name="connsiteX10" fmla="*/ 116616 w 228600"/>
                <a:gd name="connsiteY10" fmla="*/ 79136 h 142266"/>
                <a:gd name="connsiteX11" fmla="*/ 54095 w 228600"/>
                <a:gd name="connsiteY11" fmla="*/ 141657 h 142266"/>
                <a:gd name="connsiteX12" fmla="*/ 54218 w 228600"/>
                <a:gd name="connsiteY12" fmla="*/ 142266 h 142266"/>
                <a:gd name="connsiteX13" fmla="*/ 0 w 228600"/>
                <a:gd name="connsiteY13" fmla="*/ 142266 h 142266"/>
                <a:gd name="connsiteX14" fmla="*/ 0 w 228600"/>
                <a:gd name="connsiteY14" fmla="*/ 0 h 142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600" h="142266">
                  <a:moveTo>
                    <a:pt x="0" y="0"/>
                  </a:moveTo>
                  <a:lnTo>
                    <a:pt x="54095" y="0"/>
                  </a:lnTo>
                  <a:lnTo>
                    <a:pt x="59008" y="24335"/>
                  </a:lnTo>
                  <a:cubicBezTo>
                    <a:pt x="68500" y="46775"/>
                    <a:pt x="90719" y="62520"/>
                    <a:pt x="116616" y="62520"/>
                  </a:cubicBezTo>
                  <a:cubicBezTo>
                    <a:pt x="142513" y="62520"/>
                    <a:pt x="164733" y="46775"/>
                    <a:pt x="174224" y="24335"/>
                  </a:cubicBezTo>
                  <a:lnTo>
                    <a:pt x="179137" y="0"/>
                  </a:lnTo>
                  <a:lnTo>
                    <a:pt x="228600" y="0"/>
                  </a:lnTo>
                  <a:lnTo>
                    <a:pt x="228600" y="142266"/>
                  </a:lnTo>
                  <a:lnTo>
                    <a:pt x="179014" y="142266"/>
                  </a:lnTo>
                  <a:lnTo>
                    <a:pt x="179137" y="141657"/>
                  </a:lnTo>
                  <a:cubicBezTo>
                    <a:pt x="179137" y="107128"/>
                    <a:pt x="151145" y="79136"/>
                    <a:pt x="116616" y="79136"/>
                  </a:cubicBezTo>
                  <a:cubicBezTo>
                    <a:pt x="82087" y="79136"/>
                    <a:pt x="54095" y="107128"/>
                    <a:pt x="54095" y="141657"/>
                  </a:cubicBezTo>
                  <a:lnTo>
                    <a:pt x="54218" y="142266"/>
                  </a:lnTo>
                  <a:lnTo>
                    <a:pt x="0" y="142266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64800"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61" name="Ovaal 60">
              <a:extLst>
                <a:ext uri="{FF2B5EF4-FFF2-40B4-BE49-F238E27FC236}">
                  <a16:creationId xmlns:a16="http://schemas.microsoft.com/office/drawing/2014/main" xmlns="" id="{AEE209C5-F5A9-4F23-8D67-51680E2D60CC}"/>
                </a:ext>
              </a:extLst>
            </p:cNvPr>
            <p:cNvSpPr/>
            <p:nvPr/>
          </p:nvSpPr>
          <p:spPr>
            <a:xfrm>
              <a:off x="5664971" y="3874631"/>
              <a:ext cx="862060" cy="86206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64" name="Vrije vorm: vorm 63">
              <a:extLst>
                <a:ext uri="{FF2B5EF4-FFF2-40B4-BE49-F238E27FC236}">
                  <a16:creationId xmlns:a16="http://schemas.microsoft.com/office/drawing/2014/main" xmlns="" id="{781D7133-ACE6-4257-AD60-80D8C463EBDD}"/>
                </a:ext>
              </a:extLst>
            </p:cNvPr>
            <p:cNvSpPr/>
            <p:nvPr/>
          </p:nvSpPr>
          <p:spPr>
            <a:xfrm rot="5400000">
              <a:off x="6005090" y="4721358"/>
              <a:ext cx="174826" cy="108801"/>
            </a:xfrm>
            <a:custGeom>
              <a:avLst/>
              <a:gdLst>
                <a:gd name="connsiteX0" fmla="*/ 0 w 228600"/>
                <a:gd name="connsiteY0" fmla="*/ 0 h 142266"/>
                <a:gd name="connsiteX1" fmla="*/ 54095 w 228600"/>
                <a:gd name="connsiteY1" fmla="*/ 0 h 142266"/>
                <a:gd name="connsiteX2" fmla="*/ 59008 w 228600"/>
                <a:gd name="connsiteY2" fmla="*/ 24335 h 142266"/>
                <a:gd name="connsiteX3" fmla="*/ 116616 w 228600"/>
                <a:gd name="connsiteY3" fmla="*/ 62520 h 142266"/>
                <a:gd name="connsiteX4" fmla="*/ 174224 w 228600"/>
                <a:gd name="connsiteY4" fmla="*/ 24335 h 142266"/>
                <a:gd name="connsiteX5" fmla="*/ 179137 w 228600"/>
                <a:gd name="connsiteY5" fmla="*/ 0 h 142266"/>
                <a:gd name="connsiteX6" fmla="*/ 228600 w 228600"/>
                <a:gd name="connsiteY6" fmla="*/ 0 h 142266"/>
                <a:gd name="connsiteX7" fmla="*/ 228600 w 228600"/>
                <a:gd name="connsiteY7" fmla="*/ 142266 h 142266"/>
                <a:gd name="connsiteX8" fmla="*/ 179014 w 228600"/>
                <a:gd name="connsiteY8" fmla="*/ 142266 h 142266"/>
                <a:gd name="connsiteX9" fmla="*/ 179137 w 228600"/>
                <a:gd name="connsiteY9" fmla="*/ 141657 h 142266"/>
                <a:gd name="connsiteX10" fmla="*/ 116616 w 228600"/>
                <a:gd name="connsiteY10" fmla="*/ 79136 h 142266"/>
                <a:gd name="connsiteX11" fmla="*/ 54095 w 228600"/>
                <a:gd name="connsiteY11" fmla="*/ 141657 h 142266"/>
                <a:gd name="connsiteX12" fmla="*/ 54218 w 228600"/>
                <a:gd name="connsiteY12" fmla="*/ 142266 h 142266"/>
                <a:gd name="connsiteX13" fmla="*/ 0 w 228600"/>
                <a:gd name="connsiteY13" fmla="*/ 142266 h 142266"/>
                <a:gd name="connsiteX14" fmla="*/ 0 w 228600"/>
                <a:gd name="connsiteY14" fmla="*/ 0 h 142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600" h="142266">
                  <a:moveTo>
                    <a:pt x="0" y="0"/>
                  </a:moveTo>
                  <a:lnTo>
                    <a:pt x="54095" y="0"/>
                  </a:lnTo>
                  <a:lnTo>
                    <a:pt x="59008" y="24335"/>
                  </a:lnTo>
                  <a:cubicBezTo>
                    <a:pt x="68500" y="46775"/>
                    <a:pt x="90719" y="62520"/>
                    <a:pt x="116616" y="62520"/>
                  </a:cubicBezTo>
                  <a:cubicBezTo>
                    <a:pt x="142513" y="62520"/>
                    <a:pt x="164733" y="46775"/>
                    <a:pt x="174224" y="24335"/>
                  </a:cubicBezTo>
                  <a:lnTo>
                    <a:pt x="179137" y="0"/>
                  </a:lnTo>
                  <a:lnTo>
                    <a:pt x="228600" y="0"/>
                  </a:lnTo>
                  <a:lnTo>
                    <a:pt x="228600" y="142266"/>
                  </a:lnTo>
                  <a:lnTo>
                    <a:pt x="179014" y="142266"/>
                  </a:lnTo>
                  <a:lnTo>
                    <a:pt x="179137" y="141657"/>
                  </a:lnTo>
                  <a:cubicBezTo>
                    <a:pt x="179137" y="107128"/>
                    <a:pt x="151145" y="79136"/>
                    <a:pt x="116616" y="79136"/>
                  </a:cubicBezTo>
                  <a:cubicBezTo>
                    <a:pt x="82087" y="79136"/>
                    <a:pt x="54095" y="107128"/>
                    <a:pt x="54095" y="141657"/>
                  </a:cubicBezTo>
                  <a:lnTo>
                    <a:pt x="54218" y="142266"/>
                  </a:lnTo>
                  <a:lnTo>
                    <a:pt x="0" y="142266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64800"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65" name="Ovaal 64">
              <a:extLst>
                <a:ext uri="{FF2B5EF4-FFF2-40B4-BE49-F238E27FC236}">
                  <a16:creationId xmlns:a16="http://schemas.microsoft.com/office/drawing/2014/main" xmlns="" id="{C968573B-815E-4629-8DE6-2133C2AC30D7}"/>
                </a:ext>
              </a:extLst>
            </p:cNvPr>
            <p:cNvSpPr/>
            <p:nvPr/>
          </p:nvSpPr>
          <p:spPr>
            <a:xfrm>
              <a:off x="5766361" y="4821277"/>
              <a:ext cx="659278" cy="65927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68" name="Vrije vorm: vorm 67">
              <a:extLst>
                <a:ext uri="{FF2B5EF4-FFF2-40B4-BE49-F238E27FC236}">
                  <a16:creationId xmlns:a16="http://schemas.microsoft.com/office/drawing/2014/main" xmlns="" id="{7BDC373E-7EE7-4870-A024-E8CA2B7494B7}"/>
                </a:ext>
              </a:extLst>
            </p:cNvPr>
            <p:cNvSpPr/>
            <p:nvPr/>
          </p:nvSpPr>
          <p:spPr>
            <a:xfrm rot="5400000">
              <a:off x="6034269" y="5470226"/>
              <a:ext cx="118714" cy="73880"/>
            </a:xfrm>
            <a:custGeom>
              <a:avLst/>
              <a:gdLst>
                <a:gd name="connsiteX0" fmla="*/ 0 w 228600"/>
                <a:gd name="connsiteY0" fmla="*/ 0 h 142266"/>
                <a:gd name="connsiteX1" fmla="*/ 54095 w 228600"/>
                <a:gd name="connsiteY1" fmla="*/ 0 h 142266"/>
                <a:gd name="connsiteX2" fmla="*/ 59008 w 228600"/>
                <a:gd name="connsiteY2" fmla="*/ 24335 h 142266"/>
                <a:gd name="connsiteX3" fmla="*/ 116616 w 228600"/>
                <a:gd name="connsiteY3" fmla="*/ 62520 h 142266"/>
                <a:gd name="connsiteX4" fmla="*/ 174224 w 228600"/>
                <a:gd name="connsiteY4" fmla="*/ 24335 h 142266"/>
                <a:gd name="connsiteX5" fmla="*/ 179137 w 228600"/>
                <a:gd name="connsiteY5" fmla="*/ 0 h 142266"/>
                <a:gd name="connsiteX6" fmla="*/ 228600 w 228600"/>
                <a:gd name="connsiteY6" fmla="*/ 0 h 142266"/>
                <a:gd name="connsiteX7" fmla="*/ 228600 w 228600"/>
                <a:gd name="connsiteY7" fmla="*/ 142266 h 142266"/>
                <a:gd name="connsiteX8" fmla="*/ 179014 w 228600"/>
                <a:gd name="connsiteY8" fmla="*/ 142266 h 142266"/>
                <a:gd name="connsiteX9" fmla="*/ 179137 w 228600"/>
                <a:gd name="connsiteY9" fmla="*/ 141657 h 142266"/>
                <a:gd name="connsiteX10" fmla="*/ 116616 w 228600"/>
                <a:gd name="connsiteY10" fmla="*/ 79136 h 142266"/>
                <a:gd name="connsiteX11" fmla="*/ 54095 w 228600"/>
                <a:gd name="connsiteY11" fmla="*/ 141657 h 142266"/>
                <a:gd name="connsiteX12" fmla="*/ 54218 w 228600"/>
                <a:gd name="connsiteY12" fmla="*/ 142266 h 142266"/>
                <a:gd name="connsiteX13" fmla="*/ 0 w 228600"/>
                <a:gd name="connsiteY13" fmla="*/ 142266 h 142266"/>
                <a:gd name="connsiteX14" fmla="*/ 0 w 228600"/>
                <a:gd name="connsiteY14" fmla="*/ 0 h 142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600" h="142266">
                  <a:moveTo>
                    <a:pt x="0" y="0"/>
                  </a:moveTo>
                  <a:lnTo>
                    <a:pt x="54095" y="0"/>
                  </a:lnTo>
                  <a:lnTo>
                    <a:pt x="59008" y="24335"/>
                  </a:lnTo>
                  <a:cubicBezTo>
                    <a:pt x="68500" y="46775"/>
                    <a:pt x="90719" y="62520"/>
                    <a:pt x="116616" y="62520"/>
                  </a:cubicBezTo>
                  <a:cubicBezTo>
                    <a:pt x="142513" y="62520"/>
                    <a:pt x="164733" y="46775"/>
                    <a:pt x="174224" y="24335"/>
                  </a:cubicBezTo>
                  <a:lnTo>
                    <a:pt x="179137" y="0"/>
                  </a:lnTo>
                  <a:lnTo>
                    <a:pt x="228600" y="0"/>
                  </a:lnTo>
                  <a:lnTo>
                    <a:pt x="228600" y="142266"/>
                  </a:lnTo>
                  <a:lnTo>
                    <a:pt x="179014" y="142266"/>
                  </a:lnTo>
                  <a:lnTo>
                    <a:pt x="179137" y="141657"/>
                  </a:lnTo>
                  <a:cubicBezTo>
                    <a:pt x="179137" y="107128"/>
                    <a:pt x="151145" y="79136"/>
                    <a:pt x="116616" y="79136"/>
                  </a:cubicBezTo>
                  <a:cubicBezTo>
                    <a:pt x="82087" y="79136"/>
                    <a:pt x="54095" y="107128"/>
                    <a:pt x="54095" y="141657"/>
                  </a:cubicBezTo>
                  <a:lnTo>
                    <a:pt x="54218" y="142266"/>
                  </a:lnTo>
                  <a:lnTo>
                    <a:pt x="0" y="142266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64800"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69" name="Ovaal 68">
              <a:extLst>
                <a:ext uri="{FF2B5EF4-FFF2-40B4-BE49-F238E27FC236}">
                  <a16:creationId xmlns:a16="http://schemas.microsoft.com/office/drawing/2014/main" xmlns="" id="{368847EE-5952-49DD-8CED-FE30EE90ADF2}"/>
                </a:ext>
              </a:extLst>
            </p:cNvPr>
            <p:cNvSpPr/>
            <p:nvPr/>
          </p:nvSpPr>
          <p:spPr>
            <a:xfrm>
              <a:off x="5872162" y="5538075"/>
              <a:ext cx="447676" cy="4476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79" name="Ovaal 78">
              <a:extLst>
                <a:ext uri="{FF2B5EF4-FFF2-40B4-BE49-F238E27FC236}">
                  <a16:creationId xmlns:a16="http://schemas.microsoft.com/office/drawing/2014/main" xmlns="" id="{F2C7B10A-6C86-46D2-B6F5-669D3F6EB297}"/>
                </a:ext>
              </a:extLst>
            </p:cNvPr>
            <p:cNvSpPr/>
            <p:nvPr/>
          </p:nvSpPr>
          <p:spPr>
            <a:xfrm>
              <a:off x="5690858" y="3900518"/>
              <a:ext cx="810286" cy="8102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80" name="Ovaal 79">
              <a:extLst>
                <a:ext uri="{FF2B5EF4-FFF2-40B4-BE49-F238E27FC236}">
                  <a16:creationId xmlns:a16="http://schemas.microsoft.com/office/drawing/2014/main" xmlns="" id="{69750FE1-A380-4AC0-AFBE-819811B53ECD}"/>
                </a:ext>
              </a:extLst>
            </p:cNvPr>
            <p:cNvSpPr/>
            <p:nvPr/>
          </p:nvSpPr>
          <p:spPr>
            <a:xfrm>
              <a:off x="5793309" y="4848225"/>
              <a:ext cx="605382" cy="6053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81" name="Ovaal 80">
              <a:extLst>
                <a:ext uri="{FF2B5EF4-FFF2-40B4-BE49-F238E27FC236}">
                  <a16:creationId xmlns:a16="http://schemas.microsoft.com/office/drawing/2014/main" xmlns="" id="{884DCC10-E609-43F8-BDE0-36144B6F37BC}"/>
                </a:ext>
              </a:extLst>
            </p:cNvPr>
            <p:cNvSpPr/>
            <p:nvPr/>
          </p:nvSpPr>
          <p:spPr>
            <a:xfrm>
              <a:off x="5889541" y="5555456"/>
              <a:ext cx="412918" cy="41291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pic>
          <p:nvPicPr>
            <p:cNvPr id="88" name="Picture 25">
              <a:extLst>
                <a:ext uri="{FF2B5EF4-FFF2-40B4-BE49-F238E27FC236}">
                  <a16:creationId xmlns:a16="http://schemas.microsoft.com/office/drawing/2014/main" xmlns="" id="{2A71C178-FDEA-4D1B-A4BC-483055103F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4551" r="-4551"/>
            <a:stretch/>
          </p:blipFill>
          <p:spPr>
            <a:xfrm>
              <a:off x="5829747" y="4056859"/>
              <a:ext cx="532508" cy="488080"/>
            </a:xfrm>
            <a:prstGeom prst="ellipse">
              <a:avLst/>
            </a:prstGeom>
          </p:spPr>
        </p:pic>
        <p:pic>
          <p:nvPicPr>
            <p:cNvPr id="89" name="Picture 28">
              <a:extLst>
                <a:ext uri="{FF2B5EF4-FFF2-40B4-BE49-F238E27FC236}">
                  <a16:creationId xmlns:a16="http://schemas.microsoft.com/office/drawing/2014/main" xmlns="" id="{49184A9F-12FF-4BB7-BCE1-F4548CC060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97046" y="4949224"/>
              <a:ext cx="398244" cy="398244"/>
            </a:xfrm>
            <a:prstGeom prst="rect">
              <a:avLst/>
            </a:prstGeom>
          </p:spPr>
        </p:pic>
        <p:pic>
          <p:nvPicPr>
            <p:cNvPr id="90" name="Picture 27">
              <a:extLst>
                <a:ext uri="{FF2B5EF4-FFF2-40B4-BE49-F238E27FC236}">
                  <a16:creationId xmlns:a16="http://schemas.microsoft.com/office/drawing/2014/main" xmlns="" id="{1141BEF2-9207-4555-A4C7-E9C1A79ED45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36456" y="5715746"/>
              <a:ext cx="319088" cy="103400"/>
            </a:xfrm>
            <a:prstGeom prst="rect">
              <a:avLst/>
            </a:prstGeom>
          </p:spPr>
        </p:pic>
      </p:grpSp>
      <p:grpSp>
        <p:nvGrpSpPr>
          <p:cNvPr id="7" name="Groep 6">
            <a:extLst>
              <a:ext uri="{FF2B5EF4-FFF2-40B4-BE49-F238E27FC236}">
                <a16:creationId xmlns:a16="http://schemas.microsoft.com/office/drawing/2014/main" xmlns="" id="{B55FD2D3-3D34-4AB8-A415-AD22ACCCDAD9}"/>
              </a:ext>
            </a:extLst>
          </p:cNvPr>
          <p:cNvGrpSpPr/>
          <p:nvPr/>
        </p:nvGrpSpPr>
        <p:grpSpPr>
          <a:xfrm>
            <a:off x="7675077" y="3700811"/>
            <a:ext cx="862060" cy="2282016"/>
            <a:chOff x="7675077" y="3700811"/>
            <a:chExt cx="862060" cy="2282016"/>
          </a:xfrm>
        </p:grpSpPr>
        <p:sp>
          <p:nvSpPr>
            <p:cNvPr id="57" name="Vrije vorm: vorm 56">
              <a:extLst>
                <a:ext uri="{FF2B5EF4-FFF2-40B4-BE49-F238E27FC236}">
                  <a16:creationId xmlns:a16="http://schemas.microsoft.com/office/drawing/2014/main" xmlns="" id="{6301C2B2-E96C-44F1-961A-9318E129599F}"/>
                </a:ext>
              </a:extLst>
            </p:cNvPr>
            <p:cNvSpPr/>
            <p:nvPr/>
          </p:nvSpPr>
          <p:spPr>
            <a:xfrm rot="5400000">
              <a:off x="7991807" y="3743978"/>
              <a:ext cx="228600" cy="142266"/>
            </a:xfrm>
            <a:custGeom>
              <a:avLst/>
              <a:gdLst>
                <a:gd name="connsiteX0" fmla="*/ 0 w 228600"/>
                <a:gd name="connsiteY0" fmla="*/ 0 h 142266"/>
                <a:gd name="connsiteX1" fmla="*/ 54095 w 228600"/>
                <a:gd name="connsiteY1" fmla="*/ 0 h 142266"/>
                <a:gd name="connsiteX2" fmla="*/ 59008 w 228600"/>
                <a:gd name="connsiteY2" fmla="*/ 24335 h 142266"/>
                <a:gd name="connsiteX3" fmla="*/ 116616 w 228600"/>
                <a:gd name="connsiteY3" fmla="*/ 62520 h 142266"/>
                <a:gd name="connsiteX4" fmla="*/ 174224 w 228600"/>
                <a:gd name="connsiteY4" fmla="*/ 24335 h 142266"/>
                <a:gd name="connsiteX5" fmla="*/ 179137 w 228600"/>
                <a:gd name="connsiteY5" fmla="*/ 0 h 142266"/>
                <a:gd name="connsiteX6" fmla="*/ 228600 w 228600"/>
                <a:gd name="connsiteY6" fmla="*/ 0 h 142266"/>
                <a:gd name="connsiteX7" fmla="*/ 228600 w 228600"/>
                <a:gd name="connsiteY7" fmla="*/ 142266 h 142266"/>
                <a:gd name="connsiteX8" fmla="*/ 179014 w 228600"/>
                <a:gd name="connsiteY8" fmla="*/ 142266 h 142266"/>
                <a:gd name="connsiteX9" fmla="*/ 179137 w 228600"/>
                <a:gd name="connsiteY9" fmla="*/ 141657 h 142266"/>
                <a:gd name="connsiteX10" fmla="*/ 116616 w 228600"/>
                <a:gd name="connsiteY10" fmla="*/ 79136 h 142266"/>
                <a:gd name="connsiteX11" fmla="*/ 54095 w 228600"/>
                <a:gd name="connsiteY11" fmla="*/ 141657 h 142266"/>
                <a:gd name="connsiteX12" fmla="*/ 54218 w 228600"/>
                <a:gd name="connsiteY12" fmla="*/ 142266 h 142266"/>
                <a:gd name="connsiteX13" fmla="*/ 0 w 228600"/>
                <a:gd name="connsiteY13" fmla="*/ 142266 h 142266"/>
                <a:gd name="connsiteX14" fmla="*/ 0 w 228600"/>
                <a:gd name="connsiteY14" fmla="*/ 0 h 142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600" h="142266">
                  <a:moveTo>
                    <a:pt x="0" y="0"/>
                  </a:moveTo>
                  <a:lnTo>
                    <a:pt x="54095" y="0"/>
                  </a:lnTo>
                  <a:lnTo>
                    <a:pt x="59008" y="24335"/>
                  </a:lnTo>
                  <a:cubicBezTo>
                    <a:pt x="68500" y="46775"/>
                    <a:pt x="90719" y="62520"/>
                    <a:pt x="116616" y="62520"/>
                  </a:cubicBezTo>
                  <a:cubicBezTo>
                    <a:pt x="142513" y="62520"/>
                    <a:pt x="164733" y="46775"/>
                    <a:pt x="174224" y="24335"/>
                  </a:cubicBezTo>
                  <a:lnTo>
                    <a:pt x="179137" y="0"/>
                  </a:lnTo>
                  <a:lnTo>
                    <a:pt x="228600" y="0"/>
                  </a:lnTo>
                  <a:lnTo>
                    <a:pt x="228600" y="142266"/>
                  </a:lnTo>
                  <a:lnTo>
                    <a:pt x="179014" y="142266"/>
                  </a:lnTo>
                  <a:lnTo>
                    <a:pt x="179137" y="141657"/>
                  </a:lnTo>
                  <a:cubicBezTo>
                    <a:pt x="179137" y="107128"/>
                    <a:pt x="151145" y="79136"/>
                    <a:pt x="116616" y="79136"/>
                  </a:cubicBezTo>
                  <a:cubicBezTo>
                    <a:pt x="82087" y="79136"/>
                    <a:pt x="54095" y="107128"/>
                    <a:pt x="54095" y="141657"/>
                  </a:cubicBezTo>
                  <a:lnTo>
                    <a:pt x="54218" y="142266"/>
                  </a:lnTo>
                  <a:lnTo>
                    <a:pt x="0" y="142266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64800"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62" name="Ovaal 61">
              <a:extLst>
                <a:ext uri="{FF2B5EF4-FFF2-40B4-BE49-F238E27FC236}">
                  <a16:creationId xmlns:a16="http://schemas.microsoft.com/office/drawing/2014/main" xmlns="" id="{EA88429F-3D4F-41F9-A139-D2E7BE263885}"/>
                </a:ext>
              </a:extLst>
            </p:cNvPr>
            <p:cNvSpPr/>
            <p:nvPr/>
          </p:nvSpPr>
          <p:spPr>
            <a:xfrm>
              <a:off x="7675077" y="3874631"/>
              <a:ext cx="862060" cy="86206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72" name="Vrije vorm: vorm 71">
              <a:extLst>
                <a:ext uri="{FF2B5EF4-FFF2-40B4-BE49-F238E27FC236}">
                  <a16:creationId xmlns:a16="http://schemas.microsoft.com/office/drawing/2014/main" xmlns="" id="{A730F0F9-8DAD-4572-B972-A9322316374C}"/>
                </a:ext>
              </a:extLst>
            </p:cNvPr>
            <p:cNvSpPr/>
            <p:nvPr/>
          </p:nvSpPr>
          <p:spPr>
            <a:xfrm rot="5400000">
              <a:off x="8015197" y="4718434"/>
              <a:ext cx="174826" cy="108801"/>
            </a:xfrm>
            <a:custGeom>
              <a:avLst/>
              <a:gdLst>
                <a:gd name="connsiteX0" fmla="*/ 0 w 228600"/>
                <a:gd name="connsiteY0" fmla="*/ 0 h 142266"/>
                <a:gd name="connsiteX1" fmla="*/ 54095 w 228600"/>
                <a:gd name="connsiteY1" fmla="*/ 0 h 142266"/>
                <a:gd name="connsiteX2" fmla="*/ 59008 w 228600"/>
                <a:gd name="connsiteY2" fmla="*/ 24335 h 142266"/>
                <a:gd name="connsiteX3" fmla="*/ 116616 w 228600"/>
                <a:gd name="connsiteY3" fmla="*/ 62520 h 142266"/>
                <a:gd name="connsiteX4" fmla="*/ 174224 w 228600"/>
                <a:gd name="connsiteY4" fmla="*/ 24335 h 142266"/>
                <a:gd name="connsiteX5" fmla="*/ 179137 w 228600"/>
                <a:gd name="connsiteY5" fmla="*/ 0 h 142266"/>
                <a:gd name="connsiteX6" fmla="*/ 228600 w 228600"/>
                <a:gd name="connsiteY6" fmla="*/ 0 h 142266"/>
                <a:gd name="connsiteX7" fmla="*/ 228600 w 228600"/>
                <a:gd name="connsiteY7" fmla="*/ 142266 h 142266"/>
                <a:gd name="connsiteX8" fmla="*/ 179014 w 228600"/>
                <a:gd name="connsiteY8" fmla="*/ 142266 h 142266"/>
                <a:gd name="connsiteX9" fmla="*/ 179137 w 228600"/>
                <a:gd name="connsiteY9" fmla="*/ 141657 h 142266"/>
                <a:gd name="connsiteX10" fmla="*/ 116616 w 228600"/>
                <a:gd name="connsiteY10" fmla="*/ 79136 h 142266"/>
                <a:gd name="connsiteX11" fmla="*/ 54095 w 228600"/>
                <a:gd name="connsiteY11" fmla="*/ 141657 h 142266"/>
                <a:gd name="connsiteX12" fmla="*/ 54218 w 228600"/>
                <a:gd name="connsiteY12" fmla="*/ 142266 h 142266"/>
                <a:gd name="connsiteX13" fmla="*/ 0 w 228600"/>
                <a:gd name="connsiteY13" fmla="*/ 142266 h 142266"/>
                <a:gd name="connsiteX14" fmla="*/ 0 w 228600"/>
                <a:gd name="connsiteY14" fmla="*/ 0 h 142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600" h="142266">
                  <a:moveTo>
                    <a:pt x="0" y="0"/>
                  </a:moveTo>
                  <a:lnTo>
                    <a:pt x="54095" y="0"/>
                  </a:lnTo>
                  <a:lnTo>
                    <a:pt x="59008" y="24335"/>
                  </a:lnTo>
                  <a:cubicBezTo>
                    <a:pt x="68500" y="46775"/>
                    <a:pt x="90719" y="62520"/>
                    <a:pt x="116616" y="62520"/>
                  </a:cubicBezTo>
                  <a:cubicBezTo>
                    <a:pt x="142513" y="62520"/>
                    <a:pt x="164733" y="46775"/>
                    <a:pt x="174224" y="24335"/>
                  </a:cubicBezTo>
                  <a:lnTo>
                    <a:pt x="179137" y="0"/>
                  </a:lnTo>
                  <a:lnTo>
                    <a:pt x="228600" y="0"/>
                  </a:lnTo>
                  <a:lnTo>
                    <a:pt x="228600" y="142266"/>
                  </a:lnTo>
                  <a:lnTo>
                    <a:pt x="179014" y="142266"/>
                  </a:lnTo>
                  <a:lnTo>
                    <a:pt x="179137" y="141657"/>
                  </a:lnTo>
                  <a:cubicBezTo>
                    <a:pt x="179137" y="107128"/>
                    <a:pt x="151145" y="79136"/>
                    <a:pt x="116616" y="79136"/>
                  </a:cubicBezTo>
                  <a:cubicBezTo>
                    <a:pt x="82087" y="79136"/>
                    <a:pt x="54095" y="107128"/>
                    <a:pt x="54095" y="141657"/>
                  </a:cubicBezTo>
                  <a:lnTo>
                    <a:pt x="54218" y="142266"/>
                  </a:lnTo>
                  <a:lnTo>
                    <a:pt x="0" y="142266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64800"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73" name="Ovaal 72">
              <a:extLst>
                <a:ext uri="{FF2B5EF4-FFF2-40B4-BE49-F238E27FC236}">
                  <a16:creationId xmlns:a16="http://schemas.microsoft.com/office/drawing/2014/main" xmlns="" id="{DC0DF3CA-5991-4EEC-BDED-2E024B3A8238}"/>
                </a:ext>
              </a:extLst>
            </p:cNvPr>
            <p:cNvSpPr/>
            <p:nvPr/>
          </p:nvSpPr>
          <p:spPr>
            <a:xfrm>
              <a:off x="7776468" y="4818353"/>
              <a:ext cx="659278" cy="65927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75" name="Vrije vorm: vorm 74">
              <a:extLst>
                <a:ext uri="{FF2B5EF4-FFF2-40B4-BE49-F238E27FC236}">
                  <a16:creationId xmlns:a16="http://schemas.microsoft.com/office/drawing/2014/main" xmlns="" id="{73C5E45E-C714-4D9C-9582-62F15C762565}"/>
                </a:ext>
              </a:extLst>
            </p:cNvPr>
            <p:cNvSpPr/>
            <p:nvPr/>
          </p:nvSpPr>
          <p:spPr>
            <a:xfrm rot="5400000">
              <a:off x="8044376" y="5467302"/>
              <a:ext cx="118714" cy="73880"/>
            </a:xfrm>
            <a:custGeom>
              <a:avLst/>
              <a:gdLst>
                <a:gd name="connsiteX0" fmla="*/ 0 w 228600"/>
                <a:gd name="connsiteY0" fmla="*/ 0 h 142266"/>
                <a:gd name="connsiteX1" fmla="*/ 54095 w 228600"/>
                <a:gd name="connsiteY1" fmla="*/ 0 h 142266"/>
                <a:gd name="connsiteX2" fmla="*/ 59008 w 228600"/>
                <a:gd name="connsiteY2" fmla="*/ 24335 h 142266"/>
                <a:gd name="connsiteX3" fmla="*/ 116616 w 228600"/>
                <a:gd name="connsiteY3" fmla="*/ 62520 h 142266"/>
                <a:gd name="connsiteX4" fmla="*/ 174224 w 228600"/>
                <a:gd name="connsiteY4" fmla="*/ 24335 h 142266"/>
                <a:gd name="connsiteX5" fmla="*/ 179137 w 228600"/>
                <a:gd name="connsiteY5" fmla="*/ 0 h 142266"/>
                <a:gd name="connsiteX6" fmla="*/ 228600 w 228600"/>
                <a:gd name="connsiteY6" fmla="*/ 0 h 142266"/>
                <a:gd name="connsiteX7" fmla="*/ 228600 w 228600"/>
                <a:gd name="connsiteY7" fmla="*/ 142266 h 142266"/>
                <a:gd name="connsiteX8" fmla="*/ 179014 w 228600"/>
                <a:gd name="connsiteY8" fmla="*/ 142266 h 142266"/>
                <a:gd name="connsiteX9" fmla="*/ 179137 w 228600"/>
                <a:gd name="connsiteY9" fmla="*/ 141657 h 142266"/>
                <a:gd name="connsiteX10" fmla="*/ 116616 w 228600"/>
                <a:gd name="connsiteY10" fmla="*/ 79136 h 142266"/>
                <a:gd name="connsiteX11" fmla="*/ 54095 w 228600"/>
                <a:gd name="connsiteY11" fmla="*/ 141657 h 142266"/>
                <a:gd name="connsiteX12" fmla="*/ 54218 w 228600"/>
                <a:gd name="connsiteY12" fmla="*/ 142266 h 142266"/>
                <a:gd name="connsiteX13" fmla="*/ 0 w 228600"/>
                <a:gd name="connsiteY13" fmla="*/ 142266 h 142266"/>
                <a:gd name="connsiteX14" fmla="*/ 0 w 228600"/>
                <a:gd name="connsiteY14" fmla="*/ 0 h 142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600" h="142266">
                  <a:moveTo>
                    <a:pt x="0" y="0"/>
                  </a:moveTo>
                  <a:lnTo>
                    <a:pt x="54095" y="0"/>
                  </a:lnTo>
                  <a:lnTo>
                    <a:pt x="59008" y="24335"/>
                  </a:lnTo>
                  <a:cubicBezTo>
                    <a:pt x="68500" y="46775"/>
                    <a:pt x="90719" y="62520"/>
                    <a:pt x="116616" y="62520"/>
                  </a:cubicBezTo>
                  <a:cubicBezTo>
                    <a:pt x="142513" y="62520"/>
                    <a:pt x="164733" y="46775"/>
                    <a:pt x="174224" y="24335"/>
                  </a:cubicBezTo>
                  <a:lnTo>
                    <a:pt x="179137" y="0"/>
                  </a:lnTo>
                  <a:lnTo>
                    <a:pt x="228600" y="0"/>
                  </a:lnTo>
                  <a:lnTo>
                    <a:pt x="228600" y="142266"/>
                  </a:lnTo>
                  <a:lnTo>
                    <a:pt x="179014" y="142266"/>
                  </a:lnTo>
                  <a:lnTo>
                    <a:pt x="179137" y="141657"/>
                  </a:lnTo>
                  <a:cubicBezTo>
                    <a:pt x="179137" y="107128"/>
                    <a:pt x="151145" y="79136"/>
                    <a:pt x="116616" y="79136"/>
                  </a:cubicBezTo>
                  <a:cubicBezTo>
                    <a:pt x="82087" y="79136"/>
                    <a:pt x="54095" y="107128"/>
                    <a:pt x="54095" y="141657"/>
                  </a:cubicBezTo>
                  <a:lnTo>
                    <a:pt x="54218" y="142266"/>
                  </a:lnTo>
                  <a:lnTo>
                    <a:pt x="0" y="142266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64800"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76" name="Ovaal 75">
              <a:extLst>
                <a:ext uri="{FF2B5EF4-FFF2-40B4-BE49-F238E27FC236}">
                  <a16:creationId xmlns:a16="http://schemas.microsoft.com/office/drawing/2014/main" xmlns="" id="{D7D1E1D8-CC0A-4838-91D9-D0D1F480EA96}"/>
                </a:ext>
              </a:extLst>
            </p:cNvPr>
            <p:cNvSpPr/>
            <p:nvPr/>
          </p:nvSpPr>
          <p:spPr>
            <a:xfrm>
              <a:off x="7882269" y="5535151"/>
              <a:ext cx="447676" cy="44767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82" name="Ovaal 81">
              <a:extLst>
                <a:ext uri="{FF2B5EF4-FFF2-40B4-BE49-F238E27FC236}">
                  <a16:creationId xmlns:a16="http://schemas.microsoft.com/office/drawing/2014/main" xmlns="" id="{93E071E0-68E5-4CD8-9765-BE9B236511E8}"/>
                </a:ext>
              </a:extLst>
            </p:cNvPr>
            <p:cNvSpPr/>
            <p:nvPr/>
          </p:nvSpPr>
          <p:spPr>
            <a:xfrm>
              <a:off x="7700964" y="3900518"/>
              <a:ext cx="810286" cy="8102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83" name="Ovaal 82">
              <a:extLst>
                <a:ext uri="{FF2B5EF4-FFF2-40B4-BE49-F238E27FC236}">
                  <a16:creationId xmlns:a16="http://schemas.microsoft.com/office/drawing/2014/main" xmlns="" id="{41A5D647-A8C4-41CD-8710-EB9E3563863F}"/>
                </a:ext>
              </a:extLst>
            </p:cNvPr>
            <p:cNvSpPr/>
            <p:nvPr/>
          </p:nvSpPr>
          <p:spPr>
            <a:xfrm>
              <a:off x="7803416" y="4845301"/>
              <a:ext cx="605382" cy="6053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84" name="Ovaal 83">
              <a:extLst>
                <a:ext uri="{FF2B5EF4-FFF2-40B4-BE49-F238E27FC236}">
                  <a16:creationId xmlns:a16="http://schemas.microsoft.com/office/drawing/2014/main" xmlns="" id="{4B6BB523-D588-4918-A23F-08904822DA4D}"/>
                </a:ext>
              </a:extLst>
            </p:cNvPr>
            <p:cNvSpPr/>
            <p:nvPr/>
          </p:nvSpPr>
          <p:spPr>
            <a:xfrm>
              <a:off x="7899648" y="5552532"/>
              <a:ext cx="412918" cy="41291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pic>
          <p:nvPicPr>
            <p:cNvPr id="91" name="Picture 4095">
              <a:extLst>
                <a:ext uri="{FF2B5EF4-FFF2-40B4-BE49-F238E27FC236}">
                  <a16:creationId xmlns:a16="http://schemas.microsoft.com/office/drawing/2014/main" xmlns="" id="{750F0DE1-0835-4598-9AFB-9A78212CDD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7359" t="-7359" r="-7359" b="-7359"/>
            <a:stretch/>
          </p:blipFill>
          <p:spPr>
            <a:xfrm>
              <a:off x="7768963" y="3966136"/>
              <a:ext cx="674288" cy="674288"/>
            </a:xfrm>
            <a:prstGeom prst="ellipse">
              <a:avLst/>
            </a:prstGeom>
          </p:spPr>
        </p:pic>
        <p:pic>
          <p:nvPicPr>
            <p:cNvPr id="92" name="Picture 30">
              <a:extLst>
                <a:ext uri="{FF2B5EF4-FFF2-40B4-BE49-F238E27FC236}">
                  <a16:creationId xmlns:a16="http://schemas.microsoft.com/office/drawing/2014/main" xmlns="" id="{1597D2FF-8F43-4C78-8DB1-3EBF45705F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09940" y="4951826"/>
              <a:ext cx="392334" cy="392332"/>
            </a:xfrm>
            <a:prstGeom prst="rect">
              <a:avLst/>
            </a:prstGeom>
          </p:spPr>
        </p:pic>
        <p:pic>
          <p:nvPicPr>
            <p:cNvPr id="93" name="Picture 4096">
              <a:extLst>
                <a:ext uri="{FF2B5EF4-FFF2-40B4-BE49-F238E27FC236}">
                  <a16:creationId xmlns:a16="http://schemas.microsoft.com/office/drawing/2014/main" xmlns="" id="{E9AC2811-8186-4337-8182-733028BD82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76127" y="5620662"/>
              <a:ext cx="258236" cy="278738"/>
            </a:xfrm>
            <a:prstGeom prst="rect">
              <a:avLst/>
            </a:prstGeom>
          </p:spPr>
        </p:pic>
      </p:grpSp>
      <p:grpSp>
        <p:nvGrpSpPr>
          <p:cNvPr id="8" name="Groep 7">
            <a:extLst>
              <a:ext uri="{FF2B5EF4-FFF2-40B4-BE49-F238E27FC236}">
                <a16:creationId xmlns:a16="http://schemas.microsoft.com/office/drawing/2014/main" xmlns="" id="{89746B5A-CD4B-4AF7-978E-A441162DA405}"/>
              </a:ext>
            </a:extLst>
          </p:cNvPr>
          <p:cNvGrpSpPr/>
          <p:nvPr/>
        </p:nvGrpSpPr>
        <p:grpSpPr>
          <a:xfrm>
            <a:off x="9875846" y="3700811"/>
            <a:ext cx="862060" cy="1036380"/>
            <a:chOff x="9875846" y="3700811"/>
            <a:chExt cx="862060" cy="1036380"/>
          </a:xfrm>
        </p:grpSpPr>
        <p:sp>
          <p:nvSpPr>
            <p:cNvPr id="58" name="Vrije vorm: vorm 57">
              <a:extLst>
                <a:ext uri="{FF2B5EF4-FFF2-40B4-BE49-F238E27FC236}">
                  <a16:creationId xmlns:a16="http://schemas.microsoft.com/office/drawing/2014/main" xmlns="" id="{BB724368-1772-46BE-B54C-76ADD9953A86}"/>
                </a:ext>
              </a:extLst>
            </p:cNvPr>
            <p:cNvSpPr/>
            <p:nvPr/>
          </p:nvSpPr>
          <p:spPr>
            <a:xfrm rot="5400000">
              <a:off x="10192411" y="3743978"/>
              <a:ext cx="228600" cy="142266"/>
            </a:xfrm>
            <a:custGeom>
              <a:avLst/>
              <a:gdLst>
                <a:gd name="connsiteX0" fmla="*/ 0 w 228600"/>
                <a:gd name="connsiteY0" fmla="*/ 0 h 142266"/>
                <a:gd name="connsiteX1" fmla="*/ 54095 w 228600"/>
                <a:gd name="connsiteY1" fmla="*/ 0 h 142266"/>
                <a:gd name="connsiteX2" fmla="*/ 59008 w 228600"/>
                <a:gd name="connsiteY2" fmla="*/ 24335 h 142266"/>
                <a:gd name="connsiteX3" fmla="*/ 116616 w 228600"/>
                <a:gd name="connsiteY3" fmla="*/ 62520 h 142266"/>
                <a:gd name="connsiteX4" fmla="*/ 174224 w 228600"/>
                <a:gd name="connsiteY4" fmla="*/ 24335 h 142266"/>
                <a:gd name="connsiteX5" fmla="*/ 179137 w 228600"/>
                <a:gd name="connsiteY5" fmla="*/ 0 h 142266"/>
                <a:gd name="connsiteX6" fmla="*/ 228600 w 228600"/>
                <a:gd name="connsiteY6" fmla="*/ 0 h 142266"/>
                <a:gd name="connsiteX7" fmla="*/ 228600 w 228600"/>
                <a:gd name="connsiteY7" fmla="*/ 142266 h 142266"/>
                <a:gd name="connsiteX8" fmla="*/ 179014 w 228600"/>
                <a:gd name="connsiteY8" fmla="*/ 142266 h 142266"/>
                <a:gd name="connsiteX9" fmla="*/ 179137 w 228600"/>
                <a:gd name="connsiteY9" fmla="*/ 141657 h 142266"/>
                <a:gd name="connsiteX10" fmla="*/ 116616 w 228600"/>
                <a:gd name="connsiteY10" fmla="*/ 79136 h 142266"/>
                <a:gd name="connsiteX11" fmla="*/ 54095 w 228600"/>
                <a:gd name="connsiteY11" fmla="*/ 141657 h 142266"/>
                <a:gd name="connsiteX12" fmla="*/ 54218 w 228600"/>
                <a:gd name="connsiteY12" fmla="*/ 142266 h 142266"/>
                <a:gd name="connsiteX13" fmla="*/ 0 w 228600"/>
                <a:gd name="connsiteY13" fmla="*/ 142266 h 142266"/>
                <a:gd name="connsiteX14" fmla="*/ 0 w 228600"/>
                <a:gd name="connsiteY14" fmla="*/ 0 h 142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8600" h="142266">
                  <a:moveTo>
                    <a:pt x="0" y="0"/>
                  </a:moveTo>
                  <a:lnTo>
                    <a:pt x="54095" y="0"/>
                  </a:lnTo>
                  <a:lnTo>
                    <a:pt x="59008" y="24335"/>
                  </a:lnTo>
                  <a:cubicBezTo>
                    <a:pt x="68500" y="46775"/>
                    <a:pt x="90719" y="62520"/>
                    <a:pt x="116616" y="62520"/>
                  </a:cubicBezTo>
                  <a:cubicBezTo>
                    <a:pt x="142513" y="62520"/>
                    <a:pt x="164733" y="46775"/>
                    <a:pt x="174224" y="24335"/>
                  </a:cubicBezTo>
                  <a:lnTo>
                    <a:pt x="179137" y="0"/>
                  </a:lnTo>
                  <a:lnTo>
                    <a:pt x="228600" y="0"/>
                  </a:lnTo>
                  <a:lnTo>
                    <a:pt x="228600" y="142266"/>
                  </a:lnTo>
                  <a:lnTo>
                    <a:pt x="179014" y="142266"/>
                  </a:lnTo>
                  <a:lnTo>
                    <a:pt x="179137" y="141657"/>
                  </a:lnTo>
                  <a:cubicBezTo>
                    <a:pt x="179137" y="107128"/>
                    <a:pt x="151145" y="79136"/>
                    <a:pt x="116616" y="79136"/>
                  </a:cubicBezTo>
                  <a:cubicBezTo>
                    <a:pt x="82087" y="79136"/>
                    <a:pt x="54095" y="107128"/>
                    <a:pt x="54095" y="141657"/>
                  </a:cubicBezTo>
                  <a:lnTo>
                    <a:pt x="54218" y="142266"/>
                  </a:lnTo>
                  <a:lnTo>
                    <a:pt x="0" y="142266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64800" rtlCol="0" anchor="ctr"/>
            <a:lstStyle/>
            <a:p>
              <a:pPr algn="ctr"/>
              <a:endParaRPr lang="en-US" sz="1200" b="1"/>
            </a:p>
          </p:txBody>
        </p:sp>
        <p:sp>
          <p:nvSpPr>
            <p:cNvPr id="63" name="Ovaal 62">
              <a:extLst>
                <a:ext uri="{FF2B5EF4-FFF2-40B4-BE49-F238E27FC236}">
                  <a16:creationId xmlns:a16="http://schemas.microsoft.com/office/drawing/2014/main" xmlns="" id="{FEA1E884-C425-4878-AD4E-704E511020AE}"/>
                </a:ext>
              </a:extLst>
            </p:cNvPr>
            <p:cNvSpPr/>
            <p:nvPr/>
          </p:nvSpPr>
          <p:spPr>
            <a:xfrm>
              <a:off x="9875846" y="3875131"/>
              <a:ext cx="862060" cy="86206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sp>
          <p:nvSpPr>
            <p:cNvPr id="85" name="Ovaal 84">
              <a:extLst>
                <a:ext uri="{FF2B5EF4-FFF2-40B4-BE49-F238E27FC236}">
                  <a16:creationId xmlns:a16="http://schemas.microsoft.com/office/drawing/2014/main" xmlns="" id="{C1763588-26B6-4CF1-8829-6F04912B37DC}"/>
                </a:ext>
              </a:extLst>
            </p:cNvPr>
            <p:cNvSpPr/>
            <p:nvPr/>
          </p:nvSpPr>
          <p:spPr>
            <a:xfrm>
              <a:off x="9901733" y="3900518"/>
              <a:ext cx="810286" cy="8102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00" b="1" dirty="0"/>
            </a:p>
          </p:txBody>
        </p:sp>
        <p:pic>
          <p:nvPicPr>
            <p:cNvPr id="98" name="Picture 8">
              <a:extLst>
                <a:ext uri="{FF2B5EF4-FFF2-40B4-BE49-F238E27FC236}">
                  <a16:creationId xmlns:a16="http://schemas.microsoft.com/office/drawing/2014/main" xmlns="" id="{D86D656C-7964-414D-ACC2-E64BD9333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90316" y="4148686"/>
              <a:ext cx="632790" cy="324946"/>
            </a:xfrm>
            <a:prstGeom prst="rect">
              <a:avLst/>
            </a:prstGeom>
          </p:spPr>
        </p:pic>
      </p:grpSp>
      <p:sp>
        <p:nvSpPr>
          <p:cNvPr id="66" name="Rechthoek 65">
            <a:extLst>
              <a:ext uri="{FF2B5EF4-FFF2-40B4-BE49-F238E27FC236}">
                <a16:creationId xmlns:a16="http://schemas.microsoft.com/office/drawing/2014/main" xmlns="" id="{6EE80297-95D6-427F-954C-85378FD3CD47}"/>
              </a:ext>
            </a:extLst>
          </p:cNvPr>
          <p:cNvSpPr/>
          <p:nvPr/>
        </p:nvSpPr>
        <p:spPr>
          <a:xfrm>
            <a:off x="-19464" y="-9170"/>
            <a:ext cx="12209773" cy="3438170"/>
          </a:xfrm>
          <a:prstGeom prst="rect">
            <a:avLst/>
          </a:pr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0DEF2AE0-875E-423A-9248-ECD20D840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o am I</a:t>
            </a:r>
          </a:p>
        </p:txBody>
      </p:sp>
      <p:sp>
        <p:nvSpPr>
          <p:cNvPr id="36" name="Vrije vorm: vorm 35">
            <a:extLst>
              <a:ext uri="{FF2B5EF4-FFF2-40B4-BE49-F238E27FC236}">
                <a16:creationId xmlns:a16="http://schemas.microsoft.com/office/drawing/2014/main" xmlns="" id="{5CE81915-C426-4E08-9AFF-B1FFA33A625A}"/>
              </a:ext>
            </a:extLst>
          </p:cNvPr>
          <p:cNvSpPr/>
          <p:nvPr/>
        </p:nvSpPr>
        <p:spPr>
          <a:xfrm>
            <a:off x="1042988" y="3022753"/>
            <a:ext cx="228600" cy="142266"/>
          </a:xfrm>
          <a:custGeom>
            <a:avLst/>
            <a:gdLst>
              <a:gd name="connsiteX0" fmla="*/ 0 w 228600"/>
              <a:gd name="connsiteY0" fmla="*/ 0 h 142266"/>
              <a:gd name="connsiteX1" fmla="*/ 54095 w 228600"/>
              <a:gd name="connsiteY1" fmla="*/ 0 h 142266"/>
              <a:gd name="connsiteX2" fmla="*/ 59008 w 228600"/>
              <a:gd name="connsiteY2" fmla="*/ 24335 h 142266"/>
              <a:gd name="connsiteX3" fmla="*/ 116616 w 228600"/>
              <a:gd name="connsiteY3" fmla="*/ 62520 h 142266"/>
              <a:gd name="connsiteX4" fmla="*/ 174224 w 228600"/>
              <a:gd name="connsiteY4" fmla="*/ 24335 h 142266"/>
              <a:gd name="connsiteX5" fmla="*/ 179137 w 228600"/>
              <a:gd name="connsiteY5" fmla="*/ 0 h 142266"/>
              <a:gd name="connsiteX6" fmla="*/ 228600 w 228600"/>
              <a:gd name="connsiteY6" fmla="*/ 0 h 142266"/>
              <a:gd name="connsiteX7" fmla="*/ 228600 w 228600"/>
              <a:gd name="connsiteY7" fmla="*/ 142266 h 142266"/>
              <a:gd name="connsiteX8" fmla="*/ 179014 w 228600"/>
              <a:gd name="connsiteY8" fmla="*/ 142266 h 142266"/>
              <a:gd name="connsiteX9" fmla="*/ 179137 w 228600"/>
              <a:gd name="connsiteY9" fmla="*/ 141657 h 142266"/>
              <a:gd name="connsiteX10" fmla="*/ 116616 w 228600"/>
              <a:gd name="connsiteY10" fmla="*/ 79136 h 142266"/>
              <a:gd name="connsiteX11" fmla="*/ 54095 w 228600"/>
              <a:gd name="connsiteY11" fmla="*/ 141657 h 142266"/>
              <a:gd name="connsiteX12" fmla="*/ 54218 w 228600"/>
              <a:gd name="connsiteY12" fmla="*/ 142266 h 142266"/>
              <a:gd name="connsiteX13" fmla="*/ 0 w 228600"/>
              <a:gd name="connsiteY13" fmla="*/ 142266 h 142266"/>
              <a:gd name="connsiteX14" fmla="*/ 0 w 228600"/>
              <a:gd name="connsiteY14" fmla="*/ 0 h 14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8600" h="142266">
                <a:moveTo>
                  <a:pt x="0" y="0"/>
                </a:moveTo>
                <a:lnTo>
                  <a:pt x="54095" y="0"/>
                </a:lnTo>
                <a:lnTo>
                  <a:pt x="59008" y="24335"/>
                </a:lnTo>
                <a:cubicBezTo>
                  <a:pt x="68500" y="46775"/>
                  <a:pt x="90719" y="62520"/>
                  <a:pt x="116616" y="62520"/>
                </a:cubicBezTo>
                <a:cubicBezTo>
                  <a:pt x="142513" y="62520"/>
                  <a:pt x="164733" y="46775"/>
                  <a:pt x="174224" y="24335"/>
                </a:cubicBezTo>
                <a:lnTo>
                  <a:pt x="179137" y="0"/>
                </a:lnTo>
                <a:lnTo>
                  <a:pt x="228600" y="0"/>
                </a:lnTo>
                <a:lnTo>
                  <a:pt x="228600" y="142266"/>
                </a:lnTo>
                <a:lnTo>
                  <a:pt x="179014" y="142266"/>
                </a:lnTo>
                <a:lnTo>
                  <a:pt x="179137" y="141657"/>
                </a:lnTo>
                <a:cubicBezTo>
                  <a:pt x="179137" y="107128"/>
                  <a:pt x="151145" y="79136"/>
                  <a:pt x="116616" y="79136"/>
                </a:cubicBezTo>
                <a:cubicBezTo>
                  <a:pt x="82087" y="79136"/>
                  <a:pt x="54095" y="107128"/>
                  <a:pt x="54095" y="141657"/>
                </a:cubicBezTo>
                <a:lnTo>
                  <a:pt x="54218" y="142266"/>
                </a:lnTo>
                <a:lnTo>
                  <a:pt x="0" y="14226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">
                <a:schemeClr val="accent2"/>
              </a:gs>
              <a:gs pos="82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64800" rtlCol="0" anchor="ctr"/>
          <a:lstStyle/>
          <a:p>
            <a:pPr algn="ctr"/>
            <a:endParaRPr lang="en-US" sz="1200" b="1"/>
          </a:p>
        </p:txBody>
      </p:sp>
      <p:sp>
        <p:nvSpPr>
          <p:cNvPr id="12" name="Ovaal 11">
            <a:extLst>
              <a:ext uri="{FF2B5EF4-FFF2-40B4-BE49-F238E27FC236}">
                <a16:creationId xmlns:a16="http://schemas.microsoft.com/office/drawing/2014/main" xmlns="" id="{9C72FF5B-18CC-41AE-95DA-7E18B7FE5AD9}"/>
              </a:ext>
            </a:extLst>
          </p:cNvPr>
          <p:cNvSpPr/>
          <p:nvPr/>
        </p:nvSpPr>
        <p:spPr>
          <a:xfrm>
            <a:off x="1218527" y="2426818"/>
            <a:ext cx="1333524" cy="13335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00" b="1" dirty="0"/>
              <a:t>The Netherlands</a:t>
            </a:r>
          </a:p>
        </p:txBody>
      </p:sp>
      <p:sp>
        <p:nvSpPr>
          <p:cNvPr id="23" name="Ovaal 22">
            <a:extLst>
              <a:ext uri="{FF2B5EF4-FFF2-40B4-BE49-F238E27FC236}">
                <a16:creationId xmlns:a16="http://schemas.microsoft.com/office/drawing/2014/main" xmlns="" id="{EF583367-9823-4C08-A169-C019F058B1FD}"/>
              </a:ext>
            </a:extLst>
          </p:cNvPr>
          <p:cNvSpPr/>
          <p:nvPr/>
        </p:nvSpPr>
        <p:spPr>
          <a:xfrm>
            <a:off x="543005" y="2812362"/>
            <a:ext cx="562438" cy="5624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64800" rtlCol="0" anchor="ctr"/>
          <a:lstStyle/>
          <a:p>
            <a:pPr algn="ctr"/>
            <a:r>
              <a:rPr lang="en-US" sz="1200" b="1" dirty="0"/>
              <a:t>2000</a:t>
            </a:r>
          </a:p>
        </p:txBody>
      </p:sp>
      <p:sp>
        <p:nvSpPr>
          <p:cNvPr id="47" name="Vrije vorm: vorm 46">
            <a:extLst>
              <a:ext uri="{FF2B5EF4-FFF2-40B4-BE49-F238E27FC236}">
                <a16:creationId xmlns:a16="http://schemas.microsoft.com/office/drawing/2014/main" xmlns="" id="{48CAD3A1-A554-4FDC-84F1-214EBB8A7B9C}"/>
              </a:ext>
            </a:extLst>
          </p:cNvPr>
          <p:cNvSpPr/>
          <p:nvPr/>
        </p:nvSpPr>
        <p:spPr>
          <a:xfrm>
            <a:off x="10915650" y="3022753"/>
            <a:ext cx="228600" cy="142266"/>
          </a:xfrm>
          <a:custGeom>
            <a:avLst/>
            <a:gdLst>
              <a:gd name="connsiteX0" fmla="*/ 0 w 228600"/>
              <a:gd name="connsiteY0" fmla="*/ 0 h 142266"/>
              <a:gd name="connsiteX1" fmla="*/ 54095 w 228600"/>
              <a:gd name="connsiteY1" fmla="*/ 0 h 142266"/>
              <a:gd name="connsiteX2" fmla="*/ 59008 w 228600"/>
              <a:gd name="connsiteY2" fmla="*/ 24335 h 142266"/>
              <a:gd name="connsiteX3" fmla="*/ 116616 w 228600"/>
              <a:gd name="connsiteY3" fmla="*/ 62520 h 142266"/>
              <a:gd name="connsiteX4" fmla="*/ 174224 w 228600"/>
              <a:gd name="connsiteY4" fmla="*/ 24335 h 142266"/>
              <a:gd name="connsiteX5" fmla="*/ 179137 w 228600"/>
              <a:gd name="connsiteY5" fmla="*/ 0 h 142266"/>
              <a:gd name="connsiteX6" fmla="*/ 228600 w 228600"/>
              <a:gd name="connsiteY6" fmla="*/ 0 h 142266"/>
              <a:gd name="connsiteX7" fmla="*/ 228600 w 228600"/>
              <a:gd name="connsiteY7" fmla="*/ 142266 h 142266"/>
              <a:gd name="connsiteX8" fmla="*/ 179014 w 228600"/>
              <a:gd name="connsiteY8" fmla="*/ 142266 h 142266"/>
              <a:gd name="connsiteX9" fmla="*/ 179137 w 228600"/>
              <a:gd name="connsiteY9" fmla="*/ 141657 h 142266"/>
              <a:gd name="connsiteX10" fmla="*/ 116616 w 228600"/>
              <a:gd name="connsiteY10" fmla="*/ 79136 h 142266"/>
              <a:gd name="connsiteX11" fmla="*/ 54095 w 228600"/>
              <a:gd name="connsiteY11" fmla="*/ 141657 h 142266"/>
              <a:gd name="connsiteX12" fmla="*/ 54218 w 228600"/>
              <a:gd name="connsiteY12" fmla="*/ 142266 h 142266"/>
              <a:gd name="connsiteX13" fmla="*/ 0 w 228600"/>
              <a:gd name="connsiteY13" fmla="*/ 142266 h 142266"/>
              <a:gd name="connsiteX14" fmla="*/ 0 w 228600"/>
              <a:gd name="connsiteY14" fmla="*/ 0 h 14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8600" h="142266">
                <a:moveTo>
                  <a:pt x="0" y="0"/>
                </a:moveTo>
                <a:lnTo>
                  <a:pt x="54095" y="0"/>
                </a:lnTo>
                <a:lnTo>
                  <a:pt x="59008" y="24335"/>
                </a:lnTo>
                <a:cubicBezTo>
                  <a:pt x="68500" y="46775"/>
                  <a:pt x="90719" y="62520"/>
                  <a:pt x="116616" y="62520"/>
                </a:cubicBezTo>
                <a:cubicBezTo>
                  <a:pt x="142513" y="62520"/>
                  <a:pt x="164733" y="46775"/>
                  <a:pt x="174224" y="24335"/>
                </a:cubicBezTo>
                <a:lnTo>
                  <a:pt x="179137" y="0"/>
                </a:lnTo>
                <a:lnTo>
                  <a:pt x="228600" y="0"/>
                </a:lnTo>
                <a:lnTo>
                  <a:pt x="228600" y="142266"/>
                </a:lnTo>
                <a:lnTo>
                  <a:pt x="179014" y="142266"/>
                </a:lnTo>
                <a:lnTo>
                  <a:pt x="179137" y="141657"/>
                </a:lnTo>
                <a:cubicBezTo>
                  <a:pt x="179137" y="107128"/>
                  <a:pt x="151145" y="79136"/>
                  <a:pt x="116616" y="79136"/>
                </a:cubicBezTo>
                <a:cubicBezTo>
                  <a:pt x="82087" y="79136"/>
                  <a:pt x="54095" y="107128"/>
                  <a:pt x="54095" y="141657"/>
                </a:cubicBezTo>
                <a:lnTo>
                  <a:pt x="54218" y="142266"/>
                </a:lnTo>
                <a:lnTo>
                  <a:pt x="0" y="14226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">
                <a:schemeClr val="accent2"/>
              </a:gs>
              <a:gs pos="82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64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/>
          </a:p>
        </p:txBody>
      </p:sp>
      <p:sp>
        <p:nvSpPr>
          <p:cNvPr id="19" name="Ovaal 18">
            <a:extLst>
              <a:ext uri="{FF2B5EF4-FFF2-40B4-BE49-F238E27FC236}">
                <a16:creationId xmlns:a16="http://schemas.microsoft.com/office/drawing/2014/main" xmlns="" id="{9D06F2A3-F7F8-4271-8423-96EF54018E25}"/>
              </a:ext>
            </a:extLst>
          </p:cNvPr>
          <p:cNvSpPr/>
          <p:nvPr/>
        </p:nvSpPr>
        <p:spPr>
          <a:xfrm>
            <a:off x="9639949" y="2426818"/>
            <a:ext cx="1333524" cy="13335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/>
              <a:t>The Netherlands</a:t>
            </a:r>
          </a:p>
        </p:txBody>
      </p:sp>
      <p:sp>
        <p:nvSpPr>
          <p:cNvPr id="25" name="Ovaal 24">
            <a:extLst>
              <a:ext uri="{FF2B5EF4-FFF2-40B4-BE49-F238E27FC236}">
                <a16:creationId xmlns:a16="http://schemas.microsoft.com/office/drawing/2014/main" xmlns="" id="{7CA46A8E-264E-41C9-99D4-3231DE02EA5A}"/>
              </a:ext>
            </a:extLst>
          </p:cNvPr>
          <p:cNvSpPr/>
          <p:nvPr/>
        </p:nvSpPr>
        <p:spPr>
          <a:xfrm>
            <a:off x="11086557" y="2812363"/>
            <a:ext cx="562438" cy="5624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64800" rtlCol="0" anchor="ctr"/>
          <a:lstStyle/>
          <a:p>
            <a:pPr algn="ctr"/>
            <a:r>
              <a:rPr lang="en-US" sz="1200" b="1" dirty="0"/>
              <a:t>2017</a:t>
            </a:r>
          </a:p>
        </p:txBody>
      </p:sp>
      <p:sp>
        <p:nvSpPr>
          <p:cNvPr id="13" name="Ovaal 12">
            <a:extLst>
              <a:ext uri="{FF2B5EF4-FFF2-40B4-BE49-F238E27FC236}">
                <a16:creationId xmlns:a16="http://schemas.microsoft.com/office/drawing/2014/main" xmlns="" id="{B8D2A141-5E23-43F3-9A9C-CD2DE75466D9}"/>
              </a:ext>
            </a:extLst>
          </p:cNvPr>
          <p:cNvSpPr/>
          <p:nvPr/>
        </p:nvSpPr>
        <p:spPr>
          <a:xfrm>
            <a:off x="3419133" y="2426818"/>
            <a:ext cx="1333524" cy="13335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/>
              <a:t>The Netherlands</a:t>
            </a:r>
          </a:p>
        </p:txBody>
      </p:sp>
      <p:sp>
        <p:nvSpPr>
          <p:cNvPr id="41" name="Vrije vorm: vorm 40">
            <a:extLst>
              <a:ext uri="{FF2B5EF4-FFF2-40B4-BE49-F238E27FC236}">
                <a16:creationId xmlns:a16="http://schemas.microsoft.com/office/drawing/2014/main" xmlns="" id="{6BA6A25F-20D0-4562-8191-124CFB8D52F6}"/>
              </a:ext>
            </a:extLst>
          </p:cNvPr>
          <p:cNvSpPr/>
          <p:nvPr/>
        </p:nvSpPr>
        <p:spPr>
          <a:xfrm rot="2700000">
            <a:off x="3454724" y="2510975"/>
            <a:ext cx="228600" cy="142266"/>
          </a:xfrm>
          <a:custGeom>
            <a:avLst/>
            <a:gdLst>
              <a:gd name="connsiteX0" fmla="*/ 0 w 228600"/>
              <a:gd name="connsiteY0" fmla="*/ 0 h 142266"/>
              <a:gd name="connsiteX1" fmla="*/ 54095 w 228600"/>
              <a:gd name="connsiteY1" fmla="*/ 0 h 142266"/>
              <a:gd name="connsiteX2" fmla="*/ 59008 w 228600"/>
              <a:gd name="connsiteY2" fmla="*/ 24335 h 142266"/>
              <a:gd name="connsiteX3" fmla="*/ 116616 w 228600"/>
              <a:gd name="connsiteY3" fmla="*/ 62520 h 142266"/>
              <a:gd name="connsiteX4" fmla="*/ 174224 w 228600"/>
              <a:gd name="connsiteY4" fmla="*/ 24335 h 142266"/>
              <a:gd name="connsiteX5" fmla="*/ 179137 w 228600"/>
              <a:gd name="connsiteY5" fmla="*/ 0 h 142266"/>
              <a:gd name="connsiteX6" fmla="*/ 228600 w 228600"/>
              <a:gd name="connsiteY6" fmla="*/ 0 h 142266"/>
              <a:gd name="connsiteX7" fmla="*/ 228600 w 228600"/>
              <a:gd name="connsiteY7" fmla="*/ 142266 h 142266"/>
              <a:gd name="connsiteX8" fmla="*/ 179014 w 228600"/>
              <a:gd name="connsiteY8" fmla="*/ 142266 h 142266"/>
              <a:gd name="connsiteX9" fmla="*/ 179137 w 228600"/>
              <a:gd name="connsiteY9" fmla="*/ 141657 h 142266"/>
              <a:gd name="connsiteX10" fmla="*/ 116616 w 228600"/>
              <a:gd name="connsiteY10" fmla="*/ 79136 h 142266"/>
              <a:gd name="connsiteX11" fmla="*/ 54095 w 228600"/>
              <a:gd name="connsiteY11" fmla="*/ 141657 h 142266"/>
              <a:gd name="connsiteX12" fmla="*/ 54218 w 228600"/>
              <a:gd name="connsiteY12" fmla="*/ 142266 h 142266"/>
              <a:gd name="connsiteX13" fmla="*/ 0 w 228600"/>
              <a:gd name="connsiteY13" fmla="*/ 142266 h 142266"/>
              <a:gd name="connsiteX14" fmla="*/ 0 w 228600"/>
              <a:gd name="connsiteY14" fmla="*/ 0 h 14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8600" h="142266">
                <a:moveTo>
                  <a:pt x="0" y="0"/>
                </a:moveTo>
                <a:lnTo>
                  <a:pt x="54095" y="0"/>
                </a:lnTo>
                <a:lnTo>
                  <a:pt x="59008" y="24335"/>
                </a:lnTo>
                <a:cubicBezTo>
                  <a:pt x="68500" y="46775"/>
                  <a:pt x="90719" y="62520"/>
                  <a:pt x="116616" y="62520"/>
                </a:cubicBezTo>
                <a:cubicBezTo>
                  <a:pt x="142513" y="62520"/>
                  <a:pt x="164733" y="46775"/>
                  <a:pt x="174224" y="24335"/>
                </a:cubicBezTo>
                <a:lnTo>
                  <a:pt x="179137" y="0"/>
                </a:lnTo>
                <a:lnTo>
                  <a:pt x="228600" y="0"/>
                </a:lnTo>
                <a:lnTo>
                  <a:pt x="228600" y="142266"/>
                </a:lnTo>
                <a:lnTo>
                  <a:pt x="179014" y="142266"/>
                </a:lnTo>
                <a:lnTo>
                  <a:pt x="179137" y="141657"/>
                </a:lnTo>
                <a:cubicBezTo>
                  <a:pt x="179137" y="107128"/>
                  <a:pt x="151145" y="79136"/>
                  <a:pt x="116616" y="79136"/>
                </a:cubicBezTo>
                <a:cubicBezTo>
                  <a:pt x="82087" y="79136"/>
                  <a:pt x="54095" y="107128"/>
                  <a:pt x="54095" y="141657"/>
                </a:cubicBezTo>
                <a:lnTo>
                  <a:pt x="54218" y="142266"/>
                </a:lnTo>
                <a:lnTo>
                  <a:pt x="0" y="14226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">
                <a:schemeClr val="accent2"/>
              </a:gs>
              <a:gs pos="82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64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/>
          </a:p>
        </p:txBody>
      </p:sp>
      <p:sp>
        <p:nvSpPr>
          <p:cNvPr id="42" name="Ovaal 41">
            <a:extLst>
              <a:ext uri="{FF2B5EF4-FFF2-40B4-BE49-F238E27FC236}">
                <a16:creationId xmlns:a16="http://schemas.microsoft.com/office/drawing/2014/main" xmlns="" id="{F3BDC9D3-2E48-4B4B-ACE1-39626CD0A4FA}"/>
              </a:ext>
            </a:extLst>
          </p:cNvPr>
          <p:cNvSpPr/>
          <p:nvPr/>
        </p:nvSpPr>
        <p:spPr>
          <a:xfrm>
            <a:off x="3057902" y="2064740"/>
            <a:ext cx="562438" cy="5624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64800" rtlCol="0" anchor="ctr"/>
          <a:lstStyle/>
          <a:p>
            <a:pPr algn="ctr"/>
            <a:r>
              <a:rPr lang="en-US" sz="1200" b="1" dirty="0"/>
              <a:t>2001</a:t>
            </a:r>
          </a:p>
        </p:txBody>
      </p:sp>
      <p:sp>
        <p:nvSpPr>
          <p:cNvPr id="14" name="Ovaal 13">
            <a:extLst>
              <a:ext uri="{FF2B5EF4-FFF2-40B4-BE49-F238E27FC236}">
                <a16:creationId xmlns:a16="http://schemas.microsoft.com/office/drawing/2014/main" xmlns="" id="{A4394A0D-5CB1-45D4-A0CD-2B82F1246D8B}"/>
              </a:ext>
            </a:extLst>
          </p:cNvPr>
          <p:cNvSpPr/>
          <p:nvPr/>
        </p:nvSpPr>
        <p:spPr>
          <a:xfrm>
            <a:off x="5429239" y="2426818"/>
            <a:ext cx="1333524" cy="13335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/>
              <a:t>Switzerland</a:t>
            </a:r>
          </a:p>
        </p:txBody>
      </p:sp>
      <p:sp>
        <p:nvSpPr>
          <p:cNvPr id="43" name="Vrije vorm: vorm 42">
            <a:extLst>
              <a:ext uri="{FF2B5EF4-FFF2-40B4-BE49-F238E27FC236}">
                <a16:creationId xmlns:a16="http://schemas.microsoft.com/office/drawing/2014/main" xmlns="" id="{EB097F32-D501-4A29-A9A8-754D4F09ABC4}"/>
              </a:ext>
            </a:extLst>
          </p:cNvPr>
          <p:cNvSpPr/>
          <p:nvPr/>
        </p:nvSpPr>
        <p:spPr>
          <a:xfrm rot="5400000">
            <a:off x="5977129" y="2298557"/>
            <a:ext cx="228600" cy="142266"/>
          </a:xfrm>
          <a:custGeom>
            <a:avLst/>
            <a:gdLst>
              <a:gd name="connsiteX0" fmla="*/ 0 w 228600"/>
              <a:gd name="connsiteY0" fmla="*/ 0 h 142266"/>
              <a:gd name="connsiteX1" fmla="*/ 54095 w 228600"/>
              <a:gd name="connsiteY1" fmla="*/ 0 h 142266"/>
              <a:gd name="connsiteX2" fmla="*/ 59008 w 228600"/>
              <a:gd name="connsiteY2" fmla="*/ 24335 h 142266"/>
              <a:gd name="connsiteX3" fmla="*/ 116616 w 228600"/>
              <a:gd name="connsiteY3" fmla="*/ 62520 h 142266"/>
              <a:gd name="connsiteX4" fmla="*/ 174224 w 228600"/>
              <a:gd name="connsiteY4" fmla="*/ 24335 h 142266"/>
              <a:gd name="connsiteX5" fmla="*/ 179137 w 228600"/>
              <a:gd name="connsiteY5" fmla="*/ 0 h 142266"/>
              <a:gd name="connsiteX6" fmla="*/ 228600 w 228600"/>
              <a:gd name="connsiteY6" fmla="*/ 0 h 142266"/>
              <a:gd name="connsiteX7" fmla="*/ 228600 w 228600"/>
              <a:gd name="connsiteY7" fmla="*/ 142266 h 142266"/>
              <a:gd name="connsiteX8" fmla="*/ 179014 w 228600"/>
              <a:gd name="connsiteY8" fmla="*/ 142266 h 142266"/>
              <a:gd name="connsiteX9" fmla="*/ 179137 w 228600"/>
              <a:gd name="connsiteY9" fmla="*/ 141657 h 142266"/>
              <a:gd name="connsiteX10" fmla="*/ 116616 w 228600"/>
              <a:gd name="connsiteY10" fmla="*/ 79136 h 142266"/>
              <a:gd name="connsiteX11" fmla="*/ 54095 w 228600"/>
              <a:gd name="connsiteY11" fmla="*/ 141657 h 142266"/>
              <a:gd name="connsiteX12" fmla="*/ 54218 w 228600"/>
              <a:gd name="connsiteY12" fmla="*/ 142266 h 142266"/>
              <a:gd name="connsiteX13" fmla="*/ 0 w 228600"/>
              <a:gd name="connsiteY13" fmla="*/ 142266 h 142266"/>
              <a:gd name="connsiteX14" fmla="*/ 0 w 228600"/>
              <a:gd name="connsiteY14" fmla="*/ 0 h 14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8600" h="142266">
                <a:moveTo>
                  <a:pt x="0" y="0"/>
                </a:moveTo>
                <a:lnTo>
                  <a:pt x="54095" y="0"/>
                </a:lnTo>
                <a:lnTo>
                  <a:pt x="59008" y="24335"/>
                </a:lnTo>
                <a:cubicBezTo>
                  <a:pt x="68500" y="46775"/>
                  <a:pt x="90719" y="62520"/>
                  <a:pt x="116616" y="62520"/>
                </a:cubicBezTo>
                <a:cubicBezTo>
                  <a:pt x="142513" y="62520"/>
                  <a:pt x="164733" y="46775"/>
                  <a:pt x="174224" y="24335"/>
                </a:cubicBezTo>
                <a:lnTo>
                  <a:pt x="179137" y="0"/>
                </a:lnTo>
                <a:lnTo>
                  <a:pt x="228600" y="0"/>
                </a:lnTo>
                <a:lnTo>
                  <a:pt x="228600" y="142266"/>
                </a:lnTo>
                <a:lnTo>
                  <a:pt x="179014" y="142266"/>
                </a:lnTo>
                <a:lnTo>
                  <a:pt x="179137" y="141657"/>
                </a:lnTo>
                <a:cubicBezTo>
                  <a:pt x="179137" y="107128"/>
                  <a:pt x="151145" y="79136"/>
                  <a:pt x="116616" y="79136"/>
                </a:cubicBezTo>
                <a:cubicBezTo>
                  <a:pt x="82087" y="79136"/>
                  <a:pt x="54095" y="107128"/>
                  <a:pt x="54095" y="141657"/>
                </a:cubicBezTo>
                <a:lnTo>
                  <a:pt x="54218" y="142266"/>
                </a:lnTo>
                <a:lnTo>
                  <a:pt x="0" y="14226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">
                <a:schemeClr val="accent2"/>
              </a:gs>
              <a:gs pos="82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64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/>
          </a:p>
        </p:txBody>
      </p:sp>
      <p:sp>
        <p:nvSpPr>
          <p:cNvPr id="44" name="Ovaal 43">
            <a:extLst>
              <a:ext uri="{FF2B5EF4-FFF2-40B4-BE49-F238E27FC236}">
                <a16:creationId xmlns:a16="http://schemas.microsoft.com/office/drawing/2014/main" xmlns="" id="{7099F676-6FC3-4529-9FD7-F525CA2C89AD}"/>
              </a:ext>
            </a:extLst>
          </p:cNvPr>
          <p:cNvSpPr/>
          <p:nvPr/>
        </p:nvSpPr>
        <p:spPr>
          <a:xfrm>
            <a:off x="5810210" y="1757641"/>
            <a:ext cx="562438" cy="5624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64800" rtlCol="0" anchor="ctr"/>
          <a:lstStyle/>
          <a:p>
            <a:pPr algn="ctr"/>
            <a:r>
              <a:rPr lang="en-US" sz="1200" b="1" dirty="0"/>
              <a:t>2010</a:t>
            </a:r>
          </a:p>
        </p:txBody>
      </p:sp>
      <p:sp>
        <p:nvSpPr>
          <p:cNvPr id="17" name="Ovaal 16">
            <a:extLst>
              <a:ext uri="{FF2B5EF4-FFF2-40B4-BE49-F238E27FC236}">
                <a16:creationId xmlns:a16="http://schemas.microsoft.com/office/drawing/2014/main" xmlns="" id="{3F852D42-137A-4329-978F-DD3F42726735}"/>
              </a:ext>
            </a:extLst>
          </p:cNvPr>
          <p:cNvSpPr/>
          <p:nvPr/>
        </p:nvSpPr>
        <p:spPr>
          <a:xfrm>
            <a:off x="7439345" y="2426818"/>
            <a:ext cx="1333524" cy="133352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/>
              <a:t>United </a:t>
            </a:r>
            <a:r>
              <a:rPr lang="en-US" sz="1000" b="1" dirty="0" err="1"/>
              <a:t>arab</a:t>
            </a:r>
            <a:r>
              <a:rPr lang="en-US" sz="1000" b="1" dirty="0"/>
              <a:t> Emirates</a:t>
            </a:r>
          </a:p>
        </p:txBody>
      </p:sp>
      <p:sp>
        <p:nvSpPr>
          <p:cNvPr id="45" name="Vrije vorm: vorm 44">
            <a:extLst>
              <a:ext uri="{FF2B5EF4-FFF2-40B4-BE49-F238E27FC236}">
                <a16:creationId xmlns:a16="http://schemas.microsoft.com/office/drawing/2014/main" xmlns="" id="{B9B4BD45-73CA-421A-B805-916B8D362FBC}"/>
              </a:ext>
            </a:extLst>
          </p:cNvPr>
          <p:cNvSpPr/>
          <p:nvPr/>
        </p:nvSpPr>
        <p:spPr>
          <a:xfrm rot="18900000">
            <a:off x="8503665" y="2510975"/>
            <a:ext cx="228600" cy="142266"/>
          </a:xfrm>
          <a:custGeom>
            <a:avLst/>
            <a:gdLst>
              <a:gd name="connsiteX0" fmla="*/ 0 w 228600"/>
              <a:gd name="connsiteY0" fmla="*/ 0 h 142266"/>
              <a:gd name="connsiteX1" fmla="*/ 54095 w 228600"/>
              <a:gd name="connsiteY1" fmla="*/ 0 h 142266"/>
              <a:gd name="connsiteX2" fmla="*/ 59008 w 228600"/>
              <a:gd name="connsiteY2" fmla="*/ 24335 h 142266"/>
              <a:gd name="connsiteX3" fmla="*/ 116616 w 228600"/>
              <a:gd name="connsiteY3" fmla="*/ 62520 h 142266"/>
              <a:gd name="connsiteX4" fmla="*/ 174224 w 228600"/>
              <a:gd name="connsiteY4" fmla="*/ 24335 h 142266"/>
              <a:gd name="connsiteX5" fmla="*/ 179137 w 228600"/>
              <a:gd name="connsiteY5" fmla="*/ 0 h 142266"/>
              <a:gd name="connsiteX6" fmla="*/ 228600 w 228600"/>
              <a:gd name="connsiteY6" fmla="*/ 0 h 142266"/>
              <a:gd name="connsiteX7" fmla="*/ 228600 w 228600"/>
              <a:gd name="connsiteY7" fmla="*/ 142266 h 142266"/>
              <a:gd name="connsiteX8" fmla="*/ 179014 w 228600"/>
              <a:gd name="connsiteY8" fmla="*/ 142266 h 142266"/>
              <a:gd name="connsiteX9" fmla="*/ 179137 w 228600"/>
              <a:gd name="connsiteY9" fmla="*/ 141657 h 142266"/>
              <a:gd name="connsiteX10" fmla="*/ 116616 w 228600"/>
              <a:gd name="connsiteY10" fmla="*/ 79136 h 142266"/>
              <a:gd name="connsiteX11" fmla="*/ 54095 w 228600"/>
              <a:gd name="connsiteY11" fmla="*/ 141657 h 142266"/>
              <a:gd name="connsiteX12" fmla="*/ 54218 w 228600"/>
              <a:gd name="connsiteY12" fmla="*/ 142266 h 142266"/>
              <a:gd name="connsiteX13" fmla="*/ 0 w 228600"/>
              <a:gd name="connsiteY13" fmla="*/ 142266 h 142266"/>
              <a:gd name="connsiteX14" fmla="*/ 0 w 228600"/>
              <a:gd name="connsiteY14" fmla="*/ 0 h 14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8600" h="142266">
                <a:moveTo>
                  <a:pt x="0" y="0"/>
                </a:moveTo>
                <a:lnTo>
                  <a:pt x="54095" y="0"/>
                </a:lnTo>
                <a:lnTo>
                  <a:pt x="59008" y="24335"/>
                </a:lnTo>
                <a:cubicBezTo>
                  <a:pt x="68500" y="46775"/>
                  <a:pt x="90719" y="62520"/>
                  <a:pt x="116616" y="62520"/>
                </a:cubicBezTo>
                <a:cubicBezTo>
                  <a:pt x="142513" y="62520"/>
                  <a:pt x="164733" y="46775"/>
                  <a:pt x="174224" y="24335"/>
                </a:cubicBezTo>
                <a:lnTo>
                  <a:pt x="179137" y="0"/>
                </a:lnTo>
                <a:lnTo>
                  <a:pt x="228600" y="0"/>
                </a:lnTo>
                <a:lnTo>
                  <a:pt x="228600" y="142266"/>
                </a:lnTo>
                <a:lnTo>
                  <a:pt x="179014" y="142266"/>
                </a:lnTo>
                <a:lnTo>
                  <a:pt x="179137" y="141657"/>
                </a:lnTo>
                <a:cubicBezTo>
                  <a:pt x="179137" y="107128"/>
                  <a:pt x="151145" y="79136"/>
                  <a:pt x="116616" y="79136"/>
                </a:cubicBezTo>
                <a:cubicBezTo>
                  <a:pt x="82087" y="79136"/>
                  <a:pt x="54095" y="107128"/>
                  <a:pt x="54095" y="141657"/>
                </a:cubicBezTo>
                <a:lnTo>
                  <a:pt x="54218" y="142266"/>
                </a:lnTo>
                <a:lnTo>
                  <a:pt x="0" y="14226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0000">
                <a:schemeClr val="accent2"/>
              </a:gs>
              <a:gs pos="82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64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/>
          </a:p>
        </p:txBody>
      </p:sp>
      <p:sp>
        <p:nvSpPr>
          <p:cNvPr id="46" name="Ovaal 45">
            <a:extLst>
              <a:ext uri="{FF2B5EF4-FFF2-40B4-BE49-F238E27FC236}">
                <a16:creationId xmlns:a16="http://schemas.microsoft.com/office/drawing/2014/main" xmlns="" id="{622E833A-B73E-4819-B597-D7ABF094D5E2}"/>
              </a:ext>
            </a:extLst>
          </p:cNvPr>
          <p:cNvSpPr/>
          <p:nvPr/>
        </p:nvSpPr>
        <p:spPr>
          <a:xfrm>
            <a:off x="8572044" y="2059977"/>
            <a:ext cx="562438" cy="5624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64800" rtlCol="0" anchor="ctr"/>
          <a:lstStyle/>
          <a:p>
            <a:pPr algn="ctr"/>
            <a:r>
              <a:rPr lang="en-US" sz="1200" b="1" dirty="0"/>
              <a:t>2013</a:t>
            </a:r>
          </a:p>
        </p:txBody>
      </p:sp>
      <p:sp>
        <p:nvSpPr>
          <p:cNvPr id="11" name="Tijdelijke aanduiding voor voettekst 10">
            <a:extLst>
              <a:ext uri="{FF2B5EF4-FFF2-40B4-BE49-F238E27FC236}">
                <a16:creationId xmlns:a16="http://schemas.microsoft.com/office/drawing/2014/main" xmlns="" id="{E9DA7942-C52D-40B0-8123-F9620E0B6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</p:spTree>
    <p:extLst>
      <p:ext uri="{BB962C8B-B14F-4D97-AF65-F5344CB8AC3E}">
        <p14:creationId xmlns:p14="http://schemas.microsoft.com/office/powerpoint/2010/main" val="401345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22" presetClass="entr" presetSubtype="2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21" dur="500" fill="hold"/>
                                        <p:tgtEl>
                                          <p:spTgt spid="2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2" presetClass="entr" presetSubtype="1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700"/>
                            </p:stCondLst>
                            <p:childTnLst>
                              <p:par>
                                <p:cTn id="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43" dur="500" fill="hold"/>
                                        <p:tgtEl>
                                          <p:spTgt spid="42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44" presetID="2" presetClass="entr" presetSubtype="1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400"/>
                            </p:stCondLst>
                            <p:childTnLst>
                              <p:par>
                                <p:cTn id="4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5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65" dur="500" fill="hold"/>
                                        <p:tgtEl>
                                          <p:spTgt spid="44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66" presetID="2" presetClass="entr" presetSubtype="1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100"/>
                            </p:stCondLst>
                            <p:childTnLst>
                              <p:par>
                                <p:cTn id="7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7" dur="500" fill="hold"/>
                                        <p:tgtEl>
                                          <p:spTgt spid="1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87" dur="500" fill="hold"/>
                                        <p:tgtEl>
                                          <p:spTgt spid="4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88" presetID="2" presetClass="entr" presetSubtype="1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800"/>
                            </p:stCondLst>
                            <p:childTnLst>
                              <p:par>
                                <p:cTn id="9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6" presetClass="emph" presetSubtype="0" accel="50000" decel="5000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9" dur="500" fill="hold"/>
                                        <p:tgtEl>
                                          <p:spTgt spid="1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00" presetID="2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3" presetClass="entr" presetSubtype="16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6" presetClass="emph" presetSubtype="0" accel="50000" decel="50000" autoRev="1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109" dur="500" fill="hold"/>
                                        <p:tgtEl>
                                          <p:spTgt spid="25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10" presetID="2" presetClass="entr" presetSubtype="1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12" grpId="0" animBg="1"/>
      <p:bldP spid="12" grpId="1" animBg="1"/>
      <p:bldP spid="23" grpId="0" animBg="1"/>
      <p:bldP spid="23" grpId="1" animBg="1"/>
      <p:bldP spid="47" grpId="0" animBg="1"/>
      <p:bldP spid="19" grpId="0" animBg="1"/>
      <p:bldP spid="19" grpId="1" animBg="1"/>
      <p:bldP spid="25" grpId="0" animBg="1"/>
      <p:bldP spid="25" grpId="1" animBg="1"/>
      <p:bldP spid="13" grpId="0" animBg="1"/>
      <p:bldP spid="13" grpId="1" animBg="1"/>
      <p:bldP spid="41" grpId="0" animBg="1"/>
      <p:bldP spid="42" grpId="0" animBg="1"/>
      <p:bldP spid="42" grpId="1" animBg="1"/>
      <p:bldP spid="14" grpId="0" animBg="1"/>
      <p:bldP spid="14" grpId="1" animBg="1"/>
      <p:bldP spid="43" grpId="0" animBg="1"/>
      <p:bldP spid="44" grpId="0" animBg="1"/>
      <p:bldP spid="44" grpId="1" animBg="1"/>
      <p:bldP spid="17" grpId="0" animBg="1"/>
      <p:bldP spid="17" grpId="1" animBg="1"/>
      <p:bldP spid="45" grpId="0" animBg="1"/>
      <p:bldP spid="46" grpId="0" animBg="1"/>
      <p:bldP spid="46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9AA0BE0E-C18D-48D8-B25A-9CF08A109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oyal Friesland Campina Facts &amp; Figures</a:t>
            </a:r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5B94E9E2-4FFF-4265-98E8-4547F96868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 dirty="0"/>
              <a:t>Promotion Optimization Institute | European Summit 2018 | Budapest, Hungary</a:t>
            </a:r>
          </a:p>
        </p:txBody>
      </p:sp>
      <p:grpSp>
        <p:nvGrpSpPr>
          <p:cNvPr id="104" name="#6">
            <a:extLst>
              <a:ext uri="{FF2B5EF4-FFF2-40B4-BE49-F238E27FC236}">
                <a16:creationId xmlns:a16="http://schemas.microsoft.com/office/drawing/2014/main" xmlns="" id="{1A695D54-C3F5-472D-BFD6-2776AE56F7B6}"/>
              </a:ext>
            </a:extLst>
          </p:cNvPr>
          <p:cNvGrpSpPr/>
          <p:nvPr/>
        </p:nvGrpSpPr>
        <p:grpSpPr>
          <a:xfrm>
            <a:off x="8312894" y="3799770"/>
            <a:ext cx="3339277" cy="1808473"/>
            <a:chOff x="8312894" y="3799770"/>
            <a:chExt cx="3339277" cy="1808473"/>
          </a:xfrm>
        </p:grpSpPr>
        <p:sp>
          <p:nvSpPr>
            <p:cNvPr id="20" name="Rechthoek: afgeronde hoeken 19">
              <a:extLst>
                <a:ext uri="{FF2B5EF4-FFF2-40B4-BE49-F238E27FC236}">
                  <a16:creationId xmlns:a16="http://schemas.microsoft.com/office/drawing/2014/main" xmlns="" id="{F731A16C-2C6D-4FAA-9A94-453725F136ED}"/>
                </a:ext>
              </a:extLst>
            </p:cNvPr>
            <p:cNvSpPr/>
            <p:nvPr/>
          </p:nvSpPr>
          <p:spPr>
            <a:xfrm>
              <a:off x="8312894" y="3799770"/>
              <a:ext cx="3339277" cy="1808473"/>
            </a:xfrm>
            <a:prstGeom prst="roundRect">
              <a:avLst>
                <a:gd name="adj" fmla="val 411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44000" rIns="144000" bIns="180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nl-NL" sz="1400" dirty="0"/>
                <a:t>Every </a:t>
              </a:r>
              <a:r>
                <a:rPr lang="nl-NL" sz="1400" dirty="0" err="1"/>
                <a:t>day</a:t>
              </a:r>
              <a:r>
                <a:rPr lang="nl-NL" sz="1400" dirty="0"/>
                <a:t> </a:t>
              </a:r>
              <a:br>
                <a:rPr lang="nl-NL" sz="1400" dirty="0"/>
              </a:br>
              <a:r>
                <a:rPr lang="nl-NL" sz="2400" b="1" dirty="0" err="1">
                  <a:solidFill>
                    <a:schemeClr val="bg1"/>
                  </a:solidFill>
                </a:rPr>
                <a:t>millions</a:t>
              </a:r>
              <a:r>
                <a:rPr lang="nl-NL" sz="2400" b="1" dirty="0">
                  <a:solidFill>
                    <a:schemeClr val="bg1"/>
                  </a:solidFill>
                </a:rPr>
                <a:t> </a:t>
              </a:r>
              <a:r>
                <a:rPr lang="nl-NL" sz="1400" dirty="0"/>
                <a:t>of </a:t>
              </a:r>
              <a:r>
                <a:rPr lang="nl-NL" sz="1400" dirty="0" err="1"/>
                <a:t>customers</a:t>
              </a:r>
              <a:endParaRPr lang="nl-NL" sz="1400" dirty="0"/>
            </a:p>
          </p:txBody>
        </p:sp>
        <p:grpSp>
          <p:nvGrpSpPr>
            <p:cNvPr id="34" name="Group 9">
              <a:extLst>
                <a:ext uri="{FF2B5EF4-FFF2-40B4-BE49-F238E27FC236}">
                  <a16:creationId xmlns:a16="http://schemas.microsoft.com/office/drawing/2014/main" xmlns="" id="{FAA6BAC7-2942-4176-B71B-90B5A76294C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679590" y="4039856"/>
              <a:ext cx="605884" cy="662381"/>
              <a:chOff x="2285" y="462"/>
              <a:chExt cx="3110" cy="3400"/>
            </a:xfrm>
            <a:solidFill>
              <a:schemeClr val="bg1"/>
            </a:solidFill>
          </p:grpSpPr>
          <p:sp>
            <p:nvSpPr>
              <p:cNvPr id="36" name="Freeform 10">
                <a:extLst>
                  <a:ext uri="{FF2B5EF4-FFF2-40B4-BE49-F238E27FC236}">
                    <a16:creationId xmlns:a16="http://schemas.microsoft.com/office/drawing/2014/main" xmlns="" id="{C6294693-FD8B-43C6-A024-67E95CFE51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0" y="2351"/>
                <a:ext cx="435" cy="434"/>
              </a:xfrm>
              <a:custGeom>
                <a:avLst/>
                <a:gdLst>
                  <a:gd name="T0" fmla="*/ 105 w 209"/>
                  <a:gd name="T1" fmla="*/ 209 h 209"/>
                  <a:gd name="T2" fmla="*/ 209 w 209"/>
                  <a:gd name="T3" fmla="*/ 104 h 209"/>
                  <a:gd name="T4" fmla="*/ 105 w 209"/>
                  <a:gd name="T5" fmla="*/ 0 h 209"/>
                  <a:gd name="T6" fmla="*/ 0 w 209"/>
                  <a:gd name="T7" fmla="*/ 104 h 209"/>
                  <a:gd name="T8" fmla="*/ 105 w 209"/>
                  <a:gd name="T9" fmla="*/ 209 h 209"/>
                  <a:gd name="T10" fmla="*/ 105 w 209"/>
                  <a:gd name="T11" fmla="*/ 48 h 209"/>
                  <a:gd name="T12" fmla="*/ 161 w 209"/>
                  <a:gd name="T13" fmla="*/ 104 h 209"/>
                  <a:gd name="T14" fmla="*/ 105 w 209"/>
                  <a:gd name="T15" fmla="*/ 161 h 209"/>
                  <a:gd name="T16" fmla="*/ 48 w 209"/>
                  <a:gd name="T17" fmla="*/ 104 h 209"/>
                  <a:gd name="T18" fmla="*/ 105 w 209"/>
                  <a:gd name="T19" fmla="*/ 48 h 209"/>
                  <a:gd name="T20" fmla="*/ 105 w 209"/>
                  <a:gd name="T21" fmla="*/ 48 h 209"/>
                  <a:gd name="T22" fmla="*/ 105 w 209"/>
                  <a:gd name="T23" fmla="*/ 48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9" h="209">
                    <a:moveTo>
                      <a:pt x="105" y="209"/>
                    </a:moveTo>
                    <a:cubicBezTo>
                      <a:pt x="162" y="209"/>
                      <a:pt x="209" y="162"/>
                      <a:pt x="209" y="104"/>
                    </a:cubicBezTo>
                    <a:cubicBezTo>
                      <a:pt x="209" y="47"/>
                      <a:pt x="162" y="0"/>
                      <a:pt x="105" y="0"/>
                    </a:cubicBezTo>
                    <a:cubicBezTo>
                      <a:pt x="47" y="0"/>
                      <a:pt x="0" y="47"/>
                      <a:pt x="0" y="104"/>
                    </a:cubicBezTo>
                    <a:cubicBezTo>
                      <a:pt x="0" y="162"/>
                      <a:pt x="47" y="209"/>
                      <a:pt x="105" y="209"/>
                    </a:cubicBezTo>
                    <a:close/>
                    <a:moveTo>
                      <a:pt x="105" y="48"/>
                    </a:moveTo>
                    <a:cubicBezTo>
                      <a:pt x="136" y="48"/>
                      <a:pt x="161" y="73"/>
                      <a:pt x="161" y="104"/>
                    </a:cubicBezTo>
                    <a:cubicBezTo>
                      <a:pt x="161" y="136"/>
                      <a:pt x="136" y="161"/>
                      <a:pt x="105" y="161"/>
                    </a:cubicBezTo>
                    <a:cubicBezTo>
                      <a:pt x="73" y="161"/>
                      <a:pt x="48" y="136"/>
                      <a:pt x="48" y="104"/>
                    </a:cubicBezTo>
                    <a:cubicBezTo>
                      <a:pt x="48" y="73"/>
                      <a:pt x="73" y="48"/>
                      <a:pt x="105" y="48"/>
                    </a:cubicBezTo>
                    <a:close/>
                    <a:moveTo>
                      <a:pt x="105" y="48"/>
                    </a:moveTo>
                    <a:cubicBezTo>
                      <a:pt x="105" y="48"/>
                      <a:pt x="105" y="48"/>
                      <a:pt x="105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" name="Freeform 11">
                <a:extLst>
                  <a:ext uri="{FF2B5EF4-FFF2-40B4-BE49-F238E27FC236}">
                    <a16:creationId xmlns:a16="http://schemas.microsoft.com/office/drawing/2014/main" xmlns="" id="{AC30C077-F8F3-4CA5-9D1F-DFD92CC8D3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1" y="462"/>
                <a:ext cx="722" cy="720"/>
              </a:xfrm>
              <a:custGeom>
                <a:avLst/>
                <a:gdLst>
                  <a:gd name="T0" fmla="*/ 174 w 347"/>
                  <a:gd name="T1" fmla="*/ 347 h 347"/>
                  <a:gd name="T2" fmla="*/ 347 w 347"/>
                  <a:gd name="T3" fmla="*/ 173 h 347"/>
                  <a:gd name="T4" fmla="*/ 174 w 347"/>
                  <a:gd name="T5" fmla="*/ 0 h 347"/>
                  <a:gd name="T6" fmla="*/ 0 w 347"/>
                  <a:gd name="T7" fmla="*/ 173 h 347"/>
                  <a:gd name="T8" fmla="*/ 174 w 347"/>
                  <a:gd name="T9" fmla="*/ 347 h 347"/>
                  <a:gd name="T10" fmla="*/ 174 w 347"/>
                  <a:gd name="T11" fmla="*/ 48 h 347"/>
                  <a:gd name="T12" fmla="*/ 299 w 347"/>
                  <a:gd name="T13" fmla="*/ 173 h 347"/>
                  <a:gd name="T14" fmla="*/ 174 w 347"/>
                  <a:gd name="T15" fmla="*/ 299 h 347"/>
                  <a:gd name="T16" fmla="*/ 48 w 347"/>
                  <a:gd name="T17" fmla="*/ 173 h 347"/>
                  <a:gd name="T18" fmla="*/ 174 w 347"/>
                  <a:gd name="T19" fmla="*/ 48 h 347"/>
                  <a:gd name="T20" fmla="*/ 174 w 347"/>
                  <a:gd name="T21" fmla="*/ 48 h 347"/>
                  <a:gd name="T22" fmla="*/ 174 w 347"/>
                  <a:gd name="T23" fmla="*/ 4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7" h="347">
                    <a:moveTo>
                      <a:pt x="174" y="347"/>
                    </a:moveTo>
                    <a:cubicBezTo>
                      <a:pt x="269" y="347"/>
                      <a:pt x="347" y="269"/>
                      <a:pt x="347" y="173"/>
                    </a:cubicBezTo>
                    <a:cubicBezTo>
                      <a:pt x="347" y="78"/>
                      <a:pt x="269" y="0"/>
                      <a:pt x="174" y="0"/>
                    </a:cubicBezTo>
                    <a:cubicBezTo>
                      <a:pt x="78" y="0"/>
                      <a:pt x="0" y="78"/>
                      <a:pt x="0" y="173"/>
                    </a:cubicBezTo>
                    <a:cubicBezTo>
                      <a:pt x="0" y="269"/>
                      <a:pt x="78" y="347"/>
                      <a:pt x="174" y="347"/>
                    </a:cubicBezTo>
                    <a:close/>
                    <a:moveTo>
                      <a:pt x="174" y="48"/>
                    </a:moveTo>
                    <a:cubicBezTo>
                      <a:pt x="243" y="48"/>
                      <a:pt x="299" y="104"/>
                      <a:pt x="299" y="173"/>
                    </a:cubicBezTo>
                    <a:cubicBezTo>
                      <a:pt x="299" y="242"/>
                      <a:pt x="243" y="299"/>
                      <a:pt x="174" y="299"/>
                    </a:cubicBezTo>
                    <a:cubicBezTo>
                      <a:pt x="105" y="299"/>
                      <a:pt x="48" y="242"/>
                      <a:pt x="48" y="173"/>
                    </a:cubicBezTo>
                    <a:cubicBezTo>
                      <a:pt x="48" y="104"/>
                      <a:pt x="105" y="48"/>
                      <a:pt x="174" y="48"/>
                    </a:cubicBezTo>
                    <a:close/>
                    <a:moveTo>
                      <a:pt x="174" y="48"/>
                    </a:moveTo>
                    <a:cubicBezTo>
                      <a:pt x="174" y="48"/>
                      <a:pt x="174" y="48"/>
                      <a:pt x="174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xmlns="" id="{EA7C0F15-15C8-47D7-BCFE-E386628452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" y="1224"/>
                <a:ext cx="1166" cy="2638"/>
              </a:xfrm>
              <a:custGeom>
                <a:avLst/>
                <a:gdLst>
                  <a:gd name="T0" fmla="*/ 537 w 561"/>
                  <a:gd name="T1" fmla="*/ 247 h 1271"/>
                  <a:gd name="T2" fmla="*/ 513 w 561"/>
                  <a:gd name="T3" fmla="*/ 271 h 1271"/>
                  <a:gd name="T4" fmla="*/ 513 w 561"/>
                  <a:gd name="T5" fmla="*/ 599 h 1271"/>
                  <a:gd name="T6" fmla="*/ 498 w 561"/>
                  <a:gd name="T7" fmla="*/ 614 h 1271"/>
                  <a:gd name="T8" fmla="*/ 439 w 561"/>
                  <a:gd name="T9" fmla="*/ 614 h 1271"/>
                  <a:gd name="T10" fmla="*/ 439 w 561"/>
                  <a:gd name="T11" fmla="*/ 191 h 1271"/>
                  <a:gd name="T12" fmla="*/ 415 w 561"/>
                  <a:gd name="T13" fmla="*/ 167 h 1271"/>
                  <a:gd name="T14" fmla="*/ 391 w 561"/>
                  <a:gd name="T15" fmla="*/ 191 h 1271"/>
                  <a:gd name="T16" fmla="*/ 391 w 561"/>
                  <a:gd name="T17" fmla="*/ 1208 h 1271"/>
                  <a:gd name="T18" fmla="*/ 376 w 561"/>
                  <a:gd name="T19" fmla="*/ 1223 h 1271"/>
                  <a:gd name="T20" fmla="*/ 320 w 561"/>
                  <a:gd name="T21" fmla="*/ 1223 h 1271"/>
                  <a:gd name="T22" fmla="*/ 305 w 561"/>
                  <a:gd name="T23" fmla="*/ 1208 h 1271"/>
                  <a:gd name="T24" fmla="*/ 305 w 561"/>
                  <a:gd name="T25" fmla="*/ 826 h 1271"/>
                  <a:gd name="T26" fmla="*/ 281 w 561"/>
                  <a:gd name="T27" fmla="*/ 802 h 1271"/>
                  <a:gd name="T28" fmla="*/ 257 w 561"/>
                  <a:gd name="T29" fmla="*/ 826 h 1271"/>
                  <a:gd name="T30" fmla="*/ 257 w 561"/>
                  <a:gd name="T31" fmla="*/ 1208 h 1271"/>
                  <a:gd name="T32" fmla="*/ 241 w 561"/>
                  <a:gd name="T33" fmla="*/ 1223 h 1271"/>
                  <a:gd name="T34" fmla="*/ 185 w 561"/>
                  <a:gd name="T35" fmla="*/ 1223 h 1271"/>
                  <a:gd name="T36" fmla="*/ 170 w 561"/>
                  <a:gd name="T37" fmla="*/ 1208 h 1271"/>
                  <a:gd name="T38" fmla="*/ 170 w 561"/>
                  <a:gd name="T39" fmla="*/ 191 h 1271"/>
                  <a:gd name="T40" fmla="*/ 146 w 561"/>
                  <a:gd name="T41" fmla="*/ 167 h 1271"/>
                  <a:gd name="T42" fmla="*/ 122 w 561"/>
                  <a:gd name="T43" fmla="*/ 191 h 1271"/>
                  <a:gd name="T44" fmla="*/ 122 w 561"/>
                  <a:gd name="T45" fmla="*/ 614 h 1271"/>
                  <a:gd name="T46" fmla="*/ 63 w 561"/>
                  <a:gd name="T47" fmla="*/ 614 h 1271"/>
                  <a:gd name="T48" fmla="*/ 48 w 561"/>
                  <a:gd name="T49" fmla="*/ 599 h 1271"/>
                  <a:gd name="T50" fmla="*/ 48 w 561"/>
                  <a:gd name="T51" fmla="*/ 191 h 1271"/>
                  <a:gd name="T52" fmla="*/ 191 w 561"/>
                  <a:gd name="T53" fmla="*/ 48 h 1271"/>
                  <a:gd name="T54" fmla="*/ 371 w 561"/>
                  <a:gd name="T55" fmla="*/ 48 h 1271"/>
                  <a:gd name="T56" fmla="*/ 513 w 561"/>
                  <a:gd name="T57" fmla="*/ 191 h 1271"/>
                  <a:gd name="T58" fmla="*/ 537 w 561"/>
                  <a:gd name="T59" fmla="*/ 215 h 1271"/>
                  <a:gd name="T60" fmla="*/ 561 w 561"/>
                  <a:gd name="T61" fmla="*/ 191 h 1271"/>
                  <a:gd name="T62" fmla="*/ 371 w 561"/>
                  <a:gd name="T63" fmla="*/ 0 h 1271"/>
                  <a:gd name="T64" fmla="*/ 191 w 561"/>
                  <a:gd name="T65" fmla="*/ 0 h 1271"/>
                  <a:gd name="T66" fmla="*/ 0 w 561"/>
                  <a:gd name="T67" fmla="*/ 191 h 1271"/>
                  <a:gd name="T68" fmla="*/ 0 w 561"/>
                  <a:gd name="T69" fmla="*/ 599 h 1271"/>
                  <a:gd name="T70" fmla="*/ 63 w 561"/>
                  <a:gd name="T71" fmla="*/ 662 h 1271"/>
                  <a:gd name="T72" fmla="*/ 122 w 561"/>
                  <a:gd name="T73" fmla="*/ 662 h 1271"/>
                  <a:gd name="T74" fmla="*/ 122 w 561"/>
                  <a:gd name="T75" fmla="*/ 1208 h 1271"/>
                  <a:gd name="T76" fmla="*/ 185 w 561"/>
                  <a:gd name="T77" fmla="*/ 1271 h 1271"/>
                  <a:gd name="T78" fmla="*/ 241 w 561"/>
                  <a:gd name="T79" fmla="*/ 1271 h 1271"/>
                  <a:gd name="T80" fmla="*/ 281 w 561"/>
                  <a:gd name="T81" fmla="*/ 1258 h 1271"/>
                  <a:gd name="T82" fmla="*/ 320 w 561"/>
                  <a:gd name="T83" fmla="*/ 1271 h 1271"/>
                  <a:gd name="T84" fmla="*/ 376 w 561"/>
                  <a:gd name="T85" fmla="*/ 1271 h 1271"/>
                  <a:gd name="T86" fmla="*/ 439 w 561"/>
                  <a:gd name="T87" fmla="*/ 1208 h 1271"/>
                  <a:gd name="T88" fmla="*/ 439 w 561"/>
                  <a:gd name="T89" fmla="*/ 662 h 1271"/>
                  <a:gd name="T90" fmla="*/ 498 w 561"/>
                  <a:gd name="T91" fmla="*/ 662 h 1271"/>
                  <a:gd name="T92" fmla="*/ 561 w 561"/>
                  <a:gd name="T93" fmla="*/ 599 h 1271"/>
                  <a:gd name="T94" fmla="*/ 561 w 561"/>
                  <a:gd name="T95" fmla="*/ 271 h 1271"/>
                  <a:gd name="T96" fmla="*/ 537 w 561"/>
                  <a:gd name="T97" fmla="*/ 247 h 1271"/>
                  <a:gd name="T98" fmla="*/ 537 w 561"/>
                  <a:gd name="T99" fmla="*/ 247 h 1271"/>
                  <a:gd name="T100" fmla="*/ 537 w 561"/>
                  <a:gd name="T101" fmla="*/ 247 h 1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1" h="1271">
                    <a:moveTo>
                      <a:pt x="537" y="247"/>
                    </a:moveTo>
                    <a:cubicBezTo>
                      <a:pt x="524" y="247"/>
                      <a:pt x="513" y="257"/>
                      <a:pt x="513" y="271"/>
                    </a:cubicBezTo>
                    <a:cubicBezTo>
                      <a:pt x="513" y="599"/>
                      <a:pt x="513" y="599"/>
                      <a:pt x="513" y="599"/>
                    </a:cubicBezTo>
                    <a:cubicBezTo>
                      <a:pt x="513" y="607"/>
                      <a:pt x="507" y="614"/>
                      <a:pt x="498" y="614"/>
                    </a:cubicBezTo>
                    <a:cubicBezTo>
                      <a:pt x="439" y="614"/>
                      <a:pt x="439" y="614"/>
                      <a:pt x="439" y="614"/>
                    </a:cubicBezTo>
                    <a:cubicBezTo>
                      <a:pt x="439" y="191"/>
                      <a:pt x="439" y="191"/>
                      <a:pt x="439" y="191"/>
                    </a:cubicBezTo>
                    <a:cubicBezTo>
                      <a:pt x="439" y="178"/>
                      <a:pt x="429" y="167"/>
                      <a:pt x="415" y="167"/>
                    </a:cubicBezTo>
                    <a:cubicBezTo>
                      <a:pt x="402" y="167"/>
                      <a:pt x="391" y="178"/>
                      <a:pt x="391" y="191"/>
                    </a:cubicBezTo>
                    <a:cubicBezTo>
                      <a:pt x="391" y="1208"/>
                      <a:pt x="391" y="1208"/>
                      <a:pt x="391" y="1208"/>
                    </a:cubicBezTo>
                    <a:cubicBezTo>
                      <a:pt x="391" y="1216"/>
                      <a:pt x="384" y="1223"/>
                      <a:pt x="376" y="1223"/>
                    </a:cubicBezTo>
                    <a:cubicBezTo>
                      <a:pt x="320" y="1223"/>
                      <a:pt x="320" y="1223"/>
                      <a:pt x="320" y="1223"/>
                    </a:cubicBezTo>
                    <a:cubicBezTo>
                      <a:pt x="312" y="1223"/>
                      <a:pt x="305" y="1216"/>
                      <a:pt x="305" y="1208"/>
                    </a:cubicBezTo>
                    <a:cubicBezTo>
                      <a:pt x="305" y="826"/>
                      <a:pt x="305" y="826"/>
                      <a:pt x="305" y="826"/>
                    </a:cubicBezTo>
                    <a:cubicBezTo>
                      <a:pt x="305" y="813"/>
                      <a:pt x="294" y="802"/>
                      <a:pt x="281" y="802"/>
                    </a:cubicBezTo>
                    <a:cubicBezTo>
                      <a:pt x="267" y="802"/>
                      <a:pt x="257" y="813"/>
                      <a:pt x="257" y="826"/>
                    </a:cubicBezTo>
                    <a:cubicBezTo>
                      <a:pt x="257" y="1208"/>
                      <a:pt x="257" y="1208"/>
                      <a:pt x="257" y="1208"/>
                    </a:cubicBezTo>
                    <a:cubicBezTo>
                      <a:pt x="257" y="1216"/>
                      <a:pt x="250" y="1223"/>
                      <a:pt x="241" y="1223"/>
                    </a:cubicBezTo>
                    <a:cubicBezTo>
                      <a:pt x="185" y="1223"/>
                      <a:pt x="185" y="1223"/>
                      <a:pt x="185" y="1223"/>
                    </a:cubicBezTo>
                    <a:cubicBezTo>
                      <a:pt x="177" y="1223"/>
                      <a:pt x="170" y="1216"/>
                      <a:pt x="170" y="1208"/>
                    </a:cubicBezTo>
                    <a:cubicBezTo>
                      <a:pt x="170" y="191"/>
                      <a:pt x="170" y="191"/>
                      <a:pt x="170" y="191"/>
                    </a:cubicBezTo>
                    <a:cubicBezTo>
                      <a:pt x="170" y="178"/>
                      <a:pt x="159" y="167"/>
                      <a:pt x="146" y="167"/>
                    </a:cubicBezTo>
                    <a:cubicBezTo>
                      <a:pt x="133" y="167"/>
                      <a:pt x="122" y="178"/>
                      <a:pt x="122" y="191"/>
                    </a:cubicBezTo>
                    <a:cubicBezTo>
                      <a:pt x="122" y="614"/>
                      <a:pt x="122" y="614"/>
                      <a:pt x="122" y="614"/>
                    </a:cubicBezTo>
                    <a:cubicBezTo>
                      <a:pt x="63" y="614"/>
                      <a:pt x="63" y="614"/>
                      <a:pt x="63" y="614"/>
                    </a:cubicBezTo>
                    <a:cubicBezTo>
                      <a:pt x="55" y="614"/>
                      <a:pt x="48" y="607"/>
                      <a:pt x="48" y="599"/>
                    </a:cubicBezTo>
                    <a:cubicBezTo>
                      <a:pt x="48" y="191"/>
                      <a:pt x="48" y="191"/>
                      <a:pt x="48" y="191"/>
                    </a:cubicBezTo>
                    <a:cubicBezTo>
                      <a:pt x="48" y="112"/>
                      <a:pt x="112" y="48"/>
                      <a:pt x="191" y="48"/>
                    </a:cubicBezTo>
                    <a:cubicBezTo>
                      <a:pt x="371" y="48"/>
                      <a:pt x="371" y="48"/>
                      <a:pt x="371" y="48"/>
                    </a:cubicBezTo>
                    <a:cubicBezTo>
                      <a:pt x="449" y="48"/>
                      <a:pt x="513" y="112"/>
                      <a:pt x="513" y="191"/>
                    </a:cubicBezTo>
                    <a:cubicBezTo>
                      <a:pt x="513" y="204"/>
                      <a:pt x="524" y="215"/>
                      <a:pt x="537" y="215"/>
                    </a:cubicBezTo>
                    <a:cubicBezTo>
                      <a:pt x="551" y="215"/>
                      <a:pt x="561" y="204"/>
                      <a:pt x="561" y="191"/>
                    </a:cubicBezTo>
                    <a:cubicBezTo>
                      <a:pt x="561" y="85"/>
                      <a:pt x="476" y="0"/>
                      <a:pt x="371" y="0"/>
                    </a:cubicBezTo>
                    <a:cubicBezTo>
                      <a:pt x="191" y="0"/>
                      <a:pt x="191" y="0"/>
                      <a:pt x="191" y="0"/>
                    </a:cubicBezTo>
                    <a:cubicBezTo>
                      <a:pt x="85" y="0"/>
                      <a:pt x="0" y="85"/>
                      <a:pt x="0" y="191"/>
                    </a:cubicBezTo>
                    <a:cubicBezTo>
                      <a:pt x="0" y="599"/>
                      <a:pt x="0" y="599"/>
                      <a:pt x="0" y="599"/>
                    </a:cubicBezTo>
                    <a:cubicBezTo>
                      <a:pt x="0" y="634"/>
                      <a:pt x="28" y="662"/>
                      <a:pt x="63" y="662"/>
                    </a:cubicBezTo>
                    <a:cubicBezTo>
                      <a:pt x="122" y="662"/>
                      <a:pt x="122" y="662"/>
                      <a:pt x="122" y="662"/>
                    </a:cubicBezTo>
                    <a:cubicBezTo>
                      <a:pt x="122" y="1208"/>
                      <a:pt x="122" y="1208"/>
                      <a:pt x="122" y="1208"/>
                    </a:cubicBezTo>
                    <a:cubicBezTo>
                      <a:pt x="122" y="1243"/>
                      <a:pt x="150" y="1271"/>
                      <a:pt x="185" y="1271"/>
                    </a:cubicBezTo>
                    <a:cubicBezTo>
                      <a:pt x="241" y="1271"/>
                      <a:pt x="241" y="1271"/>
                      <a:pt x="241" y="1271"/>
                    </a:cubicBezTo>
                    <a:cubicBezTo>
                      <a:pt x="256" y="1271"/>
                      <a:pt x="270" y="1266"/>
                      <a:pt x="281" y="1258"/>
                    </a:cubicBezTo>
                    <a:cubicBezTo>
                      <a:pt x="291" y="1266"/>
                      <a:pt x="305" y="1271"/>
                      <a:pt x="320" y="1271"/>
                    </a:cubicBezTo>
                    <a:cubicBezTo>
                      <a:pt x="376" y="1271"/>
                      <a:pt x="376" y="1271"/>
                      <a:pt x="376" y="1271"/>
                    </a:cubicBezTo>
                    <a:cubicBezTo>
                      <a:pt x="411" y="1271"/>
                      <a:pt x="439" y="1243"/>
                      <a:pt x="439" y="1208"/>
                    </a:cubicBezTo>
                    <a:cubicBezTo>
                      <a:pt x="439" y="662"/>
                      <a:pt x="439" y="662"/>
                      <a:pt x="439" y="662"/>
                    </a:cubicBezTo>
                    <a:cubicBezTo>
                      <a:pt x="498" y="662"/>
                      <a:pt x="498" y="662"/>
                      <a:pt x="498" y="662"/>
                    </a:cubicBezTo>
                    <a:cubicBezTo>
                      <a:pt x="533" y="662"/>
                      <a:pt x="561" y="634"/>
                      <a:pt x="561" y="599"/>
                    </a:cubicBezTo>
                    <a:cubicBezTo>
                      <a:pt x="561" y="271"/>
                      <a:pt x="561" y="271"/>
                      <a:pt x="561" y="271"/>
                    </a:cubicBezTo>
                    <a:cubicBezTo>
                      <a:pt x="561" y="257"/>
                      <a:pt x="551" y="247"/>
                      <a:pt x="537" y="247"/>
                    </a:cubicBezTo>
                    <a:close/>
                    <a:moveTo>
                      <a:pt x="537" y="247"/>
                    </a:moveTo>
                    <a:cubicBezTo>
                      <a:pt x="537" y="247"/>
                      <a:pt x="537" y="247"/>
                      <a:pt x="537" y="24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" name="Freeform 13">
                <a:extLst>
                  <a:ext uri="{FF2B5EF4-FFF2-40B4-BE49-F238E27FC236}">
                    <a16:creationId xmlns:a16="http://schemas.microsoft.com/office/drawing/2014/main" xmlns="" id="{C004CE36-1ED3-443C-B023-8E1BD0FFD8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43" y="767"/>
                <a:ext cx="721" cy="718"/>
              </a:xfrm>
              <a:custGeom>
                <a:avLst/>
                <a:gdLst>
                  <a:gd name="T0" fmla="*/ 174 w 347"/>
                  <a:gd name="T1" fmla="*/ 346 h 346"/>
                  <a:gd name="T2" fmla="*/ 347 w 347"/>
                  <a:gd name="T3" fmla="*/ 173 h 346"/>
                  <a:gd name="T4" fmla="*/ 174 w 347"/>
                  <a:gd name="T5" fmla="*/ 0 h 346"/>
                  <a:gd name="T6" fmla="*/ 0 w 347"/>
                  <a:gd name="T7" fmla="*/ 173 h 346"/>
                  <a:gd name="T8" fmla="*/ 174 w 347"/>
                  <a:gd name="T9" fmla="*/ 346 h 346"/>
                  <a:gd name="T10" fmla="*/ 174 w 347"/>
                  <a:gd name="T11" fmla="*/ 48 h 346"/>
                  <a:gd name="T12" fmla="*/ 299 w 347"/>
                  <a:gd name="T13" fmla="*/ 173 h 346"/>
                  <a:gd name="T14" fmla="*/ 174 w 347"/>
                  <a:gd name="T15" fmla="*/ 298 h 346"/>
                  <a:gd name="T16" fmla="*/ 48 w 347"/>
                  <a:gd name="T17" fmla="*/ 173 h 346"/>
                  <a:gd name="T18" fmla="*/ 174 w 347"/>
                  <a:gd name="T19" fmla="*/ 48 h 346"/>
                  <a:gd name="T20" fmla="*/ 174 w 347"/>
                  <a:gd name="T21" fmla="*/ 48 h 346"/>
                  <a:gd name="T22" fmla="*/ 174 w 347"/>
                  <a:gd name="T23" fmla="*/ 48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7" h="346">
                    <a:moveTo>
                      <a:pt x="174" y="346"/>
                    </a:moveTo>
                    <a:cubicBezTo>
                      <a:pt x="269" y="346"/>
                      <a:pt x="347" y="269"/>
                      <a:pt x="347" y="173"/>
                    </a:cubicBezTo>
                    <a:cubicBezTo>
                      <a:pt x="347" y="77"/>
                      <a:pt x="269" y="0"/>
                      <a:pt x="174" y="0"/>
                    </a:cubicBezTo>
                    <a:cubicBezTo>
                      <a:pt x="78" y="0"/>
                      <a:pt x="0" y="77"/>
                      <a:pt x="0" y="173"/>
                    </a:cubicBezTo>
                    <a:cubicBezTo>
                      <a:pt x="0" y="269"/>
                      <a:pt x="78" y="346"/>
                      <a:pt x="174" y="346"/>
                    </a:cubicBezTo>
                    <a:close/>
                    <a:moveTo>
                      <a:pt x="174" y="48"/>
                    </a:moveTo>
                    <a:cubicBezTo>
                      <a:pt x="243" y="48"/>
                      <a:pt x="299" y="104"/>
                      <a:pt x="299" y="173"/>
                    </a:cubicBezTo>
                    <a:cubicBezTo>
                      <a:pt x="299" y="242"/>
                      <a:pt x="243" y="298"/>
                      <a:pt x="174" y="298"/>
                    </a:cubicBezTo>
                    <a:cubicBezTo>
                      <a:pt x="104" y="298"/>
                      <a:pt x="48" y="242"/>
                      <a:pt x="48" y="173"/>
                    </a:cubicBezTo>
                    <a:cubicBezTo>
                      <a:pt x="48" y="104"/>
                      <a:pt x="104" y="48"/>
                      <a:pt x="174" y="48"/>
                    </a:cubicBezTo>
                    <a:close/>
                    <a:moveTo>
                      <a:pt x="174" y="48"/>
                    </a:moveTo>
                    <a:cubicBezTo>
                      <a:pt x="174" y="48"/>
                      <a:pt x="174" y="48"/>
                      <a:pt x="174" y="4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" name="Freeform 14">
                <a:extLst>
                  <a:ext uri="{FF2B5EF4-FFF2-40B4-BE49-F238E27FC236}">
                    <a16:creationId xmlns:a16="http://schemas.microsoft.com/office/drawing/2014/main" xmlns="" id="{B9E2D97B-92B7-4CF0-9386-50B9B52633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85" y="1533"/>
                <a:ext cx="1037" cy="2329"/>
              </a:xfrm>
              <a:custGeom>
                <a:avLst/>
                <a:gdLst>
                  <a:gd name="T0" fmla="*/ 171 w 499"/>
                  <a:gd name="T1" fmla="*/ 0 h 1122"/>
                  <a:gd name="T2" fmla="*/ 0 w 499"/>
                  <a:gd name="T3" fmla="*/ 529 h 1122"/>
                  <a:gd name="T4" fmla="*/ 59 w 499"/>
                  <a:gd name="T5" fmla="*/ 588 h 1122"/>
                  <a:gd name="T6" fmla="*/ 49 w 499"/>
                  <a:gd name="T7" fmla="*/ 758 h 1122"/>
                  <a:gd name="T8" fmla="*/ 107 w 499"/>
                  <a:gd name="T9" fmla="*/ 766 h 1122"/>
                  <a:gd name="T10" fmla="*/ 166 w 499"/>
                  <a:gd name="T11" fmla="*/ 1122 h 1122"/>
                  <a:gd name="T12" fmla="*/ 250 w 499"/>
                  <a:gd name="T13" fmla="*/ 1111 h 1122"/>
                  <a:gd name="T14" fmla="*/ 333 w 499"/>
                  <a:gd name="T15" fmla="*/ 1122 h 1122"/>
                  <a:gd name="T16" fmla="*/ 392 w 499"/>
                  <a:gd name="T17" fmla="*/ 931 h 1122"/>
                  <a:gd name="T18" fmla="*/ 344 w 499"/>
                  <a:gd name="T19" fmla="*/ 931 h 1122"/>
                  <a:gd name="T20" fmla="*/ 333 w 499"/>
                  <a:gd name="T21" fmla="*/ 1074 h 1122"/>
                  <a:gd name="T22" fmla="*/ 274 w 499"/>
                  <a:gd name="T23" fmla="*/ 1064 h 1122"/>
                  <a:gd name="T24" fmla="*/ 250 w 499"/>
                  <a:gd name="T25" fmla="*/ 783 h 1122"/>
                  <a:gd name="T26" fmla="*/ 226 w 499"/>
                  <a:gd name="T27" fmla="*/ 1064 h 1122"/>
                  <a:gd name="T28" fmla="*/ 166 w 499"/>
                  <a:gd name="T29" fmla="*/ 1074 h 1122"/>
                  <a:gd name="T30" fmla="*/ 155 w 499"/>
                  <a:gd name="T31" fmla="*/ 766 h 1122"/>
                  <a:gd name="T32" fmla="*/ 344 w 499"/>
                  <a:gd name="T33" fmla="*/ 854 h 1122"/>
                  <a:gd name="T34" fmla="*/ 392 w 499"/>
                  <a:gd name="T35" fmla="*/ 854 h 1122"/>
                  <a:gd name="T36" fmla="*/ 432 w 499"/>
                  <a:gd name="T37" fmla="*/ 766 h 1122"/>
                  <a:gd name="T38" fmla="*/ 456 w 499"/>
                  <a:gd name="T39" fmla="*/ 739 h 1122"/>
                  <a:gd name="T40" fmla="*/ 440 w 499"/>
                  <a:gd name="T41" fmla="*/ 588 h 1122"/>
                  <a:gd name="T42" fmla="*/ 499 w 499"/>
                  <a:gd name="T43" fmla="*/ 171 h 1122"/>
                  <a:gd name="T44" fmla="*/ 451 w 499"/>
                  <a:gd name="T45" fmla="*/ 529 h 1122"/>
                  <a:gd name="T46" fmla="*/ 434 w 499"/>
                  <a:gd name="T47" fmla="*/ 540 h 1122"/>
                  <a:gd name="T48" fmla="*/ 364 w 499"/>
                  <a:gd name="T49" fmla="*/ 119 h 1122"/>
                  <a:gd name="T50" fmla="*/ 406 w 499"/>
                  <a:gd name="T51" fmla="*/ 718 h 1122"/>
                  <a:gd name="T52" fmla="*/ 156 w 499"/>
                  <a:gd name="T53" fmla="*/ 145 h 1122"/>
                  <a:gd name="T54" fmla="*/ 109 w 499"/>
                  <a:gd name="T55" fmla="*/ 140 h 1122"/>
                  <a:gd name="T56" fmla="*/ 59 w 499"/>
                  <a:gd name="T57" fmla="*/ 540 h 1122"/>
                  <a:gd name="T58" fmla="*/ 48 w 499"/>
                  <a:gd name="T59" fmla="*/ 171 h 1122"/>
                  <a:gd name="T60" fmla="*/ 328 w 499"/>
                  <a:gd name="T61" fmla="*/ 48 h 1122"/>
                  <a:gd name="T62" fmla="*/ 451 w 499"/>
                  <a:gd name="T63" fmla="*/ 529 h 1122"/>
                  <a:gd name="T64" fmla="*/ 451 w 499"/>
                  <a:gd name="T65" fmla="*/ 529 h 1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99" h="1122">
                    <a:moveTo>
                      <a:pt x="328" y="0"/>
                    </a:moveTo>
                    <a:cubicBezTo>
                      <a:pt x="171" y="0"/>
                      <a:pt x="171" y="0"/>
                      <a:pt x="171" y="0"/>
                    </a:cubicBezTo>
                    <a:cubicBezTo>
                      <a:pt x="77" y="0"/>
                      <a:pt x="0" y="76"/>
                      <a:pt x="0" y="171"/>
                    </a:cubicBezTo>
                    <a:cubicBezTo>
                      <a:pt x="0" y="529"/>
                      <a:pt x="0" y="529"/>
                      <a:pt x="0" y="529"/>
                    </a:cubicBezTo>
                    <a:cubicBezTo>
                      <a:pt x="0" y="561"/>
                      <a:pt x="26" y="588"/>
                      <a:pt x="59" y="588"/>
                    </a:cubicBezTo>
                    <a:cubicBezTo>
                      <a:pt x="59" y="588"/>
                      <a:pt x="59" y="588"/>
                      <a:pt x="59" y="588"/>
                    </a:cubicBezTo>
                    <a:cubicBezTo>
                      <a:pt x="43" y="739"/>
                      <a:pt x="43" y="739"/>
                      <a:pt x="43" y="739"/>
                    </a:cubicBezTo>
                    <a:cubicBezTo>
                      <a:pt x="42" y="746"/>
                      <a:pt x="44" y="752"/>
                      <a:pt x="49" y="758"/>
                    </a:cubicBezTo>
                    <a:cubicBezTo>
                      <a:pt x="53" y="763"/>
                      <a:pt x="60" y="766"/>
                      <a:pt x="67" y="766"/>
                    </a:cubicBezTo>
                    <a:cubicBezTo>
                      <a:pt x="107" y="766"/>
                      <a:pt x="107" y="766"/>
                      <a:pt x="107" y="766"/>
                    </a:cubicBezTo>
                    <a:cubicBezTo>
                      <a:pt x="107" y="1064"/>
                      <a:pt x="107" y="1064"/>
                      <a:pt x="107" y="1064"/>
                    </a:cubicBezTo>
                    <a:cubicBezTo>
                      <a:pt x="107" y="1096"/>
                      <a:pt x="134" y="1122"/>
                      <a:pt x="166" y="1122"/>
                    </a:cubicBezTo>
                    <a:cubicBezTo>
                      <a:pt x="215" y="1122"/>
                      <a:pt x="215" y="1122"/>
                      <a:pt x="215" y="1122"/>
                    </a:cubicBezTo>
                    <a:cubicBezTo>
                      <a:pt x="228" y="1122"/>
                      <a:pt x="240" y="1118"/>
                      <a:pt x="250" y="1111"/>
                    </a:cubicBezTo>
                    <a:cubicBezTo>
                      <a:pt x="259" y="1118"/>
                      <a:pt x="271" y="1122"/>
                      <a:pt x="284" y="1122"/>
                    </a:cubicBezTo>
                    <a:cubicBezTo>
                      <a:pt x="333" y="1122"/>
                      <a:pt x="333" y="1122"/>
                      <a:pt x="333" y="1122"/>
                    </a:cubicBezTo>
                    <a:cubicBezTo>
                      <a:pt x="366" y="1122"/>
                      <a:pt x="392" y="1096"/>
                      <a:pt x="392" y="1064"/>
                    </a:cubicBezTo>
                    <a:cubicBezTo>
                      <a:pt x="392" y="931"/>
                      <a:pt x="392" y="931"/>
                      <a:pt x="392" y="931"/>
                    </a:cubicBezTo>
                    <a:cubicBezTo>
                      <a:pt x="392" y="918"/>
                      <a:pt x="381" y="907"/>
                      <a:pt x="368" y="907"/>
                    </a:cubicBezTo>
                    <a:cubicBezTo>
                      <a:pt x="355" y="907"/>
                      <a:pt x="344" y="918"/>
                      <a:pt x="344" y="931"/>
                    </a:cubicBezTo>
                    <a:cubicBezTo>
                      <a:pt x="344" y="1064"/>
                      <a:pt x="344" y="1064"/>
                      <a:pt x="344" y="1064"/>
                    </a:cubicBezTo>
                    <a:cubicBezTo>
                      <a:pt x="344" y="1070"/>
                      <a:pt x="339" y="1074"/>
                      <a:pt x="333" y="1074"/>
                    </a:cubicBezTo>
                    <a:cubicBezTo>
                      <a:pt x="284" y="1074"/>
                      <a:pt x="284" y="1074"/>
                      <a:pt x="284" y="1074"/>
                    </a:cubicBezTo>
                    <a:cubicBezTo>
                      <a:pt x="278" y="1074"/>
                      <a:pt x="274" y="1070"/>
                      <a:pt x="274" y="1064"/>
                    </a:cubicBezTo>
                    <a:cubicBezTo>
                      <a:pt x="274" y="807"/>
                      <a:pt x="274" y="807"/>
                      <a:pt x="274" y="807"/>
                    </a:cubicBezTo>
                    <a:cubicBezTo>
                      <a:pt x="274" y="794"/>
                      <a:pt x="263" y="783"/>
                      <a:pt x="250" y="783"/>
                    </a:cubicBezTo>
                    <a:cubicBezTo>
                      <a:pt x="236" y="783"/>
                      <a:pt x="226" y="794"/>
                      <a:pt x="226" y="807"/>
                    </a:cubicBezTo>
                    <a:cubicBezTo>
                      <a:pt x="226" y="1064"/>
                      <a:pt x="226" y="1064"/>
                      <a:pt x="226" y="1064"/>
                    </a:cubicBezTo>
                    <a:cubicBezTo>
                      <a:pt x="226" y="1070"/>
                      <a:pt x="221" y="1074"/>
                      <a:pt x="215" y="1074"/>
                    </a:cubicBezTo>
                    <a:cubicBezTo>
                      <a:pt x="166" y="1074"/>
                      <a:pt x="166" y="1074"/>
                      <a:pt x="166" y="1074"/>
                    </a:cubicBezTo>
                    <a:cubicBezTo>
                      <a:pt x="160" y="1074"/>
                      <a:pt x="155" y="1070"/>
                      <a:pt x="155" y="1064"/>
                    </a:cubicBezTo>
                    <a:cubicBezTo>
                      <a:pt x="155" y="766"/>
                      <a:pt x="155" y="766"/>
                      <a:pt x="155" y="766"/>
                    </a:cubicBezTo>
                    <a:cubicBezTo>
                      <a:pt x="344" y="766"/>
                      <a:pt x="344" y="766"/>
                      <a:pt x="344" y="766"/>
                    </a:cubicBezTo>
                    <a:cubicBezTo>
                      <a:pt x="344" y="854"/>
                      <a:pt x="344" y="854"/>
                      <a:pt x="344" y="854"/>
                    </a:cubicBezTo>
                    <a:cubicBezTo>
                      <a:pt x="344" y="868"/>
                      <a:pt x="355" y="878"/>
                      <a:pt x="368" y="878"/>
                    </a:cubicBezTo>
                    <a:cubicBezTo>
                      <a:pt x="381" y="878"/>
                      <a:pt x="392" y="868"/>
                      <a:pt x="392" y="854"/>
                    </a:cubicBezTo>
                    <a:cubicBezTo>
                      <a:pt x="392" y="766"/>
                      <a:pt x="392" y="766"/>
                      <a:pt x="392" y="766"/>
                    </a:cubicBezTo>
                    <a:cubicBezTo>
                      <a:pt x="432" y="766"/>
                      <a:pt x="432" y="766"/>
                      <a:pt x="432" y="766"/>
                    </a:cubicBezTo>
                    <a:cubicBezTo>
                      <a:pt x="439" y="766"/>
                      <a:pt x="446" y="763"/>
                      <a:pt x="450" y="758"/>
                    </a:cubicBezTo>
                    <a:cubicBezTo>
                      <a:pt x="455" y="752"/>
                      <a:pt x="457" y="746"/>
                      <a:pt x="456" y="739"/>
                    </a:cubicBezTo>
                    <a:cubicBezTo>
                      <a:pt x="440" y="588"/>
                      <a:pt x="440" y="588"/>
                      <a:pt x="440" y="588"/>
                    </a:cubicBezTo>
                    <a:cubicBezTo>
                      <a:pt x="440" y="588"/>
                      <a:pt x="440" y="588"/>
                      <a:pt x="440" y="588"/>
                    </a:cubicBezTo>
                    <a:cubicBezTo>
                      <a:pt x="473" y="588"/>
                      <a:pt x="499" y="561"/>
                      <a:pt x="499" y="529"/>
                    </a:cubicBezTo>
                    <a:cubicBezTo>
                      <a:pt x="499" y="171"/>
                      <a:pt x="499" y="171"/>
                      <a:pt x="499" y="171"/>
                    </a:cubicBezTo>
                    <a:cubicBezTo>
                      <a:pt x="499" y="76"/>
                      <a:pt x="423" y="0"/>
                      <a:pt x="328" y="0"/>
                    </a:cubicBezTo>
                    <a:close/>
                    <a:moveTo>
                      <a:pt x="451" y="529"/>
                    </a:moveTo>
                    <a:cubicBezTo>
                      <a:pt x="451" y="535"/>
                      <a:pt x="446" y="540"/>
                      <a:pt x="440" y="540"/>
                    </a:cubicBezTo>
                    <a:cubicBezTo>
                      <a:pt x="434" y="540"/>
                      <a:pt x="434" y="540"/>
                      <a:pt x="434" y="540"/>
                    </a:cubicBezTo>
                    <a:cubicBezTo>
                      <a:pt x="390" y="140"/>
                      <a:pt x="390" y="140"/>
                      <a:pt x="390" y="140"/>
                    </a:cubicBezTo>
                    <a:cubicBezTo>
                      <a:pt x="389" y="127"/>
                      <a:pt x="377" y="117"/>
                      <a:pt x="364" y="119"/>
                    </a:cubicBezTo>
                    <a:cubicBezTo>
                      <a:pt x="351" y="120"/>
                      <a:pt x="341" y="132"/>
                      <a:pt x="343" y="145"/>
                    </a:cubicBezTo>
                    <a:cubicBezTo>
                      <a:pt x="406" y="718"/>
                      <a:pt x="406" y="718"/>
                      <a:pt x="406" y="718"/>
                    </a:cubicBezTo>
                    <a:cubicBezTo>
                      <a:pt x="93" y="718"/>
                      <a:pt x="93" y="718"/>
                      <a:pt x="93" y="718"/>
                    </a:cubicBezTo>
                    <a:cubicBezTo>
                      <a:pt x="156" y="145"/>
                      <a:pt x="156" y="145"/>
                      <a:pt x="156" y="145"/>
                    </a:cubicBezTo>
                    <a:cubicBezTo>
                      <a:pt x="158" y="132"/>
                      <a:pt x="148" y="120"/>
                      <a:pt x="135" y="119"/>
                    </a:cubicBezTo>
                    <a:cubicBezTo>
                      <a:pt x="122" y="117"/>
                      <a:pt x="110" y="127"/>
                      <a:pt x="109" y="140"/>
                    </a:cubicBezTo>
                    <a:cubicBezTo>
                      <a:pt x="65" y="540"/>
                      <a:pt x="65" y="540"/>
                      <a:pt x="65" y="540"/>
                    </a:cubicBezTo>
                    <a:cubicBezTo>
                      <a:pt x="59" y="540"/>
                      <a:pt x="59" y="540"/>
                      <a:pt x="59" y="540"/>
                    </a:cubicBezTo>
                    <a:cubicBezTo>
                      <a:pt x="53" y="540"/>
                      <a:pt x="48" y="535"/>
                      <a:pt x="48" y="529"/>
                    </a:cubicBezTo>
                    <a:cubicBezTo>
                      <a:pt x="48" y="171"/>
                      <a:pt x="48" y="171"/>
                      <a:pt x="48" y="171"/>
                    </a:cubicBezTo>
                    <a:cubicBezTo>
                      <a:pt x="48" y="103"/>
                      <a:pt x="103" y="48"/>
                      <a:pt x="171" y="48"/>
                    </a:cubicBezTo>
                    <a:cubicBezTo>
                      <a:pt x="328" y="48"/>
                      <a:pt x="328" y="48"/>
                      <a:pt x="328" y="48"/>
                    </a:cubicBezTo>
                    <a:cubicBezTo>
                      <a:pt x="396" y="48"/>
                      <a:pt x="451" y="103"/>
                      <a:pt x="451" y="171"/>
                    </a:cubicBezTo>
                    <a:lnTo>
                      <a:pt x="451" y="529"/>
                    </a:lnTo>
                    <a:close/>
                    <a:moveTo>
                      <a:pt x="451" y="529"/>
                    </a:moveTo>
                    <a:cubicBezTo>
                      <a:pt x="451" y="529"/>
                      <a:pt x="451" y="529"/>
                      <a:pt x="451" y="52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" name="Freeform 15">
                <a:extLst>
                  <a:ext uri="{FF2B5EF4-FFF2-40B4-BE49-F238E27FC236}">
                    <a16:creationId xmlns:a16="http://schemas.microsoft.com/office/drawing/2014/main" xmlns="" id="{ABD94513-E749-4430-9C97-7659C5A726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22" y="2604"/>
                <a:ext cx="1056" cy="1258"/>
              </a:xfrm>
              <a:custGeom>
                <a:avLst/>
                <a:gdLst>
                  <a:gd name="T0" fmla="*/ 434 w 508"/>
                  <a:gd name="T1" fmla="*/ 7 h 606"/>
                  <a:gd name="T2" fmla="*/ 390 w 508"/>
                  <a:gd name="T3" fmla="*/ 27 h 606"/>
                  <a:gd name="T4" fmla="*/ 300 w 508"/>
                  <a:gd name="T5" fmla="*/ 123 h 606"/>
                  <a:gd name="T6" fmla="*/ 207 w 508"/>
                  <a:gd name="T7" fmla="*/ 123 h 606"/>
                  <a:gd name="T8" fmla="*/ 118 w 508"/>
                  <a:gd name="T9" fmla="*/ 27 h 606"/>
                  <a:gd name="T10" fmla="*/ 27 w 508"/>
                  <a:gd name="T11" fmla="*/ 25 h 606"/>
                  <a:gd name="T12" fmla="*/ 24 w 508"/>
                  <a:gd name="T13" fmla="*/ 116 h 606"/>
                  <a:gd name="T14" fmla="*/ 128 w 508"/>
                  <a:gd name="T15" fmla="*/ 226 h 606"/>
                  <a:gd name="T16" fmla="*/ 128 w 508"/>
                  <a:gd name="T17" fmla="*/ 544 h 606"/>
                  <a:gd name="T18" fmla="*/ 191 w 508"/>
                  <a:gd name="T19" fmla="*/ 606 h 606"/>
                  <a:gd name="T20" fmla="*/ 317 w 508"/>
                  <a:gd name="T21" fmla="*/ 606 h 606"/>
                  <a:gd name="T22" fmla="*/ 380 w 508"/>
                  <a:gd name="T23" fmla="*/ 544 h 606"/>
                  <a:gd name="T24" fmla="*/ 380 w 508"/>
                  <a:gd name="T25" fmla="*/ 412 h 606"/>
                  <a:gd name="T26" fmla="*/ 356 w 508"/>
                  <a:gd name="T27" fmla="*/ 388 h 606"/>
                  <a:gd name="T28" fmla="*/ 332 w 508"/>
                  <a:gd name="T29" fmla="*/ 412 h 606"/>
                  <a:gd name="T30" fmla="*/ 332 w 508"/>
                  <a:gd name="T31" fmla="*/ 544 h 606"/>
                  <a:gd name="T32" fmla="*/ 317 w 508"/>
                  <a:gd name="T33" fmla="*/ 558 h 606"/>
                  <a:gd name="T34" fmla="*/ 277 w 508"/>
                  <a:gd name="T35" fmla="*/ 558 h 606"/>
                  <a:gd name="T36" fmla="*/ 277 w 508"/>
                  <a:gd name="T37" fmla="*/ 358 h 606"/>
                  <a:gd name="T38" fmla="*/ 253 w 508"/>
                  <a:gd name="T39" fmla="*/ 334 h 606"/>
                  <a:gd name="T40" fmla="*/ 229 w 508"/>
                  <a:gd name="T41" fmla="*/ 358 h 606"/>
                  <a:gd name="T42" fmla="*/ 229 w 508"/>
                  <a:gd name="T43" fmla="*/ 558 h 606"/>
                  <a:gd name="T44" fmla="*/ 191 w 508"/>
                  <a:gd name="T45" fmla="*/ 558 h 606"/>
                  <a:gd name="T46" fmla="*/ 176 w 508"/>
                  <a:gd name="T47" fmla="*/ 544 h 606"/>
                  <a:gd name="T48" fmla="*/ 176 w 508"/>
                  <a:gd name="T49" fmla="*/ 217 h 606"/>
                  <a:gd name="T50" fmla="*/ 169 w 508"/>
                  <a:gd name="T51" fmla="*/ 200 h 606"/>
                  <a:gd name="T52" fmla="*/ 59 w 508"/>
                  <a:gd name="T53" fmla="*/ 83 h 606"/>
                  <a:gd name="T54" fmla="*/ 60 w 508"/>
                  <a:gd name="T55" fmla="*/ 60 h 606"/>
                  <a:gd name="T56" fmla="*/ 83 w 508"/>
                  <a:gd name="T57" fmla="*/ 60 h 606"/>
                  <a:gd name="T58" fmla="*/ 180 w 508"/>
                  <a:gd name="T59" fmla="*/ 163 h 606"/>
                  <a:gd name="T60" fmla="*/ 197 w 508"/>
                  <a:gd name="T61" fmla="*/ 171 h 606"/>
                  <a:gd name="T62" fmla="*/ 310 w 508"/>
                  <a:gd name="T63" fmla="*/ 171 h 606"/>
                  <a:gd name="T64" fmla="*/ 328 w 508"/>
                  <a:gd name="T65" fmla="*/ 163 h 606"/>
                  <a:gd name="T66" fmla="*/ 425 w 508"/>
                  <a:gd name="T67" fmla="*/ 60 h 606"/>
                  <a:gd name="T68" fmla="*/ 448 w 508"/>
                  <a:gd name="T69" fmla="*/ 60 h 606"/>
                  <a:gd name="T70" fmla="*/ 448 w 508"/>
                  <a:gd name="T71" fmla="*/ 83 h 606"/>
                  <a:gd name="T72" fmla="*/ 338 w 508"/>
                  <a:gd name="T73" fmla="*/ 200 h 606"/>
                  <a:gd name="T74" fmla="*/ 332 w 508"/>
                  <a:gd name="T75" fmla="*/ 217 h 606"/>
                  <a:gd name="T76" fmla="*/ 332 w 508"/>
                  <a:gd name="T77" fmla="*/ 332 h 606"/>
                  <a:gd name="T78" fmla="*/ 356 w 508"/>
                  <a:gd name="T79" fmla="*/ 356 h 606"/>
                  <a:gd name="T80" fmla="*/ 380 w 508"/>
                  <a:gd name="T81" fmla="*/ 332 h 606"/>
                  <a:gd name="T82" fmla="*/ 380 w 508"/>
                  <a:gd name="T83" fmla="*/ 226 h 606"/>
                  <a:gd name="T84" fmla="*/ 483 w 508"/>
                  <a:gd name="T85" fmla="*/ 116 h 606"/>
                  <a:gd name="T86" fmla="*/ 481 w 508"/>
                  <a:gd name="T87" fmla="*/ 25 h 606"/>
                  <a:gd name="T88" fmla="*/ 434 w 508"/>
                  <a:gd name="T89" fmla="*/ 7 h 606"/>
                  <a:gd name="T90" fmla="*/ 434 w 508"/>
                  <a:gd name="T91" fmla="*/ 7 h 606"/>
                  <a:gd name="T92" fmla="*/ 434 w 508"/>
                  <a:gd name="T93" fmla="*/ 7 h 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8" h="606">
                    <a:moveTo>
                      <a:pt x="434" y="7"/>
                    </a:moveTo>
                    <a:cubicBezTo>
                      <a:pt x="417" y="8"/>
                      <a:pt x="401" y="15"/>
                      <a:pt x="390" y="27"/>
                    </a:cubicBezTo>
                    <a:cubicBezTo>
                      <a:pt x="300" y="123"/>
                      <a:pt x="300" y="123"/>
                      <a:pt x="300" y="123"/>
                    </a:cubicBezTo>
                    <a:cubicBezTo>
                      <a:pt x="207" y="123"/>
                      <a:pt x="207" y="123"/>
                      <a:pt x="207" y="123"/>
                    </a:cubicBezTo>
                    <a:cubicBezTo>
                      <a:pt x="118" y="27"/>
                      <a:pt x="118" y="27"/>
                      <a:pt x="118" y="27"/>
                    </a:cubicBezTo>
                    <a:cubicBezTo>
                      <a:pt x="94" y="2"/>
                      <a:pt x="53" y="0"/>
                      <a:pt x="27" y="25"/>
                    </a:cubicBezTo>
                    <a:cubicBezTo>
                      <a:pt x="1" y="49"/>
                      <a:pt x="0" y="90"/>
                      <a:pt x="24" y="116"/>
                    </a:cubicBezTo>
                    <a:cubicBezTo>
                      <a:pt x="128" y="226"/>
                      <a:pt x="128" y="226"/>
                      <a:pt x="128" y="226"/>
                    </a:cubicBezTo>
                    <a:cubicBezTo>
                      <a:pt x="128" y="544"/>
                      <a:pt x="128" y="544"/>
                      <a:pt x="128" y="544"/>
                    </a:cubicBezTo>
                    <a:cubicBezTo>
                      <a:pt x="128" y="578"/>
                      <a:pt x="156" y="606"/>
                      <a:pt x="191" y="606"/>
                    </a:cubicBezTo>
                    <a:cubicBezTo>
                      <a:pt x="317" y="606"/>
                      <a:pt x="317" y="606"/>
                      <a:pt x="317" y="606"/>
                    </a:cubicBezTo>
                    <a:cubicBezTo>
                      <a:pt x="351" y="606"/>
                      <a:pt x="380" y="578"/>
                      <a:pt x="380" y="544"/>
                    </a:cubicBezTo>
                    <a:cubicBezTo>
                      <a:pt x="380" y="412"/>
                      <a:pt x="380" y="412"/>
                      <a:pt x="380" y="412"/>
                    </a:cubicBezTo>
                    <a:cubicBezTo>
                      <a:pt x="380" y="399"/>
                      <a:pt x="369" y="388"/>
                      <a:pt x="356" y="388"/>
                    </a:cubicBezTo>
                    <a:cubicBezTo>
                      <a:pt x="342" y="388"/>
                      <a:pt x="332" y="399"/>
                      <a:pt x="332" y="412"/>
                    </a:cubicBezTo>
                    <a:cubicBezTo>
                      <a:pt x="332" y="544"/>
                      <a:pt x="332" y="544"/>
                      <a:pt x="332" y="544"/>
                    </a:cubicBezTo>
                    <a:cubicBezTo>
                      <a:pt x="332" y="552"/>
                      <a:pt x="325" y="558"/>
                      <a:pt x="317" y="558"/>
                    </a:cubicBezTo>
                    <a:cubicBezTo>
                      <a:pt x="277" y="558"/>
                      <a:pt x="277" y="558"/>
                      <a:pt x="277" y="558"/>
                    </a:cubicBezTo>
                    <a:cubicBezTo>
                      <a:pt x="277" y="358"/>
                      <a:pt x="277" y="358"/>
                      <a:pt x="277" y="358"/>
                    </a:cubicBezTo>
                    <a:cubicBezTo>
                      <a:pt x="277" y="345"/>
                      <a:pt x="266" y="334"/>
                      <a:pt x="253" y="334"/>
                    </a:cubicBezTo>
                    <a:cubicBezTo>
                      <a:pt x="239" y="334"/>
                      <a:pt x="229" y="345"/>
                      <a:pt x="229" y="358"/>
                    </a:cubicBezTo>
                    <a:cubicBezTo>
                      <a:pt x="229" y="558"/>
                      <a:pt x="229" y="558"/>
                      <a:pt x="229" y="558"/>
                    </a:cubicBezTo>
                    <a:cubicBezTo>
                      <a:pt x="191" y="558"/>
                      <a:pt x="191" y="558"/>
                      <a:pt x="191" y="558"/>
                    </a:cubicBezTo>
                    <a:cubicBezTo>
                      <a:pt x="183" y="558"/>
                      <a:pt x="176" y="552"/>
                      <a:pt x="176" y="544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6" y="210"/>
                      <a:pt x="174" y="205"/>
                      <a:pt x="169" y="200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3" y="76"/>
                      <a:pt x="53" y="66"/>
                      <a:pt x="60" y="60"/>
                    </a:cubicBezTo>
                    <a:cubicBezTo>
                      <a:pt x="66" y="53"/>
                      <a:pt x="77" y="54"/>
                      <a:pt x="83" y="60"/>
                    </a:cubicBezTo>
                    <a:cubicBezTo>
                      <a:pt x="180" y="163"/>
                      <a:pt x="180" y="163"/>
                      <a:pt x="180" y="163"/>
                    </a:cubicBezTo>
                    <a:cubicBezTo>
                      <a:pt x="184" y="168"/>
                      <a:pt x="190" y="171"/>
                      <a:pt x="197" y="171"/>
                    </a:cubicBezTo>
                    <a:cubicBezTo>
                      <a:pt x="310" y="171"/>
                      <a:pt x="310" y="171"/>
                      <a:pt x="310" y="171"/>
                    </a:cubicBezTo>
                    <a:cubicBezTo>
                      <a:pt x="317" y="171"/>
                      <a:pt x="323" y="168"/>
                      <a:pt x="328" y="163"/>
                    </a:cubicBezTo>
                    <a:cubicBezTo>
                      <a:pt x="425" y="60"/>
                      <a:pt x="425" y="60"/>
                      <a:pt x="425" y="60"/>
                    </a:cubicBezTo>
                    <a:cubicBezTo>
                      <a:pt x="431" y="54"/>
                      <a:pt x="441" y="53"/>
                      <a:pt x="448" y="60"/>
                    </a:cubicBezTo>
                    <a:cubicBezTo>
                      <a:pt x="454" y="66"/>
                      <a:pt x="455" y="76"/>
                      <a:pt x="448" y="83"/>
                    </a:cubicBezTo>
                    <a:cubicBezTo>
                      <a:pt x="338" y="200"/>
                      <a:pt x="338" y="200"/>
                      <a:pt x="338" y="200"/>
                    </a:cubicBezTo>
                    <a:cubicBezTo>
                      <a:pt x="334" y="205"/>
                      <a:pt x="332" y="210"/>
                      <a:pt x="332" y="217"/>
                    </a:cubicBezTo>
                    <a:cubicBezTo>
                      <a:pt x="332" y="332"/>
                      <a:pt x="332" y="332"/>
                      <a:pt x="332" y="332"/>
                    </a:cubicBezTo>
                    <a:cubicBezTo>
                      <a:pt x="332" y="345"/>
                      <a:pt x="342" y="356"/>
                      <a:pt x="356" y="356"/>
                    </a:cubicBezTo>
                    <a:cubicBezTo>
                      <a:pt x="369" y="356"/>
                      <a:pt x="380" y="345"/>
                      <a:pt x="380" y="332"/>
                    </a:cubicBezTo>
                    <a:cubicBezTo>
                      <a:pt x="380" y="226"/>
                      <a:pt x="380" y="226"/>
                      <a:pt x="380" y="226"/>
                    </a:cubicBezTo>
                    <a:cubicBezTo>
                      <a:pt x="483" y="116"/>
                      <a:pt x="483" y="116"/>
                      <a:pt x="483" y="116"/>
                    </a:cubicBezTo>
                    <a:cubicBezTo>
                      <a:pt x="508" y="90"/>
                      <a:pt x="506" y="49"/>
                      <a:pt x="481" y="25"/>
                    </a:cubicBezTo>
                    <a:cubicBezTo>
                      <a:pt x="468" y="13"/>
                      <a:pt x="452" y="7"/>
                      <a:pt x="434" y="7"/>
                    </a:cubicBezTo>
                    <a:close/>
                    <a:moveTo>
                      <a:pt x="434" y="7"/>
                    </a:moveTo>
                    <a:cubicBezTo>
                      <a:pt x="434" y="7"/>
                      <a:pt x="434" y="7"/>
                      <a:pt x="434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103" name="#5">
            <a:extLst>
              <a:ext uri="{FF2B5EF4-FFF2-40B4-BE49-F238E27FC236}">
                <a16:creationId xmlns:a16="http://schemas.microsoft.com/office/drawing/2014/main" xmlns="" id="{27EB04AE-0690-43D7-8554-948D2E37ED26}"/>
              </a:ext>
            </a:extLst>
          </p:cNvPr>
          <p:cNvGrpSpPr/>
          <p:nvPr/>
        </p:nvGrpSpPr>
        <p:grpSpPr>
          <a:xfrm>
            <a:off x="4427949" y="3799770"/>
            <a:ext cx="3339277" cy="1808473"/>
            <a:chOff x="4427949" y="3799770"/>
            <a:chExt cx="3339277" cy="1808473"/>
          </a:xfrm>
        </p:grpSpPr>
        <p:sp>
          <p:nvSpPr>
            <p:cNvPr id="19" name="Rechthoek: afgeronde hoeken 18">
              <a:extLst>
                <a:ext uri="{FF2B5EF4-FFF2-40B4-BE49-F238E27FC236}">
                  <a16:creationId xmlns:a16="http://schemas.microsoft.com/office/drawing/2014/main" xmlns="" id="{274AA1E3-D0D2-41D3-AF57-8C53EC09D3C3}"/>
                </a:ext>
              </a:extLst>
            </p:cNvPr>
            <p:cNvSpPr/>
            <p:nvPr/>
          </p:nvSpPr>
          <p:spPr>
            <a:xfrm>
              <a:off x="4427949" y="3799770"/>
              <a:ext cx="3339277" cy="1808473"/>
            </a:xfrm>
            <a:prstGeom prst="roundRect">
              <a:avLst>
                <a:gd name="adj" fmla="val 4116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80000" rtlCol="0" anchor="b"/>
            <a:lstStyle/>
            <a:p>
              <a:pPr algn="ctr">
                <a:lnSpc>
                  <a:spcPct val="80000"/>
                </a:lnSpc>
              </a:pPr>
              <a:r>
                <a:rPr lang="nl-NL" sz="1400" dirty="0"/>
                <a:t>Export </a:t>
              </a:r>
              <a:r>
                <a:rPr lang="nl-NL" sz="1400" dirty="0" err="1"/>
                <a:t>to</a:t>
              </a:r>
              <a:r>
                <a:rPr lang="nl-NL" sz="1400" dirty="0"/>
                <a:t> over </a:t>
              </a:r>
              <a:br>
                <a:rPr lang="nl-NL" sz="1400" dirty="0"/>
              </a:br>
              <a:r>
                <a:rPr lang="nl-NL" sz="2400" b="1" dirty="0">
                  <a:solidFill>
                    <a:schemeClr val="bg1"/>
                  </a:solidFill>
                </a:rPr>
                <a:t>100 </a:t>
              </a:r>
              <a:r>
                <a:rPr lang="nl-NL" sz="2400" b="1" dirty="0" err="1">
                  <a:solidFill>
                    <a:schemeClr val="bg1"/>
                  </a:solidFill>
                </a:rPr>
                <a:t>countries</a:t>
              </a:r>
              <a:endParaRPr lang="nl-NL" sz="2400" b="1" dirty="0">
                <a:solidFill>
                  <a:schemeClr val="bg1"/>
                </a:solidFill>
              </a:endParaRPr>
            </a:p>
          </p:txBody>
        </p:sp>
        <p:grpSp>
          <p:nvGrpSpPr>
            <p:cNvPr id="68" name="Group 46">
              <a:extLst>
                <a:ext uri="{FF2B5EF4-FFF2-40B4-BE49-F238E27FC236}">
                  <a16:creationId xmlns:a16="http://schemas.microsoft.com/office/drawing/2014/main" xmlns="" id="{5055B7DA-F9C4-4E24-87C8-BC3DF8284E3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535611" y="4125676"/>
              <a:ext cx="1123952" cy="490740"/>
              <a:chOff x="2134" y="1412"/>
              <a:chExt cx="3408" cy="1488"/>
            </a:xfrm>
            <a:solidFill>
              <a:schemeClr val="bg1"/>
            </a:solidFill>
          </p:grpSpPr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xmlns="" id="{6A0972C8-729F-44BD-B22C-C52817D697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34" y="1412"/>
                <a:ext cx="3408" cy="1488"/>
              </a:xfrm>
              <a:custGeom>
                <a:avLst/>
                <a:gdLst>
                  <a:gd name="T0" fmla="*/ 1357 w 1640"/>
                  <a:gd name="T1" fmla="*/ 257 h 715"/>
                  <a:gd name="T2" fmla="*/ 1280 w 1640"/>
                  <a:gd name="T3" fmla="*/ 154 h 715"/>
                  <a:gd name="T4" fmla="*/ 795 w 1640"/>
                  <a:gd name="T5" fmla="*/ 52 h 715"/>
                  <a:gd name="T6" fmla="*/ 718 w 1640"/>
                  <a:gd name="T7" fmla="*/ 154 h 715"/>
                  <a:gd name="T8" fmla="*/ 641 w 1640"/>
                  <a:gd name="T9" fmla="*/ 257 h 715"/>
                  <a:gd name="T10" fmla="*/ 474 w 1640"/>
                  <a:gd name="T11" fmla="*/ 359 h 715"/>
                  <a:gd name="T12" fmla="*/ 536 w 1640"/>
                  <a:gd name="T13" fmla="*/ 48 h 715"/>
                  <a:gd name="T14" fmla="*/ 564 w 1640"/>
                  <a:gd name="T15" fmla="*/ 0 h 715"/>
                  <a:gd name="T16" fmla="*/ 181 w 1640"/>
                  <a:gd name="T17" fmla="*/ 308 h 715"/>
                  <a:gd name="T18" fmla="*/ 1 w 1640"/>
                  <a:gd name="T19" fmla="*/ 335 h 715"/>
                  <a:gd name="T20" fmla="*/ 78 w 1640"/>
                  <a:gd name="T21" fmla="*/ 691 h 715"/>
                  <a:gd name="T22" fmla="*/ 222 w 1640"/>
                  <a:gd name="T23" fmla="*/ 664 h 715"/>
                  <a:gd name="T24" fmla="*/ 417 w 1640"/>
                  <a:gd name="T25" fmla="*/ 684 h 715"/>
                  <a:gd name="T26" fmla="*/ 580 w 1640"/>
                  <a:gd name="T27" fmla="*/ 715 h 715"/>
                  <a:gd name="T28" fmla="*/ 744 w 1640"/>
                  <a:gd name="T29" fmla="*/ 684 h 715"/>
                  <a:gd name="T30" fmla="*/ 940 w 1640"/>
                  <a:gd name="T31" fmla="*/ 664 h 715"/>
                  <a:gd name="T32" fmla="*/ 1135 w 1640"/>
                  <a:gd name="T33" fmla="*/ 684 h 715"/>
                  <a:gd name="T34" fmla="*/ 1299 w 1640"/>
                  <a:gd name="T35" fmla="*/ 715 h 715"/>
                  <a:gd name="T36" fmla="*/ 1463 w 1640"/>
                  <a:gd name="T37" fmla="*/ 684 h 715"/>
                  <a:gd name="T38" fmla="*/ 1538 w 1640"/>
                  <a:gd name="T39" fmla="*/ 667 h 715"/>
                  <a:gd name="T40" fmla="*/ 1639 w 1640"/>
                  <a:gd name="T41" fmla="*/ 284 h 715"/>
                  <a:gd name="T42" fmla="*/ 1309 w 1640"/>
                  <a:gd name="T43" fmla="*/ 257 h 715"/>
                  <a:gd name="T44" fmla="*/ 1309 w 1640"/>
                  <a:gd name="T45" fmla="*/ 202 h 715"/>
                  <a:gd name="T46" fmla="*/ 1232 w 1640"/>
                  <a:gd name="T47" fmla="*/ 154 h 715"/>
                  <a:gd name="T48" fmla="*/ 1155 w 1640"/>
                  <a:gd name="T49" fmla="*/ 202 h 715"/>
                  <a:gd name="T50" fmla="*/ 1049 w 1640"/>
                  <a:gd name="T51" fmla="*/ 202 h 715"/>
                  <a:gd name="T52" fmla="*/ 1078 w 1640"/>
                  <a:gd name="T53" fmla="*/ 100 h 715"/>
                  <a:gd name="T54" fmla="*/ 972 w 1640"/>
                  <a:gd name="T55" fmla="*/ 100 h 715"/>
                  <a:gd name="T56" fmla="*/ 819 w 1640"/>
                  <a:gd name="T57" fmla="*/ 305 h 715"/>
                  <a:gd name="T58" fmla="*/ 925 w 1640"/>
                  <a:gd name="T59" fmla="*/ 359 h 715"/>
                  <a:gd name="T60" fmla="*/ 1001 w 1640"/>
                  <a:gd name="T61" fmla="*/ 202 h 715"/>
                  <a:gd name="T62" fmla="*/ 972 w 1640"/>
                  <a:gd name="T63" fmla="*/ 305 h 715"/>
                  <a:gd name="T64" fmla="*/ 972 w 1640"/>
                  <a:gd name="T65" fmla="*/ 305 h 715"/>
                  <a:gd name="T66" fmla="*/ 924 w 1640"/>
                  <a:gd name="T67" fmla="*/ 154 h 715"/>
                  <a:gd name="T68" fmla="*/ 742 w 1640"/>
                  <a:gd name="T69" fmla="*/ 202 h 715"/>
                  <a:gd name="T70" fmla="*/ 742 w 1640"/>
                  <a:gd name="T71" fmla="*/ 257 h 715"/>
                  <a:gd name="T72" fmla="*/ 771 w 1640"/>
                  <a:gd name="T73" fmla="*/ 305 h 715"/>
                  <a:gd name="T74" fmla="*/ 665 w 1640"/>
                  <a:gd name="T75" fmla="*/ 305 h 715"/>
                  <a:gd name="T76" fmla="*/ 488 w 1640"/>
                  <a:gd name="T77" fmla="*/ 103 h 715"/>
                  <a:gd name="T78" fmla="*/ 333 w 1640"/>
                  <a:gd name="T79" fmla="*/ 151 h 715"/>
                  <a:gd name="T80" fmla="*/ 421 w 1640"/>
                  <a:gd name="T81" fmla="*/ 359 h 715"/>
                  <a:gd name="T82" fmla="*/ 257 w 1640"/>
                  <a:gd name="T83" fmla="*/ 319 h 715"/>
                  <a:gd name="T84" fmla="*/ 1526 w 1640"/>
                  <a:gd name="T85" fmla="*/ 462 h 715"/>
                  <a:gd name="T86" fmla="*/ 1436 w 1640"/>
                  <a:gd name="T87" fmla="*/ 510 h 715"/>
                  <a:gd name="T88" fmla="*/ 1419 w 1640"/>
                  <a:gd name="T89" fmla="*/ 616 h 715"/>
                  <a:gd name="T90" fmla="*/ 1254 w 1640"/>
                  <a:gd name="T91" fmla="*/ 647 h 715"/>
                  <a:gd name="T92" fmla="*/ 1059 w 1640"/>
                  <a:gd name="T93" fmla="*/ 667 h 715"/>
                  <a:gd name="T94" fmla="*/ 864 w 1640"/>
                  <a:gd name="T95" fmla="*/ 647 h 715"/>
                  <a:gd name="T96" fmla="*/ 700 w 1640"/>
                  <a:gd name="T97" fmla="*/ 616 h 715"/>
                  <a:gd name="T98" fmla="*/ 536 w 1640"/>
                  <a:gd name="T99" fmla="*/ 647 h 715"/>
                  <a:gd name="T100" fmla="*/ 341 w 1640"/>
                  <a:gd name="T101" fmla="*/ 667 h 715"/>
                  <a:gd name="T102" fmla="*/ 161 w 1640"/>
                  <a:gd name="T103" fmla="*/ 636 h 715"/>
                  <a:gd name="T104" fmla="*/ 1049 w 1640"/>
                  <a:gd name="T105" fmla="*/ 486 h 715"/>
                  <a:gd name="T106" fmla="*/ 53 w 1640"/>
                  <a:gd name="T107" fmla="*/ 356 h 715"/>
                  <a:gd name="T108" fmla="*/ 306 w 1640"/>
                  <a:gd name="T109" fmla="*/ 397 h 715"/>
                  <a:gd name="T110" fmla="*/ 978 w 1640"/>
                  <a:gd name="T111" fmla="*/ 394 h 715"/>
                  <a:gd name="T112" fmla="*/ 1586 w 1640"/>
                  <a:gd name="T113" fmla="*/ 305 h 715"/>
                  <a:gd name="T114" fmla="*/ 1526 w 1640"/>
                  <a:gd name="T115" fmla="*/ 462 h 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40" h="715">
                    <a:moveTo>
                      <a:pt x="1634" y="265"/>
                    </a:moveTo>
                    <a:cubicBezTo>
                      <a:pt x="1629" y="260"/>
                      <a:pt x="1622" y="257"/>
                      <a:pt x="1615" y="257"/>
                    </a:cubicBezTo>
                    <a:cubicBezTo>
                      <a:pt x="1357" y="257"/>
                      <a:pt x="1357" y="257"/>
                      <a:pt x="1357" y="257"/>
                    </a:cubicBezTo>
                    <a:cubicBezTo>
                      <a:pt x="1357" y="178"/>
                      <a:pt x="1357" y="178"/>
                      <a:pt x="1357" y="178"/>
                    </a:cubicBezTo>
                    <a:cubicBezTo>
                      <a:pt x="1357" y="165"/>
                      <a:pt x="1346" y="154"/>
                      <a:pt x="1333" y="154"/>
                    </a:cubicBezTo>
                    <a:cubicBezTo>
                      <a:pt x="1280" y="154"/>
                      <a:pt x="1280" y="154"/>
                      <a:pt x="1280" y="154"/>
                    </a:cubicBezTo>
                    <a:cubicBezTo>
                      <a:pt x="1280" y="76"/>
                      <a:pt x="1280" y="76"/>
                      <a:pt x="1280" y="76"/>
                    </a:cubicBezTo>
                    <a:cubicBezTo>
                      <a:pt x="1280" y="62"/>
                      <a:pt x="1270" y="52"/>
                      <a:pt x="1256" y="52"/>
                    </a:cubicBezTo>
                    <a:cubicBezTo>
                      <a:pt x="795" y="52"/>
                      <a:pt x="795" y="52"/>
                      <a:pt x="795" y="52"/>
                    </a:cubicBezTo>
                    <a:cubicBezTo>
                      <a:pt x="781" y="52"/>
                      <a:pt x="771" y="62"/>
                      <a:pt x="771" y="76"/>
                    </a:cubicBezTo>
                    <a:cubicBezTo>
                      <a:pt x="771" y="154"/>
                      <a:pt x="771" y="154"/>
                      <a:pt x="771" y="154"/>
                    </a:cubicBezTo>
                    <a:cubicBezTo>
                      <a:pt x="718" y="154"/>
                      <a:pt x="718" y="154"/>
                      <a:pt x="718" y="154"/>
                    </a:cubicBezTo>
                    <a:cubicBezTo>
                      <a:pt x="704" y="154"/>
                      <a:pt x="694" y="165"/>
                      <a:pt x="694" y="178"/>
                    </a:cubicBezTo>
                    <a:cubicBezTo>
                      <a:pt x="694" y="257"/>
                      <a:pt x="694" y="257"/>
                      <a:pt x="694" y="257"/>
                    </a:cubicBezTo>
                    <a:cubicBezTo>
                      <a:pt x="641" y="257"/>
                      <a:pt x="641" y="257"/>
                      <a:pt x="641" y="257"/>
                    </a:cubicBezTo>
                    <a:cubicBezTo>
                      <a:pt x="627" y="257"/>
                      <a:pt x="617" y="268"/>
                      <a:pt x="617" y="281"/>
                    </a:cubicBezTo>
                    <a:cubicBezTo>
                      <a:pt x="617" y="359"/>
                      <a:pt x="617" y="359"/>
                      <a:pt x="617" y="359"/>
                    </a:cubicBezTo>
                    <a:cubicBezTo>
                      <a:pt x="474" y="359"/>
                      <a:pt x="474" y="359"/>
                      <a:pt x="474" y="359"/>
                    </a:cubicBezTo>
                    <a:cubicBezTo>
                      <a:pt x="534" y="240"/>
                      <a:pt x="534" y="240"/>
                      <a:pt x="534" y="240"/>
                    </a:cubicBezTo>
                    <a:cubicBezTo>
                      <a:pt x="536" y="237"/>
                      <a:pt x="536" y="233"/>
                      <a:pt x="536" y="230"/>
                    </a:cubicBezTo>
                    <a:cubicBezTo>
                      <a:pt x="536" y="48"/>
                      <a:pt x="536" y="48"/>
                      <a:pt x="536" y="48"/>
                    </a:cubicBezTo>
                    <a:cubicBezTo>
                      <a:pt x="564" y="48"/>
                      <a:pt x="564" y="48"/>
                      <a:pt x="564" y="48"/>
                    </a:cubicBezTo>
                    <a:cubicBezTo>
                      <a:pt x="577" y="48"/>
                      <a:pt x="588" y="38"/>
                      <a:pt x="588" y="24"/>
                    </a:cubicBezTo>
                    <a:cubicBezTo>
                      <a:pt x="588" y="11"/>
                      <a:pt x="577" y="0"/>
                      <a:pt x="564" y="0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191" y="0"/>
                      <a:pt x="181" y="11"/>
                      <a:pt x="181" y="24"/>
                    </a:cubicBezTo>
                    <a:cubicBezTo>
                      <a:pt x="181" y="308"/>
                      <a:pt x="181" y="308"/>
                      <a:pt x="181" y="308"/>
                    </a:cubicBezTo>
                    <a:cubicBezTo>
                      <a:pt x="25" y="308"/>
                      <a:pt x="25" y="308"/>
                      <a:pt x="25" y="308"/>
                    </a:cubicBezTo>
                    <a:cubicBezTo>
                      <a:pt x="18" y="308"/>
                      <a:pt x="12" y="311"/>
                      <a:pt x="7" y="316"/>
                    </a:cubicBezTo>
                    <a:cubicBezTo>
                      <a:pt x="2" y="321"/>
                      <a:pt x="0" y="328"/>
                      <a:pt x="1" y="335"/>
                    </a:cubicBezTo>
                    <a:cubicBezTo>
                      <a:pt x="2" y="343"/>
                      <a:pt x="27" y="532"/>
                      <a:pt x="122" y="664"/>
                    </a:cubicBezTo>
                    <a:cubicBezTo>
                      <a:pt x="116" y="666"/>
                      <a:pt x="110" y="667"/>
                      <a:pt x="102" y="667"/>
                    </a:cubicBezTo>
                    <a:cubicBezTo>
                      <a:pt x="89" y="667"/>
                      <a:pt x="78" y="678"/>
                      <a:pt x="78" y="691"/>
                    </a:cubicBezTo>
                    <a:cubicBezTo>
                      <a:pt x="78" y="705"/>
                      <a:pt x="89" y="715"/>
                      <a:pt x="102" y="715"/>
                    </a:cubicBezTo>
                    <a:cubicBezTo>
                      <a:pt x="141" y="715"/>
                      <a:pt x="161" y="698"/>
                      <a:pt x="177" y="684"/>
                    </a:cubicBezTo>
                    <a:cubicBezTo>
                      <a:pt x="191" y="672"/>
                      <a:pt x="201" y="664"/>
                      <a:pt x="222" y="664"/>
                    </a:cubicBezTo>
                    <a:cubicBezTo>
                      <a:pt x="243" y="664"/>
                      <a:pt x="252" y="672"/>
                      <a:pt x="266" y="684"/>
                    </a:cubicBezTo>
                    <a:cubicBezTo>
                      <a:pt x="282" y="698"/>
                      <a:pt x="302" y="715"/>
                      <a:pt x="341" y="715"/>
                    </a:cubicBezTo>
                    <a:cubicBezTo>
                      <a:pt x="380" y="715"/>
                      <a:pt x="400" y="698"/>
                      <a:pt x="417" y="684"/>
                    </a:cubicBezTo>
                    <a:cubicBezTo>
                      <a:pt x="431" y="672"/>
                      <a:pt x="440" y="664"/>
                      <a:pt x="461" y="664"/>
                    </a:cubicBezTo>
                    <a:cubicBezTo>
                      <a:pt x="482" y="664"/>
                      <a:pt x="491" y="672"/>
                      <a:pt x="505" y="684"/>
                    </a:cubicBezTo>
                    <a:cubicBezTo>
                      <a:pt x="521" y="698"/>
                      <a:pt x="542" y="715"/>
                      <a:pt x="580" y="715"/>
                    </a:cubicBezTo>
                    <a:cubicBezTo>
                      <a:pt x="619" y="715"/>
                      <a:pt x="640" y="698"/>
                      <a:pt x="656" y="684"/>
                    </a:cubicBezTo>
                    <a:cubicBezTo>
                      <a:pt x="670" y="672"/>
                      <a:pt x="679" y="664"/>
                      <a:pt x="700" y="664"/>
                    </a:cubicBezTo>
                    <a:cubicBezTo>
                      <a:pt x="721" y="664"/>
                      <a:pt x="730" y="672"/>
                      <a:pt x="744" y="684"/>
                    </a:cubicBezTo>
                    <a:cubicBezTo>
                      <a:pt x="761" y="698"/>
                      <a:pt x="781" y="715"/>
                      <a:pt x="820" y="715"/>
                    </a:cubicBezTo>
                    <a:cubicBezTo>
                      <a:pt x="859" y="715"/>
                      <a:pt x="879" y="698"/>
                      <a:pt x="895" y="684"/>
                    </a:cubicBezTo>
                    <a:cubicBezTo>
                      <a:pt x="909" y="672"/>
                      <a:pt x="918" y="664"/>
                      <a:pt x="940" y="664"/>
                    </a:cubicBezTo>
                    <a:cubicBezTo>
                      <a:pt x="961" y="664"/>
                      <a:pt x="970" y="672"/>
                      <a:pt x="984" y="684"/>
                    </a:cubicBezTo>
                    <a:cubicBezTo>
                      <a:pt x="1000" y="698"/>
                      <a:pt x="1020" y="715"/>
                      <a:pt x="1059" y="715"/>
                    </a:cubicBezTo>
                    <a:cubicBezTo>
                      <a:pt x="1098" y="715"/>
                      <a:pt x="1118" y="698"/>
                      <a:pt x="1135" y="684"/>
                    </a:cubicBezTo>
                    <a:cubicBezTo>
                      <a:pt x="1149" y="672"/>
                      <a:pt x="1158" y="664"/>
                      <a:pt x="1179" y="664"/>
                    </a:cubicBezTo>
                    <a:cubicBezTo>
                      <a:pt x="1200" y="664"/>
                      <a:pt x="1209" y="672"/>
                      <a:pt x="1223" y="684"/>
                    </a:cubicBezTo>
                    <a:cubicBezTo>
                      <a:pt x="1240" y="698"/>
                      <a:pt x="1260" y="715"/>
                      <a:pt x="1299" y="715"/>
                    </a:cubicBezTo>
                    <a:cubicBezTo>
                      <a:pt x="1338" y="715"/>
                      <a:pt x="1358" y="698"/>
                      <a:pt x="1374" y="684"/>
                    </a:cubicBezTo>
                    <a:cubicBezTo>
                      <a:pt x="1388" y="672"/>
                      <a:pt x="1397" y="664"/>
                      <a:pt x="1419" y="664"/>
                    </a:cubicBezTo>
                    <a:cubicBezTo>
                      <a:pt x="1440" y="664"/>
                      <a:pt x="1449" y="672"/>
                      <a:pt x="1463" y="684"/>
                    </a:cubicBezTo>
                    <a:cubicBezTo>
                      <a:pt x="1479" y="698"/>
                      <a:pt x="1500" y="715"/>
                      <a:pt x="1538" y="715"/>
                    </a:cubicBezTo>
                    <a:cubicBezTo>
                      <a:pt x="1552" y="715"/>
                      <a:pt x="1562" y="705"/>
                      <a:pt x="1562" y="691"/>
                    </a:cubicBezTo>
                    <a:cubicBezTo>
                      <a:pt x="1562" y="678"/>
                      <a:pt x="1552" y="667"/>
                      <a:pt x="1538" y="667"/>
                    </a:cubicBezTo>
                    <a:cubicBezTo>
                      <a:pt x="1517" y="667"/>
                      <a:pt x="1508" y="659"/>
                      <a:pt x="1494" y="647"/>
                    </a:cubicBezTo>
                    <a:cubicBezTo>
                      <a:pt x="1488" y="642"/>
                      <a:pt x="1482" y="637"/>
                      <a:pt x="1474" y="632"/>
                    </a:cubicBezTo>
                    <a:cubicBezTo>
                      <a:pt x="1613" y="457"/>
                      <a:pt x="1638" y="292"/>
                      <a:pt x="1639" y="284"/>
                    </a:cubicBezTo>
                    <a:cubicBezTo>
                      <a:pt x="1640" y="277"/>
                      <a:pt x="1638" y="270"/>
                      <a:pt x="1634" y="265"/>
                    </a:cubicBezTo>
                    <a:close/>
                    <a:moveTo>
                      <a:pt x="1309" y="202"/>
                    </a:moveTo>
                    <a:cubicBezTo>
                      <a:pt x="1309" y="257"/>
                      <a:pt x="1309" y="257"/>
                      <a:pt x="1309" y="257"/>
                    </a:cubicBezTo>
                    <a:cubicBezTo>
                      <a:pt x="1203" y="257"/>
                      <a:pt x="1203" y="257"/>
                      <a:pt x="1203" y="257"/>
                    </a:cubicBezTo>
                    <a:cubicBezTo>
                      <a:pt x="1203" y="202"/>
                      <a:pt x="1203" y="202"/>
                      <a:pt x="1203" y="202"/>
                    </a:cubicBezTo>
                    <a:lnTo>
                      <a:pt x="1309" y="202"/>
                    </a:lnTo>
                    <a:close/>
                    <a:moveTo>
                      <a:pt x="1126" y="100"/>
                    </a:moveTo>
                    <a:cubicBezTo>
                      <a:pt x="1232" y="100"/>
                      <a:pt x="1232" y="100"/>
                      <a:pt x="1232" y="100"/>
                    </a:cubicBezTo>
                    <a:cubicBezTo>
                      <a:pt x="1232" y="154"/>
                      <a:pt x="1232" y="154"/>
                      <a:pt x="1232" y="154"/>
                    </a:cubicBezTo>
                    <a:cubicBezTo>
                      <a:pt x="1126" y="154"/>
                      <a:pt x="1126" y="154"/>
                      <a:pt x="1126" y="154"/>
                    </a:cubicBezTo>
                    <a:lnTo>
                      <a:pt x="1126" y="100"/>
                    </a:lnTo>
                    <a:close/>
                    <a:moveTo>
                      <a:pt x="1155" y="202"/>
                    </a:moveTo>
                    <a:cubicBezTo>
                      <a:pt x="1155" y="257"/>
                      <a:pt x="1155" y="257"/>
                      <a:pt x="1155" y="257"/>
                    </a:cubicBezTo>
                    <a:cubicBezTo>
                      <a:pt x="1049" y="257"/>
                      <a:pt x="1049" y="257"/>
                      <a:pt x="1049" y="257"/>
                    </a:cubicBezTo>
                    <a:cubicBezTo>
                      <a:pt x="1049" y="202"/>
                      <a:pt x="1049" y="202"/>
                      <a:pt x="1049" y="202"/>
                    </a:cubicBezTo>
                    <a:lnTo>
                      <a:pt x="1155" y="202"/>
                    </a:lnTo>
                    <a:close/>
                    <a:moveTo>
                      <a:pt x="972" y="100"/>
                    </a:moveTo>
                    <a:cubicBezTo>
                      <a:pt x="1078" y="100"/>
                      <a:pt x="1078" y="100"/>
                      <a:pt x="1078" y="100"/>
                    </a:cubicBezTo>
                    <a:cubicBezTo>
                      <a:pt x="1078" y="154"/>
                      <a:pt x="1078" y="154"/>
                      <a:pt x="1078" y="154"/>
                    </a:cubicBezTo>
                    <a:cubicBezTo>
                      <a:pt x="972" y="154"/>
                      <a:pt x="972" y="154"/>
                      <a:pt x="972" y="154"/>
                    </a:cubicBezTo>
                    <a:lnTo>
                      <a:pt x="972" y="100"/>
                    </a:lnTo>
                    <a:close/>
                    <a:moveTo>
                      <a:pt x="925" y="359"/>
                    </a:moveTo>
                    <a:cubicBezTo>
                      <a:pt x="819" y="359"/>
                      <a:pt x="819" y="359"/>
                      <a:pt x="819" y="359"/>
                    </a:cubicBezTo>
                    <a:cubicBezTo>
                      <a:pt x="819" y="305"/>
                      <a:pt x="819" y="305"/>
                      <a:pt x="819" y="305"/>
                    </a:cubicBezTo>
                    <a:cubicBezTo>
                      <a:pt x="924" y="305"/>
                      <a:pt x="924" y="305"/>
                      <a:pt x="924" y="305"/>
                    </a:cubicBezTo>
                    <a:cubicBezTo>
                      <a:pt x="924" y="358"/>
                      <a:pt x="924" y="358"/>
                      <a:pt x="924" y="358"/>
                    </a:cubicBezTo>
                    <a:cubicBezTo>
                      <a:pt x="924" y="358"/>
                      <a:pt x="925" y="359"/>
                      <a:pt x="925" y="359"/>
                    </a:cubicBezTo>
                    <a:close/>
                    <a:moveTo>
                      <a:pt x="896" y="257"/>
                    </a:moveTo>
                    <a:cubicBezTo>
                      <a:pt x="896" y="202"/>
                      <a:pt x="896" y="202"/>
                      <a:pt x="896" y="202"/>
                    </a:cubicBezTo>
                    <a:cubicBezTo>
                      <a:pt x="1001" y="202"/>
                      <a:pt x="1001" y="202"/>
                      <a:pt x="1001" y="202"/>
                    </a:cubicBezTo>
                    <a:cubicBezTo>
                      <a:pt x="1001" y="257"/>
                      <a:pt x="1001" y="257"/>
                      <a:pt x="1001" y="257"/>
                    </a:cubicBezTo>
                    <a:lnTo>
                      <a:pt x="896" y="257"/>
                    </a:lnTo>
                    <a:close/>
                    <a:moveTo>
                      <a:pt x="972" y="305"/>
                    </a:moveTo>
                    <a:cubicBezTo>
                      <a:pt x="1038" y="305"/>
                      <a:pt x="1038" y="305"/>
                      <a:pt x="1038" y="305"/>
                    </a:cubicBezTo>
                    <a:cubicBezTo>
                      <a:pt x="972" y="342"/>
                      <a:pt x="972" y="342"/>
                      <a:pt x="972" y="342"/>
                    </a:cubicBezTo>
                    <a:lnTo>
                      <a:pt x="972" y="305"/>
                    </a:lnTo>
                    <a:close/>
                    <a:moveTo>
                      <a:pt x="819" y="100"/>
                    </a:moveTo>
                    <a:cubicBezTo>
                      <a:pt x="924" y="100"/>
                      <a:pt x="924" y="100"/>
                      <a:pt x="924" y="100"/>
                    </a:cubicBezTo>
                    <a:cubicBezTo>
                      <a:pt x="924" y="154"/>
                      <a:pt x="924" y="154"/>
                      <a:pt x="924" y="154"/>
                    </a:cubicBezTo>
                    <a:cubicBezTo>
                      <a:pt x="819" y="154"/>
                      <a:pt x="819" y="154"/>
                      <a:pt x="819" y="154"/>
                    </a:cubicBezTo>
                    <a:lnTo>
                      <a:pt x="819" y="100"/>
                    </a:lnTo>
                    <a:close/>
                    <a:moveTo>
                      <a:pt x="742" y="202"/>
                    </a:moveTo>
                    <a:cubicBezTo>
                      <a:pt x="848" y="202"/>
                      <a:pt x="848" y="202"/>
                      <a:pt x="848" y="202"/>
                    </a:cubicBezTo>
                    <a:cubicBezTo>
                      <a:pt x="848" y="257"/>
                      <a:pt x="848" y="257"/>
                      <a:pt x="848" y="257"/>
                    </a:cubicBezTo>
                    <a:cubicBezTo>
                      <a:pt x="742" y="257"/>
                      <a:pt x="742" y="257"/>
                      <a:pt x="742" y="257"/>
                    </a:cubicBezTo>
                    <a:lnTo>
                      <a:pt x="742" y="202"/>
                    </a:lnTo>
                    <a:close/>
                    <a:moveTo>
                      <a:pt x="665" y="305"/>
                    </a:moveTo>
                    <a:cubicBezTo>
                      <a:pt x="771" y="305"/>
                      <a:pt x="771" y="305"/>
                      <a:pt x="771" y="305"/>
                    </a:cubicBezTo>
                    <a:cubicBezTo>
                      <a:pt x="771" y="359"/>
                      <a:pt x="771" y="359"/>
                      <a:pt x="771" y="359"/>
                    </a:cubicBezTo>
                    <a:cubicBezTo>
                      <a:pt x="665" y="359"/>
                      <a:pt x="665" y="359"/>
                      <a:pt x="665" y="359"/>
                    </a:cubicBezTo>
                    <a:lnTo>
                      <a:pt x="665" y="305"/>
                    </a:lnTo>
                    <a:close/>
                    <a:moveTo>
                      <a:pt x="229" y="48"/>
                    </a:moveTo>
                    <a:cubicBezTo>
                      <a:pt x="488" y="48"/>
                      <a:pt x="488" y="48"/>
                      <a:pt x="488" y="48"/>
                    </a:cubicBezTo>
                    <a:cubicBezTo>
                      <a:pt x="488" y="103"/>
                      <a:pt x="488" y="103"/>
                      <a:pt x="488" y="103"/>
                    </a:cubicBezTo>
                    <a:cubicBezTo>
                      <a:pt x="333" y="103"/>
                      <a:pt x="333" y="103"/>
                      <a:pt x="333" y="103"/>
                    </a:cubicBezTo>
                    <a:cubicBezTo>
                      <a:pt x="320" y="103"/>
                      <a:pt x="309" y="114"/>
                      <a:pt x="309" y="127"/>
                    </a:cubicBezTo>
                    <a:cubicBezTo>
                      <a:pt x="309" y="140"/>
                      <a:pt x="320" y="151"/>
                      <a:pt x="333" y="151"/>
                    </a:cubicBezTo>
                    <a:cubicBezTo>
                      <a:pt x="488" y="151"/>
                      <a:pt x="488" y="151"/>
                      <a:pt x="488" y="151"/>
                    </a:cubicBezTo>
                    <a:cubicBezTo>
                      <a:pt x="488" y="224"/>
                      <a:pt x="488" y="224"/>
                      <a:pt x="488" y="224"/>
                    </a:cubicBezTo>
                    <a:cubicBezTo>
                      <a:pt x="421" y="359"/>
                      <a:pt x="421" y="359"/>
                      <a:pt x="421" y="359"/>
                    </a:cubicBezTo>
                    <a:cubicBezTo>
                      <a:pt x="351" y="359"/>
                      <a:pt x="351" y="359"/>
                      <a:pt x="351" y="359"/>
                    </a:cubicBezTo>
                    <a:cubicBezTo>
                      <a:pt x="343" y="359"/>
                      <a:pt x="335" y="358"/>
                      <a:pt x="327" y="354"/>
                    </a:cubicBezTo>
                    <a:cubicBezTo>
                      <a:pt x="257" y="319"/>
                      <a:pt x="257" y="319"/>
                      <a:pt x="257" y="319"/>
                    </a:cubicBezTo>
                    <a:cubicBezTo>
                      <a:pt x="248" y="314"/>
                      <a:pt x="239" y="311"/>
                      <a:pt x="229" y="310"/>
                    </a:cubicBezTo>
                    <a:lnTo>
                      <a:pt x="229" y="48"/>
                    </a:lnTo>
                    <a:close/>
                    <a:moveTo>
                      <a:pt x="1526" y="462"/>
                    </a:moveTo>
                    <a:cubicBezTo>
                      <a:pt x="1436" y="462"/>
                      <a:pt x="1436" y="462"/>
                      <a:pt x="1436" y="462"/>
                    </a:cubicBezTo>
                    <a:cubicBezTo>
                      <a:pt x="1423" y="462"/>
                      <a:pt x="1412" y="473"/>
                      <a:pt x="1412" y="486"/>
                    </a:cubicBezTo>
                    <a:cubicBezTo>
                      <a:pt x="1412" y="499"/>
                      <a:pt x="1423" y="510"/>
                      <a:pt x="1436" y="510"/>
                    </a:cubicBezTo>
                    <a:cubicBezTo>
                      <a:pt x="1500" y="510"/>
                      <a:pt x="1500" y="510"/>
                      <a:pt x="1500" y="510"/>
                    </a:cubicBezTo>
                    <a:cubicBezTo>
                      <a:pt x="1479" y="544"/>
                      <a:pt x="1455" y="580"/>
                      <a:pt x="1425" y="616"/>
                    </a:cubicBezTo>
                    <a:cubicBezTo>
                      <a:pt x="1423" y="616"/>
                      <a:pt x="1421" y="616"/>
                      <a:pt x="1419" y="616"/>
                    </a:cubicBezTo>
                    <a:cubicBezTo>
                      <a:pt x="1380" y="616"/>
                      <a:pt x="1359" y="633"/>
                      <a:pt x="1343" y="647"/>
                    </a:cubicBezTo>
                    <a:cubicBezTo>
                      <a:pt x="1329" y="659"/>
                      <a:pt x="1320" y="667"/>
                      <a:pt x="1299" y="667"/>
                    </a:cubicBezTo>
                    <a:cubicBezTo>
                      <a:pt x="1278" y="667"/>
                      <a:pt x="1268" y="659"/>
                      <a:pt x="1254" y="647"/>
                    </a:cubicBezTo>
                    <a:cubicBezTo>
                      <a:pt x="1238" y="633"/>
                      <a:pt x="1218" y="616"/>
                      <a:pt x="1179" y="616"/>
                    </a:cubicBezTo>
                    <a:cubicBezTo>
                      <a:pt x="1140" y="616"/>
                      <a:pt x="1120" y="633"/>
                      <a:pt x="1103" y="647"/>
                    </a:cubicBezTo>
                    <a:cubicBezTo>
                      <a:pt x="1089" y="659"/>
                      <a:pt x="1080" y="667"/>
                      <a:pt x="1059" y="667"/>
                    </a:cubicBezTo>
                    <a:cubicBezTo>
                      <a:pt x="1038" y="667"/>
                      <a:pt x="1029" y="659"/>
                      <a:pt x="1015" y="647"/>
                    </a:cubicBezTo>
                    <a:cubicBezTo>
                      <a:pt x="999" y="633"/>
                      <a:pt x="978" y="616"/>
                      <a:pt x="940" y="616"/>
                    </a:cubicBezTo>
                    <a:cubicBezTo>
                      <a:pt x="901" y="616"/>
                      <a:pt x="880" y="633"/>
                      <a:pt x="864" y="647"/>
                    </a:cubicBezTo>
                    <a:cubicBezTo>
                      <a:pt x="850" y="659"/>
                      <a:pt x="841" y="667"/>
                      <a:pt x="820" y="667"/>
                    </a:cubicBezTo>
                    <a:cubicBezTo>
                      <a:pt x="799" y="667"/>
                      <a:pt x="790" y="659"/>
                      <a:pt x="776" y="647"/>
                    </a:cubicBezTo>
                    <a:cubicBezTo>
                      <a:pt x="759" y="633"/>
                      <a:pt x="739" y="616"/>
                      <a:pt x="700" y="616"/>
                    </a:cubicBezTo>
                    <a:cubicBezTo>
                      <a:pt x="661" y="616"/>
                      <a:pt x="641" y="633"/>
                      <a:pt x="625" y="647"/>
                    </a:cubicBezTo>
                    <a:cubicBezTo>
                      <a:pt x="611" y="659"/>
                      <a:pt x="601" y="667"/>
                      <a:pt x="580" y="667"/>
                    </a:cubicBezTo>
                    <a:cubicBezTo>
                      <a:pt x="559" y="667"/>
                      <a:pt x="550" y="659"/>
                      <a:pt x="536" y="647"/>
                    </a:cubicBezTo>
                    <a:cubicBezTo>
                      <a:pt x="520" y="633"/>
                      <a:pt x="500" y="616"/>
                      <a:pt x="461" y="616"/>
                    </a:cubicBezTo>
                    <a:cubicBezTo>
                      <a:pt x="422" y="616"/>
                      <a:pt x="402" y="633"/>
                      <a:pt x="385" y="647"/>
                    </a:cubicBezTo>
                    <a:cubicBezTo>
                      <a:pt x="371" y="659"/>
                      <a:pt x="362" y="667"/>
                      <a:pt x="341" y="667"/>
                    </a:cubicBezTo>
                    <a:cubicBezTo>
                      <a:pt x="320" y="667"/>
                      <a:pt x="311" y="659"/>
                      <a:pt x="297" y="647"/>
                    </a:cubicBezTo>
                    <a:cubicBezTo>
                      <a:pt x="281" y="633"/>
                      <a:pt x="260" y="616"/>
                      <a:pt x="222" y="616"/>
                    </a:cubicBezTo>
                    <a:cubicBezTo>
                      <a:pt x="193" y="616"/>
                      <a:pt x="175" y="625"/>
                      <a:pt x="161" y="636"/>
                    </a:cubicBezTo>
                    <a:cubicBezTo>
                      <a:pt x="133" y="597"/>
                      <a:pt x="112" y="553"/>
                      <a:pt x="96" y="510"/>
                    </a:cubicBezTo>
                    <a:cubicBezTo>
                      <a:pt x="1025" y="510"/>
                      <a:pt x="1025" y="510"/>
                      <a:pt x="1025" y="510"/>
                    </a:cubicBezTo>
                    <a:cubicBezTo>
                      <a:pt x="1039" y="510"/>
                      <a:pt x="1049" y="499"/>
                      <a:pt x="1049" y="486"/>
                    </a:cubicBezTo>
                    <a:cubicBezTo>
                      <a:pt x="1049" y="473"/>
                      <a:pt x="1039" y="462"/>
                      <a:pt x="1025" y="462"/>
                    </a:cubicBezTo>
                    <a:cubicBezTo>
                      <a:pt x="79" y="462"/>
                      <a:pt x="79" y="462"/>
                      <a:pt x="79" y="462"/>
                    </a:cubicBezTo>
                    <a:cubicBezTo>
                      <a:pt x="66" y="419"/>
                      <a:pt x="58" y="380"/>
                      <a:pt x="53" y="356"/>
                    </a:cubicBezTo>
                    <a:cubicBezTo>
                      <a:pt x="212" y="356"/>
                      <a:pt x="212" y="356"/>
                      <a:pt x="212" y="356"/>
                    </a:cubicBezTo>
                    <a:cubicBezTo>
                      <a:pt x="220" y="356"/>
                      <a:pt x="228" y="358"/>
                      <a:pt x="236" y="362"/>
                    </a:cubicBezTo>
                    <a:cubicBezTo>
                      <a:pt x="306" y="397"/>
                      <a:pt x="306" y="397"/>
                      <a:pt x="306" y="397"/>
                    </a:cubicBezTo>
                    <a:cubicBezTo>
                      <a:pt x="320" y="404"/>
                      <a:pt x="335" y="407"/>
                      <a:pt x="351" y="407"/>
                    </a:cubicBezTo>
                    <a:cubicBezTo>
                      <a:pt x="928" y="407"/>
                      <a:pt x="928" y="407"/>
                      <a:pt x="928" y="407"/>
                    </a:cubicBezTo>
                    <a:cubicBezTo>
                      <a:pt x="946" y="407"/>
                      <a:pt x="963" y="403"/>
                      <a:pt x="978" y="394"/>
                    </a:cubicBezTo>
                    <a:cubicBezTo>
                      <a:pt x="1122" y="312"/>
                      <a:pt x="1122" y="312"/>
                      <a:pt x="1122" y="312"/>
                    </a:cubicBezTo>
                    <a:cubicBezTo>
                      <a:pt x="1130" y="307"/>
                      <a:pt x="1139" y="305"/>
                      <a:pt x="1148" y="305"/>
                    </a:cubicBezTo>
                    <a:cubicBezTo>
                      <a:pt x="1586" y="305"/>
                      <a:pt x="1586" y="305"/>
                      <a:pt x="1586" y="305"/>
                    </a:cubicBezTo>
                    <a:cubicBezTo>
                      <a:pt x="1578" y="337"/>
                      <a:pt x="1561" y="394"/>
                      <a:pt x="1526" y="462"/>
                    </a:cubicBezTo>
                    <a:close/>
                    <a:moveTo>
                      <a:pt x="1526" y="462"/>
                    </a:moveTo>
                    <a:cubicBezTo>
                      <a:pt x="1526" y="462"/>
                      <a:pt x="1526" y="462"/>
                      <a:pt x="1526" y="462"/>
                    </a:cubicBezTo>
                  </a:path>
                </a:pathLst>
              </a:custGeom>
              <a:grpFill/>
              <a:ln w="0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xmlns="" id="{457C8086-3CA9-4C7D-9FBE-F6192CD763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48" y="2373"/>
                <a:ext cx="206" cy="100"/>
              </a:xfrm>
              <a:custGeom>
                <a:avLst/>
                <a:gdLst>
                  <a:gd name="T0" fmla="*/ 75 w 99"/>
                  <a:gd name="T1" fmla="*/ 0 h 48"/>
                  <a:gd name="T2" fmla="*/ 24 w 99"/>
                  <a:gd name="T3" fmla="*/ 0 h 48"/>
                  <a:gd name="T4" fmla="*/ 0 w 99"/>
                  <a:gd name="T5" fmla="*/ 24 h 48"/>
                  <a:gd name="T6" fmla="*/ 24 w 99"/>
                  <a:gd name="T7" fmla="*/ 48 h 48"/>
                  <a:gd name="T8" fmla="*/ 75 w 99"/>
                  <a:gd name="T9" fmla="*/ 48 h 48"/>
                  <a:gd name="T10" fmla="*/ 99 w 99"/>
                  <a:gd name="T11" fmla="*/ 24 h 48"/>
                  <a:gd name="T12" fmla="*/ 75 w 99"/>
                  <a:gd name="T13" fmla="*/ 0 h 48"/>
                  <a:gd name="T14" fmla="*/ 75 w 99"/>
                  <a:gd name="T15" fmla="*/ 0 h 48"/>
                  <a:gd name="T16" fmla="*/ 75 w 99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48">
                    <a:moveTo>
                      <a:pt x="75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ubicBezTo>
                      <a:pt x="75" y="48"/>
                      <a:pt x="75" y="48"/>
                      <a:pt x="75" y="48"/>
                    </a:cubicBezTo>
                    <a:cubicBezTo>
                      <a:pt x="88" y="48"/>
                      <a:pt x="99" y="37"/>
                      <a:pt x="99" y="24"/>
                    </a:cubicBezTo>
                    <a:cubicBezTo>
                      <a:pt x="99" y="11"/>
                      <a:pt x="88" y="0"/>
                      <a:pt x="75" y="0"/>
                    </a:cubicBezTo>
                    <a:close/>
                    <a:moveTo>
                      <a:pt x="75" y="0"/>
                    </a:moveTo>
                    <a:cubicBezTo>
                      <a:pt x="75" y="0"/>
                      <a:pt x="75" y="0"/>
                      <a:pt x="75" y="0"/>
                    </a:cubicBezTo>
                  </a:path>
                </a:pathLst>
              </a:custGeom>
              <a:grpFill/>
              <a:ln w="0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xmlns="" id="{0E78281B-08D9-4B1D-AAE5-5ED0D67D70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28" y="2373"/>
                <a:ext cx="206" cy="100"/>
              </a:xfrm>
              <a:custGeom>
                <a:avLst/>
                <a:gdLst>
                  <a:gd name="T0" fmla="*/ 75 w 99"/>
                  <a:gd name="T1" fmla="*/ 0 h 48"/>
                  <a:gd name="T2" fmla="*/ 24 w 99"/>
                  <a:gd name="T3" fmla="*/ 0 h 48"/>
                  <a:gd name="T4" fmla="*/ 0 w 99"/>
                  <a:gd name="T5" fmla="*/ 24 h 48"/>
                  <a:gd name="T6" fmla="*/ 24 w 99"/>
                  <a:gd name="T7" fmla="*/ 48 h 48"/>
                  <a:gd name="T8" fmla="*/ 75 w 99"/>
                  <a:gd name="T9" fmla="*/ 48 h 48"/>
                  <a:gd name="T10" fmla="*/ 99 w 99"/>
                  <a:gd name="T11" fmla="*/ 24 h 48"/>
                  <a:gd name="T12" fmla="*/ 75 w 99"/>
                  <a:gd name="T13" fmla="*/ 0 h 48"/>
                  <a:gd name="T14" fmla="*/ 75 w 99"/>
                  <a:gd name="T15" fmla="*/ 0 h 48"/>
                  <a:gd name="T16" fmla="*/ 75 w 99"/>
                  <a:gd name="T1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48">
                    <a:moveTo>
                      <a:pt x="75" y="0"/>
                    </a:moveTo>
                    <a:cubicBezTo>
                      <a:pt x="24" y="0"/>
                      <a:pt x="24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ubicBezTo>
                      <a:pt x="75" y="48"/>
                      <a:pt x="75" y="48"/>
                      <a:pt x="75" y="48"/>
                    </a:cubicBezTo>
                    <a:cubicBezTo>
                      <a:pt x="89" y="48"/>
                      <a:pt x="99" y="37"/>
                      <a:pt x="99" y="24"/>
                    </a:cubicBezTo>
                    <a:cubicBezTo>
                      <a:pt x="99" y="11"/>
                      <a:pt x="89" y="0"/>
                      <a:pt x="75" y="0"/>
                    </a:cubicBezTo>
                    <a:close/>
                    <a:moveTo>
                      <a:pt x="75" y="0"/>
                    </a:moveTo>
                    <a:cubicBezTo>
                      <a:pt x="75" y="0"/>
                      <a:pt x="75" y="0"/>
                      <a:pt x="75" y="0"/>
                    </a:cubicBezTo>
                  </a:path>
                </a:pathLst>
              </a:custGeom>
              <a:grpFill/>
              <a:ln w="0">
                <a:solidFill>
                  <a:schemeClr val="accent6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102" name="#4">
            <a:extLst>
              <a:ext uri="{FF2B5EF4-FFF2-40B4-BE49-F238E27FC236}">
                <a16:creationId xmlns:a16="http://schemas.microsoft.com/office/drawing/2014/main" xmlns="" id="{FF4C17BB-4592-43CC-840D-536C322A8CDD}"/>
              </a:ext>
            </a:extLst>
          </p:cNvPr>
          <p:cNvGrpSpPr/>
          <p:nvPr/>
        </p:nvGrpSpPr>
        <p:grpSpPr>
          <a:xfrm>
            <a:off x="9598104" y="1448502"/>
            <a:ext cx="2054067" cy="1808473"/>
            <a:chOff x="9598104" y="1448502"/>
            <a:chExt cx="2054067" cy="1808473"/>
          </a:xfrm>
        </p:grpSpPr>
        <p:sp>
          <p:nvSpPr>
            <p:cNvPr id="23" name="Rechthoek: afgeronde hoeken 22">
              <a:extLst>
                <a:ext uri="{FF2B5EF4-FFF2-40B4-BE49-F238E27FC236}">
                  <a16:creationId xmlns:a16="http://schemas.microsoft.com/office/drawing/2014/main" xmlns="" id="{9C60C1DB-5B9C-4D7E-9A7E-8D7C5829D62A}"/>
                </a:ext>
              </a:extLst>
            </p:cNvPr>
            <p:cNvSpPr/>
            <p:nvPr/>
          </p:nvSpPr>
          <p:spPr>
            <a:xfrm>
              <a:off x="9598104" y="1448502"/>
              <a:ext cx="2054067" cy="1808473"/>
            </a:xfrm>
            <a:prstGeom prst="roundRect">
              <a:avLst>
                <a:gd name="adj" fmla="val 4818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80000" rtlCol="0" anchor="b"/>
            <a:lstStyle/>
            <a:p>
              <a:pPr algn="ctr">
                <a:lnSpc>
                  <a:spcPct val="80000"/>
                </a:lnSpc>
              </a:pPr>
              <a:r>
                <a:rPr lang="nl-NL" sz="2400" b="1" dirty="0">
                  <a:solidFill>
                    <a:schemeClr val="bg1"/>
                  </a:solidFill>
                </a:rPr>
                <a:t>18,645</a:t>
              </a:r>
            </a:p>
            <a:p>
              <a:pPr algn="ctr">
                <a:lnSpc>
                  <a:spcPct val="80000"/>
                </a:lnSpc>
              </a:pPr>
              <a:r>
                <a:rPr lang="nl-NL" sz="1400" dirty="0"/>
                <a:t>member </a:t>
              </a:r>
              <a:r>
                <a:rPr lang="nl-NL" sz="1400" dirty="0" err="1"/>
                <a:t>dairy</a:t>
              </a:r>
              <a:r>
                <a:rPr lang="nl-NL" sz="1400" dirty="0"/>
                <a:t> farmers</a:t>
              </a:r>
            </a:p>
          </p:txBody>
        </p:sp>
        <p:grpSp>
          <p:nvGrpSpPr>
            <p:cNvPr id="57" name="Group 34">
              <a:extLst>
                <a:ext uri="{FF2B5EF4-FFF2-40B4-BE49-F238E27FC236}">
                  <a16:creationId xmlns:a16="http://schemas.microsoft.com/office/drawing/2014/main" xmlns="" id="{746EDED0-C8C1-40DB-80CA-FA662FFE2BE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69364" y="1743433"/>
              <a:ext cx="711546" cy="589834"/>
              <a:chOff x="3721" y="2063"/>
              <a:chExt cx="228" cy="189"/>
            </a:xfrm>
            <a:solidFill>
              <a:schemeClr val="bg1"/>
            </a:solidFill>
          </p:grpSpPr>
          <p:sp>
            <p:nvSpPr>
              <p:cNvPr id="59" name="Freeform 35">
                <a:extLst>
                  <a:ext uri="{FF2B5EF4-FFF2-40B4-BE49-F238E27FC236}">
                    <a16:creationId xmlns:a16="http://schemas.microsoft.com/office/drawing/2014/main" xmlns="" id="{0EFD331C-9C25-491F-BD4B-F0FECB72D7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55" y="2094"/>
                <a:ext cx="8" cy="8"/>
              </a:xfrm>
              <a:custGeom>
                <a:avLst/>
                <a:gdLst>
                  <a:gd name="T0" fmla="*/ 2 w 4"/>
                  <a:gd name="T1" fmla="*/ 4 h 4"/>
                  <a:gd name="T2" fmla="*/ 0 w 4"/>
                  <a:gd name="T3" fmla="*/ 2 h 4"/>
                  <a:gd name="T4" fmla="*/ 2 w 4"/>
                  <a:gd name="T5" fmla="*/ 0 h 4"/>
                  <a:gd name="T6" fmla="*/ 4 w 4"/>
                  <a:gd name="T7" fmla="*/ 2 h 4"/>
                  <a:gd name="T8" fmla="*/ 2 w 4"/>
                  <a:gd name="T9" fmla="*/ 4 h 4"/>
                  <a:gd name="T10" fmla="*/ 2 w 4"/>
                  <a:gd name="T11" fmla="*/ 1 h 4"/>
                  <a:gd name="T12" fmla="*/ 1 w 4"/>
                  <a:gd name="T13" fmla="*/ 2 h 4"/>
                  <a:gd name="T14" fmla="*/ 3 w 4"/>
                  <a:gd name="T15" fmla="*/ 2 h 4"/>
                  <a:gd name="T16" fmla="*/ 2 w 4"/>
                  <a:gd name="T17" fmla="*/ 1 h 4"/>
                  <a:gd name="T18" fmla="*/ 2 w 4"/>
                  <a:gd name="T19" fmla="*/ 1 h 4"/>
                  <a:gd name="T20" fmla="*/ 2 w 4"/>
                  <a:gd name="T21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3"/>
                      <a:pt x="3" y="4"/>
                      <a:pt x="2" y="4"/>
                    </a:cubicBezTo>
                    <a:close/>
                    <a:moveTo>
                      <a:pt x="2" y="1"/>
                    </a:moveTo>
                    <a:cubicBezTo>
                      <a:pt x="2" y="1"/>
                      <a:pt x="1" y="2"/>
                      <a:pt x="1" y="2"/>
                    </a:cubicBezTo>
                    <a:cubicBezTo>
                      <a:pt x="1" y="3"/>
                      <a:pt x="3" y="3"/>
                      <a:pt x="3" y="2"/>
                    </a:cubicBezTo>
                    <a:cubicBezTo>
                      <a:pt x="3" y="2"/>
                      <a:pt x="3" y="1"/>
                      <a:pt x="2" y="1"/>
                    </a:cubicBezTo>
                    <a:close/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0" name="Freeform 36">
                <a:extLst>
                  <a:ext uri="{FF2B5EF4-FFF2-40B4-BE49-F238E27FC236}">
                    <a16:creationId xmlns:a16="http://schemas.microsoft.com/office/drawing/2014/main" xmlns="" id="{8FA23983-9684-4195-AACF-D4937B529D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21" y="2066"/>
                <a:ext cx="72" cy="64"/>
              </a:xfrm>
              <a:custGeom>
                <a:avLst/>
                <a:gdLst>
                  <a:gd name="T0" fmla="*/ 10 w 34"/>
                  <a:gd name="T1" fmla="*/ 29 h 30"/>
                  <a:gd name="T2" fmla="*/ 5 w 34"/>
                  <a:gd name="T3" fmla="*/ 27 h 30"/>
                  <a:gd name="T4" fmla="*/ 1 w 34"/>
                  <a:gd name="T5" fmla="*/ 19 h 30"/>
                  <a:gd name="T6" fmla="*/ 6 w 34"/>
                  <a:gd name="T7" fmla="*/ 14 h 30"/>
                  <a:gd name="T8" fmla="*/ 12 w 34"/>
                  <a:gd name="T9" fmla="*/ 8 h 30"/>
                  <a:gd name="T10" fmla="*/ 13 w 34"/>
                  <a:gd name="T11" fmla="*/ 7 h 30"/>
                  <a:gd name="T12" fmla="*/ 20 w 34"/>
                  <a:gd name="T13" fmla="*/ 1 h 30"/>
                  <a:gd name="T14" fmla="*/ 30 w 34"/>
                  <a:gd name="T15" fmla="*/ 4 h 30"/>
                  <a:gd name="T16" fmla="*/ 30 w 34"/>
                  <a:gd name="T17" fmla="*/ 6 h 30"/>
                  <a:gd name="T18" fmla="*/ 27 w 34"/>
                  <a:gd name="T19" fmla="*/ 6 h 30"/>
                  <a:gd name="T20" fmla="*/ 20 w 34"/>
                  <a:gd name="T21" fmla="*/ 4 h 30"/>
                  <a:gd name="T22" fmla="*/ 16 w 34"/>
                  <a:gd name="T23" fmla="*/ 8 h 30"/>
                  <a:gd name="T24" fmla="*/ 14 w 34"/>
                  <a:gd name="T25" fmla="*/ 10 h 30"/>
                  <a:gd name="T26" fmla="*/ 9 w 34"/>
                  <a:gd name="T27" fmla="*/ 17 h 30"/>
                  <a:gd name="T28" fmla="*/ 4 w 34"/>
                  <a:gd name="T29" fmla="*/ 21 h 30"/>
                  <a:gd name="T30" fmla="*/ 7 w 34"/>
                  <a:gd name="T31" fmla="*/ 24 h 30"/>
                  <a:gd name="T32" fmla="*/ 10 w 34"/>
                  <a:gd name="T33" fmla="*/ 26 h 30"/>
                  <a:gd name="T34" fmla="*/ 11 w 34"/>
                  <a:gd name="T35" fmla="*/ 26 h 30"/>
                  <a:gd name="T36" fmla="*/ 19 w 34"/>
                  <a:gd name="T37" fmla="*/ 25 h 30"/>
                  <a:gd name="T38" fmla="*/ 31 w 34"/>
                  <a:gd name="T39" fmla="*/ 19 h 30"/>
                  <a:gd name="T40" fmla="*/ 33 w 34"/>
                  <a:gd name="T41" fmla="*/ 19 h 30"/>
                  <a:gd name="T42" fmla="*/ 34 w 34"/>
                  <a:gd name="T43" fmla="*/ 21 h 30"/>
                  <a:gd name="T44" fmla="*/ 18 w 34"/>
                  <a:gd name="T45" fmla="*/ 28 h 30"/>
                  <a:gd name="T46" fmla="*/ 12 w 34"/>
                  <a:gd name="T47" fmla="*/ 29 h 30"/>
                  <a:gd name="T48" fmla="*/ 11 w 34"/>
                  <a:gd name="T49" fmla="*/ 29 h 30"/>
                  <a:gd name="T50" fmla="*/ 10 w 34"/>
                  <a:gd name="T51" fmla="*/ 29 h 30"/>
                  <a:gd name="T52" fmla="*/ 10 w 34"/>
                  <a:gd name="T53" fmla="*/ 29 h 30"/>
                  <a:gd name="T54" fmla="*/ 10 w 34"/>
                  <a:gd name="T55" fmla="*/ 2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4" h="30">
                    <a:moveTo>
                      <a:pt x="10" y="29"/>
                    </a:moveTo>
                    <a:cubicBezTo>
                      <a:pt x="8" y="29"/>
                      <a:pt x="6" y="28"/>
                      <a:pt x="5" y="27"/>
                    </a:cubicBezTo>
                    <a:cubicBezTo>
                      <a:pt x="4" y="26"/>
                      <a:pt x="0" y="22"/>
                      <a:pt x="1" y="19"/>
                    </a:cubicBezTo>
                    <a:cubicBezTo>
                      <a:pt x="2" y="19"/>
                      <a:pt x="3" y="17"/>
                      <a:pt x="6" y="14"/>
                    </a:cubicBezTo>
                    <a:cubicBezTo>
                      <a:pt x="9" y="12"/>
                      <a:pt x="11" y="10"/>
                      <a:pt x="12" y="8"/>
                    </a:cubicBezTo>
                    <a:cubicBezTo>
                      <a:pt x="12" y="8"/>
                      <a:pt x="13" y="7"/>
                      <a:pt x="13" y="7"/>
                    </a:cubicBezTo>
                    <a:cubicBezTo>
                      <a:pt x="15" y="4"/>
                      <a:pt x="17" y="2"/>
                      <a:pt x="20" y="1"/>
                    </a:cubicBezTo>
                    <a:cubicBezTo>
                      <a:pt x="22" y="1"/>
                      <a:pt x="26" y="0"/>
                      <a:pt x="30" y="4"/>
                    </a:cubicBezTo>
                    <a:cubicBezTo>
                      <a:pt x="30" y="5"/>
                      <a:pt x="30" y="6"/>
                      <a:pt x="30" y="6"/>
                    </a:cubicBezTo>
                    <a:cubicBezTo>
                      <a:pt x="29" y="7"/>
                      <a:pt x="28" y="7"/>
                      <a:pt x="27" y="6"/>
                    </a:cubicBezTo>
                    <a:cubicBezTo>
                      <a:pt x="25" y="3"/>
                      <a:pt x="23" y="4"/>
                      <a:pt x="20" y="4"/>
                    </a:cubicBezTo>
                    <a:cubicBezTo>
                      <a:pt x="19" y="5"/>
                      <a:pt x="17" y="7"/>
                      <a:pt x="16" y="8"/>
                    </a:cubicBezTo>
                    <a:cubicBezTo>
                      <a:pt x="16" y="9"/>
                      <a:pt x="15" y="10"/>
                      <a:pt x="14" y="10"/>
                    </a:cubicBezTo>
                    <a:cubicBezTo>
                      <a:pt x="13" y="12"/>
                      <a:pt x="11" y="14"/>
                      <a:pt x="9" y="17"/>
                    </a:cubicBezTo>
                    <a:cubicBezTo>
                      <a:pt x="7" y="18"/>
                      <a:pt x="4" y="20"/>
                      <a:pt x="4" y="21"/>
                    </a:cubicBezTo>
                    <a:cubicBezTo>
                      <a:pt x="4" y="21"/>
                      <a:pt x="5" y="23"/>
                      <a:pt x="7" y="24"/>
                    </a:cubicBezTo>
                    <a:cubicBezTo>
                      <a:pt x="8" y="25"/>
                      <a:pt x="10" y="26"/>
                      <a:pt x="10" y="26"/>
                    </a:cubicBezTo>
                    <a:cubicBezTo>
                      <a:pt x="10" y="26"/>
                      <a:pt x="10" y="26"/>
                      <a:pt x="11" y="26"/>
                    </a:cubicBezTo>
                    <a:cubicBezTo>
                      <a:pt x="13" y="25"/>
                      <a:pt x="16" y="24"/>
                      <a:pt x="19" y="25"/>
                    </a:cubicBezTo>
                    <a:cubicBezTo>
                      <a:pt x="22" y="26"/>
                      <a:pt x="28" y="24"/>
                      <a:pt x="31" y="19"/>
                    </a:cubicBezTo>
                    <a:cubicBezTo>
                      <a:pt x="31" y="19"/>
                      <a:pt x="32" y="18"/>
                      <a:pt x="33" y="19"/>
                    </a:cubicBezTo>
                    <a:cubicBezTo>
                      <a:pt x="34" y="19"/>
                      <a:pt x="34" y="20"/>
                      <a:pt x="34" y="21"/>
                    </a:cubicBezTo>
                    <a:cubicBezTo>
                      <a:pt x="30" y="27"/>
                      <a:pt x="23" y="30"/>
                      <a:pt x="18" y="28"/>
                    </a:cubicBezTo>
                    <a:cubicBezTo>
                      <a:pt x="16" y="27"/>
                      <a:pt x="13" y="28"/>
                      <a:pt x="12" y="29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11" y="29"/>
                      <a:pt x="10" y="29"/>
                      <a:pt x="10" y="29"/>
                    </a:cubicBezTo>
                    <a:close/>
                    <a:moveTo>
                      <a:pt x="10" y="29"/>
                    </a:moveTo>
                    <a:cubicBezTo>
                      <a:pt x="10" y="29"/>
                      <a:pt x="10" y="29"/>
                      <a:pt x="10" y="2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1" name="Freeform 37">
                <a:extLst>
                  <a:ext uri="{FF2B5EF4-FFF2-40B4-BE49-F238E27FC236}">
                    <a16:creationId xmlns:a16="http://schemas.microsoft.com/office/drawing/2014/main" xmlns="" id="{36B7FBDC-8F29-478C-AF7B-E2D8FC51D1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2" y="2063"/>
                <a:ext cx="30" cy="31"/>
              </a:xfrm>
              <a:custGeom>
                <a:avLst/>
                <a:gdLst>
                  <a:gd name="T0" fmla="*/ 6 w 14"/>
                  <a:gd name="T1" fmla="*/ 14 h 14"/>
                  <a:gd name="T2" fmla="*/ 5 w 14"/>
                  <a:gd name="T3" fmla="*/ 13 h 14"/>
                  <a:gd name="T4" fmla="*/ 6 w 14"/>
                  <a:gd name="T5" fmla="*/ 11 h 14"/>
                  <a:gd name="T6" fmla="*/ 11 w 14"/>
                  <a:gd name="T7" fmla="*/ 5 h 14"/>
                  <a:gd name="T8" fmla="*/ 10 w 14"/>
                  <a:gd name="T9" fmla="*/ 4 h 14"/>
                  <a:gd name="T10" fmla="*/ 10 w 14"/>
                  <a:gd name="T11" fmla="*/ 4 h 14"/>
                  <a:gd name="T12" fmla="*/ 3 w 14"/>
                  <a:gd name="T13" fmla="*/ 9 h 14"/>
                  <a:gd name="T14" fmla="*/ 1 w 14"/>
                  <a:gd name="T15" fmla="*/ 9 h 14"/>
                  <a:gd name="T16" fmla="*/ 1 w 14"/>
                  <a:gd name="T17" fmla="*/ 6 h 14"/>
                  <a:gd name="T18" fmla="*/ 7 w 14"/>
                  <a:gd name="T19" fmla="*/ 2 h 14"/>
                  <a:gd name="T20" fmla="*/ 11 w 14"/>
                  <a:gd name="T21" fmla="*/ 1 h 14"/>
                  <a:gd name="T22" fmla="*/ 14 w 14"/>
                  <a:gd name="T23" fmla="*/ 5 h 14"/>
                  <a:gd name="T24" fmla="*/ 7 w 14"/>
                  <a:gd name="T25" fmla="*/ 14 h 14"/>
                  <a:gd name="T26" fmla="*/ 6 w 14"/>
                  <a:gd name="T27" fmla="*/ 14 h 14"/>
                  <a:gd name="T28" fmla="*/ 6 w 14"/>
                  <a:gd name="T29" fmla="*/ 14 h 14"/>
                  <a:gd name="T30" fmla="*/ 6 w 14"/>
                  <a:gd name="T3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14">
                    <a:moveTo>
                      <a:pt x="6" y="14"/>
                    </a:moveTo>
                    <a:cubicBezTo>
                      <a:pt x="5" y="14"/>
                      <a:pt x="5" y="14"/>
                      <a:pt x="5" y="13"/>
                    </a:cubicBezTo>
                    <a:cubicBezTo>
                      <a:pt x="4" y="12"/>
                      <a:pt x="5" y="11"/>
                      <a:pt x="6" y="11"/>
                    </a:cubicBezTo>
                    <a:cubicBezTo>
                      <a:pt x="8" y="10"/>
                      <a:pt x="11" y="7"/>
                      <a:pt x="11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8" y="6"/>
                      <a:pt x="4" y="8"/>
                      <a:pt x="3" y="9"/>
                    </a:cubicBezTo>
                    <a:cubicBezTo>
                      <a:pt x="2" y="10"/>
                      <a:pt x="1" y="9"/>
                      <a:pt x="1" y="9"/>
                    </a:cubicBezTo>
                    <a:cubicBezTo>
                      <a:pt x="0" y="8"/>
                      <a:pt x="1" y="7"/>
                      <a:pt x="1" y="6"/>
                    </a:cubicBezTo>
                    <a:cubicBezTo>
                      <a:pt x="3" y="6"/>
                      <a:pt x="6" y="4"/>
                      <a:pt x="7" y="2"/>
                    </a:cubicBezTo>
                    <a:cubicBezTo>
                      <a:pt x="9" y="0"/>
                      <a:pt x="11" y="0"/>
                      <a:pt x="11" y="1"/>
                    </a:cubicBezTo>
                    <a:cubicBezTo>
                      <a:pt x="13" y="1"/>
                      <a:pt x="14" y="3"/>
                      <a:pt x="14" y="5"/>
                    </a:cubicBezTo>
                    <a:cubicBezTo>
                      <a:pt x="14" y="9"/>
                      <a:pt x="10" y="13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lose/>
                    <a:moveTo>
                      <a:pt x="6" y="14"/>
                    </a:moveTo>
                    <a:cubicBezTo>
                      <a:pt x="6" y="14"/>
                      <a:pt x="6" y="14"/>
                      <a:pt x="6" y="1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2" name="Freeform 38">
                <a:extLst>
                  <a:ext uri="{FF2B5EF4-FFF2-40B4-BE49-F238E27FC236}">
                    <a16:creationId xmlns:a16="http://schemas.microsoft.com/office/drawing/2014/main" xmlns="" id="{1BB8B4DC-76FE-4996-AD2B-98781A94BDC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9" y="2083"/>
                <a:ext cx="138" cy="169"/>
              </a:xfrm>
              <a:custGeom>
                <a:avLst/>
                <a:gdLst>
                  <a:gd name="T0" fmla="*/ 52 w 65"/>
                  <a:gd name="T1" fmla="*/ 79 h 79"/>
                  <a:gd name="T2" fmla="*/ 47 w 65"/>
                  <a:gd name="T3" fmla="*/ 79 h 79"/>
                  <a:gd name="T4" fmla="*/ 46 w 65"/>
                  <a:gd name="T5" fmla="*/ 78 h 79"/>
                  <a:gd name="T6" fmla="*/ 45 w 65"/>
                  <a:gd name="T7" fmla="*/ 77 h 79"/>
                  <a:gd name="T8" fmla="*/ 46 w 65"/>
                  <a:gd name="T9" fmla="*/ 63 h 79"/>
                  <a:gd name="T10" fmla="*/ 44 w 65"/>
                  <a:gd name="T11" fmla="*/ 54 h 79"/>
                  <a:gd name="T12" fmla="*/ 44 w 65"/>
                  <a:gd name="T13" fmla="*/ 52 h 79"/>
                  <a:gd name="T14" fmla="*/ 43 w 65"/>
                  <a:gd name="T15" fmla="*/ 50 h 79"/>
                  <a:gd name="T16" fmla="*/ 38 w 65"/>
                  <a:gd name="T17" fmla="*/ 36 h 79"/>
                  <a:gd name="T18" fmla="*/ 40 w 65"/>
                  <a:gd name="T19" fmla="*/ 35 h 79"/>
                  <a:gd name="T20" fmla="*/ 42 w 65"/>
                  <a:gd name="T21" fmla="*/ 37 h 79"/>
                  <a:gd name="T22" fmla="*/ 45 w 65"/>
                  <a:gd name="T23" fmla="*/ 48 h 79"/>
                  <a:gd name="T24" fmla="*/ 47 w 65"/>
                  <a:gd name="T25" fmla="*/ 52 h 79"/>
                  <a:gd name="T26" fmla="*/ 48 w 65"/>
                  <a:gd name="T27" fmla="*/ 54 h 79"/>
                  <a:gd name="T28" fmla="*/ 49 w 65"/>
                  <a:gd name="T29" fmla="*/ 63 h 79"/>
                  <a:gd name="T30" fmla="*/ 49 w 65"/>
                  <a:gd name="T31" fmla="*/ 76 h 79"/>
                  <a:gd name="T32" fmla="*/ 51 w 65"/>
                  <a:gd name="T33" fmla="*/ 76 h 79"/>
                  <a:gd name="T34" fmla="*/ 51 w 65"/>
                  <a:gd name="T35" fmla="*/ 72 h 79"/>
                  <a:gd name="T36" fmla="*/ 51 w 65"/>
                  <a:gd name="T37" fmla="*/ 64 h 79"/>
                  <a:gd name="T38" fmla="*/ 52 w 65"/>
                  <a:gd name="T39" fmla="*/ 50 h 79"/>
                  <a:gd name="T40" fmla="*/ 55 w 65"/>
                  <a:gd name="T41" fmla="*/ 44 h 79"/>
                  <a:gd name="T42" fmla="*/ 59 w 65"/>
                  <a:gd name="T43" fmla="*/ 39 h 79"/>
                  <a:gd name="T44" fmla="*/ 60 w 65"/>
                  <a:gd name="T45" fmla="*/ 20 h 79"/>
                  <a:gd name="T46" fmla="*/ 47 w 65"/>
                  <a:gd name="T47" fmla="*/ 8 h 79"/>
                  <a:gd name="T48" fmla="*/ 38 w 65"/>
                  <a:gd name="T49" fmla="*/ 9 h 79"/>
                  <a:gd name="T50" fmla="*/ 32 w 65"/>
                  <a:gd name="T51" fmla="*/ 11 h 79"/>
                  <a:gd name="T52" fmla="*/ 14 w 65"/>
                  <a:gd name="T53" fmla="*/ 9 h 79"/>
                  <a:gd name="T54" fmla="*/ 1 w 65"/>
                  <a:gd name="T55" fmla="*/ 3 h 79"/>
                  <a:gd name="T56" fmla="*/ 1 w 65"/>
                  <a:gd name="T57" fmla="*/ 1 h 79"/>
                  <a:gd name="T58" fmla="*/ 3 w 65"/>
                  <a:gd name="T59" fmla="*/ 1 h 79"/>
                  <a:gd name="T60" fmla="*/ 15 w 65"/>
                  <a:gd name="T61" fmla="*/ 6 h 79"/>
                  <a:gd name="T62" fmla="*/ 32 w 65"/>
                  <a:gd name="T63" fmla="*/ 8 h 79"/>
                  <a:gd name="T64" fmla="*/ 37 w 65"/>
                  <a:gd name="T65" fmla="*/ 6 h 79"/>
                  <a:gd name="T66" fmla="*/ 48 w 65"/>
                  <a:gd name="T67" fmla="*/ 5 h 79"/>
                  <a:gd name="T68" fmla="*/ 63 w 65"/>
                  <a:gd name="T69" fmla="*/ 20 h 79"/>
                  <a:gd name="T70" fmla="*/ 62 w 65"/>
                  <a:gd name="T71" fmla="*/ 40 h 79"/>
                  <a:gd name="T72" fmla="*/ 58 w 65"/>
                  <a:gd name="T73" fmla="*/ 46 h 79"/>
                  <a:gd name="T74" fmla="*/ 55 w 65"/>
                  <a:gd name="T75" fmla="*/ 51 h 79"/>
                  <a:gd name="T76" fmla="*/ 54 w 65"/>
                  <a:gd name="T77" fmla="*/ 64 h 79"/>
                  <a:gd name="T78" fmla="*/ 54 w 65"/>
                  <a:gd name="T79" fmla="*/ 72 h 79"/>
                  <a:gd name="T80" fmla="*/ 54 w 65"/>
                  <a:gd name="T81" fmla="*/ 77 h 79"/>
                  <a:gd name="T82" fmla="*/ 53 w 65"/>
                  <a:gd name="T83" fmla="*/ 78 h 79"/>
                  <a:gd name="T84" fmla="*/ 52 w 65"/>
                  <a:gd name="T85" fmla="*/ 79 h 79"/>
                  <a:gd name="T86" fmla="*/ 52 w 65"/>
                  <a:gd name="T87" fmla="*/ 79 h 79"/>
                  <a:gd name="T88" fmla="*/ 52 w 65"/>
                  <a:gd name="T8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5" h="79">
                    <a:moveTo>
                      <a:pt x="52" y="79"/>
                    </a:moveTo>
                    <a:cubicBezTo>
                      <a:pt x="47" y="79"/>
                      <a:pt x="47" y="79"/>
                      <a:pt x="47" y="79"/>
                    </a:cubicBezTo>
                    <a:cubicBezTo>
                      <a:pt x="46" y="79"/>
                      <a:pt x="46" y="79"/>
                      <a:pt x="46" y="78"/>
                    </a:cubicBezTo>
                    <a:cubicBezTo>
                      <a:pt x="45" y="78"/>
                      <a:pt x="45" y="78"/>
                      <a:pt x="45" y="77"/>
                    </a:cubicBezTo>
                    <a:cubicBezTo>
                      <a:pt x="46" y="74"/>
                      <a:pt x="46" y="66"/>
                      <a:pt x="46" y="63"/>
                    </a:cubicBezTo>
                    <a:cubicBezTo>
                      <a:pt x="46" y="60"/>
                      <a:pt x="45" y="57"/>
                      <a:pt x="44" y="54"/>
                    </a:cubicBezTo>
                    <a:cubicBezTo>
                      <a:pt x="44" y="52"/>
                      <a:pt x="44" y="52"/>
                      <a:pt x="44" y="52"/>
                    </a:cubicBezTo>
                    <a:cubicBezTo>
                      <a:pt x="44" y="52"/>
                      <a:pt x="43" y="51"/>
                      <a:pt x="43" y="50"/>
                    </a:cubicBezTo>
                    <a:cubicBezTo>
                      <a:pt x="41" y="46"/>
                      <a:pt x="38" y="41"/>
                      <a:pt x="38" y="36"/>
                    </a:cubicBezTo>
                    <a:cubicBezTo>
                      <a:pt x="39" y="35"/>
                      <a:pt x="39" y="35"/>
                      <a:pt x="40" y="35"/>
                    </a:cubicBezTo>
                    <a:cubicBezTo>
                      <a:pt x="41" y="35"/>
                      <a:pt x="42" y="36"/>
                      <a:pt x="42" y="37"/>
                    </a:cubicBezTo>
                    <a:cubicBezTo>
                      <a:pt x="41" y="41"/>
                      <a:pt x="44" y="45"/>
                      <a:pt x="45" y="48"/>
                    </a:cubicBezTo>
                    <a:cubicBezTo>
                      <a:pt x="46" y="50"/>
                      <a:pt x="47" y="51"/>
                      <a:pt x="47" y="52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6"/>
                      <a:pt x="49" y="60"/>
                      <a:pt x="49" y="63"/>
                    </a:cubicBezTo>
                    <a:cubicBezTo>
                      <a:pt x="50" y="65"/>
                      <a:pt x="49" y="72"/>
                      <a:pt x="49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1" y="75"/>
                      <a:pt x="51" y="74"/>
                      <a:pt x="51" y="72"/>
                    </a:cubicBezTo>
                    <a:cubicBezTo>
                      <a:pt x="51" y="69"/>
                      <a:pt x="51" y="66"/>
                      <a:pt x="51" y="64"/>
                    </a:cubicBezTo>
                    <a:cubicBezTo>
                      <a:pt x="51" y="62"/>
                      <a:pt x="51" y="52"/>
                      <a:pt x="52" y="50"/>
                    </a:cubicBezTo>
                    <a:cubicBezTo>
                      <a:pt x="52" y="49"/>
                      <a:pt x="53" y="47"/>
                      <a:pt x="55" y="44"/>
                    </a:cubicBezTo>
                    <a:cubicBezTo>
                      <a:pt x="57" y="42"/>
                      <a:pt x="58" y="40"/>
                      <a:pt x="59" y="39"/>
                    </a:cubicBezTo>
                    <a:cubicBezTo>
                      <a:pt x="61" y="36"/>
                      <a:pt x="62" y="27"/>
                      <a:pt x="60" y="20"/>
                    </a:cubicBezTo>
                    <a:cubicBezTo>
                      <a:pt x="59" y="14"/>
                      <a:pt x="54" y="9"/>
                      <a:pt x="47" y="8"/>
                    </a:cubicBezTo>
                    <a:cubicBezTo>
                      <a:pt x="43" y="7"/>
                      <a:pt x="40" y="8"/>
                      <a:pt x="38" y="9"/>
                    </a:cubicBezTo>
                    <a:cubicBezTo>
                      <a:pt x="36" y="10"/>
                      <a:pt x="34" y="11"/>
                      <a:pt x="32" y="11"/>
                    </a:cubicBezTo>
                    <a:cubicBezTo>
                      <a:pt x="27" y="11"/>
                      <a:pt x="19" y="10"/>
                      <a:pt x="14" y="9"/>
                    </a:cubicBezTo>
                    <a:cubicBezTo>
                      <a:pt x="10" y="8"/>
                      <a:pt x="4" y="5"/>
                      <a:pt x="1" y="3"/>
                    </a:cubicBezTo>
                    <a:cubicBezTo>
                      <a:pt x="1" y="3"/>
                      <a:pt x="0" y="2"/>
                      <a:pt x="1" y="1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5" y="2"/>
                      <a:pt x="11" y="5"/>
                      <a:pt x="15" y="6"/>
                    </a:cubicBezTo>
                    <a:cubicBezTo>
                      <a:pt x="19" y="7"/>
                      <a:pt x="27" y="8"/>
                      <a:pt x="32" y="8"/>
                    </a:cubicBezTo>
                    <a:cubicBezTo>
                      <a:pt x="33" y="8"/>
                      <a:pt x="35" y="7"/>
                      <a:pt x="37" y="6"/>
                    </a:cubicBezTo>
                    <a:cubicBezTo>
                      <a:pt x="40" y="5"/>
                      <a:pt x="43" y="4"/>
                      <a:pt x="48" y="5"/>
                    </a:cubicBezTo>
                    <a:cubicBezTo>
                      <a:pt x="56" y="6"/>
                      <a:pt x="62" y="12"/>
                      <a:pt x="63" y="20"/>
                    </a:cubicBezTo>
                    <a:cubicBezTo>
                      <a:pt x="65" y="26"/>
                      <a:pt x="64" y="36"/>
                      <a:pt x="62" y="40"/>
                    </a:cubicBezTo>
                    <a:cubicBezTo>
                      <a:pt x="61" y="42"/>
                      <a:pt x="59" y="44"/>
                      <a:pt x="58" y="46"/>
                    </a:cubicBezTo>
                    <a:cubicBezTo>
                      <a:pt x="57" y="47"/>
                      <a:pt x="55" y="50"/>
                      <a:pt x="55" y="51"/>
                    </a:cubicBezTo>
                    <a:cubicBezTo>
                      <a:pt x="54" y="53"/>
                      <a:pt x="54" y="62"/>
                      <a:pt x="54" y="64"/>
                    </a:cubicBezTo>
                    <a:cubicBezTo>
                      <a:pt x="54" y="66"/>
                      <a:pt x="54" y="69"/>
                      <a:pt x="54" y="72"/>
                    </a:cubicBezTo>
                    <a:cubicBezTo>
                      <a:pt x="54" y="74"/>
                      <a:pt x="54" y="77"/>
                      <a:pt x="54" y="77"/>
                    </a:cubicBezTo>
                    <a:cubicBezTo>
                      <a:pt x="54" y="78"/>
                      <a:pt x="54" y="78"/>
                      <a:pt x="53" y="78"/>
                    </a:cubicBezTo>
                    <a:cubicBezTo>
                      <a:pt x="53" y="79"/>
                      <a:pt x="53" y="79"/>
                      <a:pt x="52" y="79"/>
                    </a:cubicBezTo>
                    <a:close/>
                    <a:moveTo>
                      <a:pt x="52" y="79"/>
                    </a:moveTo>
                    <a:cubicBezTo>
                      <a:pt x="52" y="79"/>
                      <a:pt x="52" y="79"/>
                      <a:pt x="52" y="7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3" name="Freeform 39">
                <a:extLst>
                  <a:ext uri="{FF2B5EF4-FFF2-40B4-BE49-F238E27FC236}">
                    <a16:creationId xmlns:a16="http://schemas.microsoft.com/office/drawing/2014/main" xmlns="" id="{D3BE2990-790A-4F16-9DFC-E97B8BEC6B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" y="2181"/>
                <a:ext cx="64" cy="16"/>
              </a:xfrm>
              <a:custGeom>
                <a:avLst/>
                <a:gdLst>
                  <a:gd name="T0" fmla="*/ 28 w 30"/>
                  <a:gd name="T1" fmla="*/ 7 h 7"/>
                  <a:gd name="T2" fmla="*/ 27 w 30"/>
                  <a:gd name="T3" fmla="*/ 7 h 7"/>
                  <a:gd name="T4" fmla="*/ 13 w 30"/>
                  <a:gd name="T5" fmla="*/ 3 h 7"/>
                  <a:gd name="T6" fmla="*/ 3 w 30"/>
                  <a:gd name="T7" fmla="*/ 7 h 7"/>
                  <a:gd name="T8" fmla="*/ 1 w 30"/>
                  <a:gd name="T9" fmla="*/ 7 h 7"/>
                  <a:gd name="T10" fmla="*/ 1 w 30"/>
                  <a:gd name="T11" fmla="*/ 4 h 7"/>
                  <a:gd name="T12" fmla="*/ 13 w 30"/>
                  <a:gd name="T13" fmla="*/ 0 h 7"/>
                  <a:gd name="T14" fmla="*/ 29 w 30"/>
                  <a:gd name="T15" fmla="*/ 5 h 7"/>
                  <a:gd name="T16" fmla="*/ 29 w 30"/>
                  <a:gd name="T17" fmla="*/ 7 h 7"/>
                  <a:gd name="T18" fmla="*/ 28 w 30"/>
                  <a:gd name="T19" fmla="*/ 7 h 7"/>
                  <a:gd name="T20" fmla="*/ 28 w 30"/>
                  <a:gd name="T21" fmla="*/ 7 h 7"/>
                  <a:gd name="T22" fmla="*/ 28 w 30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0" h="7">
                    <a:moveTo>
                      <a:pt x="28" y="7"/>
                    </a:moveTo>
                    <a:cubicBezTo>
                      <a:pt x="28" y="7"/>
                      <a:pt x="27" y="7"/>
                      <a:pt x="27" y="7"/>
                    </a:cubicBezTo>
                    <a:cubicBezTo>
                      <a:pt x="25" y="5"/>
                      <a:pt x="19" y="3"/>
                      <a:pt x="13" y="3"/>
                    </a:cubicBezTo>
                    <a:cubicBezTo>
                      <a:pt x="9" y="3"/>
                      <a:pt x="5" y="5"/>
                      <a:pt x="3" y="7"/>
                    </a:cubicBezTo>
                    <a:cubicBezTo>
                      <a:pt x="2" y="7"/>
                      <a:pt x="1" y="7"/>
                      <a:pt x="1" y="7"/>
                    </a:cubicBezTo>
                    <a:cubicBezTo>
                      <a:pt x="0" y="6"/>
                      <a:pt x="0" y="5"/>
                      <a:pt x="1" y="4"/>
                    </a:cubicBezTo>
                    <a:cubicBezTo>
                      <a:pt x="4" y="2"/>
                      <a:pt x="8" y="0"/>
                      <a:pt x="13" y="0"/>
                    </a:cubicBezTo>
                    <a:cubicBezTo>
                      <a:pt x="19" y="0"/>
                      <a:pt x="27" y="1"/>
                      <a:pt x="29" y="5"/>
                    </a:cubicBezTo>
                    <a:cubicBezTo>
                      <a:pt x="30" y="6"/>
                      <a:pt x="30" y="7"/>
                      <a:pt x="29" y="7"/>
                    </a:cubicBezTo>
                    <a:cubicBezTo>
                      <a:pt x="29" y="7"/>
                      <a:pt x="28" y="7"/>
                      <a:pt x="28" y="7"/>
                    </a:cubicBezTo>
                    <a:close/>
                    <a:moveTo>
                      <a:pt x="28" y="7"/>
                    </a:moveTo>
                    <a:cubicBezTo>
                      <a:pt x="28" y="7"/>
                      <a:pt x="28" y="7"/>
                      <a:pt x="28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4" name="Freeform 40">
                <a:extLst>
                  <a:ext uri="{FF2B5EF4-FFF2-40B4-BE49-F238E27FC236}">
                    <a16:creationId xmlns:a16="http://schemas.microsoft.com/office/drawing/2014/main" xmlns="" id="{F5E8265A-62DC-49DE-90B2-BED1E4140E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7" y="2169"/>
                <a:ext cx="39" cy="83"/>
              </a:xfrm>
              <a:custGeom>
                <a:avLst/>
                <a:gdLst>
                  <a:gd name="T0" fmla="*/ 13 w 18"/>
                  <a:gd name="T1" fmla="*/ 39 h 39"/>
                  <a:gd name="T2" fmla="*/ 7 w 18"/>
                  <a:gd name="T3" fmla="*/ 39 h 39"/>
                  <a:gd name="T4" fmla="*/ 6 w 18"/>
                  <a:gd name="T5" fmla="*/ 38 h 39"/>
                  <a:gd name="T6" fmla="*/ 5 w 18"/>
                  <a:gd name="T7" fmla="*/ 37 h 39"/>
                  <a:gd name="T8" fmla="*/ 7 w 18"/>
                  <a:gd name="T9" fmla="*/ 22 h 39"/>
                  <a:gd name="T10" fmla="*/ 5 w 18"/>
                  <a:gd name="T11" fmla="*/ 12 h 39"/>
                  <a:gd name="T12" fmla="*/ 3 w 18"/>
                  <a:gd name="T13" fmla="*/ 9 h 39"/>
                  <a:gd name="T14" fmla="*/ 0 w 18"/>
                  <a:gd name="T15" fmla="*/ 2 h 39"/>
                  <a:gd name="T16" fmla="*/ 1 w 18"/>
                  <a:gd name="T17" fmla="*/ 0 h 39"/>
                  <a:gd name="T18" fmla="*/ 3 w 18"/>
                  <a:gd name="T19" fmla="*/ 1 h 39"/>
                  <a:gd name="T20" fmla="*/ 6 w 18"/>
                  <a:gd name="T21" fmla="*/ 7 h 39"/>
                  <a:gd name="T22" fmla="*/ 8 w 18"/>
                  <a:gd name="T23" fmla="*/ 11 h 39"/>
                  <a:gd name="T24" fmla="*/ 10 w 18"/>
                  <a:gd name="T25" fmla="*/ 22 h 39"/>
                  <a:gd name="T26" fmla="*/ 9 w 18"/>
                  <a:gd name="T27" fmla="*/ 36 h 39"/>
                  <a:gd name="T28" fmla="*/ 11 w 18"/>
                  <a:gd name="T29" fmla="*/ 36 h 39"/>
                  <a:gd name="T30" fmla="*/ 12 w 18"/>
                  <a:gd name="T31" fmla="*/ 22 h 39"/>
                  <a:gd name="T32" fmla="*/ 13 w 18"/>
                  <a:gd name="T33" fmla="*/ 15 h 39"/>
                  <a:gd name="T34" fmla="*/ 15 w 18"/>
                  <a:gd name="T35" fmla="*/ 2 h 39"/>
                  <a:gd name="T36" fmla="*/ 17 w 18"/>
                  <a:gd name="T37" fmla="*/ 1 h 39"/>
                  <a:gd name="T38" fmla="*/ 18 w 18"/>
                  <a:gd name="T39" fmla="*/ 3 h 39"/>
                  <a:gd name="T40" fmla="*/ 16 w 18"/>
                  <a:gd name="T41" fmla="*/ 15 h 39"/>
                  <a:gd name="T42" fmla="*/ 15 w 18"/>
                  <a:gd name="T43" fmla="*/ 23 h 39"/>
                  <a:gd name="T44" fmla="*/ 15 w 18"/>
                  <a:gd name="T45" fmla="*/ 37 h 39"/>
                  <a:gd name="T46" fmla="*/ 13 w 18"/>
                  <a:gd name="T47" fmla="*/ 39 h 39"/>
                  <a:gd name="T48" fmla="*/ 13 w 18"/>
                  <a:gd name="T49" fmla="*/ 39 h 39"/>
                  <a:gd name="T50" fmla="*/ 13 w 18"/>
                  <a:gd name="T51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8" h="39">
                    <a:moveTo>
                      <a:pt x="13" y="39"/>
                    </a:moveTo>
                    <a:cubicBezTo>
                      <a:pt x="7" y="39"/>
                      <a:pt x="7" y="39"/>
                      <a:pt x="7" y="39"/>
                    </a:cubicBezTo>
                    <a:cubicBezTo>
                      <a:pt x="7" y="39"/>
                      <a:pt x="6" y="39"/>
                      <a:pt x="6" y="38"/>
                    </a:cubicBezTo>
                    <a:cubicBezTo>
                      <a:pt x="6" y="38"/>
                      <a:pt x="5" y="38"/>
                      <a:pt x="5" y="37"/>
                    </a:cubicBezTo>
                    <a:cubicBezTo>
                      <a:pt x="5" y="37"/>
                      <a:pt x="7" y="26"/>
                      <a:pt x="7" y="22"/>
                    </a:cubicBezTo>
                    <a:cubicBezTo>
                      <a:pt x="7" y="18"/>
                      <a:pt x="6" y="14"/>
                      <a:pt x="5" y="12"/>
                    </a:cubicBezTo>
                    <a:cubicBezTo>
                      <a:pt x="5" y="11"/>
                      <a:pt x="4" y="10"/>
                      <a:pt x="3" y="9"/>
                    </a:cubicBezTo>
                    <a:cubicBezTo>
                      <a:pt x="2" y="7"/>
                      <a:pt x="0" y="4"/>
                      <a:pt x="0" y="2"/>
                    </a:cubicBezTo>
                    <a:cubicBezTo>
                      <a:pt x="0" y="1"/>
                      <a:pt x="0" y="0"/>
                      <a:pt x="1" y="0"/>
                    </a:cubicBezTo>
                    <a:cubicBezTo>
                      <a:pt x="2" y="0"/>
                      <a:pt x="3" y="1"/>
                      <a:pt x="3" y="1"/>
                    </a:cubicBezTo>
                    <a:cubicBezTo>
                      <a:pt x="3" y="3"/>
                      <a:pt x="5" y="5"/>
                      <a:pt x="6" y="7"/>
                    </a:cubicBezTo>
                    <a:cubicBezTo>
                      <a:pt x="7" y="9"/>
                      <a:pt x="8" y="10"/>
                      <a:pt x="8" y="11"/>
                    </a:cubicBezTo>
                    <a:cubicBezTo>
                      <a:pt x="9" y="13"/>
                      <a:pt x="10" y="18"/>
                      <a:pt x="10" y="22"/>
                    </a:cubicBezTo>
                    <a:cubicBezTo>
                      <a:pt x="10" y="25"/>
                      <a:pt x="9" y="32"/>
                      <a:pt x="9" y="36"/>
                    </a:cubicBezTo>
                    <a:cubicBezTo>
                      <a:pt x="11" y="36"/>
                      <a:pt x="11" y="36"/>
                      <a:pt x="11" y="36"/>
                    </a:cubicBezTo>
                    <a:cubicBezTo>
                      <a:pt x="11" y="33"/>
                      <a:pt x="12" y="27"/>
                      <a:pt x="12" y="22"/>
                    </a:cubicBezTo>
                    <a:cubicBezTo>
                      <a:pt x="13" y="20"/>
                      <a:pt x="13" y="17"/>
                      <a:pt x="13" y="15"/>
                    </a:cubicBezTo>
                    <a:cubicBezTo>
                      <a:pt x="14" y="8"/>
                      <a:pt x="14" y="4"/>
                      <a:pt x="15" y="2"/>
                    </a:cubicBezTo>
                    <a:cubicBezTo>
                      <a:pt x="15" y="1"/>
                      <a:pt x="16" y="1"/>
                      <a:pt x="17" y="1"/>
                    </a:cubicBezTo>
                    <a:cubicBezTo>
                      <a:pt x="18" y="1"/>
                      <a:pt x="18" y="2"/>
                      <a:pt x="18" y="3"/>
                    </a:cubicBezTo>
                    <a:cubicBezTo>
                      <a:pt x="17" y="4"/>
                      <a:pt x="17" y="10"/>
                      <a:pt x="16" y="15"/>
                    </a:cubicBezTo>
                    <a:cubicBezTo>
                      <a:pt x="16" y="18"/>
                      <a:pt x="16" y="21"/>
                      <a:pt x="15" y="23"/>
                    </a:cubicBezTo>
                    <a:cubicBezTo>
                      <a:pt x="15" y="28"/>
                      <a:pt x="15" y="36"/>
                      <a:pt x="15" y="37"/>
                    </a:cubicBezTo>
                    <a:cubicBezTo>
                      <a:pt x="15" y="38"/>
                      <a:pt x="14" y="39"/>
                      <a:pt x="13" y="39"/>
                    </a:cubicBezTo>
                    <a:close/>
                    <a:moveTo>
                      <a:pt x="13" y="39"/>
                    </a:moveTo>
                    <a:cubicBezTo>
                      <a:pt x="13" y="39"/>
                      <a:pt x="13" y="39"/>
                      <a:pt x="13" y="3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5" name="Freeform 41">
                <a:extLst>
                  <a:ext uri="{FF2B5EF4-FFF2-40B4-BE49-F238E27FC236}">
                    <a16:creationId xmlns:a16="http://schemas.microsoft.com/office/drawing/2014/main" xmlns="" id="{17A97E20-D6C4-4D72-894C-5BC4B9A144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65" y="2121"/>
                <a:ext cx="49" cy="78"/>
              </a:xfrm>
              <a:custGeom>
                <a:avLst/>
                <a:gdLst>
                  <a:gd name="T0" fmla="*/ 19 w 23"/>
                  <a:gd name="T1" fmla="*/ 36 h 36"/>
                  <a:gd name="T2" fmla="*/ 10 w 23"/>
                  <a:gd name="T3" fmla="*/ 29 h 36"/>
                  <a:gd name="T4" fmla="*/ 9 w 23"/>
                  <a:gd name="T5" fmla="*/ 23 h 36"/>
                  <a:gd name="T6" fmla="*/ 6 w 23"/>
                  <a:gd name="T7" fmla="*/ 14 h 36"/>
                  <a:gd name="T8" fmla="*/ 4 w 23"/>
                  <a:gd name="T9" fmla="*/ 9 h 36"/>
                  <a:gd name="T10" fmla="*/ 0 w 23"/>
                  <a:gd name="T11" fmla="*/ 3 h 36"/>
                  <a:gd name="T12" fmla="*/ 0 w 23"/>
                  <a:gd name="T13" fmla="*/ 0 h 36"/>
                  <a:gd name="T14" fmla="*/ 2 w 23"/>
                  <a:gd name="T15" fmla="*/ 0 h 36"/>
                  <a:gd name="T16" fmla="*/ 7 w 23"/>
                  <a:gd name="T17" fmla="*/ 8 h 36"/>
                  <a:gd name="T18" fmla="*/ 9 w 23"/>
                  <a:gd name="T19" fmla="*/ 13 h 36"/>
                  <a:gd name="T20" fmla="*/ 12 w 23"/>
                  <a:gd name="T21" fmla="*/ 22 h 36"/>
                  <a:gd name="T22" fmla="*/ 13 w 23"/>
                  <a:gd name="T23" fmla="*/ 28 h 36"/>
                  <a:gd name="T24" fmla="*/ 21 w 23"/>
                  <a:gd name="T25" fmla="*/ 32 h 36"/>
                  <a:gd name="T26" fmla="*/ 23 w 23"/>
                  <a:gd name="T27" fmla="*/ 33 h 36"/>
                  <a:gd name="T28" fmla="*/ 22 w 23"/>
                  <a:gd name="T29" fmla="*/ 35 h 36"/>
                  <a:gd name="T30" fmla="*/ 19 w 23"/>
                  <a:gd name="T31" fmla="*/ 36 h 36"/>
                  <a:gd name="T32" fmla="*/ 19 w 23"/>
                  <a:gd name="T33" fmla="*/ 36 h 36"/>
                  <a:gd name="T34" fmla="*/ 19 w 23"/>
                  <a:gd name="T35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" h="36">
                    <a:moveTo>
                      <a:pt x="19" y="36"/>
                    </a:moveTo>
                    <a:cubicBezTo>
                      <a:pt x="16" y="36"/>
                      <a:pt x="12" y="34"/>
                      <a:pt x="10" y="29"/>
                    </a:cubicBezTo>
                    <a:cubicBezTo>
                      <a:pt x="10" y="27"/>
                      <a:pt x="9" y="25"/>
                      <a:pt x="9" y="23"/>
                    </a:cubicBezTo>
                    <a:cubicBezTo>
                      <a:pt x="8" y="20"/>
                      <a:pt x="7" y="17"/>
                      <a:pt x="6" y="14"/>
                    </a:cubicBezTo>
                    <a:cubicBezTo>
                      <a:pt x="5" y="12"/>
                      <a:pt x="5" y="11"/>
                      <a:pt x="4" y="9"/>
                    </a:cubicBezTo>
                    <a:cubicBezTo>
                      <a:pt x="3" y="6"/>
                      <a:pt x="2" y="4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2" y="0"/>
                      <a:pt x="2" y="0"/>
                    </a:cubicBezTo>
                    <a:cubicBezTo>
                      <a:pt x="5" y="3"/>
                      <a:pt x="6" y="5"/>
                      <a:pt x="7" y="8"/>
                    </a:cubicBezTo>
                    <a:cubicBezTo>
                      <a:pt x="8" y="10"/>
                      <a:pt x="8" y="11"/>
                      <a:pt x="9" y="13"/>
                    </a:cubicBezTo>
                    <a:cubicBezTo>
                      <a:pt x="10" y="16"/>
                      <a:pt x="11" y="19"/>
                      <a:pt x="12" y="22"/>
                    </a:cubicBezTo>
                    <a:cubicBezTo>
                      <a:pt x="12" y="24"/>
                      <a:pt x="13" y="26"/>
                      <a:pt x="13" y="28"/>
                    </a:cubicBezTo>
                    <a:cubicBezTo>
                      <a:pt x="15" y="33"/>
                      <a:pt x="19" y="33"/>
                      <a:pt x="21" y="32"/>
                    </a:cubicBezTo>
                    <a:cubicBezTo>
                      <a:pt x="22" y="32"/>
                      <a:pt x="23" y="33"/>
                      <a:pt x="23" y="33"/>
                    </a:cubicBezTo>
                    <a:cubicBezTo>
                      <a:pt x="23" y="34"/>
                      <a:pt x="23" y="35"/>
                      <a:pt x="22" y="35"/>
                    </a:cubicBezTo>
                    <a:cubicBezTo>
                      <a:pt x="21" y="36"/>
                      <a:pt x="20" y="36"/>
                      <a:pt x="19" y="36"/>
                    </a:cubicBezTo>
                    <a:close/>
                    <a:moveTo>
                      <a:pt x="19" y="36"/>
                    </a:moveTo>
                    <a:cubicBezTo>
                      <a:pt x="19" y="36"/>
                      <a:pt x="19" y="36"/>
                      <a:pt x="19" y="3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6" name="Freeform 42">
                <a:extLst>
                  <a:ext uri="{FF2B5EF4-FFF2-40B4-BE49-F238E27FC236}">
                    <a16:creationId xmlns:a16="http://schemas.microsoft.com/office/drawing/2014/main" xmlns="" id="{37C0B512-2764-4631-8165-FDCF3000D3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10" y="2106"/>
                <a:ext cx="30" cy="78"/>
              </a:xfrm>
              <a:custGeom>
                <a:avLst/>
                <a:gdLst>
                  <a:gd name="T0" fmla="*/ 12 w 14"/>
                  <a:gd name="T1" fmla="*/ 36 h 36"/>
                  <a:gd name="T2" fmla="*/ 10 w 14"/>
                  <a:gd name="T3" fmla="*/ 34 h 36"/>
                  <a:gd name="T4" fmla="*/ 10 w 14"/>
                  <a:gd name="T5" fmla="*/ 26 h 36"/>
                  <a:gd name="T6" fmla="*/ 10 w 14"/>
                  <a:gd name="T7" fmla="*/ 14 h 36"/>
                  <a:gd name="T8" fmla="*/ 1 w 14"/>
                  <a:gd name="T9" fmla="*/ 4 h 36"/>
                  <a:gd name="T10" fmla="*/ 0 w 14"/>
                  <a:gd name="T11" fmla="*/ 1 h 36"/>
                  <a:gd name="T12" fmla="*/ 2 w 14"/>
                  <a:gd name="T13" fmla="*/ 1 h 36"/>
                  <a:gd name="T14" fmla="*/ 13 w 14"/>
                  <a:gd name="T15" fmla="*/ 14 h 36"/>
                  <a:gd name="T16" fmla="*/ 13 w 14"/>
                  <a:gd name="T17" fmla="*/ 26 h 36"/>
                  <a:gd name="T18" fmla="*/ 14 w 14"/>
                  <a:gd name="T19" fmla="*/ 34 h 36"/>
                  <a:gd name="T20" fmla="*/ 12 w 14"/>
                  <a:gd name="T21" fmla="*/ 36 h 36"/>
                  <a:gd name="T22" fmla="*/ 12 w 14"/>
                  <a:gd name="T23" fmla="*/ 36 h 36"/>
                  <a:gd name="T24" fmla="*/ 12 w 14"/>
                  <a:gd name="T25" fmla="*/ 36 h 36"/>
                  <a:gd name="T26" fmla="*/ 12 w 14"/>
                  <a:gd name="T2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36">
                    <a:moveTo>
                      <a:pt x="12" y="36"/>
                    </a:moveTo>
                    <a:cubicBezTo>
                      <a:pt x="11" y="36"/>
                      <a:pt x="11" y="35"/>
                      <a:pt x="10" y="34"/>
                    </a:cubicBezTo>
                    <a:cubicBezTo>
                      <a:pt x="10" y="33"/>
                      <a:pt x="10" y="30"/>
                      <a:pt x="10" y="26"/>
                    </a:cubicBezTo>
                    <a:cubicBezTo>
                      <a:pt x="10" y="22"/>
                      <a:pt x="10" y="17"/>
                      <a:pt x="10" y="14"/>
                    </a:cubicBezTo>
                    <a:cubicBezTo>
                      <a:pt x="9" y="9"/>
                      <a:pt x="4" y="5"/>
                      <a:pt x="1" y="4"/>
                    </a:cubicBezTo>
                    <a:cubicBezTo>
                      <a:pt x="0" y="3"/>
                      <a:pt x="0" y="2"/>
                      <a:pt x="0" y="1"/>
                    </a:cubicBezTo>
                    <a:cubicBezTo>
                      <a:pt x="0" y="1"/>
                      <a:pt x="1" y="0"/>
                      <a:pt x="2" y="1"/>
                    </a:cubicBezTo>
                    <a:cubicBezTo>
                      <a:pt x="6" y="2"/>
                      <a:pt x="12" y="7"/>
                      <a:pt x="13" y="14"/>
                    </a:cubicBezTo>
                    <a:cubicBezTo>
                      <a:pt x="13" y="17"/>
                      <a:pt x="13" y="22"/>
                      <a:pt x="13" y="26"/>
                    </a:cubicBezTo>
                    <a:cubicBezTo>
                      <a:pt x="13" y="30"/>
                      <a:pt x="13" y="33"/>
                      <a:pt x="14" y="34"/>
                    </a:cubicBezTo>
                    <a:cubicBezTo>
                      <a:pt x="14" y="35"/>
                      <a:pt x="13" y="35"/>
                      <a:pt x="12" y="36"/>
                    </a:cubicBezTo>
                    <a:cubicBezTo>
                      <a:pt x="12" y="36"/>
                      <a:pt x="12" y="36"/>
                      <a:pt x="12" y="36"/>
                    </a:cubicBezTo>
                    <a:close/>
                    <a:moveTo>
                      <a:pt x="12" y="36"/>
                    </a:moveTo>
                    <a:cubicBezTo>
                      <a:pt x="12" y="36"/>
                      <a:pt x="12" y="36"/>
                      <a:pt x="12" y="3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67" name="Freeform 43">
                <a:extLst>
                  <a:ext uri="{FF2B5EF4-FFF2-40B4-BE49-F238E27FC236}">
                    <a16:creationId xmlns:a16="http://schemas.microsoft.com/office/drawing/2014/main" xmlns="" id="{B6049569-BB62-4962-AB9D-B82B8D7880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23" y="2177"/>
                <a:ext cx="26" cy="39"/>
              </a:xfrm>
              <a:custGeom>
                <a:avLst/>
                <a:gdLst>
                  <a:gd name="T0" fmla="*/ 7 w 12"/>
                  <a:gd name="T1" fmla="*/ 18 h 18"/>
                  <a:gd name="T2" fmla="*/ 7 w 12"/>
                  <a:gd name="T3" fmla="*/ 18 h 18"/>
                  <a:gd name="T4" fmla="*/ 6 w 12"/>
                  <a:gd name="T5" fmla="*/ 17 h 18"/>
                  <a:gd name="T6" fmla="*/ 3 w 12"/>
                  <a:gd name="T7" fmla="*/ 12 h 18"/>
                  <a:gd name="T8" fmla="*/ 2 w 12"/>
                  <a:gd name="T9" fmla="*/ 3 h 18"/>
                  <a:gd name="T10" fmla="*/ 5 w 12"/>
                  <a:gd name="T11" fmla="*/ 0 h 18"/>
                  <a:gd name="T12" fmla="*/ 10 w 12"/>
                  <a:gd name="T13" fmla="*/ 1 h 18"/>
                  <a:gd name="T14" fmla="*/ 11 w 12"/>
                  <a:gd name="T15" fmla="*/ 9 h 18"/>
                  <a:gd name="T16" fmla="*/ 8 w 12"/>
                  <a:gd name="T17" fmla="*/ 17 h 18"/>
                  <a:gd name="T18" fmla="*/ 7 w 12"/>
                  <a:gd name="T19" fmla="*/ 18 h 18"/>
                  <a:gd name="T20" fmla="*/ 7 w 12"/>
                  <a:gd name="T21" fmla="*/ 3 h 18"/>
                  <a:gd name="T22" fmla="*/ 6 w 12"/>
                  <a:gd name="T23" fmla="*/ 3 h 18"/>
                  <a:gd name="T24" fmla="*/ 5 w 12"/>
                  <a:gd name="T25" fmla="*/ 4 h 18"/>
                  <a:gd name="T26" fmla="*/ 6 w 12"/>
                  <a:gd name="T27" fmla="*/ 10 h 18"/>
                  <a:gd name="T28" fmla="*/ 7 w 12"/>
                  <a:gd name="T29" fmla="*/ 13 h 18"/>
                  <a:gd name="T30" fmla="*/ 8 w 12"/>
                  <a:gd name="T31" fmla="*/ 9 h 18"/>
                  <a:gd name="T32" fmla="*/ 8 w 12"/>
                  <a:gd name="T33" fmla="*/ 4 h 18"/>
                  <a:gd name="T34" fmla="*/ 7 w 12"/>
                  <a:gd name="T35" fmla="*/ 3 h 18"/>
                  <a:gd name="T36" fmla="*/ 7 w 12"/>
                  <a:gd name="T37" fmla="*/ 3 h 18"/>
                  <a:gd name="T38" fmla="*/ 7 w 12"/>
                  <a:gd name="T3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" h="18">
                    <a:moveTo>
                      <a:pt x="7" y="18"/>
                    </a:moveTo>
                    <a:cubicBezTo>
                      <a:pt x="7" y="18"/>
                      <a:pt x="7" y="18"/>
                      <a:pt x="7" y="18"/>
                    </a:cubicBezTo>
                    <a:cubicBezTo>
                      <a:pt x="6" y="18"/>
                      <a:pt x="6" y="17"/>
                      <a:pt x="6" y="17"/>
                    </a:cubicBezTo>
                    <a:cubicBezTo>
                      <a:pt x="6" y="17"/>
                      <a:pt x="4" y="15"/>
                      <a:pt x="3" y="12"/>
                    </a:cubicBezTo>
                    <a:cubicBezTo>
                      <a:pt x="2" y="10"/>
                      <a:pt x="0" y="5"/>
                      <a:pt x="2" y="3"/>
                    </a:cubicBezTo>
                    <a:cubicBezTo>
                      <a:pt x="3" y="2"/>
                      <a:pt x="4" y="1"/>
                      <a:pt x="5" y="0"/>
                    </a:cubicBezTo>
                    <a:cubicBezTo>
                      <a:pt x="7" y="0"/>
                      <a:pt x="9" y="0"/>
                      <a:pt x="10" y="1"/>
                    </a:cubicBezTo>
                    <a:cubicBezTo>
                      <a:pt x="12" y="3"/>
                      <a:pt x="12" y="7"/>
                      <a:pt x="11" y="9"/>
                    </a:cubicBezTo>
                    <a:cubicBezTo>
                      <a:pt x="11" y="14"/>
                      <a:pt x="8" y="17"/>
                      <a:pt x="8" y="17"/>
                    </a:cubicBezTo>
                    <a:cubicBezTo>
                      <a:pt x="8" y="17"/>
                      <a:pt x="7" y="18"/>
                      <a:pt x="7" y="18"/>
                    </a:cubicBezTo>
                    <a:close/>
                    <a:moveTo>
                      <a:pt x="7" y="3"/>
                    </a:move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5"/>
                      <a:pt x="5" y="8"/>
                      <a:pt x="6" y="10"/>
                    </a:cubicBezTo>
                    <a:cubicBezTo>
                      <a:pt x="6" y="11"/>
                      <a:pt x="7" y="12"/>
                      <a:pt x="7" y="13"/>
                    </a:cubicBezTo>
                    <a:cubicBezTo>
                      <a:pt x="8" y="12"/>
                      <a:pt x="8" y="10"/>
                      <a:pt x="8" y="9"/>
                    </a:cubicBezTo>
                    <a:cubicBezTo>
                      <a:pt x="9" y="5"/>
                      <a:pt x="8" y="4"/>
                      <a:pt x="8" y="4"/>
                    </a:cubicBezTo>
                    <a:cubicBezTo>
                      <a:pt x="8" y="3"/>
                      <a:pt x="7" y="3"/>
                      <a:pt x="7" y="3"/>
                    </a:cubicBezTo>
                    <a:close/>
                    <a:moveTo>
                      <a:pt x="7" y="3"/>
                    </a:moveTo>
                    <a:cubicBezTo>
                      <a:pt x="7" y="3"/>
                      <a:pt x="7" y="3"/>
                      <a:pt x="7" y="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101" name="#3">
            <a:extLst>
              <a:ext uri="{FF2B5EF4-FFF2-40B4-BE49-F238E27FC236}">
                <a16:creationId xmlns:a16="http://schemas.microsoft.com/office/drawing/2014/main" xmlns="" id="{22580D4C-28CF-4B58-A4E1-E3A7DD3123CF}"/>
              </a:ext>
            </a:extLst>
          </p:cNvPr>
          <p:cNvGrpSpPr/>
          <p:nvPr/>
        </p:nvGrpSpPr>
        <p:grpSpPr>
          <a:xfrm>
            <a:off x="7008140" y="1448502"/>
            <a:ext cx="2054067" cy="1808473"/>
            <a:chOff x="7008140" y="1448502"/>
            <a:chExt cx="2054067" cy="1808473"/>
          </a:xfrm>
        </p:grpSpPr>
        <p:sp>
          <p:nvSpPr>
            <p:cNvPr id="22" name="Rechthoek: afgeronde hoeken 21">
              <a:extLst>
                <a:ext uri="{FF2B5EF4-FFF2-40B4-BE49-F238E27FC236}">
                  <a16:creationId xmlns:a16="http://schemas.microsoft.com/office/drawing/2014/main" xmlns="" id="{31C54CBD-0C9D-45BA-95D9-279FCEFF389D}"/>
                </a:ext>
              </a:extLst>
            </p:cNvPr>
            <p:cNvSpPr/>
            <p:nvPr/>
          </p:nvSpPr>
          <p:spPr>
            <a:xfrm>
              <a:off x="7008140" y="1448502"/>
              <a:ext cx="2054067" cy="1808473"/>
            </a:xfrm>
            <a:prstGeom prst="roundRect">
              <a:avLst>
                <a:gd name="adj" fmla="val 4818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80000" rtlCol="0" anchor="b"/>
            <a:lstStyle/>
            <a:p>
              <a:pPr algn="ctr">
                <a:lnSpc>
                  <a:spcPct val="80000"/>
                </a:lnSpc>
              </a:pPr>
              <a:r>
                <a:rPr lang="nl-NL" sz="2400" b="1" dirty="0">
                  <a:solidFill>
                    <a:schemeClr val="bg1"/>
                  </a:solidFill>
                </a:rPr>
                <a:t>23,675 </a:t>
              </a:r>
            </a:p>
            <a:p>
              <a:pPr algn="ctr">
                <a:lnSpc>
                  <a:spcPct val="80000"/>
                </a:lnSpc>
              </a:pPr>
              <a:r>
                <a:rPr lang="nl-NL" sz="1400" dirty="0"/>
                <a:t>employees</a:t>
              </a:r>
            </a:p>
          </p:txBody>
        </p:sp>
        <p:grpSp>
          <p:nvGrpSpPr>
            <p:cNvPr id="73" name="Group 52">
              <a:extLst>
                <a:ext uri="{FF2B5EF4-FFF2-40B4-BE49-F238E27FC236}">
                  <a16:creationId xmlns:a16="http://schemas.microsoft.com/office/drawing/2014/main" xmlns="" id="{BD597578-FCDC-4280-9BD7-D61B97BC4A2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593004" y="1758845"/>
              <a:ext cx="884338" cy="559010"/>
              <a:chOff x="2243" y="1735"/>
              <a:chExt cx="3194" cy="2019"/>
            </a:xfrm>
            <a:solidFill>
              <a:schemeClr val="bg1"/>
            </a:solidFill>
          </p:grpSpPr>
          <p:sp>
            <p:nvSpPr>
              <p:cNvPr id="75" name="Freeform 53">
                <a:extLst>
                  <a:ext uri="{FF2B5EF4-FFF2-40B4-BE49-F238E27FC236}">
                    <a16:creationId xmlns:a16="http://schemas.microsoft.com/office/drawing/2014/main" xmlns="" id="{DD34D6AE-FE21-487C-8297-35BFE22B12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49" y="2745"/>
                <a:ext cx="426" cy="424"/>
              </a:xfrm>
              <a:custGeom>
                <a:avLst/>
                <a:gdLst>
                  <a:gd name="T0" fmla="*/ 103 w 205"/>
                  <a:gd name="T1" fmla="*/ 0 h 204"/>
                  <a:gd name="T2" fmla="*/ 0 w 205"/>
                  <a:gd name="T3" fmla="*/ 102 h 204"/>
                  <a:gd name="T4" fmla="*/ 103 w 205"/>
                  <a:gd name="T5" fmla="*/ 204 h 204"/>
                  <a:gd name="T6" fmla="*/ 205 w 205"/>
                  <a:gd name="T7" fmla="*/ 102 h 204"/>
                  <a:gd name="T8" fmla="*/ 103 w 205"/>
                  <a:gd name="T9" fmla="*/ 0 h 204"/>
                  <a:gd name="T10" fmla="*/ 103 w 205"/>
                  <a:gd name="T11" fmla="*/ 153 h 204"/>
                  <a:gd name="T12" fmla="*/ 51 w 205"/>
                  <a:gd name="T13" fmla="*/ 102 h 204"/>
                  <a:gd name="T14" fmla="*/ 103 w 205"/>
                  <a:gd name="T15" fmla="*/ 51 h 204"/>
                  <a:gd name="T16" fmla="*/ 154 w 205"/>
                  <a:gd name="T17" fmla="*/ 102 h 204"/>
                  <a:gd name="T18" fmla="*/ 103 w 205"/>
                  <a:gd name="T19" fmla="*/ 153 h 204"/>
                  <a:gd name="T20" fmla="*/ 103 w 205"/>
                  <a:gd name="T21" fmla="*/ 153 h 204"/>
                  <a:gd name="T22" fmla="*/ 103 w 205"/>
                  <a:gd name="T23" fmla="*/ 153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5" h="204">
                    <a:moveTo>
                      <a:pt x="103" y="0"/>
                    </a:moveTo>
                    <a:cubicBezTo>
                      <a:pt x="46" y="0"/>
                      <a:pt x="0" y="45"/>
                      <a:pt x="0" y="102"/>
                    </a:cubicBezTo>
                    <a:cubicBezTo>
                      <a:pt x="0" y="159"/>
                      <a:pt x="46" y="204"/>
                      <a:pt x="103" y="204"/>
                    </a:cubicBezTo>
                    <a:cubicBezTo>
                      <a:pt x="159" y="204"/>
                      <a:pt x="205" y="159"/>
                      <a:pt x="205" y="102"/>
                    </a:cubicBezTo>
                    <a:cubicBezTo>
                      <a:pt x="205" y="45"/>
                      <a:pt x="159" y="0"/>
                      <a:pt x="103" y="0"/>
                    </a:cubicBezTo>
                    <a:close/>
                    <a:moveTo>
                      <a:pt x="103" y="153"/>
                    </a:moveTo>
                    <a:cubicBezTo>
                      <a:pt x="74" y="153"/>
                      <a:pt x="51" y="130"/>
                      <a:pt x="51" y="102"/>
                    </a:cubicBezTo>
                    <a:cubicBezTo>
                      <a:pt x="51" y="74"/>
                      <a:pt x="74" y="51"/>
                      <a:pt x="103" y="51"/>
                    </a:cubicBezTo>
                    <a:cubicBezTo>
                      <a:pt x="131" y="51"/>
                      <a:pt x="154" y="74"/>
                      <a:pt x="154" y="102"/>
                    </a:cubicBezTo>
                    <a:cubicBezTo>
                      <a:pt x="154" y="130"/>
                      <a:pt x="131" y="153"/>
                      <a:pt x="103" y="153"/>
                    </a:cubicBezTo>
                    <a:close/>
                    <a:moveTo>
                      <a:pt x="103" y="153"/>
                    </a:moveTo>
                    <a:cubicBezTo>
                      <a:pt x="103" y="153"/>
                      <a:pt x="103" y="153"/>
                      <a:pt x="103" y="1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6" name="Freeform 54">
                <a:extLst>
                  <a:ext uri="{FF2B5EF4-FFF2-40B4-BE49-F238E27FC236}">
                    <a16:creationId xmlns:a16="http://schemas.microsoft.com/office/drawing/2014/main" xmlns="" id="{467DA560-63EE-4382-9D14-560354EC4C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43" y="3223"/>
                <a:ext cx="638" cy="531"/>
              </a:xfrm>
              <a:custGeom>
                <a:avLst/>
                <a:gdLst>
                  <a:gd name="T0" fmla="*/ 154 w 307"/>
                  <a:gd name="T1" fmla="*/ 0 h 256"/>
                  <a:gd name="T2" fmla="*/ 0 w 307"/>
                  <a:gd name="T3" fmla="*/ 154 h 256"/>
                  <a:gd name="T4" fmla="*/ 0 w 307"/>
                  <a:gd name="T5" fmla="*/ 230 h 256"/>
                  <a:gd name="T6" fmla="*/ 26 w 307"/>
                  <a:gd name="T7" fmla="*/ 256 h 256"/>
                  <a:gd name="T8" fmla="*/ 51 w 307"/>
                  <a:gd name="T9" fmla="*/ 230 h 256"/>
                  <a:gd name="T10" fmla="*/ 51 w 307"/>
                  <a:gd name="T11" fmla="*/ 154 h 256"/>
                  <a:gd name="T12" fmla="*/ 154 w 307"/>
                  <a:gd name="T13" fmla="*/ 51 h 256"/>
                  <a:gd name="T14" fmla="*/ 256 w 307"/>
                  <a:gd name="T15" fmla="*/ 154 h 256"/>
                  <a:gd name="T16" fmla="*/ 256 w 307"/>
                  <a:gd name="T17" fmla="*/ 230 h 256"/>
                  <a:gd name="T18" fmla="*/ 282 w 307"/>
                  <a:gd name="T19" fmla="*/ 256 h 256"/>
                  <a:gd name="T20" fmla="*/ 307 w 307"/>
                  <a:gd name="T21" fmla="*/ 230 h 256"/>
                  <a:gd name="T22" fmla="*/ 307 w 307"/>
                  <a:gd name="T23" fmla="*/ 154 h 256"/>
                  <a:gd name="T24" fmla="*/ 154 w 307"/>
                  <a:gd name="T25" fmla="*/ 0 h 256"/>
                  <a:gd name="T26" fmla="*/ 154 w 307"/>
                  <a:gd name="T27" fmla="*/ 0 h 256"/>
                  <a:gd name="T28" fmla="*/ 154 w 307"/>
                  <a:gd name="T29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256">
                    <a:moveTo>
                      <a:pt x="154" y="0"/>
                    </a:moveTo>
                    <a:cubicBezTo>
                      <a:pt x="69" y="0"/>
                      <a:pt x="0" y="69"/>
                      <a:pt x="0" y="154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45"/>
                      <a:pt x="11" y="256"/>
                      <a:pt x="26" y="256"/>
                    </a:cubicBezTo>
                    <a:cubicBezTo>
                      <a:pt x="40" y="256"/>
                      <a:pt x="51" y="245"/>
                      <a:pt x="51" y="230"/>
                    </a:cubicBezTo>
                    <a:cubicBezTo>
                      <a:pt x="51" y="154"/>
                      <a:pt x="51" y="154"/>
                      <a:pt x="51" y="154"/>
                    </a:cubicBezTo>
                    <a:cubicBezTo>
                      <a:pt x="51" y="97"/>
                      <a:pt x="97" y="51"/>
                      <a:pt x="154" y="51"/>
                    </a:cubicBezTo>
                    <a:cubicBezTo>
                      <a:pt x="210" y="51"/>
                      <a:pt x="256" y="97"/>
                      <a:pt x="256" y="154"/>
                    </a:cubicBezTo>
                    <a:cubicBezTo>
                      <a:pt x="256" y="230"/>
                      <a:pt x="256" y="230"/>
                      <a:pt x="256" y="230"/>
                    </a:cubicBezTo>
                    <a:cubicBezTo>
                      <a:pt x="256" y="245"/>
                      <a:pt x="267" y="256"/>
                      <a:pt x="282" y="256"/>
                    </a:cubicBezTo>
                    <a:cubicBezTo>
                      <a:pt x="296" y="256"/>
                      <a:pt x="307" y="245"/>
                      <a:pt x="307" y="230"/>
                    </a:cubicBezTo>
                    <a:cubicBezTo>
                      <a:pt x="307" y="154"/>
                      <a:pt x="307" y="154"/>
                      <a:pt x="307" y="154"/>
                    </a:cubicBezTo>
                    <a:cubicBezTo>
                      <a:pt x="307" y="69"/>
                      <a:pt x="238" y="0"/>
                      <a:pt x="154" y="0"/>
                    </a:cubicBezTo>
                    <a:close/>
                    <a:moveTo>
                      <a:pt x="154" y="0"/>
                    </a:moveTo>
                    <a:cubicBezTo>
                      <a:pt x="154" y="0"/>
                      <a:pt x="154" y="0"/>
                      <a:pt x="15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7" name="Freeform 55">
                <a:extLst>
                  <a:ext uri="{FF2B5EF4-FFF2-40B4-BE49-F238E27FC236}">
                    <a16:creationId xmlns:a16="http://schemas.microsoft.com/office/drawing/2014/main" xmlns="" id="{BFB03862-4E0F-4391-BE24-97854B0E73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" y="2745"/>
                <a:ext cx="426" cy="424"/>
              </a:xfrm>
              <a:custGeom>
                <a:avLst/>
                <a:gdLst>
                  <a:gd name="T0" fmla="*/ 102 w 205"/>
                  <a:gd name="T1" fmla="*/ 0 h 204"/>
                  <a:gd name="T2" fmla="*/ 0 w 205"/>
                  <a:gd name="T3" fmla="*/ 102 h 204"/>
                  <a:gd name="T4" fmla="*/ 102 w 205"/>
                  <a:gd name="T5" fmla="*/ 204 h 204"/>
                  <a:gd name="T6" fmla="*/ 205 w 205"/>
                  <a:gd name="T7" fmla="*/ 102 h 204"/>
                  <a:gd name="T8" fmla="*/ 102 w 205"/>
                  <a:gd name="T9" fmla="*/ 0 h 204"/>
                  <a:gd name="T10" fmla="*/ 102 w 205"/>
                  <a:gd name="T11" fmla="*/ 153 h 204"/>
                  <a:gd name="T12" fmla="*/ 51 w 205"/>
                  <a:gd name="T13" fmla="*/ 102 h 204"/>
                  <a:gd name="T14" fmla="*/ 102 w 205"/>
                  <a:gd name="T15" fmla="*/ 51 h 204"/>
                  <a:gd name="T16" fmla="*/ 153 w 205"/>
                  <a:gd name="T17" fmla="*/ 102 h 204"/>
                  <a:gd name="T18" fmla="*/ 102 w 205"/>
                  <a:gd name="T19" fmla="*/ 153 h 204"/>
                  <a:gd name="T20" fmla="*/ 102 w 205"/>
                  <a:gd name="T21" fmla="*/ 153 h 204"/>
                  <a:gd name="T22" fmla="*/ 102 w 205"/>
                  <a:gd name="T23" fmla="*/ 153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5" h="204">
                    <a:moveTo>
                      <a:pt x="102" y="0"/>
                    </a:moveTo>
                    <a:cubicBezTo>
                      <a:pt x="46" y="0"/>
                      <a:pt x="0" y="45"/>
                      <a:pt x="0" y="102"/>
                    </a:cubicBezTo>
                    <a:cubicBezTo>
                      <a:pt x="0" y="159"/>
                      <a:pt x="46" y="204"/>
                      <a:pt x="102" y="204"/>
                    </a:cubicBezTo>
                    <a:cubicBezTo>
                      <a:pt x="159" y="204"/>
                      <a:pt x="205" y="159"/>
                      <a:pt x="205" y="102"/>
                    </a:cubicBezTo>
                    <a:cubicBezTo>
                      <a:pt x="205" y="45"/>
                      <a:pt x="159" y="0"/>
                      <a:pt x="102" y="0"/>
                    </a:cubicBezTo>
                    <a:close/>
                    <a:moveTo>
                      <a:pt x="102" y="153"/>
                    </a:moveTo>
                    <a:cubicBezTo>
                      <a:pt x="74" y="153"/>
                      <a:pt x="51" y="130"/>
                      <a:pt x="51" y="102"/>
                    </a:cubicBezTo>
                    <a:cubicBezTo>
                      <a:pt x="51" y="74"/>
                      <a:pt x="74" y="51"/>
                      <a:pt x="102" y="51"/>
                    </a:cubicBezTo>
                    <a:cubicBezTo>
                      <a:pt x="130" y="51"/>
                      <a:pt x="153" y="74"/>
                      <a:pt x="153" y="102"/>
                    </a:cubicBezTo>
                    <a:cubicBezTo>
                      <a:pt x="153" y="130"/>
                      <a:pt x="130" y="153"/>
                      <a:pt x="102" y="153"/>
                    </a:cubicBezTo>
                    <a:close/>
                    <a:moveTo>
                      <a:pt x="102" y="153"/>
                    </a:moveTo>
                    <a:cubicBezTo>
                      <a:pt x="102" y="153"/>
                      <a:pt x="102" y="153"/>
                      <a:pt x="102" y="1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8" name="Freeform 56">
                <a:extLst>
                  <a:ext uri="{FF2B5EF4-FFF2-40B4-BE49-F238E27FC236}">
                    <a16:creationId xmlns:a16="http://schemas.microsoft.com/office/drawing/2014/main" xmlns="" id="{29DD2563-8D02-4AB5-B26B-C3F81FD8CE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96" y="3223"/>
                <a:ext cx="638" cy="531"/>
              </a:xfrm>
              <a:custGeom>
                <a:avLst/>
                <a:gdLst>
                  <a:gd name="T0" fmla="*/ 153 w 307"/>
                  <a:gd name="T1" fmla="*/ 0 h 256"/>
                  <a:gd name="T2" fmla="*/ 0 w 307"/>
                  <a:gd name="T3" fmla="*/ 154 h 256"/>
                  <a:gd name="T4" fmla="*/ 0 w 307"/>
                  <a:gd name="T5" fmla="*/ 230 h 256"/>
                  <a:gd name="T6" fmla="*/ 25 w 307"/>
                  <a:gd name="T7" fmla="*/ 256 h 256"/>
                  <a:gd name="T8" fmla="*/ 51 w 307"/>
                  <a:gd name="T9" fmla="*/ 230 h 256"/>
                  <a:gd name="T10" fmla="*/ 51 w 307"/>
                  <a:gd name="T11" fmla="*/ 154 h 256"/>
                  <a:gd name="T12" fmla="*/ 153 w 307"/>
                  <a:gd name="T13" fmla="*/ 51 h 256"/>
                  <a:gd name="T14" fmla="*/ 256 w 307"/>
                  <a:gd name="T15" fmla="*/ 154 h 256"/>
                  <a:gd name="T16" fmla="*/ 256 w 307"/>
                  <a:gd name="T17" fmla="*/ 230 h 256"/>
                  <a:gd name="T18" fmla="*/ 281 w 307"/>
                  <a:gd name="T19" fmla="*/ 256 h 256"/>
                  <a:gd name="T20" fmla="*/ 307 w 307"/>
                  <a:gd name="T21" fmla="*/ 230 h 256"/>
                  <a:gd name="T22" fmla="*/ 307 w 307"/>
                  <a:gd name="T23" fmla="*/ 154 h 256"/>
                  <a:gd name="T24" fmla="*/ 153 w 307"/>
                  <a:gd name="T25" fmla="*/ 0 h 256"/>
                  <a:gd name="T26" fmla="*/ 153 w 307"/>
                  <a:gd name="T27" fmla="*/ 0 h 256"/>
                  <a:gd name="T28" fmla="*/ 153 w 307"/>
                  <a:gd name="T29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256">
                    <a:moveTo>
                      <a:pt x="153" y="0"/>
                    </a:moveTo>
                    <a:cubicBezTo>
                      <a:pt x="68" y="0"/>
                      <a:pt x="0" y="69"/>
                      <a:pt x="0" y="154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45"/>
                      <a:pt x="11" y="256"/>
                      <a:pt x="25" y="256"/>
                    </a:cubicBezTo>
                    <a:cubicBezTo>
                      <a:pt x="39" y="256"/>
                      <a:pt x="51" y="245"/>
                      <a:pt x="51" y="230"/>
                    </a:cubicBezTo>
                    <a:cubicBezTo>
                      <a:pt x="51" y="154"/>
                      <a:pt x="51" y="154"/>
                      <a:pt x="51" y="154"/>
                    </a:cubicBezTo>
                    <a:cubicBezTo>
                      <a:pt x="51" y="97"/>
                      <a:pt x="97" y="51"/>
                      <a:pt x="153" y="51"/>
                    </a:cubicBezTo>
                    <a:cubicBezTo>
                      <a:pt x="210" y="51"/>
                      <a:pt x="256" y="97"/>
                      <a:pt x="256" y="154"/>
                    </a:cubicBezTo>
                    <a:cubicBezTo>
                      <a:pt x="256" y="230"/>
                      <a:pt x="256" y="230"/>
                      <a:pt x="256" y="230"/>
                    </a:cubicBezTo>
                    <a:cubicBezTo>
                      <a:pt x="256" y="245"/>
                      <a:pt x="267" y="256"/>
                      <a:pt x="281" y="256"/>
                    </a:cubicBezTo>
                    <a:cubicBezTo>
                      <a:pt x="295" y="256"/>
                      <a:pt x="307" y="245"/>
                      <a:pt x="307" y="230"/>
                    </a:cubicBezTo>
                    <a:cubicBezTo>
                      <a:pt x="307" y="154"/>
                      <a:pt x="307" y="154"/>
                      <a:pt x="307" y="154"/>
                    </a:cubicBezTo>
                    <a:cubicBezTo>
                      <a:pt x="307" y="69"/>
                      <a:pt x="238" y="0"/>
                      <a:pt x="153" y="0"/>
                    </a:cubicBezTo>
                    <a:close/>
                    <a:moveTo>
                      <a:pt x="153" y="0"/>
                    </a:moveTo>
                    <a:cubicBezTo>
                      <a:pt x="153" y="0"/>
                      <a:pt x="153" y="0"/>
                      <a:pt x="15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79" name="Freeform 57">
                <a:extLst>
                  <a:ext uri="{FF2B5EF4-FFF2-40B4-BE49-F238E27FC236}">
                    <a16:creationId xmlns:a16="http://schemas.microsoft.com/office/drawing/2014/main" xmlns="" id="{D6D3E604-7DC5-48EA-BD6A-40864279C1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52" y="2745"/>
                <a:ext cx="426" cy="424"/>
              </a:xfrm>
              <a:custGeom>
                <a:avLst/>
                <a:gdLst>
                  <a:gd name="T0" fmla="*/ 103 w 205"/>
                  <a:gd name="T1" fmla="*/ 0 h 204"/>
                  <a:gd name="T2" fmla="*/ 0 w 205"/>
                  <a:gd name="T3" fmla="*/ 102 h 204"/>
                  <a:gd name="T4" fmla="*/ 103 w 205"/>
                  <a:gd name="T5" fmla="*/ 204 h 204"/>
                  <a:gd name="T6" fmla="*/ 205 w 205"/>
                  <a:gd name="T7" fmla="*/ 102 h 204"/>
                  <a:gd name="T8" fmla="*/ 103 w 205"/>
                  <a:gd name="T9" fmla="*/ 0 h 204"/>
                  <a:gd name="T10" fmla="*/ 103 w 205"/>
                  <a:gd name="T11" fmla="*/ 153 h 204"/>
                  <a:gd name="T12" fmla="*/ 52 w 205"/>
                  <a:gd name="T13" fmla="*/ 102 h 204"/>
                  <a:gd name="T14" fmla="*/ 103 w 205"/>
                  <a:gd name="T15" fmla="*/ 51 h 204"/>
                  <a:gd name="T16" fmla="*/ 154 w 205"/>
                  <a:gd name="T17" fmla="*/ 102 h 204"/>
                  <a:gd name="T18" fmla="*/ 103 w 205"/>
                  <a:gd name="T19" fmla="*/ 153 h 204"/>
                  <a:gd name="T20" fmla="*/ 103 w 205"/>
                  <a:gd name="T21" fmla="*/ 153 h 204"/>
                  <a:gd name="T22" fmla="*/ 103 w 205"/>
                  <a:gd name="T23" fmla="*/ 153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5" h="204">
                    <a:moveTo>
                      <a:pt x="103" y="0"/>
                    </a:moveTo>
                    <a:cubicBezTo>
                      <a:pt x="46" y="0"/>
                      <a:pt x="0" y="45"/>
                      <a:pt x="0" y="102"/>
                    </a:cubicBezTo>
                    <a:cubicBezTo>
                      <a:pt x="0" y="159"/>
                      <a:pt x="46" y="204"/>
                      <a:pt x="103" y="204"/>
                    </a:cubicBezTo>
                    <a:cubicBezTo>
                      <a:pt x="159" y="204"/>
                      <a:pt x="205" y="159"/>
                      <a:pt x="205" y="102"/>
                    </a:cubicBezTo>
                    <a:cubicBezTo>
                      <a:pt x="205" y="45"/>
                      <a:pt x="159" y="0"/>
                      <a:pt x="103" y="0"/>
                    </a:cubicBezTo>
                    <a:close/>
                    <a:moveTo>
                      <a:pt x="103" y="153"/>
                    </a:moveTo>
                    <a:cubicBezTo>
                      <a:pt x="75" y="153"/>
                      <a:pt x="52" y="130"/>
                      <a:pt x="52" y="102"/>
                    </a:cubicBezTo>
                    <a:cubicBezTo>
                      <a:pt x="52" y="74"/>
                      <a:pt x="75" y="51"/>
                      <a:pt x="103" y="51"/>
                    </a:cubicBezTo>
                    <a:cubicBezTo>
                      <a:pt x="131" y="51"/>
                      <a:pt x="154" y="74"/>
                      <a:pt x="154" y="102"/>
                    </a:cubicBezTo>
                    <a:cubicBezTo>
                      <a:pt x="154" y="130"/>
                      <a:pt x="131" y="153"/>
                      <a:pt x="103" y="153"/>
                    </a:cubicBezTo>
                    <a:close/>
                    <a:moveTo>
                      <a:pt x="103" y="153"/>
                    </a:moveTo>
                    <a:cubicBezTo>
                      <a:pt x="103" y="153"/>
                      <a:pt x="103" y="153"/>
                      <a:pt x="103" y="1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0" name="Freeform 58">
                <a:extLst>
                  <a:ext uri="{FF2B5EF4-FFF2-40B4-BE49-F238E27FC236}">
                    <a16:creationId xmlns:a16="http://schemas.microsoft.com/office/drawing/2014/main" xmlns="" id="{37048451-4DAC-425A-BC59-2DBB70D428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6" y="3223"/>
                <a:ext cx="638" cy="531"/>
              </a:xfrm>
              <a:custGeom>
                <a:avLst/>
                <a:gdLst>
                  <a:gd name="T0" fmla="*/ 154 w 307"/>
                  <a:gd name="T1" fmla="*/ 0 h 256"/>
                  <a:gd name="T2" fmla="*/ 0 w 307"/>
                  <a:gd name="T3" fmla="*/ 154 h 256"/>
                  <a:gd name="T4" fmla="*/ 0 w 307"/>
                  <a:gd name="T5" fmla="*/ 230 h 256"/>
                  <a:gd name="T6" fmla="*/ 26 w 307"/>
                  <a:gd name="T7" fmla="*/ 256 h 256"/>
                  <a:gd name="T8" fmla="*/ 51 w 307"/>
                  <a:gd name="T9" fmla="*/ 230 h 256"/>
                  <a:gd name="T10" fmla="*/ 51 w 307"/>
                  <a:gd name="T11" fmla="*/ 154 h 256"/>
                  <a:gd name="T12" fmla="*/ 154 w 307"/>
                  <a:gd name="T13" fmla="*/ 51 h 256"/>
                  <a:gd name="T14" fmla="*/ 256 w 307"/>
                  <a:gd name="T15" fmla="*/ 154 h 256"/>
                  <a:gd name="T16" fmla="*/ 256 w 307"/>
                  <a:gd name="T17" fmla="*/ 230 h 256"/>
                  <a:gd name="T18" fmla="*/ 282 w 307"/>
                  <a:gd name="T19" fmla="*/ 256 h 256"/>
                  <a:gd name="T20" fmla="*/ 307 w 307"/>
                  <a:gd name="T21" fmla="*/ 230 h 256"/>
                  <a:gd name="T22" fmla="*/ 307 w 307"/>
                  <a:gd name="T23" fmla="*/ 154 h 256"/>
                  <a:gd name="T24" fmla="*/ 154 w 307"/>
                  <a:gd name="T25" fmla="*/ 0 h 256"/>
                  <a:gd name="T26" fmla="*/ 154 w 307"/>
                  <a:gd name="T27" fmla="*/ 0 h 256"/>
                  <a:gd name="T28" fmla="*/ 154 w 307"/>
                  <a:gd name="T29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256">
                    <a:moveTo>
                      <a:pt x="154" y="0"/>
                    </a:moveTo>
                    <a:cubicBezTo>
                      <a:pt x="69" y="0"/>
                      <a:pt x="0" y="69"/>
                      <a:pt x="0" y="154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45"/>
                      <a:pt x="12" y="256"/>
                      <a:pt x="26" y="256"/>
                    </a:cubicBezTo>
                    <a:cubicBezTo>
                      <a:pt x="40" y="256"/>
                      <a:pt x="51" y="245"/>
                      <a:pt x="51" y="230"/>
                    </a:cubicBezTo>
                    <a:cubicBezTo>
                      <a:pt x="51" y="154"/>
                      <a:pt x="51" y="154"/>
                      <a:pt x="51" y="154"/>
                    </a:cubicBezTo>
                    <a:cubicBezTo>
                      <a:pt x="51" y="97"/>
                      <a:pt x="97" y="51"/>
                      <a:pt x="154" y="51"/>
                    </a:cubicBezTo>
                    <a:cubicBezTo>
                      <a:pt x="210" y="51"/>
                      <a:pt x="256" y="97"/>
                      <a:pt x="256" y="154"/>
                    </a:cubicBezTo>
                    <a:cubicBezTo>
                      <a:pt x="256" y="230"/>
                      <a:pt x="256" y="230"/>
                      <a:pt x="256" y="230"/>
                    </a:cubicBezTo>
                    <a:cubicBezTo>
                      <a:pt x="256" y="245"/>
                      <a:pt x="268" y="256"/>
                      <a:pt x="282" y="256"/>
                    </a:cubicBezTo>
                    <a:cubicBezTo>
                      <a:pt x="296" y="256"/>
                      <a:pt x="307" y="245"/>
                      <a:pt x="307" y="230"/>
                    </a:cubicBezTo>
                    <a:cubicBezTo>
                      <a:pt x="307" y="154"/>
                      <a:pt x="307" y="154"/>
                      <a:pt x="307" y="154"/>
                    </a:cubicBezTo>
                    <a:cubicBezTo>
                      <a:pt x="307" y="69"/>
                      <a:pt x="239" y="0"/>
                      <a:pt x="154" y="0"/>
                    </a:cubicBezTo>
                    <a:close/>
                    <a:moveTo>
                      <a:pt x="154" y="0"/>
                    </a:moveTo>
                    <a:cubicBezTo>
                      <a:pt x="154" y="0"/>
                      <a:pt x="154" y="0"/>
                      <a:pt x="15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1" name="Freeform 59">
                <a:extLst>
                  <a:ext uri="{FF2B5EF4-FFF2-40B4-BE49-F238E27FC236}">
                    <a16:creationId xmlns:a16="http://schemas.microsoft.com/office/drawing/2014/main" xmlns="" id="{0F1ABC1C-DD81-487F-A0C7-F858AC4C5A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05" y="2745"/>
                <a:ext cx="426" cy="424"/>
              </a:xfrm>
              <a:custGeom>
                <a:avLst/>
                <a:gdLst>
                  <a:gd name="T0" fmla="*/ 102 w 205"/>
                  <a:gd name="T1" fmla="*/ 0 h 204"/>
                  <a:gd name="T2" fmla="*/ 0 w 205"/>
                  <a:gd name="T3" fmla="*/ 102 h 204"/>
                  <a:gd name="T4" fmla="*/ 102 w 205"/>
                  <a:gd name="T5" fmla="*/ 204 h 204"/>
                  <a:gd name="T6" fmla="*/ 205 w 205"/>
                  <a:gd name="T7" fmla="*/ 102 h 204"/>
                  <a:gd name="T8" fmla="*/ 102 w 205"/>
                  <a:gd name="T9" fmla="*/ 0 h 204"/>
                  <a:gd name="T10" fmla="*/ 102 w 205"/>
                  <a:gd name="T11" fmla="*/ 153 h 204"/>
                  <a:gd name="T12" fmla="*/ 51 w 205"/>
                  <a:gd name="T13" fmla="*/ 102 h 204"/>
                  <a:gd name="T14" fmla="*/ 102 w 205"/>
                  <a:gd name="T15" fmla="*/ 51 h 204"/>
                  <a:gd name="T16" fmla="*/ 154 w 205"/>
                  <a:gd name="T17" fmla="*/ 102 h 204"/>
                  <a:gd name="T18" fmla="*/ 102 w 205"/>
                  <a:gd name="T19" fmla="*/ 153 h 204"/>
                  <a:gd name="T20" fmla="*/ 102 w 205"/>
                  <a:gd name="T21" fmla="*/ 153 h 204"/>
                  <a:gd name="T22" fmla="*/ 102 w 205"/>
                  <a:gd name="T23" fmla="*/ 153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5" h="204">
                    <a:moveTo>
                      <a:pt x="102" y="0"/>
                    </a:moveTo>
                    <a:cubicBezTo>
                      <a:pt x="46" y="0"/>
                      <a:pt x="0" y="45"/>
                      <a:pt x="0" y="102"/>
                    </a:cubicBezTo>
                    <a:cubicBezTo>
                      <a:pt x="0" y="159"/>
                      <a:pt x="46" y="204"/>
                      <a:pt x="102" y="204"/>
                    </a:cubicBezTo>
                    <a:cubicBezTo>
                      <a:pt x="159" y="204"/>
                      <a:pt x="205" y="159"/>
                      <a:pt x="205" y="102"/>
                    </a:cubicBezTo>
                    <a:cubicBezTo>
                      <a:pt x="205" y="45"/>
                      <a:pt x="159" y="0"/>
                      <a:pt x="102" y="0"/>
                    </a:cubicBezTo>
                    <a:close/>
                    <a:moveTo>
                      <a:pt x="102" y="153"/>
                    </a:moveTo>
                    <a:cubicBezTo>
                      <a:pt x="74" y="153"/>
                      <a:pt x="51" y="130"/>
                      <a:pt x="51" y="102"/>
                    </a:cubicBezTo>
                    <a:cubicBezTo>
                      <a:pt x="51" y="74"/>
                      <a:pt x="74" y="51"/>
                      <a:pt x="102" y="51"/>
                    </a:cubicBezTo>
                    <a:cubicBezTo>
                      <a:pt x="131" y="51"/>
                      <a:pt x="154" y="74"/>
                      <a:pt x="154" y="102"/>
                    </a:cubicBezTo>
                    <a:cubicBezTo>
                      <a:pt x="154" y="130"/>
                      <a:pt x="131" y="153"/>
                      <a:pt x="102" y="153"/>
                    </a:cubicBezTo>
                    <a:close/>
                    <a:moveTo>
                      <a:pt x="102" y="153"/>
                    </a:moveTo>
                    <a:cubicBezTo>
                      <a:pt x="102" y="153"/>
                      <a:pt x="102" y="153"/>
                      <a:pt x="102" y="15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2" name="Freeform 60">
                <a:extLst>
                  <a:ext uri="{FF2B5EF4-FFF2-40B4-BE49-F238E27FC236}">
                    <a16:creationId xmlns:a16="http://schemas.microsoft.com/office/drawing/2014/main" xmlns="" id="{F3D85645-ABE7-4D6A-A317-2A0ADAB696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99" y="3223"/>
                <a:ext cx="638" cy="531"/>
              </a:xfrm>
              <a:custGeom>
                <a:avLst/>
                <a:gdLst>
                  <a:gd name="T0" fmla="*/ 153 w 307"/>
                  <a:gd name="T1" fmla="*/ 0 h 256"/>
                  <a:gd name="T2" fmla="*/ 0 w 307"/>
                  <a:gd name="T3" fmla="*/ 154 h 256"/>
                  <a:gd name="T4" fmla="*/ 0 w 307"/>
                  <a:gd name="T5" fmla="*/ 230 h 256"/>
                  <a:gd name="T6" fmla="*/ 25 w 307"/>
                  <a:gd name="T7" fmla="*/ 256 h 256"/>
                  <a:gd name="T8" fmla="*/ 51 w 307"/>
                  <a:gd name="T9" fmla="*/ 230 h 256"/>
                  <a:gd name="T10" fmla="*/ 51 w 307"/>
                  <a:gd name="T11" fmla="*/ 154 h 256"/>
                  <a:gd name="T12" fmla="*/ 153 w 307"/>
                  <a:gd name="T13" fmla="*/ 51 h 256"/>
                  <a:gd name="T14" fmla="*/ 256 w 307"/>
                  <a:gd name="T15" fmla="*/ 154 h 256"/>
                  <a:gd name="T16" fmla="*/ 256 w 307"/>
                  <a:gd name="T17" fmla="*/ 230 h 256"/>
                  <a:gd name="T18" fmla="*/ 281 w 307"/>
                  <a:gd name="T19" fmla="*/ 256 h 256"/>
                  <a:gd name="T20" fmla="*/ 307 w 307"/>
                  <a:gd name="T21" fmla="*/ 230 h 256"/>
                  <a:gd name="T22" fmla="*/ 307 w 307"/>
                  <a:gd name="T23" fmla="*/ 154 h 256"/>
                  <a:gd name="T24" fmla="*/ 153 w 307"/>
                  <a:gd name="T25" fmla="*/ 0 h 256"/>
                  <a:gd name="T26" fmla="*/ 153 w 307"/>
                  <a:gd name="T27" fmla="*/ 0 h 256"/>
                  <a:gd name="T28" fmla="*/ 153 w 307"/>
                  <a:gd name="T29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256">
                    <a:moveTo>
                      <a:pt x="153" y="0"/>
                    </a:moveTo>
                    <a:cubicBezTo>
                      <a:pt x="69" y="0"/>
                      <a:pt x="0" y="69"/>
                      <a:pt x="0" y="154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45"/>
                      <a:pt x="11" y="256"/>
                      <a:pt x="25" y="256"/>
                    </a:cubicBezTo>
                    <a:cubicBezTo>
                      <a:pt x="40" y="256"/>
                      <a:pt x="51" y="245"/>
                      <a:pt x="51" y="230"/>
                    </a:cubicBezTo>
                    <a:cubicBezTo>
                      <a:pt x="51" y="154"/>
                      <a:pt x="51" y="154"/>
                      <a:pt x="51" y="154"/>
                    </a:cubicBezTo>
                    <a:cubicBezTo>
                      <a:pt x="51" y="97"/>
                      <a:pt x="97" y="51"/>
                      <a:pt x="153" y="51"/>
                    </a:cubicBezTo>
                    <a:cubicBezTo>
                      <a:pt x="210" y="51"/>
                      <a:pt x="256" y="97"/>
                      <a:pt x="256" y="154"/>
                    </a:cubicBezTo>
                    <a:cubicBezTo>
                      <a:pt x="256" y="230"/>
                      <a:pt x="256" y="230"/>
                      <a:pt x="256" y="230"/>
                    </a:cubicBezTo>
                    <a:cubicBezTo>
                      <a:pt x="256" y="245"/>
                      <a:pt x="267" y="256"/>
                      <a:pt x="281" y="256"/>
                    </a:cubicBezTo>
                    <a:cubicBezTo>
                      <a:pt x="296" y="256"/>
                      <a:pt x="307" y="245"/>
                      <a:pt x="307" y="230"/>
                    </a:cubicBezTo>
                    <a:cubicBezTo>
                      <a:pt x="307" y="154"/>
                      <a:pt x="307" y="154"/>
                      <a:pt x="307" y="154"/>
                    </a:cubicBezTo>
                    <a:cubicBezTo>
                      <a:pt x="307" y="69"/>
                      <a:pt x="238" y="0"/>
                      <a:pt x="153" y="0"/>
                    </a:cubicBezTo>
                    <a:close/>
                    <a:moveTo>
                      <a:pt x="153" y="0"/>
                    </a:moveTo>
                    <a:cubicBezTo>
                      <a:pt x="153" y="0"/>
                      <a:pt x="153" y="0"/>
                      <a:pt x="15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3" name="Freeform 61">
                <a:extLst>
                  <a:ext uri="{FF2B5EF4-FFF2-40B4-BE49-F238E27FC236}">
                    <a16:creationId xmlns:a16="http://schemas.microsoft.com/office/drawing/2014/main" xmlns="" id="{1D77C433-BA32-4964-9322-52A47E881D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49" y="1735"/>
                <a:ext cx="426" cy="425"/>
              </a:xfrm>
              <a:custGeom>
                <a:avLst/>
                <a:gdLst>
                  <a:gd name="T0" fmla="*/ 103 w 205"/>
                  <a:gd name="T1" fmla="*/ 0 h 205"/>
                  <a:gd name="T2" fmla="*/ 0 w 205"/>
                  <a:gd name="T3" fmla="*/ 103 h 205"/>
                  <a:gd name="T4" fmla="*/ 103 w 205"/>
                  <a:gd name="T5" fmla="*/ 205 h 205"/>
                  <a:gd name="T6" fmla="*/ 205 w 205"/>
                  <a:gd name="T7" fmla="*/ 103 h 205"/>
                  <a:gd name="T8" fmla="*/ 103 w 205"/>
                  <a:gd name="T9" fmla="*/ 0 h 205"/>
                  <a:gd name="T10" fmla="*/ 103 w 205"/>
                  <a:gd name="T11" fmla="*/ 154 h 205"/>
                  <a:gd name="T12" fmla="*/ 51 w 205"/>
                  <a:gd name="T13" fmla="*/ 103 h 205"/>
                  <a:gd name="T14" fmla="*/ 103 w 205"/>
                  <a:gd name="T15" fmla="*/ 51 h 205"/>
                  <a:gd name="T16" fmla="*/ 154 w 205"/>
                  <a:gd name="T17" fmla="*/ 103 h 205"/>
                  <a:gd name="T18" fmla="*/ 103 w 205"/>
                  <a:gd name="T19" fmla="*/ 154 h 205"/>
                  <a:gd name="T20" fmla="*/ 103 w 205"/>
                  <a:gd name="T21" fmla="*/ 154 h 205"/>
                  <a:gd name="T22" fmla="*/ 103 w 205"/>
                  <a:gd name="T23" fmla="*/ 154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5" h="205">
                    <a:moveTo>
                      <a:pt x="103" y="0"/>
                    </a:moveTo>
                    <a:cubicBezTo>
                      <a:pt x="46" y="0"/>
                      <a:pt x="0" y="46"/>
                      <a:pt x="0" y="103"/>
                    </a:cubicBezTo>
                    <a:cubicBezTo>
                      <a:pt x="0" y="159"/>
                      <a:pt x="46" y="205"/>
                      <a:pt x="103" y="205"/>
                    </a:cubicBezTo>
                    <a:cubicBezTo>
                      <a:pt x="159" y="205"/>
                      <a:pt x="205" y="159"/>
                      <a:pt x="205" y="103"/>
                    </a:cubicBezTo>
                    <a:cubicBezTo>
                      <a:pt x="205" y="46"/>
                      <a:pt x="159" y="0"/>
                      <a:pt x="103" y="0"/>
                    </a:cubicBezTo>
                    <a:close/>
                    <a:moveTo>
                      <a:pt x="103" y="154"/>
                    </a:moveTo>
                    <a:cubicBezTo>
                      <a:pt x="74" y="154"/>
                      <a:pt x="51" y="131"/>
                      <a:pt x="51" y="103"/>
                    </a:cubicBezTo>
                    <a:cubicBezTo>
                      <a:pt x="51" y="74"/>
                      <a:pt x="74" y="51"/>
                      <a:pt x="103" y="51"/>
                    </a:cubicBezTo>
                    <a:cubicBezTo>
                      <a:pt x="131" y="51"/>
                      <a:pt x="154" y="74"/>
                      <a:pt x="154" y="103"/>
                    </a:cubicBezTo>
                    <a:cubicBezTo>
                      <a:pt x="154" y="131"/>
                      <a:pt x="131" y="154"/>
                      <a:pt x="103" y="154"/>
                    </a:cubicBezTo>
                    <a:close/>
                    <a:moveTo>
                      <a:pt x="103" y="154"/>
                    </a:moveTo>
                    <a:cubicBezTo>
                      <a:pt x="103" y="154"/>
                      <a:pt x="103" y="154"/>
                      <a:pt x="103" y="1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4" name="Freeform 62">
                <a:extLst>
                  <a:ext uri="{FF2B5EF4-FFF2-40B4-BE49-F238E27FC236}">
                    <a16:creationId xmlns:a16="http://schemas.microsoft.com/office/drawing/2014/main" xmlns="" id="{B9658D78-49E8-48E3-AF5B-95B1CE4636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43" y="2214"/>
                <a:ext cx="638" cy="531"/>
              </a:xfrm>
              <a:custGeom>
                <a:avLst/>
                <a:gdLst>
                  <a:gd name="T0" fmla="*/ 154 w 307"/>
                  <a:gd name="T1" fmla="*/ 0 h 256"/>
                  <a:gd name="T2" fmla="*/ 0 w 307"/>
                  <a:gd name="T3" fmla="*/ 153 h 256"/>
                  <a:gd name="T4" fmla="*/ 0 w 307"/>
                  <a:gd name="T5" fmla="*/ 230 h 256"/>
                  <a:gd name="T6" fmla="*/ 26 w 307"/>
                  <a:gd name="T7" fmla="*/ 256 h 256"/>
                  <a:gd name="T8" fmla="*/ 51 w 307"/>
                  <a:gd name="T9" fmla="*/ 230 h 256"/>
                  <a:gd name="T10" fmla="*/ 51 w 307"/>
                  <a:gd name="T11" fmla="*/ 153 h 256"/>
                  <a:gd name="T12" fmla="*/ 154 w 307"/>
                  <a:gd name="T13" fmla="*/ 51 h 256"/>
                  <a:gd name="T14" fmla="*/ 256 w 307"/>
                  <a:gd name="T15" fmla="*/ 153 h 256"/>
                  <a:gd name="T16" fmla="*/ 256 w 307"/>
                  <a:gd name="T17" fmla="*/ 230 h 256"/>
                  <a:gd name="T18" fmla="*/ 282 w 307"/>
                  <a:gd name="T19" fmla="*/ 256 h 256"/>
                  <a:gd name="T20" fmla="*/ 307 w 307"/>
                  <a:gd name="T21" fmla="*/ 230 h 256"/>
                  <a:gd name="T22" fmla="*/ 307 w 307"/>
                  <a:gd name="T23" fmla="*/ 153 h 256"/>
                  <a:gd name="T24" fmla="*/ 154 w 307"/>
                  <a:gd name="T25" fmla="*/ 0 h 256"/>
                  <a:gd name="T26" fmla="*/ 154 w 307"/>
                  <a:gd name="T27" fmla="*/ 0 h 256"/>
                  <a:gd name="T28" fmla="*/ 154 w 307"/>
                  <a:gd name="T29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256">
                    <a:moveTo>
                      <a:pt x="154" y="0"/>
                    </a:moveTo>
                    <a:cubicBezTo>
                      <a:pt x="69" y="0"/>
                      <a:pt x="0" y="68"/>
                      <a:pt x="0" y="153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44"/>
                      <a:pt x="11" y="256"/>
                      <a:pt x="26" y="256"/>
                    </a:cubicBezTo>
                    <a:cubicBezTo>
                      <a:pt x="40" y="256"/>
                      <a:pt x="51" y="244"/>
                      <a:pt x="51" y="230"/>
                    </a:cubicBezTo>
                    <a:cubicBezTo>
                      <a:pt x="51" y="153"/>
                      <a:pt x="51" y="153"/>
                      <a:pt x="51" y="153"/>
                    </a:cubicBezTo>
                    <a:cubicBezTo>
                      <a:pt x="51" y="97"/>
                      <a:pt x="97" y="51"/>
                      <a:pt x="154" y="51"/>
                    </a:cubicBezTo>
                    <a:cubicBezTo>
                      <a:pt x="210" y="51"/>
                      <a:pt x="256" y="97"/>
                      <a:pt x="256" y="153"/>
                    </a:cubicBezTo>
                    <a:cubicBezTo>
                      <a:pt x="256" y="230"/>
                      <a:pt x="256" y="230"/>
                      <a:pt x="256" y="230"/>
                    </a:cubicBezTo>
                    <a:cubicBezTo>
                      <a:pt x="256" y="244"/>
                      <a:pt x="267" y="256"/>
                      <a:pt x="282" y="256"/>
                    </a:cubicBezTo>
                    <a:cubicBezTo>
                      <a:pt x="296" y="256"/>
                      <a:pt x="307" y="244"/>
                      <a:pt x="307" y="230"/>
                    </a:cubicBezTo>
                    <a:cubicBezTo>
                      <a:pt x="307" y="153"/>
                      <a:pt x="307" y="153"/>
                      <a:pt x="307" y="153"/>
                    </a:cubicBezTo>
                    <a:cubicBezTo>
                      <a:pt x="307" y="68"/>
                      <a:pt x="238" y="0"/>
                      <a:pt x="154" y="0"/>
                    </a:cubicBezTo>
                    <a:close/>
                    <a:moveTo>
                      <a:pt x="154" y="0"/>
                    </a:moveTo>
                    <a:cubicBezTo>
                      <a:pt x="154" y="0"/>
                      <a:pt x="154" y="0"/>
                      <a:pt x="15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5" name="Freeform 63">
                <a:extLst>
                  <a:ext uri="{FF2B5EF4-FFF2-40B4-BE49-F238E27FC236}">
                    <a16:creationId xmlns:a16="http://schemas.microsoft.com/office/drawing/2014/main" xmlns="" id="{CFEC1BBA-573A-4A47-8BE4-01DC9CE704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02" y="1735"/>
                <a:ext cx="426" cy="425"/>
              </a:xfrm>
              <a:custGeom>
                <a:avLst/>
                <a:gdLst>
                  <a:gd name="T0" fmla="*/ 102 w 205"/>
                  <a:gd name="T1" fmla="*/ 0 h 205"/>
                  <a:gd name="T2" fmla="*/ 0 w 205"/>
                  <a:gd name="T3" fmla="*/ 103 h 205"/>
                  <a:gd name="T4" fmla="*/ 102 w 205"/>
                  <a:gd name="T5" fmla="*/ 205 h 205"/>
                  <a:gd name="T6" fmla="*/ 205 w 205"/>
                  <a:gd name="T7" fmla="*/ 103 h 205"/>
                  <a:gd name="T8" fmla="*/ 102 w 205"/>
                  <a:gd name="T9" fmla="*/ 0 h 205"/>
                  <a:gd name="T10" fmla="*/ 102 w 205"/>
                  <a:gd name="T11" fmla="*/ 154 h 205"/>
                  <a:gd name="T12" fmla="*/ 51 w 205"/>
                  <a:gd name="T13" fmla="*/ 103 h 205"/>
                  <a:gd name="T14" fmla="*/ 102 w 205"/>
                  <a:gd name="T15" fmla="*/ 51 h 205"/>
                  <a:gd name="T16" fmla="*/ 153 w 205"/>
                  <a:gd name="T17" fmla="*/ 103 h 205"/>
                  <a:gd name="T18" fmla="*/ 102 w 205"/>
                  <a:gd name="T19" fmla="*/ 154 h 205"/>
                  <a:gd name="T20" fmla="*/ 102 w 205"/>
                  <a:gd name="T21" fmla="*/ 154 h 205"/>
                  <a:gd name="T22" fmla="*/ 102 w 205"/>
                  <a:gd name="T23" fmla="*/ 154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5" h="205">
                    <a:moveTo>
                      <a:pt x="102" y="0"/>
                    </a:moveTo>
                    <a:cubicBezTo>
                      <a:pt x="46" y="0"/>
                      <a:pt x="0" y="46"/>
                      <a:pt x="0" y="103"/>
                    </a:cubicBezTo>
                    <a:cubicBezTo>
                      <a:pt x="0" y="159"/>
                      <a:pt x="46" y="205"/>
                      <a:pt x="102" y="205"/>
                    </a:cubicBezTo>
                    <a:cubicBezTo>
                      <a:pt x="159" y="205"/>
                      <a:pt x="205" y="159"/>
                      <a:pt x="205" y="103"/>
                    </a:cubicBezTo>
                    <a:cubicBezTo>
                      <a:pt x="205" y="46"/>
                      <a:pt x="159" y="0"/>
                      <a:pt x="102" y="0"/>
                    </a:cubicBezTo>
                    <a:close/>
                    <a:moveTo>
                      <a:pt x="102" y="154"/>
                    </a:moveTo>
                    <a:cubicBezTo>
                      <a:pt x="74" y="154"/>
                      <a:pt x="51" y="131"/>
                      <a:pt x="51" y="103"/>
                    </a:cubicBezTo>
                    <a:cubicBezTo>
                      <a:pt x="51" y="74"/>
                      <a:pt x="74" y="51"/>
                      <a:pt x="102" y="51"/>
                    </a:cubicBezTo>
                    <a:cubicBezTo>
                      <a:pt x="130" y="51"/>
                      <a:pt x="153" y="74"/>
                      <a:pt x="153" y="103"/>
                    </a:cubicBezTo>
                    <a:cubicBezTo>
                      <a:pt x="153" y="131"/>
                      <a:pt x="130" y="154"/>
                      <a:pt x="102" y="154"/>
                    </a:cubicBezTo>
                    <a:close/>
                    <a:moveTo>
                      <a:pt x="102" y="154"/>
                    </a:moveTo>
                    <a:cubicBezTo>
                      <a:pt x="102" y="154"/>
                      <a:pt x="102" y="154"/>
                      <a:pt x="102" y="1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6" name="Freeform 64">
                <a:extLst>
                  <a:ext uri="{FF2B5EF4-FFF2-40B4-BE49-F238E27FC236}">
                    <a16:creationId xmlns:a16="http://schemas.microsoft.com/office/drawing/2014/main" xmlns="" id="{8D9577E4-02F7-4CBC-965A-A8034F65B8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96" y="2214"/>
                <a:ext cx="638" cy="531"/>
              </a:xfrm>
              <a:custGeom>
                <a:avLst/>
                <a:gdLst>
                  <a:gd name="T0" fmla="*/ 153 w 307"/>
                  <a:gd name="T1" fmla="*/ 0 h 256"/>
                  <a:gd name="T2" fmla="*/ 0 w 307"/>
                  <a:gd name="T3" fmla="*/ 153 h 256"/>
                  <a:gd name="T4" fmla="*/ 0 w 307"/>
                  <a:gd name="T5" fmla="*/ 230 h 256"/>
                  <a:gd name="T6" fmla="*/ 25 w 307"/>
                  <a:gd name="T7" fmla="*/ 256 h 256"/>
                  <a:gd name="T8" fmla="*/ 51 w 307"/>
                  <a:gd name="T9" fmla="*/ 230 h 256"/>
                  <a:gd name="T10" fmla="*/ 51 w 307"/>
                  <a:gd name="T11" fmla="*/ 153 h 256"/>
                  <a:gd name="T12" fmla="*/ 153 w 307"/>
                  <a:gd name="T13" fmla="*/ 51 h 256"/>
                  <a:gd name="T14" fmla="*/ 256 w 307"/>
                  <a:gd name="T15" fmla="*/ 153 h 256"/>
                  <a:gd name="T16" fmla="*/ 256 w 307"/>
                  <a:gd name="T17" fmla="*/ 230 h 256"/>
                  <a:gd name="T18" fmla="*/ 281 w 307"/>
                  <a:gd name="T19" fmla="*/ 256 h 256"/>
                  <a:gd name="T20" fmla="*/ 307 w 307"/>
                  <a:gd name="T21" fmla="*/ 230 h 256"/>
                  <a:gd name="T22" fmla="*/ 307 w 307"/>
                  <a:gd name="T23" fmla="*/ 153 h 256"/>
                  <a:gd name="T24" fmla="*/ 153 w 307"/>
                  <a:gd name="T25" fmla="*/ 0 h 256"/>
                  <a:gd name="T26" fmla="*/ 153 w 307"/>
                  <a:gd name="T27" fmla="*/ 0 h 256"/>
                  <a:gd name="T28" fmla="*/ 153 w 307"/>
                  <a:gd name="T29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256">
                    <a:moveTo>
                      <a:pt x="153" y="0"/>
                    </a:moveTo>
                    <a:cubicBezTo>
                      <a:pt x="68" y="0"/>
                      <a:pt x="0" y="68"/>
                      <a:pt x="0" y="153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44"/>
                      <a:pt x="11" y="256"/>
                      <a:pt x="25" y="256"/>
                    </a:cubicBezTo>
                    <a:cubicBezTo>
                      <a:pt x="39" y="256"/>
                      <a:pt x="51" y="244"/>
                      <a:pt x="51" y="230"/>
                    </a:cubicBezTo>
                    <a:cubicBezTo>
                      <a:pt x="51" y="153"/>
                      <a:pt x="51" y="153"/>
                      <a:pt x="51" y="153"/>
                    </a:cubicBezTo>
                    <a:cubicBezTo>
                      <a:pt x="51" y="97"/>
                      <a:pt x="97" y="51"/>
                      <a:pt x="153" y="51"/>
                    </a:cubicBezTo>
                    <a:cubicBezTo>
                      <a:pt x="210" y="51"/>
                      <a:pt x="256" y="97"/>
                      <a:pt x="256" y="153"/>
                    </a:cubicBezTo>
                    <a:cubicBezTo>
                      <a:pt x="256" y="230"/>
                      <a:pt x="256" y="230"/>
                      <a:pt x="256" y="230"/>
                    </a:cubicBezTo>
                    <a:cubicBezTo>
                      <a:pt x="256" y="244"/>
                      <a:pt x="267" y="256"/>
                      <a:pt x="281" y="256"/>
                    </a:cubicBezTo>
                    <a:cubicBezTo>
                      <a:pt x="295" y="256"/>
                      <a:pt x="307" y="244"/>
                      <a:pt x="307" y="230"/>
                    </a:cubicBezTo>
                    <a:cubicBezTo>
                      <a:pt x="307" y="153"/>
                      <a:pt x="307" y="153"/>
                      <a:pt x="307" y="153"/>
                    </a:cubicBezTo>
                    <a:cubicBezTo>
                      <a:pt x="307" y="68"/>
                      <a:pt x="238" y="0"/>
                      <a:pt x="153" y="0"/>
                    </a:cubicBezTo>
                    <a:close/>
                    <a:moveTo>
                      <a:pt x="153" y="0"/>
                    </a:moveTo>
                    <a:cubicBezTo>
                      <a:pt x="153" y="0"/>
                      <a:pt x="153" y="0"/>
                      <a:pt x="15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7" name="Freeform 65">
                <a:extLst>
                  <a:ext uri="{FF2B5EF4-FFF2-40B4-BE49-F238E27FC236}">
                    <a16:creationId xmlns:a16="http://schemas.microsoft.com/office/drawing/2014/main" xmlns="" id="{AE4BC5CF-CBD7-4316-BC5F-6EB51F44F6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52" y="1735"/>
                <a:ext cx="426" cy="425"/>
              </a:xfrm>
              <a:custGeom>
                <a:avLst/>
                <a:gdLst>
                  <a:gd name="T0" fmla="*/ 103 w 205"/>
                  <a:gd name="T1" fmla="*/ 0 h 205"/>
                  <a:gd name="T2" fmla="*/ 0 w 205"/>
                  <a:gd name="T3" fmla="*/ 103 h 205"/>
                  <a:gd name="T4" fmla="*/ 103 w 205"/>
                  <a:gd name="T5" fmla="*/ 205 h 205"/>
                  <a:gd name="T6" fmla="*/ 205 w 205"/>
                  <a:gd name="T7" fmla="*/ 103 h 205"/>
                  <a:gd name="T8" fmla="*/ 103 w 205"/>
                  <a:gd name="T9" fmla="*/ 0 h 205"/>
                  <a:gd name="T10" fmla="*/ 103 w 205"/>
                  <a:gd name="T11" fmla="*/ 154 h 205"/>
                  <a:gd name="T12" fmla="*/ 52 w 205"/>
                  <a:gd name="T13" fmla="*/ 103 h 205"/>
                  <a:gd name="T14" fmla="*/ 103 w 205"/>
                  <a:gd name="T15" fmla="*/ 51 h 205"/>
                  <a:gd name="T16" fmla="*/ 154 w 205"/>
                  <a:gd name="T17" fmla="*/ 103 h 205"/>
                  <a:gd name="T18" fmla="*/ 103 w 205"/>
                  <a:gd name="T19" fmla="*/ 154 h 205"/>
                  <a:gd name="T20" fmla="*/ 103 w 205"/>
                  <a:gd name="T21" fmla="*/ 154 h 205"/>
                  <a:gd name="T22" fmla="*/ 103 w 205"/>
                  <a:gd name="T23" fmla="*/ 154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5" h="205">
                    <a:moveTo>
                      <a:pt x="103" y="0"/>
                    </a:moveTo>
                    <a:cubicBezTo>
                      <a:pt x="46" y="0"/>
                      <a:pt x="0" y="46"/>
                      <a:pt x="0" y="103"/>
                    </a:cubicBezTo>
                    <a:cubicBezTo>
                      <a:pt x="0" y="159"/>
                      <a:pt x="46" y="205"/>
                      <a:pt x="103" y="205"/>
                    </a:cubicBezTo>
                    <a:cubicBezTo>
                      <a:pt x="159" y="205"/>
                      <a:pt x="205" y="159"/>
                      <a:pt x="205" y="103"/>
                    </a:cubicBezTo>
                    <a:cubicBezTo>
                      <a:pt x="205" y="46"/>
                      <a:pt x="159" y="0"/>
                      <a:pt x="103" y="0"/>
                    </a:cubicBezTo>
                    <a:close/>
                    <a:moveTo>
                      <a:pt x="103" y="154"/>
                    </a:moveTo>
                    <a:cubicBezTo>
                      <a:pt x="75" y="154"/>
                      <a:pt x="52" y="131"/>
                      <a:pt x="52" y="103"/>
                    </a:cubicBezTo>
                    <a:cubicBezTo>
                      <a:pt x="52" y="74"/>
                      <a:pt x="75" y="51"/>
                      <a:pt x="103" y="51"/>
                    </a:cubicBezTo>
                    <a:cubicBezTo>
                      <a:pt x="131" y="51"/>
                      <a:pt x="154" y="74"/>
                      <a:pt x="154" y="103"/>
                    </a:cubicBezTo>
                    <a:cubicBezTo>
                      <a:pt x="154" y="131"/>
                      <a:pt x="131" y="154"/>
                      <a:pt x="103" y="154"/>
                    </a:cubicBezTo>
                    <a:close/>
                    <a:moveTo>
                      <a:pt x="103" y="154"/>
                    </a:moveTo>
                    <a:cubicBezTo>
                      <a:pt x="103" y="154"/>
                      <a:pt x="103" y="154"/>
                      <a:pt x="103" y="1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8" name="Freeform 66">
                <a:extLst>
                  <a:ext uri="{FF2B5EF4-FFF2-40B4-BE49-F238E27FC236}">
                    <a16:creationId xmlns:a16="http://schemas.microsoft.com/office/drawing/2014/main" xmlns="" id="{1AA00C3B-3048-4692-A4CE-E958DC5E61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6" y="2214"/>
                <a:ext cx="638" cy="531"/>
              </a:xfrm>
              <a:custGeom>
                <a:avLst/>
                <a:gdLst>
                  <a:gd name="T0" fmla="*/ 154 w 307"/>
                  <a:gd name="T1" fmla="*/ 0 h 256"/>
                  <a:gd name="T2" fmla="*/ 0 w 307"/>
                  <a:gd name="T3" fmla="*/ 153 h 256"/>
                  <a:gd name="T4" fmla="*/ 0 w 307"/>
                  <a:gd name="T5" fmla="*/ 230 h 256"/>
                  <a:gd name="T6" fmla="*/ 26 w 307"/>
                  <a:gd name="T7" fmla="*/ 256 h 256"/>
                  <a:gd name="T8" fmla="*/ 51 w 307"/>
                  <a:gd name="T9" fmla="*/ 230 h 256"/>
                  <a:gd name="T10" fmla="*/ 51 w 307"/>
                  <a:gd name="T11" fmla="*/ 153 h 256"/>
                  <a:gd name="T12" fmla="*/ 154 w 307"/>
                  <a:gd name="T13" fmla="*/ 51 h 256"/>
                  <a:gd name="T14" fmla="*/ 256 w 307"/>
                  <a:gd name="T15" fmla="*/ 153 h 256"/>
                  <a:gd name="T16" fmla="*/ 256 w 307"/>
                  <a:gd name="T17" fmla="*/ 230 h 256"/>
                  <a:gd name="T18" fmla="*/ 282 w 307"/>
                  <a:gd name="T19" fmla="*/ 256 h 256"/>
                  <a:gd name="T20" fmla="*/ 307 w 307"/>
                  <a:gd name="T21" fmla="*/ 230 h 256"/>
                  <a:gd name="T22" fmla="*/ 307 w 307"/>
                  <a:gd name="T23" fmla="*/ 153 h 256"/>
                  <a:gd name="T24" fmla="*/ 154 w 307"/>
                  <a:gd name="T25" fmla="*/ 0 h 256"/>
                  <a:gd name="T26" fmla="*/ 154 w 307"/>
                  <a:gd name="T27" fmla="*/ 0 h 256"/>
                  <a:gd name="T28" fmla="*/ 154 w 307"/>
                  <a:gd name="T29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256">
                    <a:moveTo>
                      <a:pt x="154" y="0"/>
                    </a:moveTo>
                    <a:cubicBezTo>
                      <a:pt x="69" y="0"/>
                      <a:pt x="0" y="68"/>
                      <a:pt x="0" y="153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44"/>
                      <a:pt x="12" y="256"/>
                      <a:pt x="26" y="256"/>
                    </a:cubicBezTo>
                    <a:cubicBezTo>
                      <a:pt x="40" y="256"/>
                      <a:pt x="51" y="244"/>
                      <a:pt x="51" y="230"/>
                    </a:cubicBezTo>
                    <a:cubicBezTo>
                      <a:pt x="51" y="153"/>
                      <a:pt x="51" y="153"/>
                      <a:pt x="51" y="153"/>
                    </a:cubicBezTo>
                    <a:cubicBezTo>
                      <a:pt x="51" y="97"/>
                      <a:pt x="97" y="51"/>
                      <a:pt x="154" y="51"/>
                    </a:cubicBezTo>
                    <a:cubicBezTo>
                      <a:pt x="210" y="51"/>
                      <a:pt x="256" y="97"/>
                      <a:pt x="256" y="153"/>
                    </a:cubicBezTo>
                    <a:cubicBezTo>
                      <a:pt x="256" y="230"/>
                      <a:pt x="256" y="230"/>
                      <a:pt x="256" y="230"/>
                    </a:cubicBezTo>
                    <a:cubicBezTo>
                      <a:pt x="256" y="244"/>
                      <a:pt x="268" y="256"/>
                      <a:pt x="282" y="256"/>
                    </a:cubicBezTo>
                    <a:cubicBezTo>
                      <a:pt x="296" y="256"/>
                      <a:pt x="307" y="244"/>
                      <a:pt x="307" y="230"/>
                    </a:cubicBezTo>
                    <a:cubicBezTo>
                      <a:pt x="307" y="153"/>
                      <a:pt x="307" y="153"/>
                      <a:pt x="307" y="153"/>
                    </a:cubicBezTo>
                    <a:cubicBezTo>
                      <a:pt x="307" y="68"/>
                      <a:pt x="239" y="0"/>
                      <a:pt x="154" y="0"/>
                    </a:cubicBezTo>
                    <a:close/>
                    <a:moveTo>
                      <a:pt x="154" y="0"/>
                    </a:moveTo>
                    <a:cubicBezTo>
                      <a:pt x="154" y="0"/>
                      <a:pt x="154" y="0"/>
                      <a:pt x="15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89" name="Freeform 67">
                <a:extLst>
                  <a:ext uri="{FF2B5EF4-FFF2-40B4-BE49-F238E27FC236}">
                    <a16:creationId xmlns:a16="http://schemas.microsoft.com/office/drawing/2014/main" xmlns="" id="{AEA1FC77-05AE-4AB8-9D8C-FCEC7A346D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05" y="1735"/>
                <a:ext cx="426" cy="425"/>
              </a:xfrm>
              <a:custGeom>
                <a:avLst/>
                <a:gdLst>
                  <a:gd name="T0" fmla="*/ 102 w 205"/>
                  <a:gd name="T1" fmla="*/ 0 h 205"/>
                  <a:gd name="T2" fmla="*/ 0 w 205"/>
                  <a:gd name="T3" fmla="*/ 103 h 205"/>
                  <a:gd name="T4" fmla="*/ 102 w 205"/>
                  <a:gd name="T5" fmla="*/ 205 h 205"/>
                  <a:gd name="T6" fmla="*/ 205 w 205"/>
                  <a:gd name="T7" fmla="*/ 103 h 205"/>
                  <a:gd name="T8" fmla="*/ 102 w 205"/>
                  <a:gd name="T9" fmla="*/ 0 h 205"/>
                  <a:gd name="T10" fmla="*/ 102 w 205"/>
                  <a:gd name="T11" fmla="*/ 154 h 205"/>
                  <a:gd name="T12" fmla="*/ 51 w 205"/>
                  <a:gd name="T13" fmla="*/ 103 h 205"/>
                  <a:gd name="T14" fmla="*/ 102 w 205"/>
                  <a:gd name="T15" fmla="*/ 51 h 205"/>
                  <a:gd name="T16" fmla="*/ 154 w 205"/>
                  <a:gd name="T17" fmla="*/ 103 h 205"/>
                  <a:gd name="T18" fmla="*/ 102 w 205"/>
                  <a:gd name="T19" fmla="*/ 154 h 205"/>
                  <a:gd name="T20" fmla="*/ 102 w 205"/>
                  <a:gd name="T21" fmla="*/ 154 h 205"/>
                  <a:gd name="T22" fmla="*/ 102 w 205"/>
                  <a:gd name="T23" fmla="*/ 154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5" h="205">
                    <a:moveTo>
                      <a:pt x="102" y="0"/>
                    </a:moveTo>
                    <a:cubicBezTo>
                      <a:pt x="46" y="0"/>
                      <a:pt x="0" y="46"/>
                      <a:pt x="0" y="103"/>
                    </a:cubicBezTo>
                    <a:cubicBezTo>
                      <a:pt x="0" y="159"/>
                      <a:pt x="46" y="205"/>
                      <a:pt x="102" y="205"/>
                    </a:cubicBezTo>
                    <a:cubicBezTo>
                      <a:pt x="159" y="205"/>
                      <a:pt x="205" y="159"/>
                      <a:pt x="205" y="103"/>
                    </a:cubicBezTo>
                    <a:cubicBezTo>
                      <a:pt x="205" y="46"/>
                      <a:pt x="159" y="0"/>
                      <a:pt x="102" y="0"/>
                    </a:cubicBezTo>
                    <a:close/>
                    <a:moveTo>
                      <a:pt x="102" y="154"/>
                    </a:moveTo>
                    <a:cubicBezTo>
                      <a:pt x="74" y="154"/>
                      <a:pt x="51" y="131"/>
                      <a:pt x="51" y="103"/>
                    </a:cubicBezTo>
                    <a:cubicBezTo>
                      <a:pt x="51" y="74"/>
                      <a:pt x="74" y="51"/>
                      <a:pt x="102" y="51"/>
                    </a:cubicBezTo>
                    <a:cubicBezTo>
                      <a:pt x="131" y="51"/>
                      <a:pt x="154" y="74"/>
                      <a:pt x="154" y="103"/>
                    </a:cubicBezTo>
                    <a:cubicBezTo>
                      <a:pt x="154" y="131"/>
                      <a:pt x="131" y="154"/>
                      <a:pt x="102" y="154"/>
                    </a:cubicBezTo>
                    <a:close/>
                    <a:moveTo>
                      <a:pt x="102" y="154"/>
                    </a:moveTo>
                    <a:cubicBezTo>
                      <a:pt x="102" y="154"/>
                      <a:pt x="102" y="154"/>
                      <a:pt x="102" y="1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90" name="Freeform 68">
                <a:extLst>
                  <a:ext uri="{FF2B5EF4-FFF2-40B4-BE49-F238E27FC236}">
                    <a16:creationId xmlns:a16="http://schemas.microsoft.com/office/drawing/2014/main" xmlns="" id="{8ED0432A-EDA7-4588-8B3B-5EB2BD7890B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99" y="2214"/>
                <a:ext cx="638" cy="531"/>
              </a:xfrm>
              <a:custGeom>
                <a:avLst/>
                <a:gdLst>
                  <a:gd name="T0" fmla="*/ 153 w 307"/>
                  <a:gd name="T1" fmla="*/ 0 h 256"/>
                  <a:gd name="T2" fmla="*/ 0 w 307"/>
                  <a:gd name="T3" fmla="*/ 153 h 256"/>
                  <a:gd name="T4" fmla="*/ 0 w 307"/>
                  <a:gd name="T5" fmla="*/ 230 h 256"/>
                  <a:gd name="T6" fmla="*/ 25 w 307"/>
                  <a:gd name="T7" fmla="*/ 256 h 256"/>
                  <a:gd name="T8" fmla="*/ 51 w 307"/>
                  <a:gd name="T9" fmla="*/ 230 h 256"/>
                  <a:gd name="T10" fmla="*/ 51 w 307"/>
                  <a:gd name="T11" fmla="*/ 153 h 256"/>
                  <a:gd name="T12" fmla="*/ 153 w 307"/>
                  <a:gd name="T13" fmla="*/ 51 h 256"/>
                  <a:gd name="T14" fmla="*/ 256 w 307"/>
                  <a:gd name="T15" fmla="*/ 153 h 256"/>
                  <a:gd name="T16" fmla="*/ 256 w 307"/>
                  <a:gd name="T17" fmla="*/ 230 h 256"/>
                  <a:gd name="T18" fmla="*/ 281 w 307"/>
                  <a:gd name="T19" fmla="*/ 256 h 256"/>
                  <a:gd name="T20" fmla="*/ 307 w 307"/>
                  <a:gd name="T21" fmla="*/ 230 h 256"/>
                  <a:gd name="T22" fmla="*/ 307 w 307"/>
                  <a:gd name="T23" fmla="*/ 153 h 256"/>
                  <a:gd name="T24" fmla="*/ 153 w 307"/>
                  <a:gd name="T25" fmla="*/ 0 h 256"/>
                  <a:gd name="T26" fmla="*/ 153 w 307"/>
                  <a:gd name="T27" fmla="*/ 0 h 256"/>
                  <a:gd name="T28" fmla="*/ 153 w 307"/>
                  <a:gd name="T29" fmla="*/ 0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7" h="256">
                    <a:moveTo>
                      <a:pt x="153" y="0"/>
                    </a:moveTo>
                    <a:cubicBezTo>
                      <a:pt x="69" y="0"/>
                      <a:pt x="0" y="68"/>
                      <a:pt x="0" y="153"/>
                    </a:cubicBezTo>
                    <a:cubicBezTo>
                      <a:pt x="0" y="230"/>
                      <a:pt x="0" y="230"/>
                      <a:pt x="0" y="230"/>
                    </a:cubicBezTo>
                    <a:cubicBezTo>
                      <a:pt x="0" y="244"/>
                      <a:pt x="11" y="256"/>
                      <a:pt x="25" y="256"/>
                    </a:cubicBezTo>
                    <a:cubicBezTo>
                      <a:pt x="40" y="256"/>
                      <a:pt x="51" y="244"/>
                      <a:pt x="51" y="230"/>
                    </a:cubicBezTo>
                    <a:cubicBezTo>
                      <a:pt x="51" y="153"/>
                      <a:pt x="51" y="153"/>
                      <a:pt x="51" y="153"/>
                    </a:cubicBezTo>
                    <a:cubicBezTo>
                      <a:pt x="51" y="97"/>
                      <a:pt x="97" y="51"/>
                      <a:pt x="153" y="51"/>
                    </a:cubicBezTo>
                    <a:cubicBezTo>
                      <a:pt x="210" y="51"/>
                      <a:pt x="256" y="97"/>
                      <a:pt x="256" y="153"/>
                    </a:cubicBezTo>
                    <a:cubicBezTo>
                      <a:pt x="256" y="230"/>
                      <a:pt x="256" y="230"/>
                      <a:pt x="256" y="230"/>
                    </a:cubicBezTo>
                    <a:cubicBezTo>
                      <a:pt x="256" y="244"/>
                      <a:pt x="267" y="256"/>
                      <a:pt x="281" y="256"/>
                    </a:cubicBezTo>
                    <a:cubicBezTo>
                      <a:pt x="296" y="256"/>
                      <a:pt x="307" y="244"/>
                      <a:pt x="307" y="230"/>
                    </a:cubicBezTo>
                    <a:cubicBezTo>
                      <a:pt x="307" y="153"/>
                      <a:pt x="307" y="153"/>
                      <a:pt x="307" y="153"/>
                    </a:cubicBezTo>
                    <a:cubicBezTo>
                      <a:pt x="307" y="68"/>
                      <a:pt x="238" y="0"/>
                      <a:pt x="153" y="0"/>
                    </a:cubicBezTo>
                    <a:close/>
                    <a:moveTo>
                      <a:pt x="153" y="0"/>
                    </a:moveTo>
                    <a:cubicBezTo>
                      <a:pt x="153" y="0"/>
                      <a:pt x="153" y="0"/>
                      <a:pt x="15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100" name="#2">
            <a:extLst>
              <a:ext uri="{FF2B5EF4-FFF2-40B4-BE49-F238E27FC236}">
                <a16:creationId xmlns:a16="http://schemas.microsoft.com/office/drawing/2014/main" xmlns="" id="{629CE905-72A8-4F25-9525-2D316F63B2C5}"/>
              </a:ext>
            </a:extLst>
          </p:cNvPr>
          <p:cNvGrpSpPr/>
          <p:nvPr/>
        </p:nvGrpSpPr>
        <p:grpSpPr>
          <a:xfrm>
            <a:off x="4418177" y="1448502"/>
            <a:ext cx="2054067" cy="1808473"/>
            <a:chOff x="4418177" y="1448502"/>
            <a:chExt cx="2054067" cy="1808473"/>
          </a:xfrm>
        </p:grpSpPr>
        <p:sp>
          <p:nvSpPr>
            <p:cNvPr id="21" name="Rechthoek: afgeronde hoeken 20">
              <a:extLst>
                <a:ext uri="{FF2B5EF4-FFF2-40B4-BE49-F238E27FC236}">
                  <a16:creationId xmlns:a16="http://schemas.microsoft.com/office/drawing/2014/main" xmlns="" id="{15B2E4C2-0C0B-4756-8B19-5EB34D9D99B1}"/>
                </a:ext>
              </a:extLst>
            </p:cNvPr>
            <p:cNvSpPr/>
            <p:nvPr/>
          </p:nvSpPr>
          <p:spPr>
            <a:xfrm>
              <a:off x="4418177" y="1448502"/>
              <a:ext cx="2054067" cy="1808473"/>
            </a:xfrm>
            <a:prstGeom prst="roundRect">
              <a:avLst>
                <a:gd name="adj" fmla="val 4818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80000" rtlCol="0" anchor="b"/>
            <a:lstStyle/>
            <a:p>
              <a:pPr algn="ctr">
                <a:lnSpc>
                  <a:spcPct val="80000"/>
                </a:lnSpc>
              </a:pPr>
              <a:r>
                <a:rPr lang="nl-NL" sz="1400" dirty="0"/>
                <a:t>Facilities in </a:t>
              </a:r>
              <a:r>
                <a:rPr lang="nl-NL" dirty="0"/>
                <a:t/>
              </a:r>
              <a:br>
                <a:rPr lang="nl-NL" dirty="0"/>
              </a:br>
              <a:r>
                <a:rPr lang="nl-NL" sz="2400" b="1" dirty="0">
                  <a:solidFill>
                    <a:schemeClr val="bg1"/>
                  </a:solidFill>
                </a:rPr>
                <a:t>34 </a:t>
              </a:r>
              <a:r>
                <a:rPr lang="nl-NL" sz="2400" b="1" dirty="0" err="1">
                  <a:solidFill>
                    <a:schemeClr val="bg1"/>
                  </a:solidFill>
                </a:rPr>
                <a:t>countries</a:t>
              </a:r>
              <a:endParaRPr lang="nl-NL" sz="2400" b="1" dirty="0">
                <a:solidFill>
                  <a:schemeClr val="bg1"/>
                </a:solidFill>
              </a:endParaRPr>
            </a:p>
          </p:txBody>
        </p:sp>
        <p:grpSp>
          <p:nvGrpSpPr>
            <p:cNvPr id="42" name="Group 18">
              <a:extLst>
                <a:ext uri="{FF2B5EF4-FFF2-40B4-BE49-F238E27FC236}">
                  <a16:creationId xmlns:a16="http://schemas.microsoft.com/office/drawing/2014/main" xmlns="" id="{78105169-CBFF-4757-A64E-FB057903896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149935" y="1754188"/>
              <a:ext cx="590550" cy="568325"/>
              <a:chOff x="3654" y="1980"/>
              <a:chExt cx="372" cy="358"/>
            </a:xfrm>
            <a:solidFill>
              <a:schemeClr val="bg1"/>
            </a:solidFill>
          </p:grpSpPr>
          <p:sp>
            <p:nvSpPr>
              <p:cNvPr id="44" name="Freeform 19">
                <a:extLst>
                  <a:ext uri="{FF2B5EF4-FFF2-40B4-BE49-F238E27FC236}">
                    <a16:creationId xmlns:a16="http://schemas.microsoft.com/office/drawing/2014/main" xmlns="" id="{063998BE-E92E-46B7-9421-C870D3AEFE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54" y="2127"/>
                <a:ext cx="372" cy="211"/>
              </a:xfrm>
              <a:custGeom>
                <a:avLst/>
                <a:gdLst>
                  <a:gd name="T0" fmla="*/ 165 w 176"/>
                  <a:gd name="T1" fmla="*/ 0 h 100"/>
                  <a:gd name="T2" fmla="*/ 131 w 176"/>
                  <a:gd name="T3" fmla="*/ 0 h 100"/>
                  <a:gd name="T4" fmla="*/ 127 w 176"/>
                  <a:gd name="T5" fmla="*/ 4 h 100"/>
                  <a:gd name="T6" fmla="*/ 131 w 176"/>
                  <a:gd name="T7" fmla="*/ 7 h 100"/>
                  <a:gd name="T8" fmla="*/ 160 w 176"/>
                  <a:gd name="T9" fmla="*/ 7 h 100"/>
                  <a:gd name="T10" fmla="*/ 169 w 176"/>
                  <a:gd name="T11" fmla="*/ 93 h 100"/>
                  <a:gd name="T12" fmla="*/ 7 w 176"/>
                  <a:gd name="T13" fmla="*/ 93 h 100"/>
                  <a:gd name="T14" fmla="*/ 18 w 176"/>
                  <a:gd name="T15" fmla="*/ 7 h 100"/>
                  <a:gd name="T16" fmla="*/ 47 w 176"/>
                  <a:gd name="T17" fmla="*/ 7 h 100"/>
                  <a:gd name="T18" fmla="*/ 51 w 176"/>
                  <a:gd name="T19" fmla="*/ 4 h 100"/>
                  <a:gd name="T20" fmla="*/ 47 w 176"/>
                  <a:gd name="T21" fmla="*/ 0 h 100"/>
                  <a:gd name="T22" fmla="*/ 13 w 176"/>
                  <a:gd name="T23" fmla="*/ 0 h 100"/>
                  <a:gd name="T24" fmla="*/ 0 w 176"/>
                  <a:gd name="T25" fmla="*/ 100 h 100"/>
                  <a:gd name="T26" fmla="*/ 176 w 176"/>
                  <a:gd name="T27" fmla="*/ 100 h 100"/>
                  <a:gd name="T28" fmla="*/ 165 w 176"/>
                  <a:gd name="T29" fmla="*/ 0 h 100"/>
                  <a:gd name="T30" fmla="*/ 165 w 176"/>
                  <a:gd name="T31" fmla="*/ 0 h 100"/>
                  <a:gd name="T32" fmla="*/ 165 w 176"/>
                  <a:gd name="T33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" h="100">
                    <a:moveTo>
                      <a:pt x="165" y="0"/>
                    </a:moveTo>
                    <a:cubicBezTo>
                      <a:pt x="131" y="0"/>
                      <a:pt x="131" y="0"/>
                      <a:pt x="131" y="0"/>
                    </a:cubicBezTo>
                    <a:cubicBezTo>
                      <a:pt x="129" y="0"/>
                      <a:pt x="127" y="2"/>
                      <a:pt x="127" y="4"/>
                    </a:cubicBezTo>
                    <a:cubicBezTo>
                      <a:pt x="127" y="5"/>
                      <a:pt x="129" y="7"/>
                      <a:pt x="131" y="7"/>
                    </a:cubicBezTo>
                    <a:cubicBezTo>
                      <a:pt x="160" y="7"/>
                      <a:pt x="160" y="7"/>
                      <a:pt x="160" y="7"/>
                    </a:cubicBezTo>
                    <a:cubicBezTo>
                      <a:pt x="169" y="93"/>
                      <a:pt x="169" y="93"/>
                      <a:pt x="169" y="93"/>
                    </a:cubicBezTo>
                    <a:cubicBezTo>
                      <a:pt x="7" y="93"/>
                      <a:pt x="7" y="93"/>
                      <a:pt x="7" y="93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47" y="7"/>
                      <a:pt x="47" y="7"/>
                      <a:pt x="47" y="7"/>
                    </a:cubicBezTo>
                    <a:cubicBezTo>
                      <a:pt x="49" y="7"/>
                      <a:pt x="51" y="5"/>
                      <a:pt x="51" y="4"/>
                    </a:cubicBezTo>
                    <a:cubicBezTo>
                      <a:pt x="51" y="2"/>
                      <a:pt x="49" y="0"/>
                      <a:pt x="47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176" y="100"/>
                      <a:pt x="176" y="100"/>
                      <a:pt x="176" y="100"/>
                    </a:cubicBezTo>
                    <a:lnTo>
                      <a:pt x="165" y="0"/>
                    </a:lnTo>
                    <a:close/>
                    <a:moveTo>
                      <a:pt x="165" y="0"/>
                    </a:moveTo>
                    <a:cubicBezTo>
                      <a:pt x="165" y="0"/>
                      <a:pt x="165" y="0"/>
                      <a:pt x="16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5" name="Freeform 20">
                <a:extLst>
                  <a:ext uri="{FF2B5EF4-FFF2-40B4-BE49-F238E27FC236}">
                    <a16:creationId xmlns:a16="http://schemas.microsoft.com/office/drawing/2014/main" xmlns="" id="{B021B982-A287-47C2-994B-AE8E780065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60" y="1980"/>
                <a:ext cx="165" cy="274"/>
              </a:xfrm>
              <a:custGeom>
                <a:avLst/>
                <a:gdLst>
                  <a:gd name="T0" fmla="*/ 35 w 78"/>
                  <a:gd name="T1" fmla="*/ 121 h 130"/>
                  <a:gd name="T2" fmla="*/ 34 w 78"/>
                  <a:gd name="T3" fmla="*/ 122 h 130"/>
                  <a:gd name="T4" fmla="*/ 32 w 78"/>
                  <a:gd name="T5" fmla="*/ 124 h 130"/>
                  <a:gd name="T6" fmla="*/ 31 w 78"/>
                  <a:gd name="T7" fmla="*/ 128 h 130"/>
                  <a:gd name="T8" fmla="*/ 34 w 78"/>
                  <a:gd name="T9" fmla="*/ 130 h 130"/>
                  <a:gd name="T10" fmla="*/ 36 w 78"/>
                  <a:gd name="T11" fmla="*/ 129 h 130"/>
                  <a:gd name="T12" fmla="*/ 37 w 78"/>
                  <a:gd name="T13" fmla="*/ 128 h 130"/>
                  <a:gd name="T14" fmla="*/ 41 w 78"/>
                  <a:gd name="T15" fmla="*/ 126 h 130"/>
                  <a:gd name="T16" fmla="*/ 42 w 78"/>
                  <a:gd name="T17" fmla="*/ 122 h 130"/>
                  <a:gd name="T18" fmla="*/ 42 w 78"/>
                  <a:gd name="T19" fmla="*/ 122 h 130"/>
                  <a:gd name="T20" fmla="*/ 76 w 78"/>
                  <a:gd name="T21" fmla="*/ 54 h 130"/>
                  <a:gd name="T22" fmla="*/ 77 w 78"/>
                  <a:gd name="T23" fmla="*/ 32 h 130"/>
                  <a:gd name="T24" fmla="*/ 39 w 78"/>
                  <a:gd name="T25" fmla="*/ 0 h 130"/>
                  <a:gd name="T26" fmla="*/ 1 w 78"/>
                  <a:gd name="T27" fmla="*/ 32 h 130"/>
                  <a:gd name="T28" fmla="*/ 2 w 78"/>
                  <a:gd name="T29" fmla="*/ 54 h 130"/>
                  <a:gd name="T30" fmla="*/ 35 w 78"/>
                  <a:gd name="T31" fmla="*/ 121 h 130"/>
                  <a:gd name="T32" fmla="*/ 7 w 78"/>
                  <a:gd name="T33" fmla="*/ 33 h 130"/>
                  <a:gd name="T34" fmla="*/ 39 w 78"/>
                  <a:gd name="T35" fmla="*/ 6 h 130"/>
                  <a:gd name="T36" fmla="*/ 70 w 78"/>
                  <a:gd name="T37" fmla="*/ 33 h 130"/>
                  <a:gd name="T38" fmla="*/ 69 w 78"/>
                  <a:gd name="T39" fmla="*/ 53 h 130"/>
                  <a:gd name="T40" fmla="*/ 39 w 78"/>
                  <a:gd name="T41" fmla="*/ 116 h 130"/>
                  <a:gd name="T42" fmla="*/ 8 w 78"/>
                  <a:gd name="T43" fmla="*/ 53 h 130"/>
                  <a:gd name="T44" fmla="*/ 7 w 78"/>
                  <a:gd name="T45" fmla="*/ 33 h 130"/>
                  <a:gd name="T46" fmla="*/ 7 w 78"/>
                  <a:gd name="T47" fmla="*/ 33 h 130"/>
                  <a:gd name="T48" fmla="*/ 7 w 78"/>
                  <a:gd name="T49" fmla="*/ 33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8" h="130">
                    <a:moveTo>
                      <a:pt x="35" y="121"/>
                    </a:moveTo>
                    <a:cubicBezTo>
                      <a:pt x="35" y="122"/>
                      <a:pt x="34" y="122"/>
                      <a:pt x="34" y="122"/>
                    </a:cubicBezTo>
                    <a:cubicBezTo>
                      <a:pt x="33" y="123"/>
                      <a:pt x="32" y="123"/>
                      <a:pt x="32" y="124"/>
                    </a:cubicBezTo>
                    <a:cubicBezTo>
                      <a:pt x="30" y="125"/>
                      <a:pt x="30" y="127"/>
                      <a:pt x="31" y="128"/>
                    </a:cubicBezTo>
                    <a:cubicBezTo>
                      <a:pt x="32" y="129"/>
                      <a:pt x="33" y="130"/>
                      <a:pt x="34" y="130"/>
                    </a:cubicBezTo>
                    <a:cubicBezTo>
                      <a:pt x="34" y="130"/>
                      <a:pt x="35" y="129"/>
                      <a:pt x="36" y="129"/>
                    </a:cubicBezTo>
                    <a:cubicBezTo>
                      <a:pt x="36" y="128"/>
                      <a:pt x="37" y="128"/>
                      <a:pt x="37" y="128"/>
                    </a:cubicBezTo>
                    <a:cubicBezTo>
                      <a:pt x="38" y="127"/>
                      <a:pt x="39" y="126"/>
                      <a:pt x="41" y="126"/>
                    </a:cubicBezTo>
                    <a:cubicBezTo>
                      <a:pt x="42" y="125"/>
                      <a:pt x="43" y="123"/>
                      <a:pt x="42" y="122"/>
                    </a:cubicBezTo>
                    <a:cubicBezTo>
                      <a:pt x="42" y="122"/>
                      <a:pt x="42" y="122"/>
                      <a:pt x="42" y="122"/>
                    </a:cubicBezTo>
                    <a:cubicBezTo>
                      <a:pt x="48" y="116"/>
                      <a:pt x="67" y="93"/>
                      <a:pt x="76" y="54"/>
                    </a:cubicBezTo>
                    <a:cubicBezTo>
                      <a:pt x="77" y="47"/>
                      <a:pt x="78" y="39"/>
                      <a:pt x="77" y="32"/>
                    </a:cubicBezTo>
                    <a:cubicBezTo>
                      <a:pt x="74" y="11"/>
                      <a:pt x="61" y="0"/>
                      <a:pt x="39" y="0"/>
                    </a:cubicBezTo>
                    <a:cubicBezTo>
                      <a:pt x="17" y="0"/>
                      <a:pt x="4" y="11"/>
                      <a:pt x="1" y="32"/>
                    </a:cubicBezTo>
                    <a:cubicBezTo>
                      <a:pt x="0" y="39"/>
                      <a:pt x="0" y="47"/>
                      <a:pt x="2" y="54"/>
                    </a:cubicBezTo>
                    <a:cubicBezTo>
                      <a:pt x="10" y="92"/>
                      <a:pt x="29" y="115"/>
                      <a:pt x="35" y="121"/>
                    </a:cubicBezTo>
                    <a:close/>
                    <a:moveTo>
                      <a:pt x="7" y="33"/>
                    </a:moveTo>
                    <a:cubicBezTo>
                      <a:pt x="10" y="15"/>
                      <a:pt x="20" y="6"/>
                      <a:pt x="39" y="6"/>
                    </a:cubicBezTo>
                    <a:cubicBezTo>
                      <a:pt x="58" y="6"/>
                      <a:pt x="68" y="15"/>
                      <a:pt x="70" y="33"/>
                    </a:cubicBezTo>
                    <a:cubicBezTo>
                      <a:pt x="71" y="39"/>
                      <a:pt x="71" y="46"/>
                      <a:pt x="69" y="53"/>
                    </a:cubicBezTo>
                    <a:cubicBezTo>
                      <a:pt x="62" y="87"/>
                      <a:pt x="45" y="109"/>
                      <a:pt x="39" y="116"/>
                    </a:cubicBezTo>
                    <a:cubicBezTo>
                      <a:pt x="33" y="109"/>
                      <a:pt x="16" y="87"/>
                      <a:pt x="8" y="53"/>
                    </a:cubicBezTo>
                    <a:cubicBezTo>
                      <a:pt x="7" y="46"/>
                      <a:pt x="7" y="39"/>
                      <a:pt x="7" y="33"/>
                    </a:cubicBezTo>
                    <a:close/>
                    <a:moveTo>
                      <a:pt x="7" y="33"/>
                    </a:moveTo>
                    <a:cubicBezTo>
                      <a:pt x="7" y="33"/>
                      <a:pt x="7" y="33"/>
                      <a:pt x="7" y="3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6" name="Freeform 21">
                <a:extLst>
                  <a:ext uri="{FF2B5EF4-FFF2-40B4-BE49-F238E27FC236}">
                    <a16:creationId xmlns:a16="http://schemas.microsoft.com/office/drawing/2014/main" xmlns="" id="{CA0F32A8-0586-47EC-A616-758D5ECE1E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1" y="2009"/>
                <a:ext cx="100" cy="99"/>
              </a:xfrm>
              <a:custGeom>
                <a:avLst/>
                <a:gdLst>
                  <a:gd name="T0" fmla="*/ 24 w 47"/>
                  <a:gd name="T1" fmla="*/ 47 h 47"/>
                  <a:gd name="T2" fmla="*/ 47 w 47"/>
                  <a:gd name="T3" fmla="*/ 23 h 47"/>
                  <a:gd name="T4" fmla="*/ 24 w 47"/>
                  <a:gd name="T5" fmla="*/ 0 h 47"/>
                  <a:gd name="T6" fmla="*/ 0 w 47"/>
                  <a:gd name="T7" fmla="*/ 23 h 47"/>
                  <a:gd name="T8" fmla="*/ 24 w 47"/>
                  <a:gd name="T9" fmla="*/ 47 h 47"/>
                  <a:gd name="T10" fmla="*/ 24 w 47"/>
                  <a:gd name="T11" fmla="*/ 6 h 47"/>
                  <a:gd name="T12" fmla="*/ 41 w 47"/>
                  <a:gd name="T13" fmla="*/ 23 h 47"/>
                  <a:gd name="T14" fmla="*/ 24 w 47"/>
                  <a:gd name="T15" fmla="*/ 40 h 47"/>
                  <a:gd name="T16" fmla="*/ 7 w 47"/>
                  <a:gd name="T17" fmla="*/ 23 h 47"/>
                  <a:gd name="T18" fmla="*/ 24 w 47"/>
                  <a:gd name="T19" fmla="*/ 6 h 47"/>
                  <a:gd name="T20" fmla="*/ 24 w 47"/>
                  <a:gd name="T21" fmla="*/ 6 h 47"/>
                  <a:gd name="T22" fmla="*/ 24 w 47"/>
                  <a:gd name="T23" fmla="*/ 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47">
                    <a:moveTo>
                      <a:pt x="24" y="47"/>
                    </a:moveTo>
                    <a:cubicBezTo>
                      <a:pt x="37" y="47"/>
                      <a:pt x="47" y="36"/>
                      <a:pt x="47" y="23"/>
                    </a:cubicBezTo>
                    <a:cubicBezTo>
                      <a:pt x="47" y="10"/>
                      <a:pt x="37" y="0"/>
                      <a:pt x="24" y="0"/>
                    </a:cubicBezTo>
                    <a:cubicBezTo>
                      <a:pt x="11" y="0"/>
                      <a:pt x="0" y="10"/>
                      <a:pt x="0" y="23"/>
                    </a:cubicBezTo>
                    <a:cubicBezTo>
                      <a:pt x="0" y="36"/>
                      <a:pt x="11" y="47"/>
                      <a:pt x="24" y="47"/>
                    </a:cubicBezTo>
                    <a:close/>
                    <a:moveTo>
                      <a:pt x="24" y="6"/>
                    </a:moveTo>
                    <a:cubicBezTo>
                      <a:pt x="33" y="6"/>
                      <a:pt x="41" y="14"/>
                      <a:pt x="41" y="23"/>
                    </a:cubicBezTo>
                    <a:cubicBezTo>
                      <a:pt x="41" y="32"/>
                      <a:pt x="33" y="40"/>
                      <a:pt x="24" y="40"/>
                    </a:cubicBezTo>
                    <a:cubicBezTo>
                      <a:pt x="14" y="40"/>
                      <a:pt x="7" y="32"/>
                      <a:pt x="7" y="23"/>
                    </a:cubicBezTo>
                    <a:cubicBezTo>
                      <a:pt x="7" y="14"/>
                      <a:pt x="14" y="6"/>
                      <a:pt x="24" y="6"/>
                    </a:cubicBezTo>
                    <a:close/>
                    <a:moveTo>
                      <a:pt x="24" y="6"/>
                    </a:moveTo>
                    <a:cubicBezTo>
                      <a:pt x="24" y="6"/>
                      <a:pt x="24" y="6"/>
                      <a:pt x="24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7" name="Freeform 22">
                <a:extLst>
                  <a:ext uri="{FF2B5EF4-FFF2-40B4-BE49-F238E27FC236}">
                    <a16:creationId xmlns:a16="http://schemas.microsoft.com/office/drawing/2014/main" xmlns="" id="{9609EFB2-F63C-4AFE-9C10-94949EBF1F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61" y="2220"/>
                <a:ext cx="28" cy="17"/>
              </a:xfrm>
              <a:custGeom>
                <a:avLst/>
                <a:gdLst>
                  <a:gd name="T0" fmla="*/ 3 w 13"/>
                  <a:gd name="T1" fmla="*/ 2 h 8"/>
                  <a:gd name="T2" fmla="*/ 0 w 13"/>
                  <a:gd name="T3" fmla="*/ 6 h 8"/>
                  <a:gd name="T4" fmla="*/ 3 w 13"/>
                  <a:gd name="T5" fmla="*/ 8 h 8"/>
                  <a:gd name="T6" fmla="*/ 4 w 13"/>
                  <a:gd name="T7" fmla="*/ 8 h 8"/>
                  <a:gd name="T8" fmla="*/ 10 w 13"/>
                  <a:gd name="T9" fmla="*/ 7 h 8"/>
                  <a:gd name="T10" fmla="*/ 13 w 13"/>
                  <a:gd name="T11" fmla="*/ 3 h 8"/>
                  <a:gd name="T12" fmla="*/ 9 w 13"/>
                  <a:gd name="T13" fmla="*/ 1 h 8"/>
                  <a:gd name="T14" fmla="*/ 3 w 13"/>
                  <a:gd name="T15" fmla="*/ 2 h 8"/>
                  <a:gd name="T16" fmla="*/ 3 w 13"/>
                  <a:gd name="T17" fmla="*/ 2 h 8"/>
                  <a:gd name="T18" fmla="*/ 3 w 13"/>
                  <a:gd name="T1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8">
                    <a:moveTo>
                      <a:pt x="3" y="2"/>
                    </a:moveTo>
                    <a:cubicBezTo>
                      <a:pt x="1" y="2"/>
                      <a:pt x="0" y="4"/>
                      <a:pt x="0" y="6"/>
                    </a:cubicBezTo>
                    <a:cubicBezTo>
                      <a:pt x="0" y="7"/>
                      <a:pt x="2" y="8"/>
                      <a:pt x="3" y="8"/>
                    </a:cubicBezTo>
                    <a:cubicBezTo>
                      <a:pt x="3" y="8"/>
                      <a:pt x="4" y="8"/>
                      <a:pt x="4" y="8"/>
                    </a:cubicBezTo>
                    <a:cubicBezTo>
                      <a:pt x="6" y="8"/>
                      <a:pt x="8" y="7"/>
                      <a:pt x="10" y="7"/>
                    </a:cubicBezTo>
                    <a:cubicBezTo>
                      <a:pt x="12" y="7"/>
                      <a:pt x="13" y="5"/>
                      <a:pt x="13" y="3"/>
                    </a:cubicBezTo>
                    <a:cubicBezTo>
                      <a:pt x="13" y="2"/>
                      <a:pt x="11" y="0"/>
                      <a:pt x="9" y="1"/>
                    </a:cubicBezTo>
                    <a:cubicBezTo>
                      <a:pt x="7" y="1"/>
                      <a:pt x="5" y="1"/>
                      <a:pt x="3" y="2"/>
                    </a:cubicBezTo>
                    <a:close/>
                    <a:moveTo>
                      <a:pt x="3" y="2"/>
                    </a:moveTo>
                    <a:cubicBezTo>
                      <a:pt x="3" y="2"/>
                      <a:pt x="3" y="2"/>
                      <a:pt x="3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8" name="Freeform 23">
                <a:extLst>
                  <a:ext uri="{FF2B5EF4-FFF2-40B4-BE49-F238E27FC236}">
                    <a16:creationId xmlns:a16="http://schemas.microsoft.com/office/drawing/2014/main" xmlns="" id="{4160F1B5-90C6-4CB2-8C47-9CCFC0937C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01" y="2218"/>
                <a:ext cx="28" cy="15"/>
              </a:xfrm>
              <a:custGeom>
                <a:avLst/>
                <a:gdLst>
                  <a:gd name="T0" fmla="*/ 0 w 13"/>
                  <a:gd name="T1" fmla="*/ 4 h 7"/>
                  <a:gd name="T2" fmla="*/ 3 w 13"/>
                  <a:gd name="T3" fmla="*/ 7 h 7"/>
                  <a:gd name="T4" fmla="*/ 3 w 13"/>
                  <a:gd name="T5" fmla="*/ 7 h 7"/>
                  <a:gd name="T6" fmla="*/ 10 w 13"/>
                  <a:gd name="T7" fmla="*/ 7 h 7"/>
                  <a:gd name="T8" fmla="*/ 13 w 13"/>
                  <a:gd name="T9" fmla="*/ 3 h 7"/>
                  <a:gd name="T10" fmla="*/ 10 w 13"/>
                  <a:gd name="T11" fmla="*/ 0 h 7"/>
                  <a:gd name="T12" fmla="*/ 3 w 13"/>
                  <a:gd name="T13" fmla="*/ 1 h 7"/>
                  <a:gd name="T14" fmla="*/ 0 w 13"/>
                  <a:gd name="T15" fmla="*/ 4 h 7"/>
                  <a:gd name="T16" fmla="*/ 0 w 13"/>
                  <a:gd name="T17" fmla="*/ 4 h 7"/>
                  <a:gd name="T18" fmla="*/ 0 w 13"/>
                  <a:gd name="T19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7">
                    <a:moveTo>
                      <a:pt x="0" y="4"/>
                    </a:moveTo>
                    <a:cubicBezTo>
                      <a:pt x="0" y="6"/>
                      <a:pt x="2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12" y="7"/>
                      <a:pt x="13" y="5"/>
                      <a:pt x="13" y="3"/>
                    </a:cubicBezTo>
                    <a:cubicBezTo>
                      <a:pt x="13" y="2"/>
                      <a:pt x="11" y="0"/>
                      <a:pt x="10" y="0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1"/>
                      <a:pt x="0" y="2"/>
                      <a:pt x="0" y="4"/>
                    </a:cubicBezTo>
                    <a:close/>
                    <a:moveTo>
                      <a:pt x="0" y="4"/>
                    </a:moveTo>
                    <a:cubicBezTo>
                      <a:pt x="0" y="4"/>
                      <a:pt x="0" y="4"/>
                      <a:pt x="0" y="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9" name="Freeform 24">
                <a:extLst>
                  <a:ext uri="{FF2B5EF4-FFF2-40B4-BE49-F238E27FC236}">
                    <a16:creationId xmlns:a16="http://schemas.microsoft.com/office/drawing/2014/main" xmlns="" id="{192B2477-5CA3-4156-9664-F0228EECB3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1" y="2256"/>
                <a:ext cx="26" cy="21"/>
              </a:xfrm>
              <a:custGeom>
                <a:avLst/>
                <a:gdLst>
                  <a:gd name="T0" fmla="*/ 7 w 12"/>
                  <a:gd name="T1" fmla="*/ 1 h 10"/>
                  <a:gd name="T2" fmla="*/ 2 w 12"/>
                  <a:gd name="T3" fmla="*/ 4 h 10"/>
                  <a:gd name="T4" fmla="*/ 1 w 12"/>
                  <a:gd name="T5" fmla="*/ 9 h 10"/>
                  <a:gd name="T6" fmla="*/ 3 w 12"/>
                  <a:gd name="T7" fmla="*/ 10 h 10"/>
                  <a:gd name="T8" fmla="*/ 5 w 12"/>
                  <a:gd name="T9" fmla="*/ 10 h 10"/>
                  <a:gd name="T10" fmla="*/ 11 w 12"/>
                  <a:gd name="T11" fmla="*/ 6 h 10"/>
                  <a:gd name="T12" fmla="*/ 11 w 12"/>
                  <a:gd name="T13" fmla="*/ 1 h 10"/>
                  <a:gd name="T14" fmla="*/ 7 w 12"/>
                  <a:gd name="T15" fmla="*/ 1 h 10"/>
                  <a:gd name="T16" fmla="*/ 7 w 12"/>
                  <a:gd name="T17" fmla="*/ 1 h 10"/>
                  <a:gd name="T18" fmla="*/ 7 w 12"/>
                  <a:gd name="T1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0">
                    <a:moveTo>
                      <a:pt x="7" y="1"/>
                    </a:moveTo>
                    <a:cubicBezTo>
                      <a:pt x="5" y="2"/>
                      <a:pt x="3" y="3"/>
                      <a:pt x="2" y="4"/>
                    </a:cubicBezTo>
                    <a:cubicBezTo>
                      <a:pt x="0" y="5"/>
                      <a:pt x="0" y="7"/>
                      <a:pt x="1" y="9"/>
                    </a:cubicBezTo>
                    <a:cubicBezTo>
                      <a:pt x="1" y="10"/>
                      <a:pt x="2" y="10"/>
                      <a:pt x="3" y="10"/>
                    </a:cubicBezTo>
                    <a:cubicBezTo>
                      <a:pt x="4" y="10"/>
                      <a:pt x="5" y="10"/>
                      <a:pt x="5" y="10"/>
                    </a:cubicBezTo>
                    <a:cubicBezTo>
                      <a:pt x="7" y="8"/>
                      <a:pt x="9" y="7"/>
                      <a:pt x="11" y="6"/>
                    </a:cubicBezTo>
                    <a:cubicBezTo>
                      <a:pt x="12" y="5"/>
                      <a:pt x="12" y="3"/>
                      <a:pt x="11" y="1"/>
                    </a:cubicBezTo>
                    <a:cubicBezTo>
                      <a:pt x="10" y="0"/>
                      <a:pt x="8" y="0"/>
                      <a:pt x="7" y="1"/>
                    </a:cubicBezTo>
                    <a:close/>
                    <a:moveTo>
                      <a:pt x="7" y="1"/>
                    </a:moveTo>
                    <a:cubicBezTo>
                      <a:pt x="7" y="1"/>
                      <a:pt x="7" y="1"/>
                      <a:pt x="7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0" name="Freeform 25">
                <a:extLst>
                  <a:ext uri="{FF2B5EF4-FFF2-40B4-BE49-F238E27FC236}">
                    <a16:creationId xmlns:a16="http://schemas.microsoft.com/office/drawing/2014/main" xmlns="" id="{0574B04D-E680-46BE-8180-14F70DB67F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42" y="2210"/>
                <a:ext cx="27" cy="21"/>
              </a:xfrm>
              <a:custGeom>
                <a:avLst/>
                <a:gdLst>
                  <a:gd name="T0" fmla="*/ 7 w 13"/>
                  <a:gd name="T1" fmla="*/ 2 h 10"/>
                  <a:gd name="T2" fmla="*/ 3 w 13"/>
                  <a:gd name="T3" fmla="*/ 3 h 10"/>
                  <a:gd name="T4" fmla="*/ 0 w 13"/>
                  <a:gd name="T5" fmla="*/ 7 h 10"/>
                  <a:gd name="T6" fmla="*/ 3 w 13"/>
                  <a:gd name="T7" fmla="*/ 10 h 10"/>
                  <a:gd name="T8" fmla="*/ 4 w 13"/>
                  <a:gd name="T9" fmla="*/ 10 h 10"/>
                  <a:gd name="T10" fmla="*/ 11 w 13"/>
                  <a:gd name="T11" fmla="*/ 7 h 10"/>
                  <a:gd name="T12" fmla="*/ 11 w 13"/>
                  <a:gd name="T13" fmla="*/ 7 h 10"/>
                  <a:gd name="T14" fmla="*/ 12 w 13"/>
                  <a:gd name="T15" fmla="*/ 2 h 10"/>
                  <a:gd name="T16" fmla="*/ 7 w 13"/>
                  <a:gd name="T17" fmla="*/ 1 h 10"/>
                  <a:gd name="T18" fmla="*/ 7 w 13"/>
                  <a:gd name="T19" fmla="*/ 2 h 10"/>
                  <a:gd name="T20" fmla="*/ 7 w 13"/>
                  <a:gd name="T21" fmla="*/ 2 h 10"/>
                  <a:gd name="T22" fmla="*/ 7 w 13"/>
                  <a:gd name="T23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0">
                    <a:moveTo>
                      <a:pt x="7" y="2"/>
                    </a:moveTo>
                    <a:cubicBezTo>
                      <a:pt x="6" y="2"/>
                      <a:pt x="5" y="3"/>
                      <a:pt x="3" y="3"/>
                    </a:cubicBezTo>
                    <a:cubicBezTo>
                      <a:pt x="1" y="4"/>
                      <a:pt x="0" y="5"/>
                      <a:pt x="0" y="7"/>
                    </a:cubicBezTo>
                    <a:cubicBezTo>
                      <a:pt x="1" y="9"/>
                      <a:pt x="2" y="10"/>
                      <a:pt x="3" y="10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7" y="9"/>
                      <a:pt x="9" y="8"/>
                      <a:pt x="11" y="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3" y="5"/>
                      <a:pt x="13" y="3"/>
                      <a:pt x="12" y="2"/>
                    </a:cubicBezTo>
                    <a:cubicBezTo>
                      <a:pt x="11" y="1"/>
                      <a:pt x="9" y="0"/>
                      <a:pt x="7" y="1"/>
                    </a:cubicBezTo>
                    <a:lnTo>
                      <a:pt x="7" y="2"/>
                    </a:lnTo>
                    <a:close/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1" name="Freeform 26">
                <a:extLst>
                  <a:ext uri="{FF2B5EF4-FFF2-40B4-BE49-F238E27FC236}">
                    <a16:creationId xmlns:a16="http://schemas.microsoft.com/office/drawing/2014/main" xmlns="" id="{352D6B6E-2337-4A33-8825-2F51151B53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98" y="2256"/>
                <a:ext cx="17" cy="27"/>
              </a:xfrm>
              <a:custGeom>
                <a:avLst/>
                <a:gdLst>
                  <a:gd name="T0" fmla="*/ 7 w 8"/>
                  <a:gd name="T1" fmla="*/ 5 h 13"/>
                  <a:gd name="T2" fmla="*/ 5 w 8"/>
                  <a:gd name="T3" fmla="*/ 1 h 13"/>
                  <a:gd name="T4" fmla="*/ 1 w 8"/>
                  <a:gd name="T5" fmla="*/ 3 h 13"/>
                  <a:gd name="T6" fmla="*/ 0 w 8"/>
                  <a:gd name="T7" fmla="*/ 8 h 13"/>
                  <a:gd name="T8" fmla="*/ 0 w 8"/>
                  <a:gd name="T9" fmla="*/ 9 h 13"/>
                  <a:gd name="T10" fmla="*/ 1 w 8"/>
                  <a:gd name="T11" fmla="*/ 11 h 13"/>
                  <a:gd name="T12" fmla="*/ 4 w 8"/>
                  <a:gd name="T13" fmla="*/ 13 h 13"/>
                  <a:gd name="T14" fmla="*/ 4 w 8"/>
                  <a:gd name="T15" fmla="*/ 13 h 13"/>
                  <a:gd name="T16" fmla="*/ 7 w 8"/>
                  <a:gd name="T17" fmla="*/ 10 h 13"/>
                  <a:gd name="T18" fmla="*/ 7 w 8"/>
                  <a:gd name="T19" fmla="*/ 9 h 13"/>
                  <a:gd name="T20" fmla="*/ 7 w 8"/>
                  <a:gd name="T21" fmla="*/ 8 h 13"/>
                  <a:gd name="T22" fmla="*/ 7 w 8"/>
                  <a:gd name="T23" fmla="*/ 5 h 13"/>
                  <a:gd name="T24" fmla="*/ 7 w 8"/>
                  <a:gd name="T25" fmla="*/ 5 h 13"/>
                  <a:gd name="T26" fmla="*/ 7 w 8"/>
                  <a:gd name="T27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" h="13">
                    <a:moveTo>
                      <a:pt x="7" y="5"/>
                    </a:moveTo>
                    <a:cubicBezTo>
                      <a:pt x="8" y="3"/>
                      <a:pt x="7" y="1"/>
                      <a:pt x="5" y="1"/>
                    </a:cubicBezTo>
                    <a:cubicBezTo>
                      <a:pt x="3" y="0"/>
                      <a:pt x="2" y="1"/>
                      <a:pt x="1" y="3"/>
                    </a:cubicBezTo>
                    <a:cubicBezTo>
                      <a:pt x="1" y="4"/>
                      <a:pt x="1" y="6"/>
                      <a:pt x="0" y="8"/>
                    </a:cubicBezTo>
                    <a:cubicBezTo>
                      <a:pt x="0" y="8"/>
                      <a:pt x="0" y="8"/>
                      <a:pt x="0" y="9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3"/>
                      <a:pt x="4" y="13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6" y="13"/>
                      <a:pt x="7" y="12"/>
                      <a:pt x="7" y="10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7"/>
                      <a:pt x="7" y="6"/>
                      <a:pt x="7" y="5"/>
                    </a:cubicBezTo>
                    <a:close/>
                    <a:moveTo>
                      <a:pt x="7" y="5"/>
                    </a:moveTo>
                    <a:cubicBezTo>
                      <a:pt x="7" y="5"/>
                      <a:pt x="7" y="5"/>
                      <a:pt x="7" y="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2" name="Freeform 27">
                <a:extLst>
                  <a:ext uri="{FF2B5EF4-FFF2-40B4-BE49-F238E27FC236}">
                    <a16:creationId xmlns:a16="http://schemas.microsoft.com/office/drawing/2014/main" xmlns="" id="{7D7893DB-6BC3-4B89-B51B-2F083F4F8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5" y="2159"/>
                <a:ext cx="28" cy="17"/>
              </a:xfrm>
              <a:custGeom>
                <a:avLst/>
                <a:gdLst>
                  <a:gd name="T0" fmla="*/ 10 w 13"/>
                  <a:gd name="T1" fmla="*/ 1 h 8"/>
                  <a:gd name="T2" fmla="*/ 2 w 13"/>
                  <a:gd name="T3" fmla="*/ 1 h 8"/>
                  <a:gd name="T4" fmla="*/ 0 w 13"/>
                  <a:gd name="T5" fmla="*/ 5 h 8"/>
                  <a:gd name="T6" fmla="*/ 3 w 13"/>
                  <a:gd name="T7" fmla="*/ 8 h 8"/>
                  <a:gd name="T8" fmla="*/ 4 w 13"/>
                  <a:gd name="T9" fmla="*/ 8 h 8"/>
                  <a:gd name="T10" fmla="*/ 9 w 13"/>
                  <a:gd name="T11" fmla="*/ 7 h 8"/>
                  <a:gd name="T12" fmla="*/ 13 w 13"/>
                  <a:gd name="T13" fmla="*/ 4 h 8"/>
                  <a:gd name="T14" fmla="*/ 10 w 13"/>
                  <a:gd name="T15" fmla="*/ 1 h 8"/>
                  <a:gd name="T16" fmla="*/ 10 w 13"/>
                  <a:gd name="T17" fmla="*/ 1 h 8"/>
                  <a:gd name="T18" fmla="*/ 10 w 13"/>
                  <a:gd name="T19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8">
                    <a:moveTo>
                      <a:pt x="10" y="1"/>
                    </a:moveTo>
                    <a:cubicBezTo>
                      <a:pt x="8" y="0"/>
                      <a:pt x="5" y="1"/>
                      <a:pt x="2" y="1"/>
                    </a:cubicBezTo>
                    <a:cubicBezTo>
                      <a:pt x="1" y="2"/>
                      <a:pt x="0" y="4"/>
                      <a:pt x="0" y="5"/>
                    </a:cubicBezTo>
                    <a:cubicBezTo>
                      <a:pt x="1" y="7"/>
                      <a:pt x="2" y="8"/>
                      <a:pt x="3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6" y="7"/>
                      <a:pt x="8" y="7"/>
                      <a:pt x="9" y="7"/>
                    </a:cubicBezTo>
                    <a:cubicBezTo>
                      <a:pt x="11" y="7"/>
                      <a:pt x="13" y="6"/>
                      <a:pt x="13" y="4"/>
                    </a:cubicBezTo>
                    <a:cubicBezTo>
                      <a:pt x="13" y="3"/>
                      <a:pt x="12" y="1"/>
                      <a:pt x="10" y="1"/>
                    </a:cubicBezTo>
                    <a:close/>
                    <a:moveTo>
                      <a:pt x="10" y="1"/>
                    </a:moveTo>
                    <a:cubicBezTo>
                      <a:pt x="10" y="1"/>
                      <a:pt x="10" y="1"/>
                      <a:pt x="10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3" name="Freeform 28">
                <a:extLst>
                  <a:ext uri="{FF2B5EF4-FFF2-40B4-BE49-F238E27FC236}">
                    <a16:creationId xmlns:a16="http://schemas.microsoft.com/office/drawing/2014/main" xmlns="" id="{2CDD0526-9B69-45C6-B5AD-DCD642F778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69" y="2176"/>
                <a:ext cx="15" cy="27"/>
              </a:xfrm>
              <a:custGeom>
                <a:avLst/>
                <a:gdLst>
                  <a:gd name="T0" fmla="*/ 0 w 7"/>
                  <a:gd name="T1" fmla="*/ 9 h 13"/>
                  <a:gd name="T2" fmla="*/ 3 w 7"/>
                  <a:gd name="T3" fmla="*/ 13 h 13"/>
                  <a:gd name="T4" fmla="*/ 3 w 7"/>
                  <a:gd name="T5" fmla="*/ 13 h 13"/>
                  <a:gd name="T6" fmla="*/ 7 w 7"/>
                  <a:gd name="T7" fmla="*/ 11 h 13"/>
                  <a:gd name="T8" fmla="*/ 7 w 7"/>
                  <a:gd name="T9" fmla="*/ 7 h 13"/>
                  <a:gd name="T10" fmla="*/ 7 w 7"/>
                  <a:gd name="T11" fmla="*/ 7 h 13"/>
                  <a:gd name="T12" fmla="*/ 6 w 7"/>
                  <a:gd name="T13" fmla="*/ 2 h 13"/>
                  <a:gd name="T14" fmla="*/ 2 w 7"/>
                  <a:gd name="T15" fmla="*/ 0 h 13"/>
                  <a:gd name="T16" fmla="*/ 0 w 7"/>
                  <a:gd name="T17" fmla="*/ 4 h 13"/>
                  <a:gd name="T18" fmla="*/ 1 w 7"/>
                  <a:gd name="T19" fmla="*/ 7 h 13"/>
                  <a:gd name="T20" fmla="*/ 1 w 7"/>
                  <a:gd name="T21" fmla="*/ 7 h 13"/>
                  <a:gd name="T22" fmla="*/ 0 w 7"/>
                  <a:gd name="T23" fmla="*/ 9 h 13"/>
                  <a:gd name="T24" fmla="*/ 0 w 7"/>
                  <a:gd name="T25" fmla="*/ 9 h 13"/>
                  <a:gd name="T26" fmla="*/ 0 w 7"/>
                  <a:gd name="T27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3">
                    <a:moveTo>
                      <a:pt x="0" y="9"/>
                    </a:moveTo>
                    <a:cubicBezTo>
                      <a:pt x="0" y="10"/>
                      <a:pt x="1" y="12"/>
                      <a:pt x="3" y="13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5" y="13"/>
                      <a:pt x="6" y="12"/>
                      <a:pt x="7" y="11"/>
                    </a:cubicBezTo>
                    <a:cubicBezTo>
                      <a:pt x="7" y="10"/>
                      <a:pt x="7" y="8"/>
                      <a:pt x="7" y="7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7" y="5"/>
                      <a:pt x="7" y="4"/>
                      <a:pt x="6" y="2"/>
                    </a:cubicBezTo>
                    <a:cubicBezTo>
                      <a:pt x="6" y="1"/>
                      <a:pt x="4" y="0"/>
                      <a:pt x="2" y="0"/>
                    </a:cubicBezTo>
                    <a:cubicBezTo>
                      <a:pt x="1" y="1"/>
                      <a:pt x="0" y="3"/>
                      <a:pt x="0" y="4"/>
                    </a:cubicBezTo>
                    <a:cubicBezTo>
                      <a:pt x="1" y="5"/>
                      <a:pt x="1" y="6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1" y="8"/>
                      <a:pt x="0" y="9"/>
                    </a:cubicBezTo>
                    <a:close/>
                    <a:moveTo>
                      <a:pt x="0" y="9"/>
                    </a:moveTo>
                    <a:cubicBezTo>
                      <a:pt x="0" y="9"/>
                      <a:pt x="0" y="9"/>
                      <a:pt x="0" y="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4" name="Freeform 29">
                <a:extLst>
                  <a:ext uri="{FF2B5EF4-FFF2-40B4-BE49-F238E27FC236}">
                    <a16:creationId xmlns:a16="http://schemas.microsoft.com/office/drawing/2014/main" xmlns="" id="{E3318CB2-8249-4636-A111-C8FA22CD2C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55" y="2277"/>
                <a:ext cx="28" cy="19"/>
              </a:xfrm>
              <a:custGeom>
                <a:avLst/>
                <a:gdLst>
                  <a:gd name="T0" fmla="*/ 8 w 13"/>
                  <a:gd name="T1" fmla="*/ 0 h 9"/>
                  <a:gd name="T2" fmla="*/ 2 w 13"/>
                  <a:gd name="T3" fmla="*/ 3 h 9"/>
                  <a:gd name="T4" fmla="*/ 0 w 13"/>
                  <a:gd name="T5" fmla="*/ 7 h 9"/>
                  <a:gd name="T6" fmla="*/ 3 w 13"/>
                  <a:gd name="T7" fmla="*/ 9 h 9"/>
                  <a:gd name="T8" fmla="*/ 5 w 13"/>
                  <a:gd name="T9" fmla="*/ 9 h 9"/>
                  <a:gd name="T10" fmla="*/ 11 w 13"/>
                  <a:gd name="T11" fmla="*/ 6 h 9"/>
                  <a:gd name="T12" fmla="*/ 12 w 13"/>
                  <a:gd name="T13" fmla="*/ 2 h 9"/>
                  <a:gd name="T14" fmla="*/ 8 w 13"/>
                  <a:gd name="T15" fmla="*/ 0 h 9"/>
                  <a:gd name="T16" fmla="*/ 8 w 13"/>
                  <a:gd name="T17" fmla="*/ 0 h 9"/>
                  <a:gd name="T18" fmla="*/ 8 w 13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9">
                    <a:moveTo>
                      <a:pt x="8" y="0"/>
                    </a:moveTo>
                    <a:cubicBezTo>
                      <a:pt x="6" y="1"/>
                      <a:pt x="4" y="2"/>
                      <a:pt x="2" y="3"/>
                    </a:cubicBezTo>
                    <a:cubicBezTo>
                      <a:pt x="1" y="3"/>
                      <a:pt x="0" y="5"/>
                      <a:pt x="0" y="7"/>
                    </a:cubicBezTo>
                    <a:cubicBezTo>
                      <a:pt x="1" y="8"/>
                      <a:pt x="2" y="9"/>
                      <a:pt x="3" y="9"/>
                    </a:cubicBezTo>
                    <a:cubicBezTo>
                      <a:pt x="4" y="9"/>
                      <a:pt x="4" y="9"/>
                      <a:pt x="5" y="9"/>
                    </a:cubicBezTo>
                    <a:cubicBezTo>
                      <a:pt x="7" y="8"/>
                      <a:pt x="9" y="7"/>
                      <a:pt x="11" y="6"/>
                    </a:cubicBezTo>
                    <a:cubicBezTo>
                      <a:pt x="12" y="5"/>
                      <a:pt x="13" y="3"/>
                      <a:pt x="12" y="2"/>
                    </a:cubicBezTo>
                    <a:cubicBezTo>
                      <a:pt x="11" y="0"/>
                      <a:pt x="10" y="0"/>
                      <a:pt x="8" y="0"/>
                    </a:cubicBezTo>
                    <a:close/>
                    <a:moveTo>
                      <a:pt x="8" y="0"/>
                    </a:move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5" name="Freeform 30">
                <a:extLst>
                  <a:ext uri="{FF2B5EF4-FFF2-40B4-BE49-F238E27FC236}">
                    <a16:creationId xmlns:a16="http://schemas.microsoft.com/office/drawing/2014/main" xmlns="" id="{2F869B2A-B60F-4B64-BEFF-7E1E228EA5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15" y="2233"/>
                <a:ext cx="28" cy="17"/>
              </a:xfrm>
              <a:custGeom>
                <a:avLst/>
                <a:gdLst>
                  <a:gd name="T0" fmla="*/ 4 w 13"/>
                  <a:gd name="T1" fmla="*/ 8 h 8"/>
                  <a:gd name="T2" fmla="*/ 5 w 13"/>
                  <a:gd name="T3" fmla="*/ 8 h 8"/>
                  <a:gd name="T4" fmla="*/ 8 w 13"/>
                  <a:gd name="T5" fmla="*/ 7 h 8"/>
                  <a:gd name="T6" fmla="*/ 9 w 13"/>
                  <a:gd name="T7" fmla="*/ 7 h 8"/>
                  <a:gd name="T8" fmla="*/ 13 w 13"/>
                  <a:gd name="T9" fmla="*/ 4 h 8"/>
                  <a:gd name="T10" fmla="*/ 10 w 13"/>
                  <a:gd name="T11" fmla="*/ 0 h 8"/>
                  <a:gd name="T12" fmla="*/ 7 w 13"/>
                  <a:gd name="T13" fmla="*/ 0 h 8"/>
                  <a:gd name="T14" fmla="*/ 2 w 13"/>
                  <a:gd name="T15" fmla="*/ 2 h 8"/>
                  <a:gd name="T16" fmla="*/ 1 w 13"/>
                  <a:gd name="T17" fmla="*/ 6 h 8"/>
                  <a:gd name="T18" fmla="*/ 4 w 13"/>
                  <a:gd name="T19" fmla="*/ 8 h 8"/>
                  <a:gd name="T20" fmla="*/ 4 w 13"/>
                  <a:gd name="T21" fmla="*/ 8 h 8"/>
                  <a:gd name="T22" fmla="*/ 4 w 13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8">
                    <a:moveTo>
                      <a:pt x="4" y="8"/>
                    </a:moveTo>
                    <a:cubicBezTo>
                      <a:pt x="4" y="8"/>
                      <a:pt x="5" y="8"/>
                      <a:pt x="5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9" y="7"/>
                      <a:pt x="9" y="7"/>
                    </a:cubicBezTo>
                    <a:cubicBezTo>
                      <a:pt x="11" y="7"/>
                      <a:pt x="13" y="6"/>
                      <a:pt x="13" y="4"/>
                    </a:cubicBezTo>
                    <a:cubicBezTo>
                      <a:pt x="13" y="2"/>
                      <a:pt x="12" y="1"/>
                      <a:pt x="10" y="0"/>
                    </a:cubicBezTo>
                    <a:cubicBezTo>
                      <a:pt x="9" y="0"/>
                      <a:pt x="8" y="0"/>
                      <a:pt x="7" y="0"/>
                    </a:cubicBezTo>
                    <a:cubicBezTo>
                      <a:pt x="6" y="1"/>
                      <a:pt x="4" y="1"/>
                      <a:pt x="2" y="2"/>
                    </a:cubicBezTo>
                    <a:cubicBezTo>
                      <a:pt x="1" y="3"/>
                      <a:pt x="0" y="5"/>
                      <a:pt x="1" y="6"/>
                    </a:cubicBezTo>
                    <a:cubicBezTo>
                      <a:pt x="1" y="7"/>
                      <a:pt x="3" y="8"/>
                      <a:pt x="4" y="8"/>
                    </a:cubicBezTo>
                    <a:close/>
                    <a:moveTo>
                      <a:pt x="4" y="8"/>
                    </a:moveTo>
                    <a:cubicBezTo>
                      <a:pt x="4" y="8"/>
                      <a:pt x="4" y="8"/>
                      <a:pt x="4" y="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56" name="Freeform 31">
                <a:extLst>
                  <a:ext uri="{FF2B5EF4-FFF2-40B4-BE49-F238E27FC236}">
                    <a16:creationId xmlns:a16="http://schemas.microsoft.com/office/drawing/2014/main" xmlns="" id="{2CAB81C8-3D5C-4CB6-BFCD-6D6DE30B7E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15" y="2287"/>
                <a:ext cx="30" cy="17"/>
              </a:xfrm>
              <a:custGeom>
                <a:avLst/>
                <a:gdLst>
                  <a:gd name="T0" fmla="*/ 3 w 14"/>
                  <a:gd name="T1" fmla="*/ 7 h 8"/>
                  <a:gd name="T2" fmla="*/ 5 w 14"/>
                  <a:gd name="T3" fmla="*/ 7 h 8"/>
                  <a:gd name="T4" fmla="*/ 8 w 14"/>
                  <a:gd name="T5" fmla="*/ 8 h 8"/>
                  <a:gd name="T6" fmla="*/ 11 w 14"/>
                  <a:gd name="T7" fmla="*/ 7 h 8"/>
                  <a:gd name="T8" fmla="*/ 13 w 14"/>
                  <a:gd name="T9" fmla="*/ 4 h 8"/>
                  <a:gd name="T10" fmla="*/ 10 w 14"/>
                  <a:gd name="T11" fmla="*/ 1 h 8"/>
                  <a:gd name="T12" fmla="*/ 6 w 14"/>
                  <a:gd name="T13" fmla="*/ 1 h 8"/>
                  <a:gd name="T14" fmla="*/ 5 w 14"/>
                  <a:gd name="T15" fmla="*/ 1 h 8"/>
                  <a:gd name="T16" fmla="*/ 1 w 14"/>
                  <a:gd name="T17" fmla="*/ 3 h 8"/>
                  <a:gd name="T18" fmla="*/ 3 w 14"/>
                  <a:gd name="T19" fmla="*/ 7 h 8"/>
                  <a:gd name="T20" fmla="*/ 3 w 14"/>
                  <a:gd name="T21" fmla="*/ 7 h 8"/>
                  <a:gd name="T22" fmla="*/ 3 w 14"/>
                  <a:gd name="T2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8">
                    <a:moveTo>
                      <a:pt x="3" y="7"/>
                    </a:moveTo>
                    <a:cubicBezTo>
                      <a:pt x="4" y="7"/>
                      <a:pt x="4" y="7"/>
                      <a:pt x="5" y="7"/>
                    </a:cubicBezTo>
                    <a:cubicBezTo>
                      <a:pt x="6" y="8"/>
                      <a:pt x="7" y="8"/>
                      <a:pt x="8" y="8"/>
                    </a:cubicBezTo>
                    <a:cubicBezTo>
                      <a:pt x="9" y="8"/>
                      <a:pt x="10" y="8"/>
                      <a:pt x="11" y="7"/>
                    </a:cubicBezTo>
                    <a:cubicBezTo>
                      <a:pt x="12" y="7"/>
                      <a:pt x="14" y="6"/>
                      <a:pt x="13" y="4"/>
                    </a:cubicBezTo>
                    <a:cubicBezTo>
                      <a:pt x="13" y="2"/>
                      <a:pt x="12" y="1"/>
                      <a:pt x="10" y="1"/>
                    </a:cubicBezTo>
                    <a:cubicBezTo>
                      <a:pt x="8" y="1"/>
                      <a:pt x="7" y="1"/>
                      <a:pt x="6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1" y="1"/>
                      <a:pt x="1" y="3"/>
                    </a:cubicBezTo>
                    <a:cubicBezTo>
                      <a:pt x="0" y="5"/>
                      <a:pt x="1" y="7"/>
                      <a:pt x="3" y="7"/>
                    </a:cubicBezTo>
                    <a:close/>
                    <a:moveTo>
                      <a:pt x="3" y="7"/>
                    </a:moveTo>
                    <a:cubicBezTo>
                      <a:pt x="3" y="7"/>
                      <a:pt x="3" y="7"/>
                      <a:pt x="3" y="7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grpSp>
        <p:nvGrpSpPr>
          <p:cNvPr id="99" name="#1">
            <a:extLst>
              <a:ext uri="{FF2B5EF4-FFF2-40B4-BE49-F238E27FC236}">
                <a16:creationId xmlns:a16="http://schemas.microsoft.com/office/drawing/2014/main" xmlns="" id="{85258104-13EA-4BE0-AF7E-3F2A62B0065A}"/>
              </a:ext>
            </a:extLst>
          </p:cNvPr>
          <p:cNvGrpSpPr/>
          <p:nvPr/>
        </p:nvGrpSpPr>
        <p:grpSpPr>
          <a:xfrm>
            <a:off x="543004" y="1448502"/>
            <a:ext cx="3339277" cy="4159741"/>
            <a:chOff x="543004" y="1448502"/>
            <a:chExt cx="3339277" cy="4159741"/>
          </a:xfrm>
        </p:grpSpPr>
        <p:sp>
          <p:nvSpPr>
            <p:cNvPr id="18" name="Rechthoek: afgeronde hoeken 17">
              <a:extLst>
                <a:ext uri="{FF2B5EF4-FFF2-40B4-BE49-F238E27FC236}">
                  <a16:creationId xmlns:a16="http://schemas.microsoft.com/office/drawing/2014/main" xmlns="" id="{C88CDA2F-181F-4D6F-BCEA-391AEE89F731}"/>
                </a:ext>
              </a:extLst>
            </p:cNvPr>
            <p:cNvSpPr/>
            <p:nvPr/>
          </p:nvSpPr>
          <p:spPr>
            <a:xfrm>
              <a:off x="543004" y="1448502"/>
              <a:ext cx="3339277" cy="4159741"/>
            </a:xfrm>
            <a:prstGeom prst="roundRect">
              <a:avLst>
                <a:gd name="adj" fmla="val 2595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080000" rtlCol="0" anchor="b" anchorCtr="0"/>
            <a:lstStyle/>
            <a:p>
              <a:pPr algn="ctr">
                <a:lnSpc>
                  <a:spcPct val="80000"/>
                </a:lnSpc>
              </a:pPr>
              <a:r>
                <a:rPr lang="nl-NL" sz="2400" b="1" dirty="0">
                  <a:solidFill>
                    <a:schemeClr val="bg1"/>
                  </a:solidFill>
                </a:rPr>
                <a:t>12.1 billion</a:t>
              </a:r>
            </a:p>
            <a:p>
              <a:pPr algn="ctr">
                <a:lnSpc>
                  <a:spcPct val="80000"/>
                </a:lnSpc>
              </a:pPr>
              <a:r>
                <a:rPr lang="nl-NL" sz="1400" dirty="0"/>
                <a:t>euros revenue</a:t>
              </a:r>
            </a:p>
          </p:txBody>
        </p:sp>
        <p:grpSp>
          <p:nvGrpSpPr>
            <p:cNvPr id="30" name="Group 4">
              <a:extLst>
                <a:ext uri="{FF2B5EF4-FFF2-40B4-BE49-F238E27FC236}">
                  <a16:creationId xmlns:a16="http://schemas.microsoft.com/office/drawing/2014/main" xmlns="" id="{21F012CE-F6F0-4E8F-8586-D43EF2BD916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53886" y="2602918"/>
              <a:ext cx="917512" cy="1003882"/>
              <a:chOff x="2459" y="649"/>
              <a:chExt cx="2762" cy="3022"/>
            </a:xfrm>
            <a:solidFill>
              <a:schemeClr val="bg1"/>
            </a:solidFill>
          </p:grpSpPr>
          <p:sp>
            <p:nvSpPr>
              <p:cNvPr id="32" name="Freeform 5">
                <a:extLst>
                  <a:ext uri="{FF2B5EF4-FFF2-40B4-BE49-F238E27FC236}">
                    <a16:creationId xmlns:a16="http://schemas.microsoft.com/office/drawing/2014/main" xmlns="" id="{770D1CA9-1DB3-468C-9AAA-5529679937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59" y="649"/>
                <a:ext cx="2762" cy="3022"/>
              </a:xfrm>
              <a:custGeom>
                <a:avLst/>
                <a:gdLst>
                  <a:gd name="T0" fmla="*/ 1277 w 1328"/>
                  <a:gd name="T1" fmla="*/ 1022 h 1456"/>
                  <a:gd name="T2" fmla="*/ 1253 w 1328"/>
                  <a:gd name="T3" fmla="*/ 768 h 1456"/>
                  <a:gd name="T4" fmla="*/ 893 w 1328"/>
                  <a:gd name="T5" fmla="*/ 638 h 1456"/>
                  <a:gd name="T6" fmla="*/ 867 w 1328"/>
                  <a:gd name="T7" fmla="*/ 426 h 1456"/>
                  <a:gd name="T8" fmla="*/ 918 w 1328"/>
                  <a:gd name="T9" fmla="*/ 178 h 1456"/>
                  <a:gd name="T10" fmla="*/ 485 w 1328"/>
                  <a:gd name="T11" fmla="*/ 0 h 1456"/>
                  <a:gd name="T12" fmla="*/ 461 w 1328"/>
                  <a:gd name="T13" fmla="*/ 254 h 1456"/>
                  <a:gd name="T14" fmla="*/ 410 w 1328"/>
                  <a:gd name="T15" fmla="*/ 434 h 1456"/>
                  <a:gd name="T16" fmla="*/ 26 w 1328"/>
                  <a:gd name="T17" fmla="*/ 638 h 1456"/>
                  <a:gd name="T18" fmla="*/ 26 w 1328"/>
                  <a:gd name="T19" fmla="*/ 818 h 1456"/>
                  <a:gd name="T20" fmla="*/ 26 w 1328"/>
                  <a:gd name="T21" fmla="*/ 1066 h 1456"/>
                  <a:gd name="T22" fmla="*/ 51 w 1328"/>
                  <a:gd name="T23" fmla="*/ 1278 h 1456"/>
                  <a:gd name="T24" fmla="*/ 434 w 1328"/>
                  <a:gd name="T25" fmla="*/ 1456 h 1456"/>
                  <a:gd name="T26" fmla="*/ 1302 w 1328"/>
                  <a:gd name="T27" fmla="*/ 1330 h 1456"/>
                  <a:gd name="T28" fmla="*/ 1278 w 1328"/>
                  <a:gd name="T29" fmla="*/ 1200 h 1456"/>
                  <a:gd name="T30" fmla="*/ 1123 w 1328"/>
                  <a:gd name="T31" fmla="*/ 1227 h 1456"/>
                  <a:gd name="T32" fmla="*/ 894 w 1328"/>
                  <a:gd name="T33" fmla="*/ 1046 h 1456"/>
                  <a:gd name="T34" fmla="*/ 744 w 1328"/>
                  <a:gd name="T35" fmla="*/ 1055 h 1456"/>
                  <a:gd name="T36" fmla="*/ 703 w 1328"/>
                  <a:gd name="T37" fmla="*/ 1353 h 1456"/>
                  <a:gd name="T38" fmla="*/ 101 w 1328"/>
                  <a:gd name="T39" fmla="*/ 1280 h 1456"/>
                  <a:gd name="T40" fmla="*/ 461 w 1328"/>
                  <a:gd name="T41" fmla="*/ 1227 h 1456"/>
                  <a:gd name="T42" fmla="*/ 74 w 1328"/>
                  <a:gd name="T43" fmla="*/ 1074 h 1456"/>
                  <a:gd name="T44" fmla="*/ 434 w 1328"/>
                  <a:gd name="T45" fmla="*/ 1152 h 1456"/>
                  <a:gd name="T46" fmla="*/ 50 w 1328"/>
                  <a:gd name="T47" fmla="*/ 944 h 1456"/>
                  <a:gd name="T48" fmla="*/ 50 w 1328"/>
                  <a:gd name="T49" fmla="*/ 1024 h 1456"/>
                  <a:gd name="T50" fmla="*/ 435 w 1328"/>
                  <a:gd name="T51" fmla="*/ 818 h 1456"/>
                  <a:gd name="T52" fmla="*/ 99 w 1328"/>
                  <a:gd name="T53" fmla="*/ 766 h 1456"/>
                  <a:gd name="T54" fmla="*/ 461 w 1328"/>
                  <a:gd name="T55" fmla="*/ 766 h 1456"/>
                  <a:gd name="T56" fmla="*/ 459 w 1328"/>
                  <a:gd name="T57" fmla="*/ 432 h 1456"/>
                  <a:gd name="T58" fmla="*/ 459 w 1328"/>
                  <a:gd name="T59" fmla="*/ 512 h 1456"/>
                  <a:gd name="T60" fmla="*/ 485 w 1328"/>
                  <a:gd name="T61" fmla="*/ 304 h 1456"/>
                  <a:gd name="T62" fmla="*/ 485 w 1328"/>
                  <a:gd name="T63" fmla="*/ 384 h 1456"/>
                  <a:gd name="T64" fmla="*/ 869 w 1328"/>
                  <a:gd name="T65" fmla="*/ 176 h 1456"/>
                  <a:gd name="T66" fmla="*/ 509 w 1328"/>
                  <a:gd name="T67" fmla="*/ 254 h 1456"/>
                  <a:gd name="T68" fmla="*/ 485 w 1328"/>
                  <a:gd name="T69" fmla="*/ 640 h 1456"/>
                  <a:gd name="T70" fmla="*/ 869 w 1328"/>
                  <a:gd name="T71" fmla="*/ 688 h 1456"/>
                  <a:gd name="T72" fmla="*/ 509 w 1328"/>
                  <a:gd name="T73" fmla="*/ 766 h 1456"/>
                  <a:gd name="T74" fmla="*/ 1229 w 1328"/>
                  <a:gd name="T75" fmla="*/ 1022 h 1456"/>
                  <a:gd name="T76" fmla="*/ 867 w 1328"/>
                  <a:gd name="T77" fmla="*/ 946 h 1456"/>
                  <a:gd name="T78" fmla="*/ 1254 w 1328"/>
                  <a:gd name="T79" fmla="*/ 1074 h 1456"/>
                  <a:gd name="T80" fmla="*/ 1253 w 1328"/>
                  <a:gd name="T81" fmla="*/ 1072 h 1456"/>
                  <a:gd name="T82" fmla="*/ 458 w 1328"/>
                  <a:gd name="T83" fmla="*/ 1022 h 1456"/>
                  <a:gd name="T84" fmla="*/ 819 w 1328"/>
                  <a:gd name="T85" fmla="*/ 1011 h 1456"/>
                  <a:gd name="T86" fmla="*/ 485 w 1328"/>
                  <a:gd name="T87" fmla="*/ 896 h 1456"/>
                  <a:gd name="T88" fmla="*/ 845 w 1328"/>
                  <a:gd name="T89" fmla="*/ 818 h 1456"/>
                  <a:gd name="T90" fmla="*/ 483 w 1328"/>
                  <a:gd name="T91" fmla="*/ 1129 h 1456"/>
                  <a:gd name="T92" fmla="*/ 679 w 1328"/>
                  <a:gd name="T93" fmla="*/ 1305 h 1456"/>
                  <a:gd name="T94" fmla="*/ 893 w 1328"/>
                  <a:gd name="T95" fmla="*/ 894 h 1456"/>
                  <a:gd name="T96" fmla="*/ 483 w 1328"/>
                  <a:gd name="T97" fmla="*/ 50 h 1456"/>
                  <a:gd name="T98" fmla="*/ 843 w 1328"/>
                  <a:gd name="T99" fmla="*/ 128 h 1456"/>
                  <a:gd name="T100" fmla="*/ 75 w 1328"/>
                  <a:gd name="T101" fmla="*/ 560 h 1456"/>
                  <a:gd name="T102" fmla="*/ 75 w 1328"/>
                  <a:gd name="T103" fmla="*/ 640 h 1456"/>
                  <a:gd name="T104" fmla="*/ 74 w 1328"/>
                  <a:gd name="T105" fmla="*/ 1406 h 1456"/>
                  <a:gd name="T106" fmla="*/ 435 w 1328"/>
                  <a:gd name="T107" fmla="*/ 1406 h 1456"/>
                  <a:gd name="T108" fmla="*/ 483 w 1328"/>
                  <a:gd name="T109" fmla="*/ 1328 h 1456"/>
                  <a:gd name="T110" fmla="*/ 1253 w 1328"/>
                  <a:gd name="T111" fmla="*/ 1408 h 1456"/>
                  <a:gd name="T112" fmla="*/ 1254 w 1328"/>
                  <a:gd name="T113" fmla="*/ 1406 h 1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28" h="1456">
                    <a:moveTo>
                      <a:pt x="1302" y="1158"/>
                    </a:moveTo>
                    <a:cubicBezTo>
                      <a:pt x="1302" y="1155"/>
                      <a:pt x="1302" y="1153"/>
                      <a:pt x="1302" y="1150"/>
                    </a:cubicBezTo>
                    <a:cubicBezTo>
                      <a:pt x="1302" y="1074"/>
                      <a:pt x="1302" y="1074"/>
                      <a:pt x="1302" y="1074"/>
                    </a:cubicBezTo>
                    <a:cubicBezTo>
                      <a:pt x="1302" y="1055"/>
                      <a:pt x="1292" y="1038"/>
                      <a:pt x="1276" y="1030"/>
                    </a:cubicBezTo>
                    <a:cubicBezTo>
                      <a:pt x="1277" y="1027"/>
                      <a:pt x="1277" y="1025"/>
                      <a:pt x="1277" y="1022"/>
                    </a:cubicBezTo>
                    <a:cubicBezTo>
                      <a:pt x="1277" y="946"/>
                      <a:pt x="1277" y="946"/>
                      <a:pt x="1277" y="946"/>
                    </a:cubicBezTo>
                    <a:cubicBezTo>
                      <a:pt x="1277" y="943"/>
                      <a:pt x="1277" y="941"/>
                      <a:pt x="1276" y="938"/>
                    </a:cubicBezTo>
                    <a:cubicBezTo>
                      <a:pt x="1292" y="930"/>
                      <a:pt x="1302" y="913"/>
                      <a:pt x="1302" y="894"/>
                    </a:cubicBezTo>
                    <a:cubicBezTo>
                      <a:pt x="1302" y="818"/>
                      <a:pt x="1302" y="818"/>
                      <a:pt x="1302" y="818"/>
                    </a:cubicBezTo>
                    <a:cubicBezTo>
                      <a:pt x="1302" y="790"/>
                      <a:pt x="1280" y="768"/>
                      <a:pt x="1253" y="768"/>
                    </a:cubicBezTo>
                    <a:cubicBezTo>
                      <a:pt x="918" y="768"/>
                      <a:pt x="918" y="768"/>
                      <a:pt x="918" y="768"/>
                    </a:cubicBezTo>
                    <a:cubicBezTo>
                      <a:pt x="918" y="767"/>
                      <a:pt x="918" y="767"/>
                      <a:pt x="918" y="766"/>
                    </a:cubicBezTo>
                    <a:cubicBezTo>
                      <a:pt x="918" y="690"/>
                      <a:pt x="918" y="690"/>
                      <a:pt x="918" y="690"/>
                    </a:cubicBezTo>
                    <a:cubicBezTo>
                      <a:pt x="918" y="671"/>
                      <a:pt x="908" y="654"/>
                      <a:pt x="892" y="646"/>
                    </a:cubicBezTo>
                    <a:cubicBezTo>
                      <a:pt x="893" y="643"/>
                      <a:pt x="893" y="641"/>
                      <a:pt x="893" y="638"/>
                    </a:cubicBezTo>
                    <a:cubicBezTo>
                      <a:pt x="893" y="562"/>
                      <a:pt x="893" y="562"/>
                      <a:pt x="893" y="562"/>
                    </a:cubicBezTo>
                    <a:cubicBezTo>
                      <a:pt x="893" y="543"/>
                      <a:pt x="882" y="526"/>
                      <a:pt x="867" y="518"/>
                    </a:cubicBezTo>
                    <a:cubicBezTo>
                      <a:pt x="867" y="515"/>
                      <a:pt x="867" y="513"/>
                      <a:pt x="867" y="510"/>
                    </a:cubicBezTo>
                    <a:cubicBezTo>
                      <a:pt x="867" y="434"/>
                      <a:pt x="867" y="434"/>
                      <a:pt x="867" y="434"/>
                    </a:cubicBezTo>
                    <a:cubicBezTo>
                      <a:pt x="867" y="431"/>
                      <a:pt x="867" y="429"/>
                      <a:pt x="867" y="426"/>
                    </a:cubicBezTo>
                    <a:cubicBezTo>
                      <a:pt x="882" y="418"/>
                      <a:pt x="893" y="401"/>
                      <a:pt x="893" y="382"/>
                    </a:cubicBezTo>
                    <a:cubicBezTo>
                      <a:pt x="893" y="306"/>
                      <a:pt x="893" y="306"/>
                      <a:pt x="893" y="306"/>
                    </a:cubicBezTo>
                    <a:cubicBezTo>
                      <a:pt x="893" y="303"/>
                      <a:pt x="893" y="301"/>
                      <a:pt x="892" y="298"/>
                    </a:cubicBezTo>
                    <a:cubicBezTo>
                      <a:pt x="908" y="290"/>
                      <a:pt x="918" y="273"/>
                      <a:pt x="918" y="254"/>
                    </a:cubicBezTo>
                    <a:cubicBezTo>
                      <a:pt x="918" y="178"/>
                      <a:pt x="918" y="178"/>
                      <a:pt x="918" y="178"/>
                    </a:cubicBezTo>
                    <a:cubicBezTo>
                      <a:pt x="918" y="159"/>
                      <a:pt x="908" y="142"/>
                      <a:pt x="892" y="134"/>
                    </a:cubicBezTo>
                    <a:cubicBezTo>
                      <a:pt x="893" y="131"/>
                      <a:pt x="893" y="129"/>
                      <a:pt x="893" y="126"/>
                    </a:cubicBezTo>
                    <a:cubicBezTo>
                      <a:pt x="893" y="50"/>
                      <a:pt x="893" y="50"/>
                      <a:pt x="893" y="50"/>
                    </a:cubicBezTo>
                    <a:cubicBezTo>
                      <a:pt x="893" y="22"/>
                      <a:pt x="871" y="0"/>
                      <a:pt x="843" y="0"/>
                    </a:cubicBezTo>
                    <a:cubicBezTo>
                      <a:pt x="485" y="0"/>
                      <a:pt x="485" y="0"/>
                      <a:pt x="485" y="0"/>
                    </a:cubicBezTo>
                    <a:cubicBezTo>
                      <a:pt x="457" y="0"/>
                      <a:pt x="435" y="22"/>
                      <a:pt x="435" y="50"/>
                    </a:cubicBezTo>
                    <a:cubicBezTo>
                      <a:pt x="435" y="126"/>
                      <a:pt x="435" y="126"/>
                      <a:pt x="435" y="126"/>
                    </a:cubicBezTo>
                    <a:cubicBezTo>
                      <a:pt x="435" y="145"/>
                      <a:pt x="446" y="162"/>
                      <a:pt x="461" y="170"/>
                    </a:cubicBezTo>
                    <a:cubicBezTo>
                      <a:pt x="461" y="173"/>
                      <a:pt x="461" y="175"/>
                      <a:pt x="461" y="178"/>
                    </a:cubicBezTo>
                    <a:cubicBezTo>
                      <a:pt x="461" y="254"/>
                      <a:pt x="461" y="254"/>
                      <a:pt x="461" y="254"/>
                    </a:cubicBezTo>
                    <a:cubicBezTo>
                      <a:pt x="461" y="257"/>
                      <a:pt x="461" y="259"/>
                      <a:pt x="461" y="262"/>
                    </a:cubicBezTo>
                    <a:cubicBezTo>
                      <a:pt x="446" y="270"/>
                      <a:pt x="435" y="287"/>
                      <a:pt x="435" y="306"/>
                    </a:cubicBezTo>
                    <a:cubicBezTo>
                      <a:pt x="435" y="382"/>
                      <a:pt x="435" y="382"/>
                      <a:pt x="435" y="382"/>
                    </a:cubicBezTo>
                    <a:cubicBezTo>
                      <a:pt x="435" y="385"/>
                      <a:pt x="435" y="387"/>
                      <a:pt x="436" y="390"/>
                    </a:cubicBezTo>
                    <a:cubicBezTo>
                      <a:pt x="420" y="398"/>
                      <a:pt x="410" y="415"/>
                      <a:pt x="410" y="434"/>
                    </a:cubicBezTo>
                    <a:cubicBezTo>
                      <a:pt x="410" y="510"/>
                      <a:pt x="410" y="510"/>
                      <a:pt x="410" y="510"/>
                    </a:cubicBezTo>
                    <a:cubicBezTo>
                      <a:pt x="410" y="511"/>
                      <a:pt x="410" y="511"/>
                      <a:pt x="410" y="512"/>
                    </a:cubicBezTo>
                    <a:cubicBezTo>
                      <a:pt x="75" y="512"/>
                      <a:pt x="75" y="512"/>
                      <a:pt x="75" y="512"/>
                    </a:cubicBezTo>
                    <a:cubicBezTo>
                      <a:pt x="48" y="512"/>
                      <a:pt x="26" y="534"/>
                      <a:pt x="26" y="562"/>
                    </a:cubicBezTo>
                    <a:cubicBezTo>
                      <a:pt x="26" y="638"/>
                      <a:pt x="26" y="638"/>
                      <a:pt x="26" y="638"/>
                    </a:cubicBezTo>
                    <a:cubicBezTo>
                      <a:pt x="26" y="657"/>
                      <a:pt x="36" y="674"/>
                      <a:pt x="52" y="682"/>
                    </a:cubicBezTo>
                    <a:cubicBezTo>
                      <a:pt x="51" y="685"/>
                      <a:pt x="51" y="687"/>
                      <a:pt x="51" y="690"/>
                    </a:cubicBezTo>
                    <a:cubicBezTo>
                      <a:pt x="51" y="766"/>
                      <a:pt x="51" y="766"/>
                      <a:pt x="51" y="766"/>
                    </a:cubicBezTo>
                    <a:cubicBezTo>
                      <a:pt x="51" y="769"/>
                      <a:pt x="51" y="771"/>
                      <a:pt x="52" y="774"/>
                    </a:cubicBezTo>
                    <a:cubicBezTo>
                      <a:pt x="36" y="782"/>
                      <a:pt x="26" y="799"/>
                      <a:pt x="26" y="818"/>
                    </a:cubicBezTo>
                    <a:cubicBezTo>
                      <a:pt x="26" y="894"/>
                      <a:pt x="26" y="894"/>
                      <a:pt x="26" y="894"/>
                    </a:cubicBezTo>
                    <a:cubicBezTo>
                      <a:pt x="26" y="897"/>
                      <a:pt x="26" y="899"/>
                      <a:pt x="26" y="902"/>
                    </a:cubicBezTo>
                    <a:cubicBezTo>
                      <a:pt x="11" y="910"/>
                      <a:pt x="0" y="927"/>
                      <a:pt x="0" y="946"/>
                    </a:cubicBezTo>
                    <a:cubicBezTo>
                      <a:pt x="0" y="1022"/>
                      <a:pt x="0" y="1022"/>
                      <a:pt x="0" y="1022"/>
                    </a:cubicBezTo>
                    <a:cubicBezTo>
                      <a:pt x="0" y="1041"/>
                      <a:pt x="11" y="1058"/>
                      <a:pt x="26" y="1066"/>
                    </a:cubicBezTo>
                    <a:cubicBezTo>
                      <a:pt x="26" y="1069"/>
                      <a:pt x="26" y="1071"/>
                      <a:pt x="26" y="1074"/>
                    </a:cubicBezTo>
                    <a:cubicBezTo>
                      <a:pt x="26" y="1150"/>
                      <a:pt x="26" y="1150"/>
                      <a:pt x="26" y="1150"/>
                    </a:cubicBezTo>
                    <a:cubicBezTo>
                      <a:pt x="26" y="1169"/>
                      <a:pt x="36" y="1186"/>
                      <a:pt x="52" y="1194"/>
                    </a:cubicBezTo>
                    <a:cubicBezTo>
                      <a:pt x="51" y="1197"/>
                      <a:pt x="51" y="1199"/>
                      <a:pt x="51" y="1202"/>
                    </a:cubicBezTo>
                    <a:cubicBezTo>
                      <a:pt x="51" y="1278"/>
                      <a:pt x="51" y="1278"/>
                      <a:pt x="51" y="1278"/>
                    </a:cubicBezTo>
                    <a:cubicBezTo>
                      <a:pt x="51" y="1281"/>
                      <a:pt x="51" y="1283"/>
                      <a:pt x="52" y="1286"/>
                    </a:cubicBezTo>
                    <a:cubicBezTo>
                      <a:pt x="36" y="1294"/>
                      <a:pt x="26" y="1311"/>
                      <a:pt x="26" y="1330"/>
                    </a:cubicBezTo>
                    <a:cubicBezTo>
                      <a:pt x="26" y="1406"/>
                      <a:pt x="26" y="1406"/>
                      <a:pt x="26" y="1406"/>
                    </a:cubicBezTo>
                    <a:cubicBezTo>
                      <a:pt x="26" y="1434"/>
                      <a:pt x="48" y="1456"/>
                      <a:pt x="75" y="1456"/>
                    </a:cubicBezTo>
                    <a:cubicBezTo>
                      <a:pt x="434" y="1456"/>
                      <a:pt x="434" y="1456"/>
                      <a:pt x="434" y="1456"/>
                    </a:cubicBezTo>
                    <a:cubicBezTo>
                      <a:pt x="443" y="1456"/>
                      <a:pt x="452" y="1453"/>
                      <a:pt x="459" y="1449"/>
                    </a:cubicBezTo>
                    <a:cubicBezTo>
                      <a:pt x="467" y="1453"/>
                      <a:pt x="475" y="1456"/>
                      <a:pt x="485" y="1456"/>
                    </a:cubicBezTo>
                    <a:cubicBezTo>
                      <a:pt x="1253" y="1456"/>
                      <a:pt x="1253" y="1456"/>
                      <a:pt x="1253" y="1456"/>
                    </a:cubicBezTo>
                    <a:cubicBezTo>
                      <a:pt x="1280" y="1456"/>
                      <a:pt x="1302" y="1434"/>
                      <a:pt x="1302" y="1406"/>
                    </a:cubicBezTo>
                    <a:cubicBezTo>
                      <a:pt x="1302" y="1330"/>
                      <a:pt x="1302" y="1330"/>
                      <a:pt x="1302" y="1330"/>
                    </a:cubicBezTo>
                    <a:cubicBezTo>
                      <a:pt x="1302" y="1327"/>
                      <a:pt x="1302" y="1325"/>
                      <a:pt x="1302" y="1322"/>
                    </a:cubicBezTo>
                    <a:cubicBezTo>
                      <a:pt x="1317" y="1314"/>
                      <a:pt x="1328" y="1297"/>
                      <a:pt x="1328" y="1278"/>
                    </a:cubicBezTo>
                    <a:cubicBezTo>
                      <a:pt x="1328" y="1202"/>
                      <a:pt x="1328" y="1202"/>
                      <a:pt x="1328" y="1202"/>
                    </a:cubicBezTo>
                    <a:cubicBezTo>
                      <a:pt x="1328" y="1183"/>
                      <a:pt x="1317" y="1166"/>
                      <a:pt x="1302" y="1158"/>
                    </a:cubicBezTo>
                    <a:close/>
                    <a:moveTo>
                      <a:pt x="1278" y="1200"/>
                    </a:moveTo>
                    <a:cubicBezTo>
                      <a:pt x="1279" y="1200"/>
                      <a:pt x="1280" y="1201"/>
                      <a:pt x="1280" y="1202"/>
                    </a:cubicBezTo>
                    <a:cubicBezTo>
                      <a:pt x="1280" y="1278"/>
                      <a:pt x="1280" y="1278"/>
                      <a:pt x="1280" y="1278"/>
                    </a:cubicBezTo>
                    <a:cubicBezTo>
                      <a:pt x="1280" y="1279"/>
                      <a:pt x="1279" y="1280"/>
                      <a:pt x="1278" y="1280"/>
                    </a:cubicBezTo>
                    <a:cubicBezTo>
                      <a:pt x="1117" y="1280"/>
                      <a:pt x="1117" y="1280"/>
                      <a:pt x="1117" y="1280"/>
                    </a:cubicBezTo>
                    <a:cubicBezTo>
                      <a:pt x="1121" y="1263"/>
                      <a:pt x="1123" y="1245"/>
                      <a:pt x="1123" y="1227"/>
                    </a:cubicBezTo>
                    <a:cubicBezTo>
                      <a:pt x="1123" y="1218"/>
                      <a:pt x="1123" y="1209"/>
                      <a:pt x="1122" y="1200"/>
                    </a:cubicBezTo>
                    <a:lnTo>
                      <a:pt x="1278" y="1200"/>
                    </a:lnTo>
                    <a:close/>
                    <a:moveTo>
                      <a:pt x="894" y="1408"/>
                    </a:moveTo>
                    <a:cubicBezTo>
                      <a:pt x="795" y="1408"/>
                      <a:pt x="714" y="1327"/>
                      <a:pt x="714" y="1227"/>
                    </a:cubicBezTo>
                    <a:cubicBezTo>
                      <a:pt x="714" y="1127"/>
                      <a:pt x="795" y="1046"/>
                      <a:pt x="894" y="1046"/>
                    </a:cubicBezTo>
                    <a:cubicBezTo>
                      <a:pt x="994" y="1046"/>
                      <a:pt x="1075" y="1127"/>
                      <a:pt x="1075" y="1227"/>
                    </a:cubicBezTo>
                    <a:cubicBezTo>
                      <a:pt x="1075" y="1327"/>
                      <a:pt x="994" y="1408"/>
                      <a:pt x="894" y="1408"/>
                    </a:cubicBezTo>
                    <a:close/>
                    <a:moveTo>
                      <a:pt x="509" y="1227"/>
                    </a:moveTo>
                    <a:cubicBezTo>
                      <a:pt x="509" y="1127"/>
                      <a:pt x="590" y="1046"/>
                      <a:pt x="690" y="1046"/>
                    </a:cubicBezTo>
                    <a:cubicBezTo>
                      <a:pt x="708" y="1046"/>
                      <a:pt x="727" y="1049"/>
                      <a:pt x="744" y="1055"/>
                    </a:cubicBezTo>
                    <a:cubicBezTo>
                      <a:pt x="729" y="1068"/>
                      <a:pt x="715" y="1084"/>
                      <a:pt x="703" y="1102"/>
                    </a:cubicBezTo>
                    <a:cubicBezTo>
                      <a:pt x="699" y="1101"/>
                      <a:pt x="694" y="1101"/>
                      <a:pt x="690" y="1101"/>
                    </a:cubicBezTo>
                    <a:cubicBezTo>
                      <a:pt x="620" y="1101"/>
                      <a:pt x="563" y="1157"/>
                      <a:pt x="563" y="1227"/>
                    </a:cubicBezTo>
                    <a:cubicBezTo>
                      <a:pt x="563" y="1297"/>
                      <a:pt x="620" y="1354"/>
                      <a:pt x="690" y="1354"/>
                    </a:cubicBezTo>
                    <a:cubicBezTo>
                      <a:pt x="694" y="1354"/>
                      <a:pt x="699" y="1353"/>
                      <a:pt x="703" y="1353"/>
                    </a:cubicBezTo>
                    <a:cubicBezTo>
                      <a:pt x="715" y="1370"/>
                      <a:pt x="729" y="1386"/>
                      <a:pt x="744" y="1400"/>
                    </a:cubicBezTo>
                    <a:cubicBezTo>
                      <a:pt x="727" y="1405"/>
                      <a:pt x="708" y="1408"/>
                      <a:pt x="690" y="1408"/>
                    </a:cubicBezTo>
                    <a:cubicBezTo>
                      <a:pt x="590" y="1408"/>
                      <a:pt x="509" y="1327"/>
                      <a:pt x="509" y="1227"/>
                    </a:cubicBezTo>
                    <a:close/>
                    <a:moveTo>
                      <a:pt x="434" y="1280"/>
                    </a:moveTo>
                    <a:cubicBezTo>
                      <a:pt x="101" y="1280"/>
                      <a:pt x="101" y="1280"/>
                      <a:pt x="101" y="1280"/>
                    </a:cubicBezTo>
                    <a:cubicBezTo>
                      <a:pt x="100" y="1280"/>
                      <a:pt x="99" y="1279"/>
                      <a:pt x="99" y="1278"/>
                    </a:cubicBezTo>
                    <a:cubicBezTo>
                      <a:pt x="99" y="1202"/>
                      <a:pt x="99" y="1202"/>
                      <a:pt x="99" y="1202"/>
                    </a:cubicBezTo>
                    <a:cubicBezTo>
                      <a:pt x="99" y="1201"/>
                      <a:pt x="100" y="1200"/>
                      <a:pt x="101" y="1200"/>
                    </a:cubicBezTo>
                    <a:cubicBezTo>
                      <a:pt x="462" y="1200"/>
                      <a:pt x="462" y="1200"/>
                      <a:pt x="462" y="1200"/>
                    </a:cubicBezTo>
                    <a:cubicBezTo>
                      <a:pt x="461" y="1209"/>
                      <a:pt x="461" y="1218"/>
                      <a:pt x="461" y="1227"/>
                    </a:cubicBezTo>
                    <a:cubicBezTo>
                      <a:pt x="461" y="1245"/>
                      <a:pt x="463" y="1263"/>
                      <a:pt x="467" y="1280"/>
                    </a:cubicBezTo>
                    <a:lnTo>
                      <a:pt x="434" y="1280"/>
                    </a:lnTo>
                    <a:close/>
                    <a:moveTo>
                      <a:pt x="75" y="1152"/>
                    </a:moveTo>
                    <a:cubicBezTo>
                      <a:pt x="74" y="1152"/>
                      <a:pt x="74" y="1151"/>
                      <a:pt x="74" y="1150"/>
                    </a:cubicBezTo>
                    <a:cubicBezTo>
                      <a:pt x="74" y="1074"/>
                      <a:pt x="74" y="1074"/>
                      <a:pt x="74" y="1074"/>
                    </a:cubicBezTo>
                    <a:cubicBezTo>
                      <a:pt x="74" y="1073"/>
                      <a:pt x="74" y="1072"/>
                      <a:pt x="75" y="1072"/>
                    </a:cubicBezTo>
                    <a:cubicBezTo>
                      <a:pt x="434" y="1072"/>
                      <a:pt x="434" y="1072"/>
                      <a:pt x="434" y="1072"/>
                    </a:cubicBezTo>
                    <a:cubicBezTo>
                      <a:pt x="434" y="1072"/>
                      <a:pt x="435" y="1073"/>
                      <a:pt x="435" y="1074"/>
                    </a:cubicBezTo>
                    <a:cubicBezTo>
                      <a:pt x="435" y="1150"/>
                      <a:pt x="435" y="1150"/>
                      <a:pt x="435" y="1150"/>
                    </a:cubicBezTo>
                    <a:cubicBezTo>
                      <a:pt x="435" y="1151"/>
                      <a:pt x="434" y="1152"/>
                      <a:pt x="434" y="1152"/>
                    </a:cubicBezTo>
                    <a:lnTo>
                      <a:pt x="75" y="1152"/>
                    </a:lnTo>
                    <a:close/>
                    <a:moveTo>
                      <a:pt x="50" y="1024"/>
                    </a:moveTo>
                    <a:cubicBezTo>
                      <a:pt x="49" y="1024"/>
                      <a:pt x="48" y="1023"/>
                      <a:pt x="48" y="1022"/>
                    </a:cubicBezTo>
                    <a:cubicBezTo>
                      <a:pt x="48" y="946"/>
                      <a:pt x="48" y="946"/>
                      <a:pt x="48" y="946"/>
                    </a:cubicBezTo>
                    <a:cubicBezTo>
                      <a:pt x="48" y="945"/>
                      <a:pt x="49" y="944"/>
                      <a:pt x="50" y="944"/>
                    </a:cubicBezTo>
                    <a:cubicBezTo>
                      <a:pt x="408" y="944"/>
                      <a:pt x="408" y="944"/>
                      <a:pt x="408" y="944"/>
                    </a:cubicBezTo>
                    <a:cubicBezTo>
                      <a:pt x="409" y="944"/>
                      <a:pt x="410" y="945"/>
                      <a:pt x="410" y="946"/>
                    </a:cubicBezTo>
                    <a:cubicBezTo>
                      <a:pt x="410" y="1022"/>
                      <a:pt x="410" y="1022"/>
                      <a:pt x="410" y="1022"/>
                    </a:cubicBezTo>
                    <a:cubicBezTo>
                      <a:pt x="410" y="1023"/>
                      <a:pt x="409" y="1024"/>
                      <a:pt x="408" y="1024"/>
                    </a:cubicBezTo>
                    <a:lnTo>
                      <a:pt x="50" y="1024"/>
                    </a:lnTo>
                    <a:close/>
                    <a:moveTo>
                      <a:pt x="74" y="894"/>
                    </a:moveTo>
                    <a:cubicBezTo>
                      <a:pt x="74" y="818"/>
                      <a:pt x="74" y="818"/>
                      <a:pt x="74" y="818"/>
                    </a:cubicBezTo>
                    <a:cubicBezTo>
                      <a:pt x="74" y="817"/>
                      <a:pt x="74" y="816"/>
                      <a:pt x="75" y="816"/>
                    </a:cubicBezTo>
                    <a:cubicBezTo>
                      <a:pt x="434" y="816"/>
                      <a:pt x="434" y="816"/>
                      <a:pt x="434" y="816"/>
                    </a:cubicBezTo>
                    <a:cubicBezTo>
                      <a:pt x="434" y="816"/>
                      <a:pt x="435" y="817"/>
                      <a:pt x="435" y="818"/>
                    </a:cubicBezTo>
                    <a:cubicBezTo>
                      <a:pt x="435" y="894"/>
                      <a:pt x="435" y="894"/>
                      <a:pt x="435" y="894"/>
                    </a:cubicBezTo>
                    <a:cubicBezTo>
                      <a:pt x="435" y="895"/>
                      <a:pt x="434" y="896"/>
                      <a:pt x="434" y="896"/>
                    </a:cubicBezTo>
                    <a:cubicBezTo>
                      <a:pt x="75" y="896"/>
                      <a:pt x="75" y="896"/>
                      <a:pt x="75" y="896"/>
                    </a:cubicBezTo>
                    <a:cubicBezTo>
                      <a:pt x="74" y="896"/>
                      <a:pt x="74" y="895"/>
                      <a:pt x="74" y="894"/>
                    </a:cubicBezTo>
                    <a:close/>
                    <a:moveTo>
                      <a:pt x="99" y="766"/>
                    </a:moveTo>
                    <a:cubicBezTo>
                      <a:pt x="99" y="690"/>
                      <a:pt x="99" y="690"/>
                      <a:pt x="99" y="690"/>
                    </a:cubicBezTo>
                    <a:cubicBezTo>
                      <a:pt x="99" y="689"/>
                      <a:pt x="100" y="688"/>
                      <a:pt x="101" y="688"/>
                    </a:cubicBezTo>
                    <a:cubicBezTo>
                      <a:pt x="459" y="688"/>
                      <a:pt x="459" y="688"/>
                      <a:pt x="459" y="688"/>
                    </a:cubicBezTo>
                    <a:cubicBezTo>
                      <a:pt x="460" y="688"/>
                      <a:pt x="461" y="689"/>
                      <a:pt x="461" y="690"/>
                    </a:cubicBezTo>
                    <a:cubicBezTo>
                      <a:pt x="461" y="766"/>
                      <a:pt x="461" y="766"/>
                      <a:pt x="461" y="766"/>
                    </a:cubicBezTo>
                    <a:cubicBezTo>
                      <a:pt x="461" y="767"/>
                      <a:pt x="460" y="768"/>
                      <a:pt x="459" y="768"/>
                    </a:cubicBezTo>
                    <a:cubicBezTo>
                      <a:pt x="101" y="768"/>
                      <a:pt x="101" y="768"/>
                      <a:pt x="101" y="768"/>
                    </a:cubicBezTo>
                    <a:cubicBezTo>
                      <a:pt x="100" y="768"/>
                      <a:pt x="99" y="767"/>
                      <a:pt x="99" y="766"/>
                    </a:cubicBezTo>
                    <a:close/>
                    <a:moveTo>
                      <a:pt x="458" y="434"/>
                    </a:moveTo>
                    <a:cubicBezTo>
                      <a:pt x="458" y="433"/>
                      <a:pt x="458" y="432"/>
                      <a:pt x="459" y="432"/>
                    </a:cubicBezTo>
                    <a:cubicBezTo>
                      <a:pt x="818" y="432"/>
                      <a:pt x="818" y="432"/>
                      <a:pt x="818" y="432"/>
                    </a:cubicBezTo>
                    <a:cubicBezTo>
                      <a:pt x="818" y="432"/>
                      <a:pt x="819" y="433"/>
                      <a:pt x="819" y="434"/>
                    </a:cubicBezTo>
                    <a:cubicBezTo>
                      <a:pt x="819" y="510"/>
                      <a:pt x="819" y="510"/>
                      <a:pt x="819" y="510"/>
                    </a:cubicBezTo>
                    <a:cubicBezTo>
                      <a:pt x="819" y="511"/>
                      <a:pt x="818" y="512"/>
                      <a:pt x="818" y="512"/>
                    </a:cubicBezTo>
                    <a:cubicBezTo>
                      <a:pt x="459" y="512"/>
                      <a:pt x="459" y="512"/>
                      <a:pt x="459" y="512"/>
                    </a:cubicBezTo>
                    <a:cubicBezTo>
                      <a:pt x="458" y="512"/>
                      <a:pt x="458" y="511"/>
                      <a:pt x="458" y="510"/>
                    </a:cubicBezTo>
                    <a:lnTo>
                      <a:pt x="458" y="434"/>
                    </a:lnTo>
                    <a:close/>
                    <a:moveTo>
                      <a:pt x="483" y="382"/>
                    </a:moveTo>
                    <a:cubicBezTo>
                      <a:pt x="483" y="306"/>
                      <a:pt x="483" y="306"/>
                      <a:pt x="483" y="306"/>
                    </a:cubicBezTo>
                    <a:cubicBezTo>
                      <a:pt x="483" y="305"/>
                      <a:pt x="484" y="304"/>
                      <a:pt x="485" y="304"/>
                    </a:cubicBezTo>
                    <a:cubicBezTo>
                      <a:pt x="843" y="304"/>
                      <a:pt x="843" y="304"/>
                      <a:pt x="843" y="304"/>
                    </a:cubicBezTo>
                    <a:cubicBezTo>
                      <a:pt x="844" y="304"/>
                      <a:pt x="845" y="305"/>
                      <a:pt x="845" y="306"/>
                    </a:cubicBezTo>
                    <a:cubicBezTo>
                      <a:pt x="845" y="382"/>
                      <a:pt x="845" y="382"/>
                      <a:pt x="845" y="382"/>
                    </a:cubicBezTo>
                    <a:cubicBezTo>
                      <a:pt x="845" y="383"/>
                      <a:pt x="844" y="384"/>
                      <a:pt x="843" y="384"/>
                    </a:cubicBezTo>
                    <a:cubicBezTo>
                      <a:pt x="485" y="384"/>
                      <a:pt x="485" y="384"/>
                      <a:pt x="485" y="384"/>
                    </a:cubicBezTo>
                    <a:cubicBezTo>
                      <a:pt x="484" y="384"/>
                      <a:pt x="483" y="383"/>
                      <a:pt x="483" y="382"/>
                    </a:cubicBezTo>
                    <a:close/>
                    <a:moveTo>
                      <a:pt x="509" y="254"/>
                    </a:moveTo>
                    <a:cubicBezTo>
                      <a:pt x="509" y="178"/>
                      <a:pt x="509" y="178"/>
                      <a:pt x="509" y="178"/>
                    </a:cubicBezTo>
                    <a:cubicBezTo>
                      <a:pt x="509" y="177"/>
                      <a:pt x="510" y="176"/>
                      <a:pt x="510" y="176"/>
                    </a:cubicBezTo>
                    <a:cubicBezTo>
                      <a:pt x="869" y="176"/>
                      <a:pt x="869" y="176"/>
                      <a:pt x="869" y="176"/>
                    </a:cubicBezTo>
                    <a:cubicBezTo>
                      <a:pt x="870" y="176"/>
                      <a:pt x="870" y="177"/>
                      <a:pt x="870" y="178"/>
                    </a:cubicBezTo>
                    <a:cubicBezTo>
                      <a:pt x="870" y="254"/>
                      <a:pt x="870" y="254"/>
                      <a:pt x="870" y="254"/>
                    </a:cubicBezTo>
                    <a:cubicBezTo>
                      <a:pt x="870" y="255"/>
                      <a:pt x="870" y="256"/>
                      <a:pt x="869" y="256"/>
                    </a:cubicBezTo>
                    <a:cubicBezTo>
                      <a:pt x="510" y="256"/>
                      <a:pt x="510" y="256"/>
                      <a:pt x="510" y="256"/>
                    </a:cubicBezTo>
                    <a:cubicBezTo>
                      <a:pt x="510" y="256"/>
                      <a:pt x="509" y="255"/>
                      <a:pt x="509" y="254"/>
                    </a:cubicBezTo>
                    <a:close/>
                    <a:moveTo>
                      <a:pt x="843" y="560"/>
                    </a:moveTo>
                    <a:cubicBezTo>
                      <a:pt x="844" y="560"/>
                      <a:pt x="845" y="561"/>
                      <a:pt x="845" y="562"/>
                    </a:cubicBezTo>
                    <a:cubicBezTo>
                      <a:pt x="845" y="638"/>
                      <a:pt x="845" y="638"/>
                      <a:pt x="845" y="638"/>
                    </a:cubicBezTo>
                    <a:cubicBezTo>
                      <a:pt x="845" y="639"/>
                      <a:pt x="844" y="640"/>
                      <a:pt x="843" y="640"/>
                    </a:cubicBezTo>
                    <a:cubicBezTo>
                      <a:pt x="485" y="640"/>
                      <a:pt x="485" y="640"/>
                      <a:pt x="485" y="640"/>
                    </a:cubicBezTo>
                    <a:cubicBezTo>
                      <a:pt x="484" y="640"/>
                      <a:pt x="483" y="639"/>
                      <a:pt x="483" y="638"/>
                    </a:cubicBezTo>
                    <a:cubicBezTo>
                      <a:pt x="483" y="562"/>
                      <a:pt x="483" y="562"/>
                      <a:pt x="483" y="562"/>
                    </a:cubicBezTo>
                    <a:cubicBezTo>
                      <a:pt x="483" y="561"/>
                      <a:pt x="484" y="560"/>
                      <a:pt x="485" y="560"/>
                    </a:cubicBezTo>
                    <a:lnTo>
                      <a:pt x="843" y="560"/>
                    </a:lnTo>
                    <a:close/>
                    <a:moveTo>
                      <a:pt x="869" y="688"/>
                    </a:moveTo>
                    <a:cubicBezTo>
                      <a:pt x="870" y="688"/>
                      <a:pt x="870" y="689"/>
                      <a:pt x="870" y="690"/>
                    </a:cubicBezTo>
                    <a:cubicBezTo>
                      <a:pt x="870" y="766"/>
                      <a:pt x="870" y="766"/>
                      <a:pt x="870" y="766"/>
                    </a:cubicBezTo>
                    <a:cubicBezTo>
                      <a:pt x="870" y="767"/>
                      <a:pt x="870" y="768"/>
                      <a:pt x="869" y="768"/>
                    </a:cubicBezTo>
                    <a:cubicBezTo>
                      <a:pt x="510" y="768"/>
                      <a:pt x="510" y="768"/>
                      <a:pt x="510" y="768"/>
                    </a:cubicBezTo>
                    <a:cubicBezTo>
                      <a:pt x="510" y="768"/>
                      <a:pt x="509" y="767"/>
                      <a:pt x="509" y="766"/>
                    </a:cubicBezTo>
                    <a:cubicBezTo>
                      <a:pt x="509" y="690"/>
                      <a:pt x="509" y="690"/>
                      <a:pt x="509" y="690"/>
                    </a:cubicBezTo>
                    <a:cubicBezTo>
                      <a:pt x="509" y="689"/>
                      <a:pt x="510" y="688"/>
                      <a:pt x="510" y="688"/>
                    </a:cubicBezTo>
                    <a:lnTo>
                      <a:pt x="869" y="688"/>
                    </a:lnTo>
                    <a:close/>
                    <a:moveTo>
                      <a:pt x="1229" y="946"/>
                    </a:moveTo>
                    <a:cubicBezTo>
                      <a:pt x="1229" y="1022"/>
                      <a:pt x="1229" y="1022"/>
                      <a:pt x="1229" y="1022"/>
                    </a:cubicBezTo>
                    <a:cubicBezTo>
                      <a:pt x="1229" y="1023"/>
                      <a:pt x="1228" y="1024"/>
                      <a:pt x="1227" y="1024"/>
                    </a:cubicBezTo>
                    <a:cubicBezTo>
                      <a:pt x="999" y="1024"/>
                      <a:pt x="999" y="1024"/>
                      <a:pt x="999" y="1024"/>
                    </a:cubicBezTo>
                    <a:cubicBezTo>
                      <a:pt x="968" y="1008"/>
                      <a:pt x="932" y="998"/>
                      <a:pt x="894" y="998"/>
                    </a:cubicBezTo>
                    <a:cubicBezTo>
                      <a:pt x="885" y="998"/>
                      <a:pt x="876" y="999"/>
                      <a:pt x="867" y="1000"/>
                    </a:cubicBezTo>
                    <a:cubicBezTo>
                      <a:pt x="867" y="946"/>
                      <a:pt x="867" y="946"/>
                      <a:pt x="867" y="946"/>
                    </a:cubicBezTo>
                    <a:cubicBezTo>
                      <a:pt x="867" y="945"/>
                      <a:pt x="868" y="944"/>
                      <a:pt x="869" y="944"/>
                    </a:cubicBezTo>
                    <a:cubicBezTo>
                      <a:pt x="1227" y="944"/>
                      <a:pt x="1227" y="944"/>
                      <a:pt x="1227" y="944"/>
                    </a:cubicBezTo>
                    <a:cubicBezTo>
                      <a:pt x="1228" y="944"/>
                      <a:pt x="1229" y="945"/>
                      <a:pt x="1229" y="946"/>
                    </a:cubicBezTo>
                    <a:close/>
                    <a:moveTo>
                      <a:pt x="1253" y="1072"/>
                    </a:moveTo>
                    <a:cubicBezTo>
                      <a:pt x="1254" y="1072"/>
                      <a:pt x="1254" y="1073"/>
                      <a:pt x="1254" y="1074"/>
                    </a:cubicBezTo>
                    <a:cubicBezTo>
                      <a:pt x="1254" y="1150"/>
                      <a:pt x="1254" y="1150"/>
                      <a:pt x="1254" y="1150"/>
                    </a:cubicBezTo>
                    <a:cubicBezTo>
                      <a:pt x="1254" y="1151"/>
                      <a:pt x="1254" y="1152"/>
                      <a:pt x="1253" y="1152"/>
                    </a:cubicBezTo>
                    <a:cubicBezTo>
                      <a:pt x="1110" y="1152"/>
                      <a:pt x="1110" y="1152"/>
                      <a:pt x="1110" y="1152"/>
                    </a:cubicBezTo>
                    <a:cubicBezTo>
                      <a:pt x="1100" y="1122"/>
                      <a:pt x="1083" y="1095"/>
                      <a:pt x="1062" y="1072"/>
                    </a:cubicBezTo>
                    <a:lnTo>
                      <a:pt x="1253" y="1072"/>
                    </a:lnTo>
                    <a:close/>
                    <a:moveTo>
                      <a:pt x="792" y="1023"/>
                    </a:moveTo>
                    <a:cubicBezTo>
                      <a:pt x="760" y="1007"/>
                      <a:pt x="725" y="998"/>
                      <a:pt x="690" y="998"/>
                    </a:cubicBezTo>
                    <a:cubicBezTo>
                      <a:pt x="652" y="998"/>
                      <a:pt x="616" y="1008"/>
                      <a:pt x="585" y="1024"/>
                    </a:cubicBezTo>
                    <a:cubicBezTo>
                      <a:pt x="459" y="1024"/>
                      <a:pt x="459" y="1024"/>
                      <a:pt x="459" y="1024"/>
                    </a:cubicBezTo>
                    <a:cubicBezTo>
                      <a:pt x="458" y="1024"/>
                      <a:pt x="458" y="1023"/>
                      <a:pt x="458" y="1022"/>
                    </a:cubicBezTo>
                    <a:cubicBezTo>
                      <a:pt x="458" y="946"/>
                      <a:pt x="458" y="946"/>
                      <a:pt x="458" y="946"/>
                    </a:cubicBezTo>
                    <a:cubicBezTo>
                      <a:pt x="458" y="945"/>
                      <a:pt x="458" y="944"/>
                      <a:pt x="459" y="944"/>
                    </a:cubicBezTo>
                    <a:cubicBezTo>
                      <a:pt x="818" y="944"/>
                      <a:pt x="818" y="944"/>
                      <a:pt x="818" y="944"/>
                    </a:cubicBezTo>
                    <a:cubicBezTo>
                      <a:pt x="818" y="944"/>
                      <a:pt x="819" y="945"/>
                      <a:pt x="819" y="946"/>
                    </a:cubicBezTo>
                    <a:cubicBezTo>
                      <a:pt x="819" y="1011"/>
                      <a:pt x="819" y="1011"/>
                      <a:pt x="819" y="1011"/>
                    </a:cubicBezTo>
                    <a:cubicBezTo>
                      <a:pt x="810" y="1014"/>
                      <a:pt x="801" y="1018"/>
                      <a:pt x="792" y="1023"/>
                    </a:cubicBezTo>
                    <a:close/>
                    <a:moveTo>
                      <a:pt x="845" y="818"/>
                    </a:moveTo>
                    <a:cubicBezTo>
                      <a:pt x="845" y="894"/>
                      <a:pt x="845" y="894"/>
                      <a:pt x="845" y="894"/>
                    </a:cubicBezTo>
                    <a:cubicBezTo>
                      <a:pt x="845" y="895"/>
                      <a:pt x="844" y="896"/>
                      <a:pt x="843" y="896"/>
                    </a:cubicBezTo>
                    <a:cubicBezTo>
                      <a:pt x="485" y="896"/>
                      <a:pt x="485" y="896"/>
                      <a:pt x="485" y="896"/>
                    </a:cubicBezTo>
                    <a:cubicBezTo>
                      <a:pt x="484" y="896"/>
                      <a:pt x="483" y="895"/>
                      <a:pt x="483" y="894"/>
                    </a:cubicBezTo>
                    <a:cubicBezTo>
                      <a:pt x="483" y="818"/>
                      <a:pt x="483" y="818"/>
                      <a:pt x="483" y="818"/>
                    </a:cubicBezTo>
                    <a:cubicBezTo>
                      <a:pt x="483" y="817"/>
                      <a:pt x="484" y="816"/>
                      <a:pt x="485" y="816"/>
                    </a:cubicBezTo>
                    <a:cubicBezTo>
                      <a:pt x="843" y="816"/>
                      <a:pt x="843" y="816"/>
                      <a:pt x="843" y="816"/>
                    </a:cubicBezTo>
                    <a:cubicBezTo>
                      <a:pt x="844" y="816"/>
                      <a:pt x="845" y="817"/>
                      <a:pt x="845" y="818"/>
                    </a:cubicBezTo>
                    <a:close/>
                    <a:moveTo>
                      <a:pt x="483" y="1129"/>
                    </a:moveTo>
                    <a:cubicBezTo>
                      <a:pt x="483" y="1074"/>
                      <a:pt x="483" y="1074"/>
                      <a:pt x="483" y="1074"/>
                    </a:cubicBezTo>
                    <a:cubicBezTo>
                      <a:pt x="483" y="1073"/>
                      <a:pt x="483" y="1073"/>
                      <a:pt x="483" y="1072"/>
                    </a:cubicBezTo>
                    <a:cubicBezTo>
                      <a:pt x="522" y="1072"/>
                      <a:pt x="522" y="1072"/>
                      <a:pt x="522" y="1072"/>
                    </a:cubicBezTo>
                    <a:cubicBezTo>
                      <a:pt x="506" y="1089"/>
                      <a:pt x="493" y="1108"/>
                      <a:pt x="483" y="1129"/>
                    </a:cubicBezTo>
                    <a:close/>
                    <a:moveTo>
                      <a:pt x="679" y="1305"/>
                    </a:moveTo>
                    <a:cubicBezTo>
                      <a:pt x="641" y="1300"/>
                      <a:pt x="611" y="1267"/>
                      <a:pt x="611" y="1227"/>
                    </a:cubicBezTo>
                    <a:cubicBezTo>
                      <a:pt x="611" y="1187"/>
                      <a:pt x="641" y="1155"/>
                      <a:pt x="679" y="1150"/>
                    </a:cubicBezTo>
                    <a:cubicBezTo>
                      <a:pt x="670" y="1174"/>
                      <a:pt x="666" y="1200"/>
                      <a:pt x="666" y="1227"/>
                    </a:cubicBezTo>
                    <a:cubicBezTo>
                      <a:pt x="666" y="1254"/>
                      <a:pt x="670" y="1281"/>
                      <a:pt x="679" y="1305"/>
                    </a:cubicBezTo>
                    <a:close/>
                    <a:moveTo>
                      <a:pt x="1254" y="818"/>
                    </a:moveTo>
                    <a:cubicBezTo>
                      <a:pt x="1254" y="894"/>
                      <a:pt x="1254" y="894"/>
                      <a:pt x="1254" y="894"/>
                    </a:cubicBezTo>
                    <a:cubicBezTo>
                      <a:pt x="1254" y="895"/>
                      <a:pt x="1254" y="896"/>
                      <a:pt x="1253" y="896"/>
                    </a:cubicBezTo>
                    <a:cubicBezTo>
                      <a:pt x="894" y="896"/>
                      <a:pt x="894" y="896"/>
                      <a:pt x="894" y="896"/>
                    </a:cubicBezTo>
                    <a:cubicBezTo>
                      <a:pt x="894" y="896"/>
                      <a:pt x="893" y="895"/>
                      <a:pt x="893" y="894"/>
                    </a:cubicBezTo>
                    <a:cubicBezTo>
                      <a:pt x="893" y="818"/>
                      <a:pt x="893" y="818"/>
                      <a:pt x="893" y="818"/>
                    </a:cubicBezTo>
                    <a:cubicBezTo>
                      <a:pt x="893" y="817"/>
                      <a:pt x="894" y="816"/>
                      <a:pt x="894" y="816"/>
                    </a:cubicBezTo>
                    <a:cubicBezTo>
                      <a:pt x="1253" y="816"/>
                      <a:pt x="1253" y="816"/>
                      <a:pt x="1253" y="816"/>
                    </a:cubicBezTo>
                    <a:cubicBezTo>
                      <a:pt x="1254" y="816"/>
                      <a:pt x="1254" y="817"/>
                      <a:pt x="1254" y="818"/>
                    </a:cubicBezTo>
                    <a:close/>
                    <a:moveTo>
                      <a:pt x="483" y="50"/>
                    </a:moveTo>
                    <a:cubicBezTo>
                      <a:pt x="483" y="49"/>
                      <a:pt x="484" y="48"/>
                      <a:pt x="485" y="48"/>
                    </a:cubicBezTo>
                    <a:cubicBezTo>
                      <a:pt x="843" y="48"/>
                      <a:pt x="843" y="48"/>
                      <a:pt x="843" y="48"/>
                    </a:cubicBezTo>
                    <a:cubicBezTo>
                      <a:pt x="844" y="48"/>
                      <a:pt x="845" y="49"/>
                      <a:pt x="845" y="50"/>
                    </a:cubicBezTo>
                    <a:cubicBezTo>
                      <a:pt x="845" y="126"/>
                      <a:pt x="845" y="126"/>
                      <a:pt x="845" y="126"/>
                    </a:cubicBezTo>
                    <a:cubicBezTo>
                      <a:pt x="845" y="127"/>
                      <a:pt x="844" y="128"/>
                      <a:pt x="843" y="128"/>
                    </a:cubicBezTo>
                    <a:cubicBezTo>
                      <a:pt x="485" y="128"/>
                      <a:pt x="485" y="128"/>
                      <a:pt x="485" y="128"/>
                    </a:cubicBezTo>
                    <a:cubicBezTo>
                      <a:pt x="484" y="128"/>
                      <a:pt x="483" y="127"/>
                      <a:pt x="483" y="126"/>
                    </a:cubicBezTo>
                    <a:lnTo>
                      <a:pt x="483" y="50"/>
                    </a:lnTo>
                    <a:close/>
                    <a:moveTo>
                      <a:pt x="74" y="562"/>
                    </a:moveTo>
                    <a:cubicBezTo>
                      <a:pt x="74" y="561"/>
                      <a:pt x="74" y="560"/>
                      <a:pt x="75" y="560"/>
                    </a:cubicBezTo>
                    <a:cubicBezTo>
                      <a:pt x="434" y="560"/>
                      <a:pt x="434" y="560"/>
                      <a:pt x="434" y="560"/>
                    </a:cubicBezTo>
                    <a:cubicBezTo>
                      <a:pt x="434" y="560"/>
                      <a:pt x="435" y="561"/>
                      <a:pt x="435" y="562"/>
                    </a:cubicBezTo>
                    <a:cubicBezTo>
                      <a:pt x="435" y="638"/>
                      <a:pt x="435" y="638"/>
                      <a:pt x="435" y="638"/>
                    </a:cubicBezTo>
                    <a:cubicBezTo>
                      <a:pt x="435" y="639"/>
                      <a:pt x="434" y="640"/>
                      <a:pt x="434" y="640"/>
                    </a:cubicBezTo>
                    <a:cubicBezTo>
                      <a:pt x="75" y="640"/>
                      <a:pt x="75" y="640"/>
                      <a:pt x="75" y="640"/>
                    </a:cubicBezTo>
                    <a:cubicBezTo>
                      <a:pt x="74" y="640"/>
                      <a:pt x="74" y="639"/>
                      <a:pt x="74" y="638"/>
                    </a:cubicBezTo>
                    <a:lnTo>
                      <a:pt x="74" y="562"/>
                    </a:lnTo>
                    <a:close/>
                    <a:moveTo>
                      <a:pt x="434" y="1408"/>
                    </a:moveTo>
                    <a:cubicBezTo>
                      <a:pt x="75" y="1408"/>
                      <a:pt x="75" y="1408"/>
                      <a:pt x="75" y="1408"/>
                    </a:cubicBezTo>
                    <a:cubicBezTo>
                      <a:pt x="74" y="1408"/>
                      <a:pt x="74" y="1407"/>
                      <a:pt x="74" y="1406"/>
                    </a:cubicBezTo>
                    <a:cubicBezTo>
                      <a:pt x="74" y="1330"/>
                      <a:pt x="74" y="1330"/>
                      <a:pt x="74" y="1330"/>
                    </a:cubicBezTo>
                    <a:cubicBezTo>
                      <a:pt x="74" y="1329"/>
                      <a:pt x="74" y="1328"/>
                      <a:pt x="75" y="1328"/>
                    </a:cubicBezTo>
                    <a:cubicBezTo>
                      <a:pt x="434" y="1328"/>
                      <a:pt x="434" y="1328"/>
                      <a:pt x="434" y="1328"/>
                    </a:cubicBezTo>
                    <a:cubicBezTo>
                      <a:pt x="434" y="1328"/>
                      <a:pt x="435" y="1329"/>
                      <a:pt x="435" y="1330"/>
                    </a:cubicBezTo>
                    <a:cubicBezTo>
                      <a:pt x="435" y="1406"/>
                      <a:pt x="435" y="1406"/>
                      <a:pt x="435" y="1406"/>
                    </a:cubicBezTo>
                    <a:cubicBezTo>
                      <a:pt x="435" y="1407"/>
                      <a:pt x="434" y="1408"/>
                      <a:pt x="434" y="1408"/>
                    </a:cubicBezTo>
                    <a:close/>
                    <a:moveTo>
                      <a:pt x="485" y="1408"/>
                    </a:moveTo>
                    <a:cubicBezTo>
                      <a:pt x="484" y="1408"/>
                      <a:pt x="483" y="1407"/>
                      <a:pt x="483" y="1406"/>
                    </a:cubicBezTo>
                    <a:cubicBezTo>
                      <a:pt x="483" y="1330"/>
                      <a:pt x="483" y="1330"/>
                      <a:pt x="483" y="1330"/>
                    </a:cubicBezTo>
                    <a:cubicBezTo>
                      <a:pt x="483" y="1329"/>
                      <a:pt x="483" y="1329"/>
                      <a:pt x="483" y="1328"/>
                    </a:cubicBezTo>
                    <a:cubicBezTo>
                      <a:pt x="484" y="1328"/>
                      <a:pt x="484" y="1328"/>
                      <a:pt x="484" y="1328"/>
                    </a:cubicBezTo>
                    <a:cubicBezTo>
                      <a:pt x="500" y="1359"/>
                      <a:pt x="522" y="1387"/>
                      <a:pt x="550" y="1408"/>
                    </a:cubicBezTo>
                    <a:lnTo>
                      <a:pt x="485" y="1408"/>
                    </a:lnTo>
                    <a:close/>
                    <a:moveTo>
                      <a:pt x="1254" y="1406"/>
                    </a:moveTo>
                    <a:cubicBezTo>
                      <a:pt x="1254" y="1407"/>
                      <a:pt x="1254" y="1408"/>
                      <a:pt x="1253" y="1408"/>
                    </a:cubicBezTo>
                    <a:cubicBezTo>
                      <a:pt x="1034" y="1408"/>
                      <a:pt x="1034" y="1408"/>
                      <a:pt x="1034" y="1408"/>
                    </a:cubicBezTo>
                    <a:cubicBezTo>
                      <a:pt x="1062" y="1387"/>
                      <a:pt x="1084" y="1359"/>
                      <a:pt x="1100" y="1328"/>
                    </a:cubicBezTo>
                    <a:cubicBezTo>
                      <a:pt x="1253" y="1328"/>
                      <a:pt x="1253" y="1328"/>
                      <a:pt x="1253" y="1328"/>
                    </a:cubicBezTo>
                    <a:cubicBezTo>
                      <a:pt x="1254" y="1328"/>
                      <a:pt x="1254" y="1329"/>
                      <a:pt x="1254" y="1330"/>
                    </a:cubicBezTo>
                    <a:lnTo>
                      <a:pt x="1254" y="1406"/>
                    </a:lnTo>
                    <a:close/>
                    <a:moveTo>
                      <a:pt x="1254" y="1406"/>
                    </a:moveTo>
                    <a:cubicBezTo>
                      <a:pt x="1254" y="1406"/>
                      <a:pt x="1254" y="1406"/>
                      <a:pt x="1254" y="140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xmlns="" id="{F5451B4D-B279-4A2C-A9D0-9CF0FBA894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56" y="2934"/>
                <a:ext cx="527" cy="525"/>
              </a:xfrm>
              <a:custGeom>
                <a:avLst/>
                <a:gdLst>
                  <a:gd name="T0" fmla="*/ 126 w 253"/>
                  <a:gd name="T1" fmla="*/ 0 h 253"/>
                  <a:gd name="T2" fmla="*/ 0 w 253"/>
                  <a:gd name="T3" fmla="*/ 126 h 253"/>
                  <a:gd name="T4" fmla="*/ 126 w 253"/>
                  <a:gd name="T5" fmla="*/ 253 h 253"/>
                  <a:gd name="T6" fmla="*/ 253 w 253"/>
                  <a:gd name="T7" fmla="*/ 126 h 253"/>
                  <a:gd name="T8" fmla="*/ 126 w 253"/>
                  <a:gd name="T9" fmla="*/ 0 h 253"/>
                  <a:gd name="T10" fmla="*/ 126 w 253"/>
                  <a:gd name="T11" fmla="*/ 205 h 253"/>
                  <a:gd name="T12" fmla="*/ 48 w 253"/>
                  <a:gd name="T13" fmla="*/ 126 h 253"/>
                  <a:gd name="T14" fmla="*/ 126 w 253"/>
                  <a:gd name="T15" fmla="*/ 48 h 253"/>
                  <a:gd name="T16" fmla="*/ 205 w 253"/>
                  <a:gd name="T17" fmla="*/ 126 h 253"/>
                  <a:gd name="T18" fmla="*/ 126 w 253"/>
                  <a:gd name="T19" fmla="*/ 205 h 253"/>
                  <a:gd name="T20" fmla="*/ 126 w 253"/>
                  <a:gd name="T21" fmla="*/ 205 h 253"/>
                  <a:gd name="T22" fmla="*/ 126 w 253"/>
                  <a:gd name="T23" fmla="*/ 205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53" h="253">
                    <a:moveTo>
                      <a:pt x="126" y="0"/>
                    </a:moveTo>
                    <a:cubicBezTo>
                      <a:pt x="57" y="0"/>
                      <a:pt x="0" y="56"/>
                      <a:pt x="0" y="126"/>
                    </a:cubicBezTo>
                    <a:cubicBezTo>
                      <a:pt x="0" y="196"/>
                      <a:pt x="57" y="253"/>
                      <a:pt x="126" y="253"/>
                    </a:cubicBezTo>
                    <a:cubicBezTo>
                      <a:pt x="196" y="253"/>
                      <a:pt x="253" y="196"/>
                      <a:pt x="253" y="126"/>
                    </a:cubicBezTo>
                    <a:cubicBezTo>
                      <a:pt x="253" y="56"/>
                      <a:pt x="196" y="0"/>
                      <a:pt x="126" y="0"/>
                    </a:cubicBezTo>
                    <a:close/>
                    <a:moveTo>
                      <a:pt x="126" y="205"/>
                    </a:moveTo>
                    <a:cubicBezTo>
                      <a:pt x="83" y="205"/>
                      <a:pt x="48" y="169"/>
                      <a:pt x="48" y="126"/>
                    </a:cubicBezTo>
                    <a:cubicBezTo>
                      <a:pt x="48" y="83"/>
                      <a:pt x="83" y="48"/>
                      <a:pt x="126" y="48"/>
                    </a:cubicBezTo>
                    <a:cubicBezTo>
                      <a:pt x="170" y="48"/>
                      <a:pt x="205" y="83"/>
                      <a:pt x="205" y="126"/>
                    </a:cubicBezTo>
                    <a:cubicBezTo>
                      <a:pt x="205" y="169"/>
                      <a:pt x="170" y="205"/>
                      <a:pt x="126" y="205"/>
                    </a:cubicBezTo>
                    <a:close/>
                    <a:moveTo>
                      <a:pt x="126" y="205"/>
                    </a:moveTo>
                    <a:cubicBezTo>
                      <a:pt x="126" y="205"/>
                      <a:pt x="126" y="205"/>
                      <a:pt x="126" y="20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</p:grpSp>
      <p:sp>
        <p:nvSpPr>
          <p:cNvPr id="74" name="Tijdelijke aanduiding voor voettekst 3">
            <a:extLst>
              <a:ext uri="{FF2B5EF4-FFF2-40B4-BE49-F238E27FC236}">
                <a16:creationId xmlns:a16="http://schemas.microsoft.com/office/drawing/2014/main" xmlns="" id="{7D0A0E1F-3A8B-41B5-8379-512E05D1CFFE}"/>
              </a:ext>
            </a:extLst>
          </p:cNvPr>
          <p:cNvSpPr txBox="1">
            <a:spLocks/>
          </p:cNvSpPr>
          <p:nvPr/>
        </p:nvSpPr>
        <p:spPr>
          <a:xfrm>
            <a:off x="543004" y="5924317"/>
            <a:ext cx="5683625" cy="2440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i="1" dirty="0"/>
              <a:t>Source: RFC 2017®</a:t>
            </a:r>
          </a:p>
        </p:txBody>
      </p:sp>
    </p:spTree>
    <p:extLst>
      <p:ext uri="{BB962C8B-B14F-4D97-AF65-F5344CB8AC3E}">
        <p14:creationId xmlns:p14="http://schemas.microsoft.com/office/powerpoint/2010/main" val="284588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400" fill="hold"/>
                                        <p:tgtEl>
                                          <p:spTgt spid="99"/>
                                        </p:tgtEl>
                                      </p:cBhvr>
                                      <p:by x="102000" y="102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4" dur="400" fill="hold"/>
                                        <p:tgtEl>
                                          <p:spTgt spid="100"/>
                                        </p:tgtEl>
                                      </p:cBhvr>
                                      <p:by x="102000" y="102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mph" presetSubtype="0" autoRev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9" dur="400" fill="hold"/>
                                        <p:tgtEl>
                                          <p:spTgt spid="101"/>
                                        </p:tgtEl>
                                      </p:cBhvr>
                                      <p:by x="102000" y="102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mph" presetSubtype="0" autoRev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24" dur="400" fill="hold"/>
                                        <p:tgtEl>
                                          <p:spTgt spid="102"/>
                                        </p:tgtEl>
                                      </p:cBhvr>
                                      <p:by x="102000" y="10200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mph" presetSubtype="0" autoRev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29" dur="400" fill="hold"/>
                                        <p:tgtEl>
                                          <p:spTgt spid="103"/>
                                        </p:tgtEl>
                                      </p:cBhvr>
                                      <p:by x="102000" y="102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mph" presetSubtype="0" autoRev="1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Scale>
                                      <p:cBhvr>
                                        <p:cTn id="34" dur="400" fill="hold"/>
                                        <p:tgtEl>
                                          <p:spTgt spid="104"/>
                                        </p:tgtEl>
                                      </p:cBhvr>
                                      <p:by x="102000" y="10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5B94E9E2-4FFF-4265-98E8-4547F96868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xmlns="" id="{A31DC531-2735-489F-8F9F-BC3305F33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 err="1"/>
              <a:t>Nourishing</a:t>
            </a:r>
            <a:r>
              <a:rPr lang="nl-NL" dirty="0"/>
              <a:t> </a:t>
            </a:r>
            <a:r>
              <a:rPr lang="nl-NL" dirty="0" err="1"/>
              <a:t>by</a:t>
            </a:r>
            <a:r>
              <a:rPr lang="nl-NL" dirty="0"/>
              <a:t> nature</a:t>
            </a:r>
          </a:p>
        </p:txBody>
      </p:sp>
      <p:sp>
        <p:nvSpPr>
          <p:cNvPr id="29" name="3">
            <a:extLst>
              <a:ext uri="{FF2B5EF4-FFF2-40B4-BE49-F238E27FC236}">
                <a16:creationId xmlns:a16="http://schemas.microsoft.com/office/drawing/2014/main" xmlns="" id="{437D1147-4144-49E8-8BDA-E6A975297DC0}"/>
              </a:ext>
            </a:extLst>
          </p:cNvPr>
          <p:cNvSpPr/>
          <p:nvPr/>
        </p:nvSpPr>
        <p:spPr>
          <a:xfrm>
            <a:off x="8306144" y="1448502"/>
            <a:ext cx="3339277" cy="54539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ow and for generations to come</a:t>
            </a:r>
          </a:p>
        </p:txBody>
      </p:sp>
      <p:sp>
        <p:nvSpPr>
          <p:cNvPr id="39" name="2">
            <a:extLst>
              <a:ext uri="{FF2B5EF4-FFF2-40B4-BE49-F238E27FC236}">
                <a16:creationId xmlns:a16="http://schemas.microsoft.com/office/drawing/2014/main" xmlns="" id="{6C28B731-CD82-4325-8AC9-7FF8202577ED}"/>
              </a:ext>
            </a:extLst>
          </p:cNvPr>
          <p:cNvSpPr/>
          <p:nvPr/>
        </p:nvSpPr>
        <p:spPr>
          <a:xfrm>
            <a:off x="4424574" y="1448502"/>
            <a:ext cx="3339277" cy="54539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 good living for our farmers</a:t>
            </a:r>
          </a:p>
        </p:txBody>
      </p:sp>
      <p:sp>
        <p:nvSpPr>
          <p:cNvPr id="52" name="1">
            <a:extLst>
              <a:ext uri="{FF2B5EF4-FFF2-40B4-BE49-F238E27FC236}">
                <a16:creationId xmlns:a16="http://schemas.microsoft.com/office/drawing/2014/main" xmlns="" id="{7905B641-E625-444D-A68A-B783EE7891C2}"/>
              </a:ext>
            </a:extLst>
          </p:cNvPr>
          <p:cNvSpPr/>
          <p:nvPr/>
        </p:nvSpPr>
        <p:spPr>
          <a:xfrm>
            <a:off x="543004" y="1448502"/>
            <a:ext cx="3339277" cy="54539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457200" rtl="0" eaLnBrk="1" fontAlgn="auto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etter nutrition</a:t>
            </a:r>
          </a:p>
        </p:txBody>
      </p:sp>
      <p:grpSp>
        <p:nvGrpSpPr>
          <p:cNvPr id="75" name="b1">
            <a:extLst>
              <a:ext uri="{FF2B5EF4-FFF2-40B4-BE49-F238E27FC236}">
                <a16:creationId xmlns:a16="http://schemas.microsoft.com/office/drawing/2014/main" xmlns="" id="{E3B5F7C0-59D9-4462-81F6-7E4D85AE3992}"/>
              </a:ext>
            </a:extLst>
          </p:cNvPr>
          <p:cNvGrpSpPr/>
          <p:nvPr/>
        </p:nvGrpSpPr>
        <p:grpSpPr>
          <a:xfrm>
            <a:off x="559998" y="1940019"/>
            <a:ext cx="1857488" cy="3669841"/>
            <a:chOff x="559998" y="1940019"/>
            <a:chExt cx="1857488" cy="3669841"/>
          </a:xfrm>
        </p:grpSpPr>
        <p:cxnSp>
          <p:nvCxnSpPr>
            <p:cNvPr id="42" name="Straight Connector 29">
              <a:extLst>
                <a:ext uri="{FF2B5EF4-FFF2-40B4-BE49-F238E27FC236}">
                  <a16:creationId xmlns:a16="http://schemas.microsoft.com/office/drawing/2014/main" xmlns="" id="{DF4C39BC-DE86-4879-8836-3C56C889282E}"/>
                </a:ext>
              </a:extLst>
            </p:cNvPr>
            <p:cNvCxnSpPr/>
            <p:nvPr/>
          </p:nvCxnSpPr>
          <p:spPr>
            <a:xfrm flipV="1">
              <a:off x="1485592" y="1940019"/>
              <a:ext cx="6300" cy="1720102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31">
              <a:extLst>
                <a:ext uri="{FF2B5EF4-FFF2-40B4-BE49-F238E27FC236}">
                  <a16:creationId xmlns:a16="http://schemas.microsoft.com/office/drawing/2014/main" xmlns="" id="{3E67AAA6-A137-49DD-BE19-958E95F5715E}"/>
                </a:ext>
              </a:extLst>
            </p:cNvPr>
            <p:cNvSpPr/>
            <p:nvPr/>
          </p:nvSpPr>
          <p:spPr>
            <a:xfrm>
              <a:off x="559998" y="2441134"/>
              <a:ext cx="1857488" cy="1857488"/>
            </a:xfrm>
            <a:prstGeom prst="ellipse">
              <a:avLst/>
            </a:prstGeom>
            <a:blipFill>
              <a:blip r:embed="rId2"/>
              <a:stretch>
                <a:fillRect/>
              </a:stretch>
            </a:blipFill>
            <a:ln w="635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74" name="Groep 73">
              <a:extLst>
                <a:ext uri="{FF2B5EF4-FFF2-40B4-BE49-F238E27FC236}">
                  <a16:creationId xmlns:a16="http://schemas.microsoft.com/office/drawing/2014/main" xmlns="" id="{B8B1F71D-82D8-44E1-AC84-F43A8FE3D0DD}"/>
                </a:ext>
              </a:extLst>
            </p:cNvPr>
            <p:cNvGrpSpPr/>
            <p:nvPr/>
          </p:nvGrpSpPr>
          <p:grpSpPr>
            <a:xfrm>
              <a:off x="1359263" y="4313313"/>
              <a:ext cx="258958" cy="1296547"/>
              <a:chOff x="1359263" y="4313313"/>
              <a:chExt cx="258958" cy="1296547"/>
            </a:xfrm>
          </p:grpSpPr>
          <p:sp>
            <p:nvSpPr>
              <p:cNvPr id="43" name="Isosceles Triangle 30">
                <a:extLst>
                  <a:ext uri="{FF2B5EF4-FFF2-40B4-BE49-F238E27FC236}">
                    <a16:creationId xmlns:a16="http://schemas.microsoft.com/office/drawing/2014/main" xmlns="" id="{7E1A42E0-D9ED-4E95-852F-C65917DDE2F9}"/>
                  </a:ext>
                </a:extLst>
              </p:cNvPr>
              <p:cNvSpPr/>
              <p:nvPr/>
            </p:nvSpPr>
            <p:spPr>
              <a:xfrm rot="10800000">
                <a:off x="1359263" y="4313313"/>
                <a:ext cx="258958" cy="149228"/>
              </a:xfrm>
              <a:prstGeom prst="triangl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5" name="Oval 32">
                <a:extLst>
                  <a:ext uri="{FF2B5EF4-FFF2-40B4-BE49-F238E27FC236}">
                    <a16:creationId xmlns:a16="http://schemas.microsoft.com/office/drawing/2014/main" xmlns="" id="{FF6EF622-310F-4D78-8605-D404A667C6F6}"/>
                  </a:ext>
                </a:extLst>
              </p:cNvPr>
              <p:cNvSpPr/>
              <p:nvPr/>
            </p:nvSpPr>
            <p:spPr>
              <a:xfrm>
                <a:off x="1362742" y="4543732"/>
                <a:ext cx="252000" cy="252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6" name="Oval 33">
                <a:extLst>
                  <a:ext uri="{FF2B5EF4-FFF2-40B4-BE49-F238E27FC236}">
                    <a16:creationId xmlns:a16="http://schemas.microsoft.com/office/drawing/2014/main" xmlns="" id="{DF22A59D-17EC-4957-B500-AAD1AC6074CC}"/>
                  </a:ext>
                </a:extLst>
              </p:cNvPr>
              <p:cNvSpPr/>
              <p:nvPr/>
            </p:nvSpPr>
            <p:spPr>
              <a:xfrm>
                <a:off x="1434742" y="4891264"/>
                <a:ext cx="108000" cy="108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8" name="Oval 35">
                <a:extLst>
                  <a:ext uri="{FF2B5EF4-FFF2-40B4-BE49-F238E27FC236}">
                    <a16:creationId xmlns:a16="http://schemas.microsoft.com/office/drawing/2014/main" xmlns="" id="{D8011B10-ABCC-4380-8078-F4771CA8C468}"/>
                  </a:ext>
                </a:extLst>
              </p:cNvPr>
              <p:cNvSpPr/>
              <p:nvPr/>
            </p:nvSpPr>
            <p:spPr>
              <a:xfrm>
                <a:off x="1434742" y="5094796"/>
                <a:ext cx="108000" cy="108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49" name="Oval 36">
                <a:extLst>
                  <a:ext uri="{FF2B5EF4-FFF2-40B4-BE49-F238E27FC236}">
                    <a16:creationId xmlns:a16="http://schemas.microsoft.com/office/drawing/2014/main" xmlns="" id="{AA93E813-FD29-41FD-96F0-6AF8B00C6CA9}"/>
                  </a:ext>
                </a:extLst>
              </p:cNvPr>
              <p:cNvSpPr/>
              <p:nvPr/>
            </p:nvSpPr>
            <p:spPr>
              <a:xfrm>
                <a:off x="1434742" y="5298328"/>
                <a:ext cx="108000" cy="108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0" name="Oval 37">
                <a:extLst>
                  <a:ext uri="{FF2B5EF4-FFF2-40B4-BE49-F238E27FC236}">
                    <a16:creationId xmlns:a16="http://schemas.microsoft.com/office/drawing/2014/main" xmlns="" id="{4F59CE6B-E6B5-4870-AE38-7F471707607D}"/>
                  </a:ext>
                </a:extLst>
              </p:cNvPr>
              <p:cNvSpPr/>
              <p:nvPr/>
            </p:nvSpPr>
            <p:spPr>
              <a:xfrm>
                <a:off x="1434742" y="5501860"/>
                <a:ext cx="108000" cy="108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cxnSp>
            <p:nvCxnSpPr>
              <p:cNvPr id="51" name="Straight Connector 38">
                <a:extLst>
                  <a:ext uri="{FF2B5EF4-FFF2-40B4-BE49-F238E27FC236}">
                    <a16:creationId xmlns:a16="http://schemas.microsoft.com/office/drawing/2014/main" xmlns="" id="{1053345F-5038-41FB-A065-AE9D5907375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88742" y="4403842"/>
                <a:ext cx="0" cy="1139708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ep 72">
              <a:extLst>
                <a:ext uri="{FF2B5EF4-FFF2-40B4-BE49-F238E27FC236}">
                  <a16:creationId xmlns:a16="http://schemas.microsoft.com/office/drawing/2014/main" xmlns="" id="{8F00A66B-6DFB-4629-AEDB-63243612D6D3}"/>
                </a:ext>
              </a:extLst>
            </p:cNvPr>
            <p:cNvGrpSpPr/>
            <p:nvPr/>
          </p:nvGrpSpPr>
          <p:grpSpPr>
            <a:xfrm>
              <a:off x="1289311" y="1940019"/>
              <a:ext cx="398864" cy="488090"/>
              <a:chOff x="1289311" y="1940019"/>
              <a:chExt cx="398864" cy="488090"/>
            </a:xfrm>
          </p:grpSpPr>
          <p:sp>
            <p:nvSpPr>
              <p:cNvPr id="53" name="Isosceles Triangle 40">
                <a:extLst>
                  <a:ext uri="{FF2B5EF4-FFF2-40B4-BE49-F238E27FC236}">
                    <a16:creationId xmlns:a16="http://schemas.microsoft.com/office/drawing/2014/main" xmlns="" id="{2E5A4605-80B9-46BE-B892-E5096E347123}"/>
                  </a:ext>
                </a:extLst>
              </p:cNvPr>
              <p:cNvSpPr/>
              <p:nvPr/>
            </p:nvSpPr>
            <p:spPr>
              <a:xfrm rot="10800000">
                <a:off x="1289311" y="1940019"/>
                <a:ext cx="398864" cy="195962"/>
              </a:xfrm>
              <a:prstGeom prst="triangl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54" name="Isosceles Triangle 41">
                <a:extLst>
                  <a:ext uri="{FF2B5EF4-FFF2-40B4-BE49-F238E27FC236}">
                    <a16:creationId xmlns:a16="http://schemas.microsoft.com/office/drawing/2014/main" xmlns="" id="{E64A8AC3-1070-4E86-9A4D-9316C2B62EEF}"/>
                  </a:ext>
                </a:extLst>
              </p:cNvPr>
              <p:cNvSpPr/>
              <p:nvPr/>
            </p:nvSpPr>
            <p:spPr>
              <a:xfrm>
                <a:off x="1384560" y="2331244"/>
                <a:ext cx="208364" cy="96865"/>
              </a:xfrm>
              <a:prstGeom prst="triangl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fontAlgn="auto" latinLnBrk="0" hangingPunct="1">
                  <a:lnSpc>
                    <a:spcPct val="112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6" name="b2">
            <a:extLst>
              <a:ext uri="{FF2B5EF4-FFF2-40B4-BE49-F238E27FC236}">
                <a16:creationId xmlns:a16="http://schemas.microsoft.com/office/drawing/2014/main" xmlns="" id="{8CDF3101-5CD1-4602-9682-51E176BDFCD2}"/>
              </a:ext>
            </a:extLst>
          </p:cNvPr>
          <p:cNvGrpSpPr/>
          <p:nvPr/>
        </p:nvGrpSpPr>
        <p:grpSpPr>
          <a:xfrm>
            <a:off x="4441568" y="1940019"/>
            <a:ext cx="1857488" cy="3262777"/>
            <a:chOff x="4441568" y="1940019"/>
            <a:chExt cx="1857488" cy="3262777"/>
          </a:xfrm>
        </p:grpSpPr>
        <p:cxnSp>
          <p:nvCxnSpPr>
            <p:cNvPr id="32" name="Straight Connector 19">
              <a:extLst>
                <a:ext uri="{FF2B5EF4-FFF2-40B4-BE49-F238E27FC236}">
                  <a16:creationId xmlns:a16="http://schemas.microsoft.com/office/drawing/2014/main" xmlns="" id="{83EF44E8-6BD8-412A-81ED-32030B990CB8}"/>
                </a:ext>
              </a:extLst>
            </p:cNvPr>
            <p:cNvCxnSpPr/>
            <p:nvPr/>
          </p:nvCxnSpPr>
          <p:spPr>
            <a:xfrm flipV="1">
              <a:off x="5368839" y="1940019"/>
              <a:ext cx="2946" cy="211757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val 20">
              <a:extLst>
                <a:ext uri="{FF2B5EF4-FFF2-40B4-BE49-F238E27FC236}">
                  <a16:creationId xmlns:a16="http://schemas.microsoft.com/office/drawing/2014/main" xmlns="" id="{4A667771-670F-4302-9A31-F205CF833D2E}"/>
                </a:ext>
              </a:extLst>
            </p:cNvPr>
            <p:cNvSpPr/>
            <p:nvPr/>
          </p:nvSpPr>
          <p:spPr>
            <a:xfrm>
              <a:off x="4441568" y="2441134"/>
              <a:ext cx="1857488" cy="1857488"/>
            </a:xfrm>
            <a:prstGeom prst="ellipse">
              <a:avLst/>
            </a:prstGeom>
            <a:blipFill>
              <a:blip r:embed="rId3"/>
              <a:stretch>
                <a:fillRect/>
              </a:stretch>
            </a:blipFill>
            <a:ln w="635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Oval 21">
              <a:extLst>
                <a:ext uri="{FF2B5EF4-FFF2-40B4-BE49-F238E27FC236}">
                  <a16:creationId xmlns:a16="http://schemas.microsoft.com/office/drawing/2014/main" xmlns="" id="{59925514-8D80-41AC-A7E2-CB4D44CD3DB7}"/>
                </a:ext>
              </a:extLst>
            </p:cNvPr>
            <p:cNvSpPr/>
            <p:nvPr/>
          </p:nvSpPr>
          <p:spPr>
            <a:xfrm>
              <a:off x="5244312" y="4543732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5" name="Isosceles Triangle 22">
              <a:extLst>
                <a:ext uri="{FF2B5EF4-FFF2-40B4-BE49-F238E27FC236}">
                  <a16:creationId xmlns:a16="http://schemas.microsoft.com/office/drawing/2014/main" xmlns="" id="{98A501E1-26DC-4573-961F-8E5F14885A20}"/>
                </a:ext>
              </a:extLst>
            </p:cNvPr>
            <p:cNvSpPr/>
            <p:nvPr/>
          </p:nvSpPr>
          <p:spPr>
            <a:xfrm rot="10800000">
              <a:off x="5240834" y="4313313"/>
              <a:ext cx="258958" cy="149228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6" name="Oval 23">
              <a:extLst>
                <a:ext uri="{FF2B5EF4-FFF2-40B4-BE49-F238E27FC236}">
                  <a16:creationId xmlns:a16="http://schemas.microsoft.com/office/drawing/2014/main" xmlns="" id="{C400308E-9A54-4E44-8D41-69122B8EB38D}"/>
                </a:ext>
              </a:extLst>
            </p:cNvPr>
            <p:cNvSpPr/>
            <p:nvPr/>
          </p:nvSpPr>
          <p:spPr>
            <a:xfrm>
              <a:off x="5316312" y="4891264"/>
              <a:ext cx="108000" cy="10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8" name="Oval 25">
              <a:extLst>
                <a:ext uri="{FF2B5EF4-FFF2-40B4-BE49-F238E27FC236}">
                  <a16:creationId xmlns:a16="http://schemas.microsoft.com/office/drawing/2014/main" xmlns="" id="{DC09AE04-C910-4B62-B969-BB3A799E7853}"/>
                </a:ext>
              </a:extLst>
            </p:cNvPr>
            <p:cNvSpPr/>
            <p:nvPr/>
          </p:nvSpPr>
          <p:spPr>
            <a:xfrm>
              <a:off x="5316312" y="5094796"/>
              <a:ext cx="108000" cy="10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0" name="Isosceles Triangle 27">
              <a:extLst>
                <a:ext uri="{FF2B5EF4-FFF2-40B4-BE49-F238E27FC236}">
                  <a16:creationId xmlns:a16="http://schemas.microsoft.com/office/drawing/2014/main" xmlns="" id="{183E61C6-E378-48CB-BDC6-59C482C47990}"/>
                </a:ext>
              </a:extLst>
            </p:cNvPr>
            <p:cNvSpPr/>
            <p:nvPr/>
          </p:nvSpPr>
          <p:spPr>
            <a:xfrm rot="10800000">
              <a:off x="5170880" y="1940019"/>
              <a:ext cx="398864" cy="195962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Isosceles Triangle 28">
              <a:extLst>
                <a:ext uri="{FF2B5EF4-FFF2-40B4-BE49-F238E27FC236}">
                  <a16:creationId xmlns:a16="http://schemas.microsoft.com/office/drawing/2014/main" xmlns="" id="{91DFB1ED-F739-44BF-A9CC-81486C664A73}"/>
                </a:ext>
              </a:extLst>
            </p:cNvPr>
            <p:cNvSpPr/>
            <p:nvPr/>
          </p:nvSpPr>
          <p:spPr>
            <a:xfrm>
              <a:off x="5266130" y="2331244"/>
              <a:ext cx="208364" cy="96865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cxnSp>
          <p:nvCxnSpPr>
            <p:cNvPr id="55" name="Straight Connector 43">
              <a:extLst>
                <a:ext uri="{FF2B5EF4-FFF2-40B4-BE49-F238E27FC236}">
                  <a16:creationId xmlns:a16="http://schemas.microsoft.com/office/drawing/2014/main" xmlns="" id="{837085C7-2E6D-49CC-AEFF-55A70807AB6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67081" y="4403842"/>
              <a:ext cx="0" cy="749183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b3">
            <a:extLst>
              <a:ext uri="{FF2B5EF4-FFF2-40B4-BE49-F238E27FC236}">
                <a16:creationId xmlns:a16="http://schemas.microsoft.com/office/drawing/2014/main" xmlns="" id="{95FB1006-FDD6-40E0-8624-6B90B5FB26AC}"/>
              </a:ext>
            </a:extLst>
          </p:cNvPr>
          <p:cNvGrpSpPr/>
          <p:nvPr/>
        </p:nvGrpSpPr>
        <p:grpSpPr>
          <a:xfrm>
            <a:off x="8323138" y="1940019"/>
            <a:ext cx="1857488" cy="3875159"/>
            <a:chOff x="8323138" y="1940019"/>
            <a:chExt cx="1857488" cy="3875159"/>
          </a:xfrm>
        </p:grpSpPr>
        <p:cxnSp>
          <p:nvCxnSpPr>
            <p:cNvPr id="19" name="Straight Connector 5">
              <a:extLst>
                <a:ext uri="{FF2B5EF4-FFF2-40B4-BE49-F238E27FC236}">
                  <a16:creationId xmlns:a16="http://schemas.microsoft.com/office/drawing/2014/main" xmlns="" id="{153AEFE4-B67F-42E8-9578-8D1F3BDC25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50393" y="1940019"/>
              <a:ext cx="2979" cy="2026603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Oval 6">
              <a:extLst>
                <a:ext uri="{FF2B5EF4-FFF2-40B4-BE49-F238E27FC236}">
                  <a16:creationId xmlns:a16="http://schemas.microsoft.com/office/drawing/2014/main" xmlns="" id="{D472A2A3-70B3-4068-8EC1-F2E0FDCBCD24}"/>
                </a:ext>
              </a:extLst>
            </p:cNvPr>
            <p:cNvSpPr/>
            <p:nvPr/>
          </p:nvSpPr>
          <p:spPr>
            <a:xfrm>
              <a:off x="8323138" y="2441134"/>
              <a:ext cx="1857488" cy="1857488"/>
            </a:xfrm>
            <a:prstGeom prst="ellipse">
              <a:avLst/>
            </a:prstGeom>
            <a:blipFill>
              <a:blip r:embed="rId4"/>
              <a:stretch>
                <a:fillRect/>
              </a:stretch>
            </a:blipFill>
            <a:ln w="635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Oval 7">
              <a:extLst>
                <a:ext uri="{FF2B5EF4-FFF2-40B4-BE49-F238E27FC236}">
                  <a16:creationId xmlns:a16="http://schemas.microsoft.com/office/drawing/2014/main" xmlns="" id="{CC1677DD-0849-4F7D-8690-607067667D68}"/>
                </a:ext>
              </a:extLst>
            </p:cNvPr>
            <p:cNvSpPr/>
            <p:nvPr/>
          </p:nvSpPr>
          <p:spPr>
            <a:xfrm>
              <a:off x="9125882" y="4543732"/>
              <a:ext cx="252000" cy="252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Isosceles Triangle 8">
              <a:extLst>
                <a:ext uri="{FF2B5EF4-FFF2-40B4-BE49-F238E27FC236}">
                  <a16:creationId xmlns:a16="http://schemas.microsoft.com/office/drawing/2014/main" xmlns="" id="{8E8F45DA-8C3D-4BE6-978B-45BF59F6931E}"/>
                </a:ext>
              </a:extLst>
            </p:cNvPr>
            <p:cNvSpPr/>
            <p:nvPr/>
          </p:nvSpPr>
          <p:spPr>
            <a:xfrm rot="10800000">
              <a:off x="9122403" y="4313313"/>
              <a:ext cx="258958" cy="149228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Oval 9">
              <a:extLst>
                <a:ext uri="{FF2B5EF4-FFF2-40B4-BE49-F238E27FC236}">
                  <a16:creationId xmlns:a16="http://schemas.microsoft.com/office/drawing/2014/main" xmlns="" id="{F014AF66-4B41-4D4A-93F4-AFBBE30664A5}"/>
                </a:ext>
              </a:extLst>
            </p:cNvPr>
            <p:cNvSpPr/>
            <p:nvPr/>
          </p:nvSpPr>
          <p:spPr>
            <a:xfrm>
              <a:off x="9197882" y="4891264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Oval 11">
              <a:extLst>
                <a:ext uri="{FF2B5EF4-FFF2-40B4-BE49-F238E27FC236}">
                  <a16:creationId xmlns:a16="http://schemas.microsoft.com/office/drawing/2014/main" xmlns="" id="{8053153D-E8CE-4A90-A0FA-ACD5C4354AE4}"/>
                </a:ext>
              </a:extLst>
            </p:cNvPr>
            <p:cNvSpPr/>
            <p:nvPr/>
          </p:nvSpPr>
          <p:spPr>
            <a:xfrm>
              <a:off x="9197882" y="5094796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Oval 12">
              <a:extLst>
                <a:ext uri="{FF2B5EF4-FFF2-40B4-BE49-F238E27FC236}">
                  <a16:creationId xmlns:a16="http://schemas.microsoft.com/office/drawing/2014/main" xmlns="" id="{5982528D-656E-491B-B34F-497ACBCB1599}"/>
                </a:ext>
              </a:extLst>
            </p:cNvPr>
            <p:cNvSpPr/>
            <p:nvPr/>
          </p:nvSpPr>
          <p:spPr>
            <a:xfrm>
              <a:off x="9197882" y="5298328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Oval 13">
              <a:extLst>
                <a:ext uri="{FF2B5EF4-FFF2-40B4-BE49-F238E27FC236}">
                  <a16:creationId xmlns:a16="http://schemas.microsoft.com/office/drawing/2014/main" xmlns="" id="{5B844829-984A-49F1-A952-0D881D9F77D8}"/>
                </a:ext>
              </a:extLst>
            </p:cNvPr>
            <p:cNvSpPr/>
            <p:nvPr/>
          </p:nvSpPr>
          <p:spPr>
            <a:xfrm>
              <a:off x="9197882" y="5501860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Oval 14">
              <a:extLst>
                <a:ext uri="{FF2B5EF4-FFF2-40B4-BE49-F238E27FC236}">
                  <a16:creationId xmlns:a16="http://schemas.microsoft.com/office/drawing/2014/main" xmlns="" id="{6729754A-5107-4F29-B407-7532DAE917F1}"/>
                </a:ext>
              </a:extLst>
            </p:cNvPr>
            <p:cNvSpPr/>
            <p:nvPr/>
          </p:nvSpPr>
          <p:spPr>
            <a:xfrm>
              <a:off x="9197882" y="5707178"/>
              <a:ext cx="108000" cy="108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cxnSp>
          <p:nvCxnSpPr>
            <p:cNvPr id="28" name="Straight Connector 15">
              <a:extLst>
                <a:ext uri="{FF2B5EF4-FFF2-40B4-BE49-F238E27FC236}">
                  <a16:creationId xmlns:a16="http://schemas.microsoft.com/office/drawing/2014/main" xmlns="" id="{0E321CE3-0371-4E17-80D7-2F8D7D789D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53509" y="4403842"/>
              <a:ext cx="0" cy="1368308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Isosceles Triangle 17">
              <a:extLst>
                <a:ext uri="{FF2B5EF4-FFF2-40B4-BE49-F238E27FC236}">
                  <a16:creationId xmlns:a16="http://schemas.microsoft.com/office/drawing/2014/main" xmlns="" id="{E7607C2F-BE09-4D5A-A439-A194FD2654E7}"/>
                </a:ext>
              </a:extLst>
            </p:cNvPr>
            <p:cNvSpPr/>
            <p:nvPr/>
          </p:nvSpPr>
          <p:spPr>
            <a:xfrm rot="10800000">
              <a:off x="9052450" y="1940020"/>
              <a:ext cx="398864" cy="195962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Isosceles Triangle 18">
              <a:extLst>
                <a:ext uri="{FF2B5EF4-FFF2-40B4-BE49-F238E27FC236}">
                  <a16:creationId xmlns:a16="http://schemas.microsoft.com/office/drawing/2014/main" xmlns="" id="{4B3FCD4C-F4FB-4608-939A-06F341C5F2E3}"/>
                </a:ext>
              </a:extLst>
            </p:cNvPr>
            <p:cNvSpPr/>
            <p:nvPr/>
          </p:nvSpPr>
          <p:spPr>
            <a:xfrm>
              <a:off x="9147700" y="2331244"/>
              <a:ext cx="208364" cy="96865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fontAlgn="auto" latinLnBrk="0" hangingPunct="1">
                <a:lnSpc>
                  <a:spcPct val="112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47" name="t1">
            <a:extLst>
              <a:ext uri="{FF2B5EF4-FFF2-40B4-BE49-F238E27FC236}">
                <a16:creationId xmlns:a16="http://schemas.microsoft.com/office/drawing/2014/main" xmlns="" id="{8D6BE4BF-6598-49BE-80A2-9EA97026C634}"/>
              </a:ext>
            </a:extLst>
          </p:cNvPr>
          <p:cNvSpPr txBox="1"/>
          <p:nvPr/>
        </p:nvSpPr>
        <p:spPr>
          <a:xfrm>
            <a:off x="1668249" y="4830217"/>
            <a:ext cx="2588404" cy="8232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94D9"/>
              </a:buClr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dirty="0">
                <a:ln>
                  <a:noFill/>
                </a:ln>
                <a:solidFill>
                  <a:srgbClr val="3F4043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etter products</a:t>
            </a:r>
          </a:p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94D9"/>
              </a:buClr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dirty="0">
                <a:ln>
                  <a:noFill/>
                </a:ln>
                <a:solidFill>
                  <a:srgbClr val="3F4043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ponsible marketing</a:t>
            </a:r>
          </a:p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94D9"/>
              </a:buClr>
              <a:buSzTx/>
              <a:buFontTx/>
              <a:buNone/>
              <a:tabLst/>
              <a:defRPr/>
            </a:pPr>
            <a:r>
              <a:rPr lang="en-GB" sz="1050" dirty="0">
                <a:solidFill>
                  <a:srgbClr val="3F4043"/>
                </a:solidFill>
                <a:latin typeface="+mj-lt"/>
              </a:rPr>
              <a:t>Clear information on labels</a:t>
            </a:r>
            <a:endParaRPr kumimoji="0" lang="en-GB" sz="1050" b="0" i="0" u="none" strike="noStrike" kern="1200" cap="none" spc="0" normalizeH="0" baseline="0" dirty="0">
              <a:ln>
                <a:noFill/>
              </a:ln>
              <a:solidFill>
                <a:srgbClr val="3F404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94D9"/>
              </a:buClr>
              <a:buSzTx/>
              <a:buFontTx/>
              <a:buNone/>
              <a:tabLst/>
              <a:defRPr/>
            </a:pPr>
            <a:r>
              <a:rPr lang="en-GB" sz="1050" dirty="0">
                <a:solidFill>
                  <a:srgbClr val="3F4043"/>
                </a:solidFill>
                <a:latin typeface="+mj-lt"/>
              </a:rPr>
              <a:t>Awareness about responsible nutrition</a:t>
            </a:r>
            <a:endParaRPr kumimoji="0" lang="en-GB" sz="1050" b="0" i="0" u="none" strike="noStrike" kern="1200" cap="none" spc="0" normalizeH="0" baseline="0" dirty="0">
              <a:ln>
                <a:noFill/>
              </a:ln>
              <a:solidFill>
                <a:srgbClr val="3F404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7" name="t2">
            <a:extLst>
              <a:ext uri="{FF2B5EF4-FFF2-40B4-BE49-F238E27FC236}">
                <a16:creationId xmlns:a16="http://schemas.microsoft.com/office/drawing/2014/main" xmlns="" id="{01394813-A795-435E-A041-38669C18BAE6}"/>
              </a:ext>
            </a:extLst>
          </p:cNvPr>
          <p:cNvSpPr txBox="1"/>
          <p:nvPr/>
        </p:nvSpPr>
        <p:spPr>
          <a:xfrm>
            <a:off x="5560240" y="4830217"/>
            <a:ext cx="2583930" cy="4123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defTabSz="45720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94D9"/>
              </a:buClr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rgbClr val="3F4043"/>
                </a:solidFill>
                <a:effectLst/>
                <a:uLnTx/>
                <a:uFillTx/>
                <a:latin typeface="+mj-lt"/>
              </a:defRPr>
            </a:lvl1pPr>
          </a:lstStyle>
          <a:p>
            <a:r>
              <a:rPr lang="en-GB" dirty="0"/>
              <a:t>Value creation for member farmers</a:t>
            </a:r>
          </a:p>
          <a:p>
            <a:r>
              <a:rPr lang="en-GB" dirty="0"/>
              <a:t>Dairy Development Programme</a:t>
            </a:r>
          </a:p>
        </p:txBody>
      </p:sp>
      <p:sp>
        <p:nvSpPr>
          <p:cNvPr id="69" name="t3">
            <a:extLst>
              <a:ext uri="{FF2B5EF4-FFF2-40B4-BE49-F238E27FC236}">
                <a16:creationId xmlns:a16="http://schemas.microsoft.com/office/drawing/2014/main" xmlns="" id="{FC652612-FCFB-4201-B0DD-A4DC93B04BC1}"/>
              </a:ext>
            </a:extLst>
          </p:cNvPr>
          <p:cNvSpPr txBox="1"/>
          <p:nvPr/>
        </p:nvSpPr>
        <p:spPr>
          <a:xfrm>
            <a:off x="9494630" y="4830217"/>
            <a:ext cx="2428162" cy="1033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defTabSz="457200" fontAlgn="auto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0094D9"/>
              </a:buClr>
              <a:buSzTx/>
              <a:buFontTx/>
              <a:buNone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rgbClr val="3F4043"/>
                </a:solidFill>
                <a:effectLst/>
                <a:uLnTx/>
                <a:uFillTx/>
                <a:latin typeface="+mj-lt"/>
              </a:defRPr>
            </a:lvl1pPr>
          </a:lstStyle>
          <a:p>
            <a:r>
              <a:rPr lang="en-GB" dirty="0"/>
              <a:t>Climate-neutral growth</a:t>
            </a:r>
          </a:p>
          <a:p>
            <a:r>
              <a:rPr lang="en-GB" dirty="0"/>
              <a:t>Sustainable purchasing</a:t>
            </a:r>
          </a:p>
          <a:p>
            <a:r>
              <a:rPr lang="en-GB" dirty="0"/>
              <a:t>Sustainable production</a:t>
            </a:r>
          </a:p>
          <a:p>
            <a:r>
              <a:rPr lang="en-GB" dirty="0"/>
              <a:t>Animal health and welfare</a:t>
            </a:r>
          </a:p>
          <a:p>
            <a:r>
              <a:rPr lang="en-GB" dirty="0"/>
              <a:t>Meadow grazing and biodiversity</a:t>
            </a:r>
          </a:p>
        </p:txBody>
      </p:sp>
      <p:sp>
        <p:nvSpPr>
          <p:cNvPr id="56" name="Tijdelijke aanduiding voor voettekst 3">
            <a:extLst>
              <a:ext uri="{FF2B5EF4-FFF2-40B4-BE49-F238E27FC236}">
                <a16:creationId xmlns:a16="http://schemas.microsoft.com/office/drawing/2014/main" xmlns="" id="{18F85549-110E-4F87-AC0D-085A3BEDE26F}"/>
              </a:ext>
            </a:extLst>
          </p:cNvPr>
          <p:cNvSpPr txBox="1">
            <a:spLocks/>
          </p:cNvSpPr>
          <p:nvPr/>
        </p:nvSpPr>
        <p:spPr>
          <a:xfrm>
            <a:off x="543004" y="5924317"/>
            <a:ext cx="5683625" cy="24400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i="1" dirty="0"/>
              <a:t>Source: RFC®</a:t>
            </a:r>
          </a:p>
        </p:txBody>
      </p:sp>
    </p:spTree>
    <p:extLst>
      <p:ext uri="{BB962C8B-B14F-4D97-AF65-F5344CB8AC3E}">
        <p14:creationId xmlns:p14="http://schemas.microsoft.com/office/powerpoint/2010/main" val="389185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75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75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7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500"/>
                            </p:stCondLst>
                            <p:childTnLst>
                              <p:par>
                                <p:cTn id="3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7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25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9" grpId="0" animBg="1"/>
      <p:bldP spid="52" grpId="0" animBg="1"/>
      <p:bldP spid="47" grpId="0"/>
      <p:bldP spid="37" grpId="0"/>
      <p:bldP spid="6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5B94E9E2-4FFF-4265-98E8-4547F96868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r>
              <a:rPr lang="en-US"/>
              <a:t>Promotion Optimization Institute | European Summit 2018 | Budapest, Hungary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65945973-4877-4864-BAF8-4B90C66D15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NL" dirty="0"/>
              <a:t>Total supermarkets N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9AA0BE0E-C18D-48D8-B25A-9CF08A109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dirty="0"/>
              <a:t>Brands top 100 2017</a:t>
            </a:r>
          </a:p>
        </p:txBody>
      </p:sp>
      <p:graphicFrame>
        <p:nvGraphicFramePr>
          <p:cNvPr id="24" name="Table 4">
            <a:extLst>
              <a:ext uri="{FF2B5EF4-FFF2-40B4-BE49-F238E27FC236}">
                <a16:creationId xmlns:a16="http://schemas.microsoft.com/office/drawing/2014/main" xmlns="" id="{2D84BFEC-EFA0-4B74-9EB9-3538C72315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7747327"/>
              </p:ext>
            </p:extLst>
          </p:nvPr>
        </p:nvGraphicFramePr>
        <p:xfrm>
          <a:off x="543004" y="1448019"/>
          <a:ext cx="5280494" cy="4160221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9936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433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4339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Rank 201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Brand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Turnover (</a:t>
                      </a:r>
                      <a:r>
                        <a:rPr lang="en-GB" sz="1100" dirty="0" err="1">
                          <a:solidFill>
                            <a:schemeClr val="bg1"/>
                          </a:solidFill>
                        </a:rPr>
                        <a:t>EuroMM</a:t>
                      </a:r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Marlboro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455,45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Coca Cola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298,27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525487118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Campina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265,53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74424092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Heineken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263,34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88381410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Unox</a:t>
                      </a:r>
                      <a:endParaRPr lang="en-GB" sz="1100" dirty="0">
                        <a:solidFill>
                          <a:schemeClr val="tx2"/>
                        </a:solidFill>
                      </a:endParaRP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217,64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25936347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1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Mora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99,79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26904651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20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Optimel</a:t>
                      </a:r>
                      <a:endParaRPr lang="en-GB" sz="1100" dirty="0">
                        <a:solidFill>
                          <a:schemeClr val="tx2"/>
                        </a:solidFill>
                      </a:endParaRP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99,21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3021216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21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Spa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98,87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40684176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4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Fanta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66,99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550623846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4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Maggi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66,23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54338251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49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Milner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65,35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152272"/>
                  </a:ext>
                </a:extLst>
              </a:tr>
              <a:tr h="320017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50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Aviko</a:t>
                      </a:r>
                      <a:endParaRPr lang="en-GB" sz="1100" dirty="0">
                        <a:solidFill>
                          <a:schemeClr val="tx2"/>
                        </a:solidFill>
                      </a:endParaRP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63,84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84320886"/>
                  </a:ext>
                </a:extLst>
              </a:tr>
            </a:tbl>
          </a:graphicData>
        </a:graphic>
      </p:graphicFrame>
      <p:pic>
        <p:nvPicPr>
          <p:cNvPr id="2050" name="Picture 2" descr="Afbeeldingsresultaat voor iri">
            <a:extLst>
              <a:ext uri="{FF2B5EF4-FFF2-40B4-BE49-F238E27FC236}">
                <a16:creationId xmlns:a16="http://schemas.microsoft.com/office/drawing/2014/main" xmlns="" id="{F4C4F73D-69C9-48B1-A3D2-1BD5F00048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06102" y="531656"/>
            <a:ext cx="1214398" cy="522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6" name="Table 4">
            <a:extLst>
              <a:ext uri="{FF2B5EF4-FFF2-40B4-BE49-F238E27FC236}">
                <a16:creationId xmlns:a16="http://schemas.microsoft.com/office/drawing/2014/main" xmlns="" id="{0F9EBC89-4649-44FE-B4AE-80BBB46CCE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7526702"/>
              </p:ext>
            </p:extLst>
          </p:nvPr>
        </p:nvGraphicFramePr>
        <p:xfrm>
          <a:off x="6364928" y="1448019"/>
          <a:ext cx="5264760" cy="384480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9936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3558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355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Rank 201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Brand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Turnover (</a:t>
                      </a:r>
                      <a:r>
                        <a:rPr lang="en-GB" sz="1100" dirty="0" err="1">
                          <a:solidFill>
                            <a:schemeClr val="bg1"/>
                          </a:solidFill>
                        </a:rPr>
                        <a:t>EuroMM</a:t>
                      </a:r>
                      <a:r>
                        <a:rPr lang="en-GB" sz="1100" dirty="0">
                          <a:solidFill>
                            <a:schemeClr val="bg1"/>
                          </a:solidFill>
                        </a:rPr>
                        <a:t>)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5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Kravan</a:t>
                      </a: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Cevitam</a:t>
                      </a:r>
                      <a:endParaRPr lang="en-GB" sz="1100" dirty="0">
                        <a:solidFill>
                          <a:schemeClr val="tx2"/>
                        </a:solidFill>
                      </a:endParaRP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60,33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5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Chocomel</a:t>
                      </a:r>
                      <a:endParaRPr lang="en-GB" sz="1100" dirty="0">
                        <a:solidFill>
                          <a:schemeClr val="tx2"/>
                        </a:solidFill>
                      </a:endParaRP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58,90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25487118"/>
                  </a:ext>
                </a:extLst>
              </a:tr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5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Duyvis</a:t>
                      </a:r>
                      <a:endParaRPr lang="en-GB" sz="1100" dirty="0">
                        <a:solidFill>
                          <a:schemeClr val="tx2"/>
                        </a:solidFill>
                      </a:endParaRP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58,30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74424092"/>
                  </a:ext>
                </a:extLst>
              </a:tr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7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Pampers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41,82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88381410"/>
                  </a:ext>
                </a:extLst>
              </a:tr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77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Friesche</a:t>
                      </a: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vlag</a:t>
                      </a:r>
                      <a:endParaRPr lang="en-GB" sz="1100" dirty="0">
                        <a:solidFill>
                          <a:schemeClr val="tx2"/>
                        </a:solidFill>
                      </a:endParaRP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41,74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25936347"/>
                  </a:ext>
                </a:extLst>
              </a:tr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78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Bonduelle</a:t>
                      </a:r>
                      <a:endParaRPr lang="en-GB" sz="1100" dirty="0">
                        <a:solidFill>
                          <a:schemeClr val="tx2"/>
                        </a:solidFill>
                      </a:endParaRP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41,52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26904651"/>
                  </a:ext>
                </a:extLst>
              </a:tr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83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Old Amsterdam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39,13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43021216"/>
                  </a:ext>
                </a:extLst>
              </a:tr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84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Tony ‘s </a:t>
                      </a: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chocolonely</a:t>
                      </a:r>
                      <a:endParaRPr lang="en-GB" sz="1100" dirty="0">
                        <a:solidFill>
                          <a:schemeClr val="tx2"/>
                        </a:solidFill>
                      </a:endParaRP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38,83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40684176"/>
                  </a:ext>
                </a:extLst>
              </a:tr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85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Mona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38,75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50623846"/>
                  </a:ext>
                </a:extLst>
              </a:tr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86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M&amp;M’s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38,70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54338251"/>
                  </a:ext>
                </a:extLst>
              </a:tr>
              <a:tr h="3204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  <a:latin typeface="+mj-lt"/>
                        </a:rPr>
                        <a:t>100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en-GB" sz="1100" dirty="0" err="1">
                          <a:solidFill>
                            <a:schemeClr val="tx2"/>
                          </a:solidFill>
                        </a:rPr>
                        <a:t>Remia</a:t>
                      </a:r>
                      <a:endParaRPr lang="en-GB" sz="1100" dirty="0">
                        <a:solidFill>
                          <a:schemeClr val="tx2"/>
                        </a:solidFill>
                      </a:endParaRP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tx2"/>
                          </a:solidFill>
                        </a:rPr>
                        <a:t>€ 31,82</a:t>
                      </a:r>
                    </a:p>
                  </a:txBody>
                  <a:tcPr marL="108000" marR="108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641993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579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OE g">
            <a:extLst>
              <a:ext uri="{FF2B5EF4-FFF2-40B4-BE49-F238E27FC236}">
                <a16:creationId xmlns:a16="http://schemas.microsoft.com/office/drawing/2014/main" xmlns="" id="{6A11F18D-7E34-4E46-AB83-00EFC14484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4527" t="29193" r="380" b="1255"/>
          <a:stretch/>
        </p:blipFill>
        <p:spPr>
          <a:xfrm flipH="1">
            <a:off x="-902931" y="-232229"/>
            <a:ext cx="13441746" cy="7322458"/>
          </a:xfrm>
          <a:prstGeom prst="rect">
            <a:avLst/>
          </a:prstGeom>
        </p:spPr>
      </p:pic>
      <p:pic>
        <p:nvPicPr>
          <p:cNvPr id="9" name="KOE c">
            <a:extLst>
              <a:ext uri="{FF2B5EF4-FFF2-40B4-BE49-F238E27FC236}">
                <a16:creationId xmlns:a16="http://schemas.microsoft.com/office/drawing/2014/main" xmlns="" id="{81440E13-6A92-4EAE-8A9D-45113F8DC6E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Blur radius="2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4527" t="29193" r="380" b="1255"/>
          <a:stretch/>
        </p:blipFill>
        <p:spPr>
          <a:xfrm flipH="1">
            <a:off x="-902931" y="-232229"/>
            <a:ext cx="13441746" cy="7322458"/>
          </a:xfrm>
          <a:prstGeom prst="rect">
            <a:avLst/>
          </a:prstGeom>
        </p:spPr>
      </p:pic>
      <p:pic>
        <p:nvPicPr>
          <p:cNvPr id="10" name="MENSEN g">
            <a:extLst>
              <a:ext uri="{FF2B5EF4-FFF2-40B4-BE49-F238E27FC236}">
                <a16:creationId xmlns:a16="http://schemas.microsoft.com/office/drawing/2014/main" xmlns="" id="{4B7CC9C8-43E8-46CB-B3B9-1FA42499DAD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30"/>
                    </a14:imgEffect>
                    <a14:imgEffect>
                      <a14:saturation sat="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02931" y="-232231"/>
            <a:ext cx="13441746" cy="7322458"/>
          </a:xfrm>
          <a:prstGeom prst="rect">
            <a:avLst/>
          </a:prstGeom>
        </p:spPr>
      </p:pic>
      <p:pic>
        <p:nvPicPr>
          <p:cNvPr id="8" name="PITCHFORK" hidden="1">
            <a:extLst>
              <a:ext uri="{FF2B5EF4-FFF2-40B4-BE49-F238E27FC236}">
                <a16:creationId xmlns:a16="http://schemas.microsoft.com/office/drawing/2014/main" xmlns="" id="{7B265E71-73A1-4A32-AD14-85B70ADC0F0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652105">
            <a:off x="6197695" y="303773"/>
            <a:ext cx="5192632" cy="7364096"/>
          </a:xfrm>
          <a:prstGeom prst="rect">
            <a:avLst/>
          </a:prstGeom>
        </p:spPr>
      </p:pic>
      <p:pic>
        <p:nvPicPr>
          <p:cNvPr id="4" name="PITCHFORK" hidden="1">
            <a:extLst>
              <a:ext uri="{FF2B5EF4-FFF2-40B4-BE49-F238E27FC236}">
                <a16:creationId xmlns:a16="http://schemas.microsoft.com/office/drawing/2014/main" xmlns="" id="{B05454C4-F364-4D02-98DB-1DE49E451B7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748043" flipH="1">
            <a:off x="279355" y="1833737"/>
            <a:ext cx="4045638" cy="5737450"/>
          </a:xfrm>
          <a:prstGeom prst="rect">
            <a:avLst/>
          </a:prstGeom>
        </p:spPr>
      </p:pic>
      <p:pic>
        <p:nvPicPr>
          <p:cNvPr id="7" name="Pitch fork">
            <a:extLst>
              <a:ext uri="{FF2B5EF4-FFF2-40B4-BE49-F238E27FC236}">
                <a16:creationId xmlns:a16="http://schemas.microsoft.com/office/drawing/2014/main" xmlns="" id="{BBF11DA1-3E17-4619-A503-F4E6F9C2C22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647929">
            <a:off x="6165499" y="199498"/>
            <a:ext cx="5383640" cy="7634981"/>
          </a:xfrm>
          <a:prstGeom prst="rect">
            <a:avLst/>
          </a:prstGeom>
        </p:spPr>
      </p:pic>
      <p:pic>
        <p:nvPicPr>
          <p:cNvPr id="11" name="Pitch fork">
            <a:extLst>
              <a:ext uri="{FF2B5EF4-FFF2-40B4-BE49-F238E27FC236}">
                <a16:creationId xmlns:a16="http://schemas.microsoft.com/office/drawing/2014/main" xmlns="" id="{6CC3CDD1-AA5D-4B1E-A83C-DFCB0ADB1B84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952071" flipH="1">
            <a:off x="322315" y="1894661"/>
            <a:ext cx="3959718" cy="561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26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0 L 0.03308 0 " pathEditMode="relative" rAng="0" ptsTypes="AA">
                                      <p:cBhvr>
                                        <p:cTn id="6" dur="6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54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6000" fill="hold"/>
                                        <p:tgtEl>
                                          <p:spTgt spid="8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35" presetClass="pat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1.48148E-6 L -0.02057 1.48148E-6 " pathEditMode="relative" rAng="0" ptsTypes="AA">
                                      <p:cBhvr>
                                        <p:cTn id="10" dur="6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29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" presetClass="emp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6000" fill="hold"/>
                                        <p:tgtEl>
                                          <p:spTgt spid="6"/>
                                        </p:tgtEl>
                                      </p:cBhvr>
                                      <p:by x="97000" y="97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6" presetClass="emp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6000" fill="hold"/>
                                        <p:tgtEl>
                                          <p:spTgt spid="4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35" presetClass="pat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1.85185E-6 L 0.02097 1.85185E-6 " pathEditMode="relative" rAng="0" ptsTypes="AA">
                                      <p:cBhvr>
                                        <p:cTn id="16" dur="6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42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35" presetClass="pat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0 L 0.03308 0 " pathEditMode="relative" rAng="0" ptsTypes="AA">
                                      <p:cBhvr>
                                        <p:cTn id="18" dur="6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54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6" presetClass="emp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6000" fill="hold"/>
                                        <p:tgtEl>
                                          <p:spTgt spid="9"/>
                                        </p:tgtEl>
                                      </p:cBhvr>
                                      <p:by x="97000" y="97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2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2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mph" presetSubtype="0" accel="38000" decel="62000" fill="hold" nodeType="withEffect">
                                  <p:stCondLst>
                                    <p:cond delay="2250"/>
                                  </p:stCondLst>
                                  <p:childTnLst>
                                    <p:animScale>
                                      <p:cBhvr>
                                        <p:cTn id="28" dur="3750" fill="hold"/>
                                        <p:tgtEl>
                                          <p:spTgt spid="10"/>
                                        </p:tgtEl>
                                      </p:cBhvr>
                                      <p:by x="102000" y="102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6" presetClass="emp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0" dur="6000" fill="hold"/>
                                        <p:tgtEl>
                                          <p:spTgt spid="11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35" presetClass="pat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6 1.85185E-6 L 0.02097 1.85185E-6 " pathEditMode="relative" rAng="0" ptsTypes="AA">
                                      <p:cBhvr>
                                        <p:cTn id="32" dur="6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42" y="0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6" presetClass="emp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6000" fill="hold"/>
                                        <p:tgtEl>
                                          <p:spTgt spid="7"/>
                                        </p:tgtEl>
                                      </p:cBhvr>
                                      <p:by x="104000" y="104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35" presetClass="path" presetSubtype="0" accel="38000" decel="6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1.48148E-6 L -0.02057 1.48148E-6 " pathEditMode="relative" rAng="0" ptsTypes="AA">
                                      <p:cBhvr>
                                        <p:cTn id="36" dur="6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2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e6494615c1f5c1f374268b4221fed5f19e2e1d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ha6EM4M0CVhxS5HdJI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j7XSlMEkG9XpgpO0uF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THmXYRkkC4_ytLmTyC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j7XSlMEkG9XpgpO0uF7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6lZYlSm0GliSIqk.Fp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lFvixlq0WF4UA.m1Fg1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ZAoOsDOEqNykpDLXxG6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ZAoOsDOEqNykpDLXxG6A"/>
</p:tagLst>
</file>

<file path=ppt/theme/theme1.xml><?xml version="1.0" encoding="utf-8"?>
<a:theme xmlns:a="http://schemas.openxmlformats.org/drawingml/2006/main" name="Template-set Friesland Campina ">
  <a:themeElements>
    <a:clrScheme name="FrieslandCampina">
      <a:dk1>
        <a:sysClr val="windowText" lastClr="000000"/>
      </a:dk1>
      <a:lt1>
        <a:sysClr val="window" lastClr="FFFFFF"/>
      </a:lt1>
      <a:dk2>
        <a:srgbClr val="393A3D"/>
      </a:dk2>
      <a:lt2>
        <a:srgbClr val="D9DADD"/>
      </a:lt2>
      <a:accent1>
        <a:srgbClr val="38A934"/>
      </a:accent1>
      <a:accent2>
        <a:srgbClr val="008AD1"/>
      </a:accent2>
      <a:accent3>
        <a:srgbClr val="E5007C"/>
      </a:accent3>
      <a:accent4>
        <a:srgbClr val="E3000F"/>
      </a:accent4>
      <a:accent5>
        <a:srgbClr val="F39100"/>
      </a:accent5>
      <a:accent6>
        <a:srgbClr val="DDDC00"/>
      </a:accent6>
      <a:hlink>
        <a:srgbClr val="008AD1"/>
      </a:hlink>
      <a:folHlink>
        <a:srgbClr val="38A934"/>
      </a:folHlink>
    </a:clrScheme>
    <a:fontScheme name="Corbel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44000" tIns="144000" rIns="144000" bIns="14400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86</TotalTime>
  <Words>1874</Words>
  <Application>Microsoft Macintosh PowerPoint</Application>
  <PresentationFormat>Custom</PresentationFormat>
  <Paragraphs>565</Paragraphs>
  <Slides>3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0" baseType="lpstr">
      <vt:lpstr>Template-set Friesland Campina </vt:lpstr>
      <vt:lpstr>PowerPoint Presentation</vt:lpstr>
      <vt:lpstr>PowerPoint Presentation</vt:lpstr>
      <vt:lpstr>PowerPoint Presentation</vt:lpstr>
      <vt:lpstr>PowerPoint Presentation</vt:lpstr>
      <vt:lpstr>Who am I</vt:lpstr>
      <vt:lpstr>Royal Friesland Campina Facts &amp; Figures</vt:lpstr>
      <vt:lpstr>Nourishing by nature</vt:lpstr>
      <vt:lpstr>Brands top 100 2017</vt:lpstr>
      <vt:lpstr>PowerPoint Presentation</vt:lpstr>
      <vt:lpstr>PowerPoint Presentation</vt:lpstr>
      <vt:lpstr>PowerPoint Presentation</vt:lpstr>
      <vt:lpstr>2017: 2/3th of the promotions are GP positive</vt:lpstr>
      <vt:lpstr>Intervention was needed</vt:lpstr>
      <vt:lpstr>Promotional strategy reset for 2018 and beyond</vt:lpstr>
      <vt:lpstr>Insights generation</vt:lpstr>
      <vt:lpstr>Fragile balance between short and longer term</vt:lpstr>
      <vt:lpstr>For brand X</vt:lpstr>
      <vt:lpstr>Next step was to anchor way of working</vt:lpstr>
      <vt:lpstr>RFC has chosen a partner that can help us to, over time,  create a learning system with increasing data input.</vt:lpstr>
      <vt:lpstr>Promo evaluation &amp; guideline</vt:lpstr>
      <vt:lpstr>TPM workflow makes evaluation possible at all stages of workflow</vt:lpstr>
      <vt:lpstr>ROI per promotion in account plan possible</vt:lpstr>
      <vt:lpstr>ROI classification triggers action and is part of approval flow</vt:lpstr>
      <vt:lpstr>Account X 2018 promo plan allows for improvements</vt:lpstr>
      <vt:lpstr>2. The low hanging fruit</vt:lpstr>
      <vt:lpstr>2. The low hanging fruit</vt:lpstr>
      <vt:lpstr>3. What is the development of ROI on promotions?</vt:lpstr>
      <vt:lpstr>3. What is the development of ROI on promotions?</vt:lpstr>
      <vt:lpstr>4. What is the best place to spend your money?</vt:lpstr>
      <vt:lpstr>4. What do we change today?</vt:lpstr>
      <vt:lpstr>4. What do we change today?</vt:lpstr>
      <vt:lpstr>PowerPoint Presentation</vt:lpstr>
      <vt:lpstr>PowerPoint Presentation</vt:lpstr>
      <vt:lpstr>Brand B: Digital insights to sharpen promotional strategy</vt:lpstr>
      <vt:lpstr>Brand C: Digital insights to sharpen promotional strategy</vt:lpstr>
      <vt:lpstr>Differentiate offerings based on postal code</vt:lpstr>
      <vt:lpstr>A/B testing for real-time measurement of promo effectiveness</vt:lpstr>
      <vt:lpstr>From hero to zero; role of promotions in total package of assets with NPDs</vt:lpstr>
      <vt:lpstr>PowerPoint Presentation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Susan</dc:creator>
  <cp:lastModifiedBy>Heritage Marketing</cp:lastModifiedBy>
  <cp:revision>267</cp:revision>
  <dcterms:created xsi:type="dcterms:W3CDTF">2017-02-22T08:43:24Z</dcterms:created>
  <dcterms:modified xsi:type="dcterms:W3CDTF">2018-06-10T20:09:41Z</dcterms:modified>
</cp:coreProperties>
</file>